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67"/>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 id="284" r:id="rId30"/>
    <p:sldId id="285" r:id="rId31"/>
    <p:sldId id="286" r:id="rId32"/>
    <p:sldId id="287" r:id="rId33"/>
    <p:sldId id="288" r:id="rId34"/>
    <p:sldId id="289" r:id="rId35"/>
    <p:sldId id="290" r:id="rId36"/>
    <p:sldId id="291" r:id="rId37"/>
    <p:sldId id="292" r:id="rId38"/>
    <p:sldId id="293" r:id="rId39"/>
    <p:sldId id="319" r:id="rId40"/>
    <p:sldId id="29973" r:id="rId41"/>
    <p:sldId id="29988" r:id="rId42"/>
    <p:sldId id="294" r:id="rId43"/>
    <p:sldId id="295" r:id="rId44"/>
    <p:sldId id="296" r:id="rId45"/>
    <p:sldId id="297" r:id="rId46"/>
    <p:sldId id="298" r:id="rId47"/>
    <p:sldId id="299" r:id="rId48"/>
    <p:sldId id="300" r:id="rId49"/>
    <p:sldId id="301" r:id="rId50"/>
    <p:sldId id="302" r:id="rId51"/>
    <p:sldId id="303" r:id="rId52"/>
    <p:sldId id="304" r:id="rId53"/>
    <p:sldId id="305" r:id="rId54"/>
    <p:sldId id="306" r:id="rId55"/>
    <p:sldId id="307" r:id="rId56"/>
    <p:sldId id="308" r:id="rId57"/>
    <p:sldId id="309" r:id="rId58"/>
    <p:sldId id="310" r:id="rId59"/>
    <p:sldId id="311" r:id="rId60"/>
    <p:sldId id="312" r:id="rId61"/>
    <p:sldId id="313" r:id="rId62"/>
    <p:sldId id="314" r:id="rId63"/>
    <p:sldId id="315" r:id="rId64"/>
    <p:sldId id="316" r:id="rId65"/>
    <p:sldId id="317" r:id="rId66"/>
  </p:sldIdLst>
  <p:sldSz cx="18288000" cy="10287000"/>
  <p:notesSz cx="18288000" cy="10287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38"/>
  </p:normalViewPr>
  <p:slideViewPr>
    <p:cSldViewPr>
      <p:cViewPr>
        <p:scale>
          <a:sx n="69" d="100"/>
          <a:sy n="69" d="100"/>
        </p:scale>
        <p:origin x="160" y="416"/>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7924800" cy="515938"/>
          </a:xfrm>
          <a:prstGeom prst="rect">
            <a:avLst/>
          </a:prstGeom>
        </p:spPr>
        <p:txBody>
          <a:bodyPr vert="horz" lIns="91440" tIns="45720" rIns="91440" bIns="45720" rtlCol="0"/>
          <a:lstStyle>
            <a:lvl1pPr algn="l">
              <a:defRPr sz="1200"/>
            </a:lvl1pPr>
          </a:lstStyle>
          <a:p>
            <a:endParaRPr lang="es-ES_tradnl"/>
          </a:p>
        </p:txBody>
      </p:sp>
      <p:sp>
        <p:nvSpPr>
          <p:cNvPr id="3" name="Date Placeholder 2"/>
          <p:cNvSpPr>
            <a:spLocks noGrp="1"/>
          </p:cNvSpPr>
          <p:nvPr>
            <p:ph type="dt" idx="1"/>
          </p:nvPr>
        </p:nvSpPr>
        <p:spPr>
          <a:xfrm>
            <a:off x="10358438" y="0"/>
            <a:ext cx="7924800" cy="515938"/>
          </a:xfrm>
          <a:prstGeom prst="rect">
            <a:avLst/>
          </a:prstGeom>
        </p:spPr>
        <p:txBody>
          <a:bodyPr vert="horz" lIns="91440" tIns="45720" rIns="91440" bIns="45720" rtlCol="0"/>
          <a:lstStyle>
            <a:lvl1pPr algn="r">
              <a:defRPr sz="1200"/>
            </a:lvl1pPr>
          </a:lstStyle>
          <a:p>
            <a:fld id="{751D1AAA-4986-2544-9C79-1FE1952E8FC1}" type="datetimeFigureOut">
              <a:rPr lang="es-ES_tradnl" smtClean="0"/>
              <a:t>22/8/23</a:t>
            </a:fld>
            <a:endParaRPr lang="es-ES_tradnl"/>
          </a:p>
        </p:txBody>
      </p:sp>
      <p:sp>
        <p:nvSpPr>
          <p:cNvPr id="4" name="Slide Image Placeholder 3"/>
          <p:cNvSpPr>
            <a:spLocks noGrp="1" noRot="1" noChangeAspect="1"/>
          </p:cNvSpPr>
          <p:nvPr>
            <p:ph type="sldImg" idx="2"/>
          </p:nvPr>
        </p:nvSpPr>
        <p:spPr>
          <a:xfrm>
            <a:off x="6057900" y="1285875"/>
            <a:ext cx="6172200" cy="3471863"/>
          </a:xfrm>
          <a:prstGeom prst="rect">
            <a:avLst/>
          </a:prstGeom>
          <a:noFill/>
          <a:ln w="12700">
            <a:solidFill>
              <a:prstClr val="black"/>
            </a:solidFill>
          </a:ln>
        </p:spPr>
        <p:txBody>
          <a:bodyPr vert="horz" lIns="91440" tIns="45720" rIns="91440" bIns="45720" rtlCol="0" anchor="ctr"/>
          <a:lstStyle/>
          <a:p>
            <a:endParaRPr lang="es-ES_tradnl"/>
          </a:p>
        </p:txBody>
      </p:sp>
      <p:sp>
        <p:nvSpPr>
          <p:cNvPr id="5" name="Notes Placeholder 4"/>
          <p:cNvSpPr>
            <a:spLocks noGrp="1"/>
          </p:cNvSpPr>
          <p:nvPr>
            <p:ph type="body" sz="quarter" idx="3"/>
          </p:nvPr>
        </p:nvSpPr>
        <p:spPr>
          <a:xfrm>
            <a:off x="1828800" y="4951413"/>
            <a:ext cx="14630400" cy="404971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_tradnl"/>
          </a:p>
        </p:txBody>
      </p:sp>
      <p:sp>
        <p:nvSpPr>
          <p:cNvPr id="6" name="Footer Placeholder 5"/>
          <p:cNvSpPr>
            <a:spLocks noGrp="1"/>
          </p:cNvSpPr>
          <p:nvPr>
            <p:ph type="ftr" sz="quarter" idx="4"/>
          </p:nvPr>
        </p:nvSpPr>
        <p:spPr>
          <a:xfrm>
            <a:off x="0" y="9771063"/>
            <a:ext cx="7924800" cy="515937"/>
          </a:xfrm>
          <a:prstGeom prst="rect">
            <a:avLst/>
          </a:prstGeom>
        </p:spPr>
        <p:txBody>
          <a:bodyPr vert="horz" lIns="91440" tIns="45720" rIns="91440" bIns="45720" rtlCol="0" anchor="b"/>
          <a:lstStyle>
            <a:lvl1pPr algn="l">
              <a:defRPr sz="1200"/>
            </a:lvl1pPr>
          </a:lstStyle>
          <a:p>
            <a:endParaRPr lang="es-ES_tradnl"/>
          </a:p>
        </p:txBody>
      </p:sp>
      <p:sp>
        <p:nvSpPr>
          <p:cNvPr id="7" name="Slide Number Placeholder 6"/>
          <p:cNvSpPr>
            <a:spLocks noGrp="1"/>
          </p:cNvSpPr>
          <p:nvPr>
            <p:ph type="sldNum" sz="quarter" idx="5"/>
          </p:nvPr>
        </p:nvSpPr>
        <p:spPr>
          <a:xfrm>
            <a:off x="10358438" y="9771063"/>
            <a:ext cx="7924800" cy="515937"/>
          </a:xfrm>
          <a:prstGeom prst="rect">
            <a:avLst/>
          </a:prstGeom>
        </p:spPr>
        <p:txBody>
          <a:bodyPr vert="horz" lIns="91440" tIns="45720" rIns="91440" bIns="45720" rtlCol="0" anchor="b"/>
          <a:lstStyle>
            <a:lvl1pPr algn="r">
              <a:defRPr sz="1200"/>
            </a:lvl1pPr>
          </a:lstStyle>
          <a:p>
            <a:fld id="{D1B6CEC6-748E-714B-A44A-234956BB484C}" type="slidenum">
              <a:rPr lang="es-ES_tradnl" smtClean="0"/>
              <a:t>‹#›</a:t>
            </a:fld>
            <a:endParaRPr lang="es-ES_tradnl"/>
          </a:p>
        </p:txBody>
      </p:sp>
    </p:spTree>
    <p:extLst>
      <p:ext uri="{BB962C8B-B14F-4D97-AF65-F5344CB8AC3E}">
        <p14:creationId xmlns:p14="http://schemas.microsoft.com/office/powerpoint/2010/main" val="971006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3B75E446-BB24-4B21-945C-3536AA57A038}" type="slidenum">
              <a:rPr lang="es-ES" smtClean="0"/>
              <a:pPr/>
              <a:t>40</a:t>
            </a:fld>
            <a:endParaRPr lang="es-ES"/>
          </a:p>
        </p:txBody>
      </p:sp>
    </p:spTree>
    <p:extLst>
      <p:ext uri="{BB962C8B-B14F-4D97-AF65-F5344CB8AC3E}">
        <p14:creationId xmlns:p14="http://schemas.microsoft.com/office/powerpoint/2010/main" val="4157952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dirty="0"/>
              <a:t>Las hojas de ruta deben salir luego de las negociaciones entre las partes. Esta es una propuesta referencial en base al plan de trabajo propuesto, que puede ser modificada por el secretario ejecutivo de SERNATUR central y el responsable de SERNATUR Regional, junto con los socios estratégicos, a medida que se cierre la planificación con cada actor. </a:t>
            </a:r>
          </a:p>
          <a:p>
            <a:endParaRPr lang="es-ES" dirty="0"/>
          </a:p>
        </p:txBody>
      </p:sp>
      <p:sp>
        <p:nvSpPr>
          <p:cNvPr id="4" name="Marcador de número de diapositiva 3"/>
          <p:cNvSpPr>
            <a:spLocks noGrp="1"/>
          </p:cNvSpPr>
          <p:nvPr>
            <p:ph type="sldNum" sz="quarter" idx="5"/>
          </p:nvPr>
        </p:nvSpPr>
        <p:spPr/>
        <p:txBody>
          <a:bodyPr/>
          <a:lstStyle/>
          <a:p>
            <a:fld id="{3B75E446-BB24-4B21-945C-3536AA57A038}" type="slidenum">
              <a:rPr lang="es-ES" smtClean="0"/>
              <a:pPr/>
              <a:t>41</a:t>
            </a:fld>
            <a:endParaRPr lang="es-ES"/>
          </a:p>
        </p:txBody>
      </p:sp>
    </p:spTree>
    <p:extLst>
      <p:ext uri="{BB962C8B-B14F-4D97-AF65-F5344CB8AC3E}">
        <p14:creationId xmlns:p14="http://schemas.microsoft.com/office/powerpoint/2010/main" val="11803428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371600" y="3188970"/>
            <a:ext cx="15544800" cy="2160270"/>
          </a:xfrm>
          <a:prstGeom prst="rect">
            <a:avLst/>
          </a:prstGeom>
        </p:spPr>
        <p:txBody>
          <a:bodyPr wrap="square" lIns="0" tIns="0" rIns="0" bIns="0">
            <a:spAutoFit/>
          </a:bodyPr>
          <a:lstStyle>
            <a:lvl1pPr>
              <a:defRPr sz="3000" b="0" i="0">
                <a:solidFill>
                  <a:schemeClr val="bg1"/>
                </a:solidFill>
                <a:latin typeface="Roboto"/>
                <a:cs typeface="Roboto"/>
              </a:defRPr>
            </a:lvl1pPr>
          </a:lstStyle>
          <a:p>
            <a:endParaRPr/>
          </a:p>
        </p:txBody>
      </p:sp>
      <p:sp>
        <p:nvSpPr>
          <p:cNvPr id="3" name="Holder 3"/>
          <p:cNvSpPr>
            <a:spLocks noGrp="1"/>
          </p:cNvSpPr>
          <p:nvPr>
            <p:ph type="subTitle" idx="4"/>
          </p:nvPr>
        </p:nvSpPr>
        <p:spPr>
          <a:xfrm>
            <a:off x="2743200" y="5760720"/>
            <a:ext cx="12801600" cy="2571750"/>
          </a:xfrm>
          <a:prstGeom prst="rect">
            <a:avLst/>
          </a:prstGeom>
        </p:spPr>
        <p:txBody>
          <a:bodyPr wrap="square" lIns="0" tIns="0" rIns="0" bIns="0">
            <a:spAutoFit/>
          </a:bodyPr>
          <a:lstStyle>
            <a:lvl1pPr>
              <a:defRPr sz="4050" b="1"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1100" b="1" i="0">
                <a:solidFill>
                  <a:srgbClr val="737373"/>
                </a:solidFill>
                <a:latin typeface="Arial"/>
                <a:cs typeface="Arial"/>
              </a:defRPr>
            </a:lvl1p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2/23</a:t>
            </a:fld>
            <a:endParaRPr lang="en-US"/>
          </a:p>
        </p:txBody>
      </p:sp>
      <p:sp>
        <p:nvSpPr>
          <p:cNvPr id="6" name="Holder 6"/>
          <p:cNvSpPr>
            <a:spLocks noGrp="1"/>
          </p:cNvSpPr>
          <p:nvPr>
            <p:ph type="sldNum" sz="quarter" idx="7"/>
          </p:nvPr>
        </p:nvSpPr>
        <p:spPr/>
        <p:txBody>
          <a:bodyPr lIns="0" tIns="0" rIns="0" bIns="0"/>
          <a:lstStyle>
            <a:lvl1pPr>
              <a:defRPr sz="900" b="1" i="0">
                <a:solidFill>
                  <a:srgbClr val="737373"/>
                </a:solidFill>
                <a:latin typeface="Arial"/>
                <a:cs typeface="Arial"/>
              </a:defRPr>
            </a:lvl1pPr>
          </a:lstStyle>
          <a:p>
            <a:pPr marL="12700">
              <a:lnSpc>
                <a:spcPts val="1030"/>
              </a:lnSpc>
            </a:pPr>
            <a:r>
              <a:rPr dirty="0"/>
              <a:t>I</a:t>
            </a:r>
            <a:r>
              <a:rPr spc="-15" dirty="0"/>
              <a:t> </a:t>
            </a:r>
            <a:fld id="{81D60167-4931-47E6-BA6A-407CBD079E47}" type="slidenum">
              <a:rPr spc="-25" dirty="0"/>
              <a:t>‹#›</a:t>
            </a:fld>
            <a:endParaRPr spc="-25"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0" i="0">
                <a:solidFill>
                  <a:schemeClr val="bg1"/>
                </a:solidFill>
                <a:latin typeface="Roboto"/>
                <a:cs typeface="Roboto"/>
              </a:defRPr>
            </a:lvl1pPr>
          </a:lstStyle>
          <a:p>
            <a:endParaRPr/>
          </a:p>
        </p:txBody>
      </p:sp>
      <p:sp>
        <p:nvSpPr>
          <p:cNvPr id="3" name="Holder 3"/>
          <p:cNvSpPr>
            <a:spLocks noGrp="1"/>
          </p:cNvSpPr>
          <p:nvPr>
            <p:ph type="body" idx="1"/>
          </p:nvPr>
        </p:nvSpPr>
        <p:spPr/>
        <p:txBody>
          <a:bodyPr lIns="0" tIns="0" rIns="0" bIns="0"/>
          <a:lstStyle>
            <a:lvl1pPr>
              <a:defRPr sz="4050" b="1"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1100" b="1" i="0">
                <a:solidFill>
                  <a:srgbClr val="737373"/>
                </a:solidFill>
                <a:latin typeface="Arial"/>
                <a:cs typeface="Arial"/>
              </a:defRPr>
            </a:lvl1p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2/23</a:t>
            </a:fld>
            <a:endParaRPr lang="en-US"/>
          </a:p>
        </p:txBody>
      </p:sp>
      <p:sp>
        <p:nvSpPr>
          <p:cNvPr id="6" name="Holder 6"/>
          <p:cNvSpPr>
            <a:spLocks noGrp="1"/>
          </p:cNvSpPr>
          <p:nvPr>
            <p:ph type="sldNum" sz="quarter" idx="7"/>
          </p:nvPr>
        </p:nvSpPr>
        <p:spPr/>
        <p:txBody>
          <a:bodyPr lIns="0" tIns="0" rIns="0" bIns="0"/>
          <a:lstStyle>
            <a:lvl1pPr>
              <a:defRPr sz="900" b="1" i="0">
                <a:solidFill>
                  <a:srgbClr val="737373"/>
                </a:solidFill>
                <a:latin typeface="Arial"/>
                <a:cs typeface="Arial"/>
              </a:defRPr>
            </a:lvl1pPr>
          </a:lstStyle>
          <a:p>
            <a:pPr marL="12700">
              <a:lnSpc>
                <a:spcPts val="1030"/>
              </a:lnSpc>
            </a:pPr>
            <a:r>
              <a:rPr dirty="0"/>
              <a:t>I</a:t>
            </a:r>
            <a:r>
              <a:rPr spc="-15" dirty="0"/>
              <a:t> </a:t>
            </a:r>
            <a:fld id="{81D60167-4931-47E6-BA6A-407CBD079E47}" type="slidenum">
              <a:rPr spc="-25" dirty="0"/>
              <a:t>‹#›</a:t>
            </a:fld>
            <a:endParaRPr spc="-25"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000" b="0" i="0">
                <a:solidFill>
                  <a:schemeClr val="bg1"/>
                </a:solidFill>
                <a:latin typeface="Roboto"/>
                <a:cs typeface="Roboto"/>
              </a:defRPr>
            </a:lvl1pPr>
          </a:lstStyle>
          <a:p>
            <a:endParaRPr/>
          </a:p>
        </p:txBody>
      </p:sp>
      <p:sp>
        <p:nvSpPr>
          <p:cNvPr id="3" name="Holder 3"/>
          <p:cNvSpPr>
            <a:spLocks noGrp="1"/>
          </p:cNvSpPr>
          <p:nvPr>
            <p:ph sz="half" idx="2"/>
          </p:nvPr>
        </p:nvSpPr>
        <p:spPr>
          <a:xfrm>
            <a:off x="914400" y="2366010"/>
            <a:ext cx="7955280" cy="678942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9418320" y="2366010"/>
            <a:ext cx="7955280" cy="678942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100" b="1" i="0">
                <a:solidFill>
                  <a:srgbClr val="737373"/>
                </a:solidFill>
                <a:latin typeface="Arial"/>
                <a:cs typeface="Arial"/>
              </a:defRPr>
            </a:lvl1p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2/23</a:t>
            </a:fld>
            <a:endParaRPr lang="en-US"/>
          </a:p>
        </p:txBody>
      </p:sp>
      <p:sp>
        <p:nvSpPr>
          <p:cNvPr id="7" name="Holder 7"/>
          <p:cNvSpPr>
            <a:spLocks noGrp="1"/>
          </p:cNvSpPr>
          <p:nvPr>
            <p:ph type="sldNum" sz="quarter" idx="7"/>
          </p:nvPr>
        </p:nvSpPr>
        <p:spPr/>
        <p:txBody>
          <a:bodyPr lIns="0" tIns="0" rIns="0" bIns="0"/>
          <a:lstStyle>
            <a:lvl1pPr>
              <a:defRPr sz="900" b="1" i="0">
                <a:solidFill>
                  <a:srgbClr val="737373"/>
                </a:solidFill>
                <a:latin typeface="Arial"/>
                <a:cs typeface="Arial"/>
              </a:defRPr>
            </a:lvl1pPr>
          </a:lstStyle>
          <a:p>
            <a:pPr marL="12700">
              <a:lnSpc>
                <a:spcPts val="1030"/>
              </a:lnSpc>
            </a:pPr>
            <a:r>
              <a:rPr dirty="0"/>
              <a:t>I</a:t>
            </a:r>
            <a:r>
              <a:rPr spc="-15" dirty="0"/>
              <a:t> </a:t>
            </a:r>
            <a:fld id="{81D60167-4931-47E6-BA6A-407CBD079E47}" type="slidenum">
              <a:rPr spc="-25" dirty="0"/>
              <a:t>‹#›</a:t>
            </a:fld>
            <a:endParaRPr spc="-25"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0" i="0">
                <a:solidFill>
                  <a:schemeClr val="bg1"/>
                </a:solidFill>
                <a:latin typeface="Roboto"/>
                <a:cs typeface="Roboto"/>
              </a:defRPr>
            </a:lvl1pPr>
          </a:lstStyle>
          <a:p>
            <a:endParaRPr/>
          </a:p>
        </p:txBody>
      </p:sp>
      <p:sp>
        <p:nvSpPr>
          <p:cNvPr id="3" name="Holder 3"/>
          <p:cNvSpPr>
            <a:spLocks noGrp="1"/>
          </p:cNvSpPr>
          <p:nvPr>
            <p:ph type="ftr" sz="quarter" idx="5"/>
          </p:nvPr>
        </p:nvSpPr>
        <p:spPr/>
        <p:txBody>
          <a:bodyPr lIns="0" tIns="0" rIns="0" bIns="0"/>
          <a:lstStyle>
            <a:lvl1pPr>
              <a:defRPr sz="1100" b="1" i="0">
                <a:solidFill>
                  <a:srgbClr val="737373"/>
                </a:solidFill>
                <a:latin typeface="Arial"/>
                <a:cs typeface="Arial"/>
              </a:defRPr>
            </a:lvl1p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2/23</a:t>
            </a:fld>
            <a:endParaRPr lang="en-US"/>
          </a:p>
        </p:txBody>
      </p:sp>
      <p:sp>
        <p:nvSpPr>
          <p:cNvPr id="5" name="Holder 5"/>
          <p:cNvSpPr>
            <a:spLocks noGrp="1"/>
          </p:cNvSpPr>
          <p:nvPr>
            <p:ph type="sldNum" sz="quarter" idx="7"/>
          </p:nvPr>
        </p:nvSpPr>
        <p:spPr/>
        <p:txBody>
          <a:bodyPr lIns="0" tIns="0" rIns="0" bIns="0"/>
          <a:lstStyle>
            <a:lvl1pPr>
              <a:defRPr sz="900" b="1" i="0">
                <a:solidFill>
                  <a:srgbClr val="737373"/>
                </a:solidFill>
                <a:latin typeface="Arial"/>
                <a:cs typeface="Arial"/>
              </a:defRPr>
            </a:lvl1pPr>
          </a:lstStyle>
          <a:p>
            <a:pPr marL="12700">
              <a:lnSpc>
                <a:spcPts val="1030"/>
              </a:lnSpc>
            </a:pPr>
            <a:r>
              <a:rPr dirty="0"/>
              <a:t>I</a:t>
            </a:r>
            <a:r>
              <a:rPr spc="-15" dirty="0"/>
              <a:t> </a:t>
            </a:r>
            <a:fld id="{81D60167-4931-47E6-BA6A-407CBD079E47}" type="slidenum">
              <a:rPr spc="-25" dirty="0"/>
              <a:t>‹#›</a:t>
            </a:fld>
            <a:endParaRPr spc="-25"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66956" y="1113694"/>
            <a:ext cx="17954625" cy="8662035"/>
          </a:xfrm>
          <a:custGeom>
            <a:avLst/>
            <a:gdLst/>
            <a:ahLst/>
            <a:cxnLst/>
            <a:rect l="l" t="t" r="r" b="b"/>
            <a:pathLst>
              <a:path w="17954625" h="8662035">
                <a:moveTo>
                  <a:pt x="0" y="8661679"/>
                </a:moveTo>
                <a:lnTo>
                  <a:pt x="17954029" y="8661679"/>
                </a:lnTo>
                <a:lnTo>
                  <a:pt x="17954029" y="0"/>
                </a:lnTo>
                <a:lnTo>
                  <a:pt x="0" y="0"/>
                </a:lnTo>
                <a:lnTo>
                  <a:pt x="0" y="8661679"/>
                </a:lnTo>
                <a:close/>
              </a:path>
            </a:pathLst>
          </a:custGeom>
          <a:solidFill>
            <a:srgbClr val="EFEBE2">
              <a:alpha val="55690"/>
            </a:srgbClr>
          </a:solidFill>
        </p:spPr>
        <p:txBody>
          <a:bodyPr wrap="square" lIns="0" tIns="0" rIns="0" bIns="0" rtlCol="0"/>
          <a:lstStyle/>
          <a:p>
            <a:endParaRPr/>
          </a:p>
        </p:txBody>
      </p:sp>
      <p:sp>
        <p:nvSpPr>
          <p:cNvPr id="17" name="bg object 17"/>
          <p:cNvSpPr/>
          <p:nvPr/>
        </p:nvSpPr>
        <p:spPr>
          <a:xfrm>
            <a:off x="166956" y="171494"/>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18" name="bg object 18"/>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0090AE"/>
          </a:solidFill>
        </p:spPr>
        <p:txBody>
          <a:bodyPr wrap="square" lIns="0" tIns="0" rIns="0" bIns="0" rtlCol="0"/>
          <a:lstStyle/>
          <a:p>
            <a:endParaRPr/>
          </a:p>
        </p:txBody>
      </p:sp>
      <p:sp>
        <p:nvSpPr>
          <p:cNvPr id="19" name="bg object 19"/>
          <p:cNvSpPr/>
          <p:nvPr/>
        </p:nvSpPr>
        <p:spPr>
          <a:xfrm>
            <a:off x="1662504" y="1346096"/>
            <a:ext cx="16250285" cy="1133475"/>
          </a:xfrm>
          <a:custGeom>
            <a:avLst/>
            <a:gdLst/>
            <a:ahLst/>
            <a:cxnLst/>
            <a:rect l="l" t="t" r="r" b="b"/>
            <a:pathLst>
              <a:path w="16250285" h="1133475">
                <a:moveTo>
                  <a:pt x="16250245" y="1133177"/>
                </a:moveTo>
                <a:lnTo>
                  <a:pt x="0" y="1133177"/>
                </a:lnTo>
                <a:lnTo>
                  <a:pt x="0" y="0"/>
                </a:lnTo>
                <a:lnTo>
                  <a:pt x="16250245" y="0"/>
                </a:lnTo>
                <a:lnTo>
                  <a:pt x="16250245" y="1133177"/>
                </a:lnTo>
                <a:close/>
              </a:path>
            </a:pathLst>
          </a:custGeom>
          <a:solidFill>
            <a:srgbClr val="FFFFFF"/>
          </a:solidFill>
        </p:spPr>
        <p:txBody>
          <a:bodyPr wrap="square" lIns="0" tIns="0" rIns="0" bIns="0" rtlCol="0"/>
          <a:lstStyle/>
          <a:p>
            <a:endParaRPr/>
          </a:p>
        </p:txBody>
      </p:sp>
      <p:sp>
        <p:nvSpPr>
          <p:cNvPr id="20" name="bg object 20"/>
          <p:cNvSpPr/>
          <p:nvPr/>
        </p:nvSpPr>
        <p:spPr>
          <a:xfrm>
            <a:off x="6437719" y="2814072"/>
            <a:ext cx="11683365" cy="6964045"/>
          </a:xfrm>
          <a:custGeom>
            <a:avLst/>
            <a:gdLst/>
            <a:ahLst/>
            <a:cxnLst/>
            <a:rect l="l" t="t" r="r" b="b"/>
            <a:pathLst>
              <a:path w="11683365" h="6964045">
                <a:moveTo>
                  <a:pt x="11683323" y="6963911"/>
                </a:moveTo>
                <a:lnTo>
                  <a:pt x="0" y="6963911"/>
                </a:lnTo>
                <a:lnTo>
                  <a:pt x="0" y="0"/>
                </a:lnTo>
                <a:lnTo>
                  <a:pt x="11683323" y="0"/>
                </a:lnTo>
                <a:lnTo>
                  <a:pt x="11683323" y="6963911"/>
                </a:lnTo>
                <a:close/>
              </a:path>
            </a:pathLst>
          </a:custGeom>
          <a:solidFill>
            <a:srgbClr val="FFFFFF"/>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defRPr sz="1100" b="1" i="0">
                <a:solidFill>
                  <a:srgbClr val="737373"/>
                </a:solidFill>
                <a:latin typeface="Arial"/>
                <a:cs typeface="Arial"/>
              </a:defRPr>
            </a:lvl1p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2/23</a:t>
            </a:fld>
            <a:endParaRPr lang="en-US"/>
          </a:p>
        </p:txBody>
      </p:sp>
      <p:sp>
        <p:nvSpPr>
          <p:cNvPr id="4" name="Holder 4"/>
          <p:cNvSpPr>
            <a:spLocks noGrp="1"/>
          </p:cNvSpPr>
          <p:nvPr>
            <p:ph type="sldNum" sz="quarter" idx="7"/>
          </p:nvPr>
        </p:nvSpPr>
        <p:spPr/>
        <p:txBody>
          <a:bodyPr lIns="0" tIns="0" rIns="0" bIns="0"/>
          <a:lstStyle>
            <a:lvl1pPr>
              <a:defRPr sz="900" b="1" i="0">
                <a:solidFill>
                  <a:srgbClr val="737373"/>
                </a:solidFill>
                <a:latin typeface="Arial"/>
                <a:cs typeface="Arial"/>
              </a:defRPr>
            </a:lvl1pPr>
          </a:lstStyle>
          <a:p>
            <a:pPr marL="12700">
              <a:lnSpc>
                <a:spcPts val="1030"/>
              </a:lnSpc>
            </a:pPr>
            <a:r>
              <a:rPr dirty="0"/>
              <a:t>I</a:t>
            </a:r>
            <a:r>
              <a:rPr spc="-15" dirty="0"/>
              <a:t> </a:t>
            </a:r>
            <a:fld id="{81D60167-4931-47E6-BA6A-407CBD079E47}" type="slidenum">
              <a:rPr spc="-25" dirty="0"/>
              <a:t>‹#›</a:t>
            </a:fld>
            <a:endParaRPr spc="-25"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tandard slide">
    <p:bg>
      <p:bgRef idx="1001">
        <a:schemeClr val="bg1"/>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25FCB7A8-3426-4888-801A-F2BDCB55BFAC}"/>
              </a:ext>
            </a:extLst>
          </p:cNvPr>
          <p:cNvGraphicFramePr>
            <a:graphicFrameLocks noChangeAspect="1"/>
          </p:cNvGraphicFramePr>
          <p:nvPr userDrawn="1">
            <p:custDataLst>
              <p:tags r:id="rId1"/>
            </p:custDataLst>
            <p:extLst>
              <p:ext uri="{D42A27DB-BD31-4B8C-83A1-F6EECF244321}">
                <p14:modId xmlns:p14="http://schemas.microsoft.com/office/powerpoint/2010/main" val="2040243377"/>
              </p:ext>
            </p:ext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Diapositiva de think-cell" r:id="rId5" imgW="335" imgH="333" progId="TCLayout.ActiveDocument.1">
                  <p:embed/>
                </p:oleObj>
              </mc:Choice>
              <mc:Fallback>
                <p:oleObj name="Diapositiva de think-cell" r:id="rId5" imgW="335" imgH="333" progId="TCLayout.ActiveDocument.1">
                  <p:embed/>
                  <p:pic>
                    <p:nvPicPr>
                      <p:cNvPr id="4" name="Objeto 3" hidden="1">
                        <a:extLst>
                          <a:ext uri="{FF2B5EF4-FFF2-40B4-BE49-F238E27FC236}">
                            <a16:creationId xmlns:a16="http://schemas.microsoft.com/office/drawing/2014/main" id="{25FCB7A8-3426-4888-801A-F2BDCB55BFAC}"/>
                          </a:ext>
                        </a:extLst>
                      </p:cNvPr>
                      <p:cNvPicPr/>
                      <p:nvPr/>
                    </p:nvPicPr>
                    <p:blipFill>
                      <a:blip r:embed="rId6"/>
                      <a:stretch>
                        <a:fillRect/>
                      </a:stretch>
                    </p:blipFill>
                    <p:spPr>
                      <a:xfrm>
                        <a:off x="2382" y="2382"/>
                        <a:ext cx="2382" cy="2382"/>
                      </a:xfrm>
                      <a:prstGeom prst="rect">
                        <a:avLst/>
                      </a:prstGeom>
                    </p:spPr>
                  </p:pic>
                </p:oleObj>
              </mc:Fallback>
            </mc:AlternateContent>
          </a:graphicData>
        </a:graphic>
      </p:graphicFrame>
      <p:sp>
        <p:nvSpPr>
          <p:cNvPr id="2" name="Rectángulo 1" hidden="1">
            <a:extLst>
              <a:ext uri="{FF2B5EF4-FFF2-40B4-BE49-F238E27FC236}">
                <a16:creationId xmlns:a16="http://schemas.microsoft.com/office/drawing/2014/main" id="{21BB652F-1145-4372-B3BC-B98A24901FA2}"/>
              </a:ext>
            </a:extLst>
          </p:cNvPr>
          <p:cNvSpPr/>
          <p:nvPr userDrawn="1">
            <p:custDataLst>
              <p:tags r:id="rId2"/>
            </p:custDataLst>
          </p:nvPr>
        </p:nvSpPr>
        <p:spPr>
          <a:xfrm>
            <a:off x="0" y="0"/>
            <a:ext cx="238125" cy="238125"/>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lang="es-ES" sz="4800" b="0" i="0" baseline="0">
              <a:solidFill>
                <a:srgbClr val="FFFFFF"/>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6" name="FooterSimple" hidden="1"/>
          <p:cNvSpPr txBox="1"/>
          <p:nvPr userDrawn="1">
            <p:custDataLst>
              <p:tags r:id="rId3"/>
            </p:custDataLst>
          </p:nvPr>
        </p:nvSpPr>
        <p:spPr>
          <a:xfrm rot="16200000">
            <a:off x="15841980" y="7604116"/>
            <a:ext cx="4114800" cy="290849"/>
          </a:xfrm>
          <a:prstGeom prst="rect">
            <a:avLst/>
          </a:prstGeom>
          <a:noFill/>
        </p:spPr>
        <p:txBody>
          <a:bodyPr wrap="square" lIns="0" tIns="0" rIns="0" bIns="0" rtlCol="0" anchor="b">
            <a:spAutoFit/>
          </a:bodyPr>
          <a:lstStyle/>
          <a:p>
            <a:pPr rtl="0">
              <a:lnSpc>
                <a:spcPct val="90000"/>
              </a:lnSpc>
              <a:spcAft>
                <a:spcPts val="900"/>
              </a:spcAft>
            </a:pPr>
            <a:r>
              <a:rPr lang="es-ES" sz="1050" err="1">
                <a:solidFill>
                  <a:schemeClr val="bg1">
                    <a:lumMod val="50000"/>
                  </a:schemeClr>
                </a:solidFill>
                <a:latin typeface="+mn-lt"/>
                <a:sym typeface="Trebuchet MS" panose="020B0603020202020204" pitchFamily="34" charset="0"/>
              </a:rPr>
              <a:t>Updated</a:t>
            </a:r>
            <a:r>
              <a:rPr lang="es-ES" sz="1050">
                <a:solidFill>
                  <a:schemeClr val="bg1">
                    <a:lumMod val="50000"/>
                  </a:schemeClr>
                </a:solidFill>
                <a:latin typeface="+mn-lt"/>
                <a:sym typeface="Trebuchet MS" panose="020B0603020202020204" pitchFamily="34" charset="0"/>
              </a:rPr>
              <a:t> </a:t>
            </a:r>
            <a:r>
              <a:rPr lang="es-ES" sz="1050" err="1">
                <a:solidFill>
                  <a:schemeClr val="bg1">
                    <a:lumMod val="50000"/>
                  </a:schemeClr>
                </a:solidFill>
                <a:latin typeface="+mn-lt"/>
                <a:sym typeface="Trebuchet MS" panose="020B0603020202020204" pitchFamily="34" charset="0"/>
              </a:rPr>
              <a:t>Proposal</a:t>
            </a:r>
            <a:r>
              <a:rPr lang="es-ES" sz="1050">
                <a:solidFill>
                  <a:schemeClr val="bg1">
                    <a:lumMod val="50000"/>
                  </a:schemeClr>
                </a:solidFill>
                <a:latin typeface="+mn-lt"/>
                <a:sym typeface="Trebuchet MS" panose="020B0603020202020204" pitchFamily="34" charset="0"/>
              </a:rPr>
              <a:t> - KSA </a:t>
            </a:r>
            <a:r>
              <a:rPr lang="es-ES" sz="1050" err="1">
                <a:solidFill>
                  <a:schemeClr val="bg1">
                    <a:lumMod val="50000"/>
                  </a:schemeClr>
                </a:solidFill>
                <a:latin typeface="+mn-lt"/>
                <a:sym typeface="Trebuchet MS" panose="020B0603020202020204" pitchFamily="34" charset="0"/>
              </a:rPr>
              <a:t>National</a:t>
            </a:r>
            <a:r>
              <a:rPr lang="es-ES" sz="1050">
                <a:solidFill>
                  <a:schemeClr val="bg1">
                    <a:lumMod val="50000"/>
                  </a:schemeClr>
                </a:solidFill>
                <a:latin typeface="+mn-lt"/>
                <a:sym typeface="Trebuchet MS" panose="020B0603020202020204" pitchFamily="34" charset="0"/>
              </a:rPr>
              <a:t> Tourism </a:t>
            </a:r>
            <a:r>
              <a:rPr lang="es-ES" sz="1050" err="1">
                <a:solidFill>
                  <a:schemeClr val="bg1">
                    <a:lumMod val="50000"/>
                  </a:schemeClr>
                </a:solidFill>
                <a:latin typeface="+mn-lt"/>
                <a:sym typeface="Trebuchet MS" panose="020B0603020202020204" pitchFamily="34" charset="0"/>
              </a:rPr>
              <a:t>Strategy</a:t>
            </a:r>
            <a:r>
              <a:rPr lang="es-ES" sz="1050">
                <a:solidFill>
                  <a:schemeClr val="bg1">
                    <a:lumMod val="50000"/>
                  </a:schemeClr>
                </a:solidFill>
                <a:latin typeface="+mn-lt"/>
                <a:sym typeface="Trebuchet MS" panose="020B0603020202020204" pitchFamily="34" charset="0"/>
              </a:rPr>
              <a:t> and SCTH </a:t>
            </a:r>
            <a:r>
              <a:rPr lang="es-ES" sz="1050" err="1">
                <a:solidFill>
                  <a:schemeClr val="bg1">
                    <a:lumMod val="50000"/>
                  </a:schemeClr>
                </a:solidFill>
                <a:latin typeface="+mn-lt"/>
                <a:sym typeface="Trebuchet MS" panose="020B0603020202020204" pitchFamily="34" charset="0"/>
              </a:rPr>
              <a:t>Corporate</a:t>
            </a:r>
            <a:r>
              <a:rPr lang="es-ES" sz="1050">
                <a:solidFill>
                  <a:schemeClr val="bg1">
                    <a:lumMod val="50000"/>
                  </a:schemeClr>
                </a:solidFill>
                <a:latin typeface="+mn-lt"/>
                <a:sym typeface="Trebuchet MS" panose="020B0603020202020204" pitchFamily="34" charset="0"/>
              </a:rPr>
              <a:t> Strategy_7Apr2019_vf submitted.pptx</a:t>
            </a:r>
          </a:p>
        </p:txBody>
      </p:sp>
      <p:sp>
        <p:nvSpPr>
          <p:cNvPr id="12" name="Text Placeholder 7">
            <a:extLst>
              <a:ext uri="{FF2B5EF4-FFF2-40B4-BE49-F238E27FC236}">
                <a16:creationId xmlns:a16="http://schemas.microsoft.com/office/drawing/2014/main" id="{66D308C6-28B4-42BC-AEE2-94981E93B6CD}"/>
              </a:ext>
            </a:extLst>
          </p:cNvPr>
          <p:cNvSpPr>
            <a:spLocks noGrp="1"/>
          </p:cNvSpPr>
          <p:nvPr>
            <p:ph type="body" sz="quarter" idx="10" hasCustomPrompt="1"/>
          </p:nvPr>
        </p:nvSpPr>
        <p:spPr>
          <a:xfrm>
            <a:off x="944099" y="2412039"/>
            <a:ext cx="16400702" cy="1246495"/>
          </a:xfrm>
        </p:spPr>
        <p:txBody>
          <a:bodyPr/>
          <a:lstStyle>
            <a:lvl1pPr rtl="0">
              <a:lnSpc>
                <a:spcPct val="100000"/>
              </a:lnSpc>
              <a:spcBef>
                <a:spcPts val="0"/>
              </a:spcBef>
              <a:spcAft>
                <a:spcPts val="0"/>
              </a:spcAft>
              <a:defRPr sz="2700"/>
            </a:lvl1pPr>
            <a:lvl2pPr rtl="0">
              <a:lnSpc>
                <a:spcPct val="100000"/>
              </a:lnSpc>
              <a:spcBef>
                <a:spcPts val="0"/>
              </a:spcBef>
              <a:spcAft>
                <a:spcPts val="0"/>
              </a:spcAft>
              <a:defRPr sz="2700"/>
            </a:lvl2pPr>
            <a:lvl3pPr rtl="0">
              <a:lnSpc>
                <a:spcPct val="100000"/>
              </a:lnSpc>
              <a:spcBef>
                <a:spcPts val="0"/>
              </a:spcBef>
              <a:spcAft>
                <a:spcPts val="0"/>
              </a:spcAft>
              <a:defRPr sz="2700"/>
            </a:lvl3pPr>
            <a:lvl4pPr>
              <a:lnSpc>
                <a:spcPct val="100000"/>
              </a:lnSpc>
              <a:spcBef>
                <a:spcPts val="0"/>
              </a:spcBef>
              <a:spcAft>
                <a:spcPts val="0"/>
              </a:spcAft>
              <a:defRPr sz="4200"/>
            </a:lvl4pPr>
            <a:lvl5pPr>
              <a:lnSpc>
                <a:spcPct val="100000"/>
              </a:lnSpc>
              <a:spcBef>
                <a:spcPts val="0"/>
              </a:spcBef>
              <a:spcAft>
                <a:spcPts val="0"/>
              </a:spcAft>
              <a:defRPr sz="4200"/>
            </a:lvl5pPr>
          </a:lstStyle>
          <a:p>
            <a:pPr lvl="0"/>
            <a:r>
              <a:rPr lang="es-ES" err="1"/>
              <a:t>Click</a:t>
            </a:r>
            <a:r>
              <a:rPr lang="es-ES"/>
              <a:t> </a:t>
            </a:r>
            <a:r>
              <a:rPr lang="es-ES" err="1"/>
              <a:t>to</a:t>
            </a:r>
            <a:r>
              <a:rPr lang="es-ES"/>
              <a:t> </a:t>
            </a:r>
            <a:r>
              <a:rPr lang="es-ES" err="1"/>
              <a:t>edit</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
        <p:nvSpPr>
          <p:cNvPr id="16" name="Marcador de texto 15">
            <a:extLst>
              <a:ext uri="{FF2B5EF4-FFF2-40B4-BE49-F238E27FC236}">
                <a16:creationId xmlns:a16="http://schemas.microsoft.com/office/drawing/2014/main" id="{03527B78-F151-4CC4-B464-998916944401}"/>
              </a:ext>
            </a:extLst>
          </p:cNvPr>
          <p:cNvSpPr>
            <a:spLocks noGrp="1"/>
          </p:cNvSpPr>
          <p:nvPr>
            <p:ph type="body" sz="quarter" idx="14" hasCustomPrompt="1"/>
          </p:nvPr>
        </p:nvSpPr>
        <p:spPr>
          <a:xfrm>
            <a:off x="2805546" y="9665686"/>
            <a:ext cx="13717449" cy="230832"/>
          </a:xfrm>
        </p:spPr>
        <p:txBody>
          <a:bodyPr anchor="ctr"/>
          <a:lstStyle>
            <a:lvl1pPr rtl="0">
              <a:spcBef>
                <a:spcPts val="0"/>
              </a:spcBef>
              <a:spcAft>
                <a:spcPts val="0"/>
              </a:spcAft>
              <a:buNone/>
              <a:defRPr sz="1500">
                <a:solidFill>
                  <a:schemeClr val="accent6"/>
                </a:solidFill>
              </a:defRPr>
            </a:lvl1pPr>
          </a:lstStyle>
          <a:p>
            <a:pPr lvl="0"/>
            <a:r>
              <a:rPr lang="es-ES" err="1"/>
              <a:t>Insert</a:t>
            </a:r>
            <a:r>
              <a:rPr lang="es-ES"/>
              <a:t> </a:t>
            </a:r>
            <a:r>
              <a:rPr lang="es-ES" err="1"/>
              <a:t>source</a:t>
            </a:r>
            <a:r>
              <a:rPr lang="es-ES"/>
              <a:t>: </a:t>
            </a:r>
            <a:r>
              <a:rPr lang="es-ES" err="1"/>
              <a:t>Include</a:t>
            </a:r>
            <a:r>
              <a:rPr lang="es-ES"/>
              <a:t> a </a:t>
            </a:r>
            <a:r>
              <a:rPr lang="es-ES" err="1"/>
              <a:t>source</a:t>
            </a:r>
            <a:r>
              <a:rPr lang="es-ES"/>
              <a:t> </a:t>
            </a:r>
            <a:r>
              <a:rPr lang="es-ES" err="1"/>
              <a:t>for</a:t>
            </a:r>
            <a:r>
              <a:rPr lang="es-ES"/>
              <a:t> </a:t>
            </a:r>
            <a:r>
              <a:rPr lang="es-ES" err="1"/>
              <a:t>every</a:t>
            </a:r>
            <a:r>
              <a:rPr lang="es-ES"/>
              <a:t> chart/data </a:t>
            </a:r>
            <a:r>
              <a:rPr lang="es-ES" err="1"/>
              <a:t>that</a:t>
            </a:r>
            <a:r>
              <a:rPr lang="es-ES"/>
              <a:t> </a:t>
            </a:r>
            <a:r>
              <a:rPr lang="es-ES" err="1"/>
              <a:t>you</a:t>
            </a:r>
            <a:r>
              <a:rPr lang="es-ES"/>
              <a:t> use; </a:t>
            </a:r>
            <a:r>
              <a:rPr lang="es-ES" err="1"/>
              <a:t>Separate</a:t>
            </a:r>
            <a:r>
              <a:rPr lang="es-ES"/>
              <a:t> </a:t>
            </a:r>
            <a:r>
              <a:rPr lang="es-ES" err="1"/>
              <a:t>sources</a:t>
            </a:r>
            <a:r>
              <a:rPr lang="es-ES"/>
              <a:t> </a:t>
            </a:r>
            <a:r>
              <a:rPr lang="es-ES" err="1"/>
              <a:t>with</a:t>
            </a:r>
            <a:r>
              <a:rPr lang="es-ES"/>
              <a:t> a </a:t>
            </a:r>
            <a:r>
              <a:rPr lang="es-ES" err="1"/>
              <a:t>semicolon</a:t>
            </a:r>
            <a:r>
              <a:rPr lang="es-ES"/>
              <a:t>; THR-</a:t>
            </a:r>
            <a:r>
              <a:rPr lang="es-ES" err="1"/>
              <a:t>related</a:t>
            </a:r>
            <a:r>
              <a:rPr lang="es-ES"/>
              <a:t> </a:t>
            </a:r>
            <a:r>
              <a:rPr lang="es-ES" err="1"/>
              <a:t>sources</a:t>
            </a:r>
            <a:r>
              <a:rPr lang="es-ES"/>
              <a:t> </a:t>
            </a:r>
            <a:r>
              <a:rPr lang="es-ES" err="1"/>
              <a:t>go</a:t>
            </a:r>
            <a:r>
              <a:rPr lang="es-ES"/>
              <a:t> at </a:t>
            </a:r>
            <a:r>
              <a:rPr lang="es-ES" err="1"/>
              <a:t>the</a:t>
            </a:r>
            <a:r>
              <a:rPr lang="es-ES"/>
              <a:t> </a:t>
            </a:r>
            <a:r>
              <a:rPr lang="es-ES" err="1"/>
              <a:t>end</a:t>
            </a:r>
            <a:endParaRPr lang="es-ES"/>
          </a:p>
        </p:txBody>
      </p:sp>
      <p:sp>
        <p:nvSpPr>
          <p:cNvPr id="17" name="Elipse 16">
            <a:extLst>
              <a:ext uri="{FF2B5EF4-FFF2-40B4-BE49-F238E27FC236}">
                <a16:creationId xmlns:a16="http://schemas.microsoft.com/office/drawing/2014/main" id="{3D5E3BAB-E89B-4291-99C6-D1F3F6981EF4}"/>
              </a:ext>
            </a:extLst>
          </p:cNvPr>
          <p:cNvSpPr/>
          <p:nvPr userDrawn="1"/>
        </p:nvSpPr>
        <p:spPr>
          <a:xfrm>
            <a:off x="16805025" y="9511103"/>
            <a:ext cx="540000" cy="540000"/>
          </a:xfrm>
          <a:prstGeom prst="ellipse">
            <a:avLst/>
          </a:prstGeom>
          <a:solidFill>
            <a:srgbClr val="6F8DB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rtl="0"/>
            <a:endParaRPr lang="es-ES" sz="1800">
              <a:solidFill>
                <a:srgbClr val="FFFFFF"/>
              </a:solidFill>
            </a:endParaRPr>
          </a:p>
        </p:txBody>
      </p:sp>
      <p:sp>
        <p:nvSpPr>
          <p:cNvPr id="18" name="TextBox 11">
            <a:extLst>
              <a:ext uri="{FF2B5EF4-FFF2-40B4-BE49-F238E27FC236}">
                <a16:creationId xmlns:a16="http://schemas.microsoft.com/office/drawing/2014/main" id="{A0A6A6CD-1071-41D8-9DD6-AADF08A3F9A6}"/>
              </a:ext>
            </a:extLst>
          </p:cNvPr>
          <p:cNvSpPr txBox="1"/>
          <p:nvPr userDrawn="1"/>
        </p:nvSpPr>
        <p:spPr>
          <a:xfrm>
            <a:off x="16805025" y="9665687"/>
            <a:ext cx="540000" cy="230832"/>
          </a:xfrm>
          <a:prstGeom prst="rect">
            <a:avLst/>
          </a:prstGeom>
          <a:noFill/>
        </p:spPr>
        <p:txBody>
          <a:bodyPr wrap="square" lIns="0" tIns="0" rIns="0" bIns="0" rtlCol="0" anchor="b">
            <a:spAutoFit/>
          </a:bodyPr>
          <a:lstStyle/>
          <a:p>
            <a:pPr marL="0" marR="0" indent="0" algn="ctr" defTabSz="1371600" rtl="0" eaLnBrk="1" fontAlgn="auto" latinLnBrk="0" hangingPunct="1">
              <a:lnSpc>
                <a:spcPct val="100000"/>
              </a:lnSpc>
              <a:spcBef>
                <a:spcPts val="0"/>
              </a:spcBef>
              <a:spcAft>
                <a:spcPts val="0"/>
              </a:spcAft>
              <a:buClrTx/>
              <a:buSzTx/>
              <a:buFontTx/>
              <a:buNone/>
              <a:tabLst/>
              <a:defRPr/>
            </a:pPr>
            <a:fld id="{DFCF27A5-1A5B-48D3-A060-2758FFBB1ADD}" type="slidenum">
              <a:rPr lang="es-ES" sz="1500" kern="1200" smtClean="0">
                <a:solidFill>
                  <a:schemeClr val="bg1"/>
                </a:solidFill>
                <a:latin typeface="+mn-lt"/>
                <a:ea typeface="+mn-ea"/>
                <a:cs typeface="+mn-cs"/>
                <a:sym typeface="Trebuchet MS" panose="020B0603020202020204" pitchFamily="34" charset="0"/>
              </a:rPr>
              <a:pPr marL="0" marR="0" indent="0" algn="ctr" defTabSz="1371600" rtl="0" eaLnBrk="1" fontAlgn="auto" latinLnBrk="0" hangingPunct="1">
                <a:lnSpc>
                  <a:spcPct val="100000"/>
                </a:lnSpc>
                <a:spcBef>
                  <a:spcPts val="0"/>
                </a:spcBef>
                <a:spcAft>
                  <a:spcPts val="0"/>
                </a:spcAft>
                <a:buClrTx/>
                <a:buSzTx/>
                <a:buFontTx/>
                <a:buNone/>
                <a:tabLst/>
                <a:defRPr/>
              </a:pPr>
              <a:t>‹#›</a:t>
            </a:fld>
            <a:endParaRPr lang="es-ES" sz="1500" kern="1200">
              <a:solidFill>
                <a:schemeClr val="bg1"/>
              </a:solidFill>
              <a:latin typeface="+mn-lt"/>
              <a:ea typeface="+mn-ea"/>
              <a:cs typeface="+mn-cs"/>
              <a:sym typeface="Trebuchet MS" panose="020B0603020202020204" pitchFamily="34" charset="0"/>
            </a:endParaRPr>
          </a:p>
        </p:txBody>
      </p:sp>
      <p:sp>
        <p:nvSpPr>
          <p:cNvPr id="13" name="Subtitle 2">
            <a:extLst>
              <a:ext uri="{FF2B5EF4-FFF2-40B4-BE49-F238E27FC236}">
                <a16:creationId xmlns:a16="http://schemas.microsoft.com/office/drawing/2014/main" id="{2BCD3701-C701-4D7D-A20D-C6A562131208}"/>
              </a:ext>
            </a:extLst>
          </p:cNvPr>
          <p:cNvSpPr>
            <a:spLocks noGrp="1"/>
          </p:cNvSpPr>
          <p:nvPr>
            <p:ph type="subTitle" idx="1" hasCustomPrompt="1"/>
          </p:nvPr>
        </p:nvSpPr>
        <p:spPr bwMode="white">
          <a:xfrm>
            <a:off x="941424" y="260220"/>
            <a:ext cx="7387158" cy="385939"/>
          </a:xfrm>
          <a:prstGeom prst="rect">
            <a:avLst/>
          </a:prstGeom>
        </p:spPr>
        <p:txBody>
          <a:bodyPr anchor="ctr"/>
          <a:lstStyle>
            <a:lvl1pPr marL="0" indent="0" algn="l" rtl="0">
              <a:lnSpc>
                <a:spcPct val="110000"/>
              </a:lnSpc>
              <a:buNone/>
              <a:defRPr sz="2400" baseline="0">
                <a:solidFill>
                  <a:schemeClr val="tx2"/>
                </a:solidFill>
                <a:latin typeface="+mn-lt"/>
                <a:sym typeface="Trebuchet MS" panose="020B0603020202020204" pitchFamily="34" charset="0"/>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s-ES" err="1"/>
              <a:t>Click</a:t>
            </a:r>
            <a:r>
              <a:rPr lang="es-ES"/>
              <a:t> </a:t>
            </a:r>
            <a:r>
              <a:rPr lang="es-ES" err="1"/>
              <a:t>to</a:t>
            </a:r>
            <a:r>
              <a:rPr lang="es-ES"/>
              <a:t> </a:t>
            </a:r>
            <a:r>
              <a:rPr lang="es-ES" err="1"/>
              <a:t>add</a:t>
            </a:r>
            <a:r>
              <a:rPr lang="es-ES"/>
              <a:t> </a:t>
            </a:r>
            <a:r>
              <a:rPr lang="es-ES" err="1"/>
              <a:t>section</a:t>
            </a:r>
            <a:r>
              <a:rPr lang="es-ES"/>
              <a:t> </a:t>
            </a:r>
            <a:r>
              <a:rPr lang="es-ES" err="1"/>
              <a:t>name</a:t>
            </a:r>
            <a:endParaRPr lang="es-ES"/>
          </a:p>
        </p:txBody>
      </p:sp>
      <p:pic>
        <p:nvPicPr>
          <p:cNvPr id="19" name="Picture 4" descr="Shape&#10;&#10;Description automatically generated with low confidence">
            <a:extLst>
              <a:ext uri="{FF2B5EF4-FFF2-40B4-BE49-F238E27FC236}">
                <a16:creationId xmlns:a16="http://schemas.microsoft.com/office/drawing/2014/main" id="{9A192B4A-6D43-47CA-9172-FACF41ECF888}"/>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42975" y="9657055"/>
            <a:ext cx="1542813" cy="248096"/>
          </a:xfrm>
          <a:prstGeom prst="rect">
            <a:avLst/>
          </a:prstGeom>
        </p:spPr>
      </p:pic>
      <p:pic>
        <p:nvPicPr>
          <p:cNvPr id="9" name="Imagen 8" descr="Icono&#10;&#10;Descripción generada automáticamente">
            <a:extLst>
              <a:ext uri="{FF2B5EF4-FFF2-40B4-BE49-F238E27FC236}">
                <a16:creationId xmlns:a16="http://schemas.microsoft.com/office/drawing/2014/main" id="{952D8C3D-E0E4-548C-482B-05ED8F25B9F9}"/>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7412380" y="100016"/>
            <a:ext cx="683465" cy="683465"/>
          </a:xfrm>
          <a:prstGeom prst="rect">
            <a:avLst/>
          </a:prstGeom>
        </p:spPr>
      </p:pic>
      <p:sp>
        <p:nvSpPr>
          <p:cNvPr id="20" name="Title 4">
            <a:extLst>
              <a:ext uri="{FF2B5EF4-FFF2-40B4-BE49-F238E27FC236}">
                <a16:creationId xmlns:a16="http://schemas.microsoft.com/office/drawing/2014/main" id="{DF9FEBAD-B900-FA58-D9B9-8E24E056CD4A}"/>
              </a:ext>
            </a:extLst>
          </p:cNvPr>
          <p:cNvSpPr>
            <a:spLocks noGrp="1"/>
          </p:cNvSpPr>
          <p:nvPr>
            <p:ph type="title" hasCustomPrompt="1"/>
          </p:nvPr>
        </p:nvSpPr>
        <p:spPr>
          <a:xfrm>
            <a:off x="945000" y="1088162"/>
            <a:ext cx="16399800" cy="581697"/>
          </a:xfrm>
          <a:prstGeom prst="rect">
            <a:avLst/>
          </a:prstGeom>
        </p:spPr>
        <p:txBody>
          <a:bodyPr vert="horz" wrap="square" lIns="0" tIns="0" rIns="0" bIns="0" anchor="t" anchorCtr="0">
            <a:spAutoFit/>
          </a:bodyPr>
          <a:lstStyle>
            <a:lvl1pPr marL="0" indent="0" algn="ctr" rtl="0">
              <a:lnSpc>
                <a:spcPct val="90000"/>
              </a:lnSpc>
              <a:spcBef>
                <a:spcPct val="0"/>
              </a:spcBef>
              <a:spcAft>
                <a:spcPts val="0"/>
              </a:spcAft>
              <a:defRPr sz="4200" b="0" i="0" u="none" kern="1200" spc="0">
                <a:solidFill>
                  <a:schemeClr val="accent1"/>
                </a:solidFill>
                <a:latin typeface="+mj-lt"/>
                <a:sym typeface="Trebuchet MS" panose="020B0603020202020204" pitchFamily="34" charset="0"/>
              </a:defRPr>
            </a:lvl1pPr>
          </a:lstStyle>
          <a:p>
            <a:pPr lvl="0"/>
            <a:r>
              <a:rPr lang="es-ES" err="1"/>
              <a:t>Click</a:t>
            </a:r>
            <a:r>
              <a:rPr lang="es-ES"/>
              <a:t> </a:t>
            </a:r>
            <a:r>
              <a:rPr lang="es-ES" err="1"/>
              <a:t>to</a:t>
            </a:r>
            <a:r>
              <a:rPr lang="es-ES"/>
              <a:t> </a:t>
            </a:r>
            <a:r>
              <a:rPr lang="es-ES" err="1"/>
              <a:t>add</a:t>
            </a:r>
            <a:r>
              <a:rPr lang="es-ES"/>
              <a:t> </a:t>
            </a:r>
            <a:r>
              <a:rPr lang="es-ES" err="1"/>
              <a:t>title</a:t>
            </a:r>
            <a:endParaRPr lang="es-ES"/>
          </a:p>
        </p:txBody>
      </p:sp>
    </p:spTree>
    <p:extLst>
      <p:ext uri="{BB962C8B-B14F-4D97-AF65-F5344CB8AC3E}">
        <p14:creationId xmlns:p14="http://schemas.microsoft.com/office/powerpoint/2010/main" val="2500609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91">
          <p15:clr>
            <a:srgbClr val="FBAE40"/>
          </p15:clr>
        </p15:guide>
        <p15:guide id="2" orient="horz" pos="1003">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66418" y="384147"/>
            <a:ext cx="17955163" cy="482600"/>
          </a:xfrm>
          <a:prstGeom prst="rect">
            <a:avLst/>
          </a:prstGeom>
        </p:spPr>
        <p:txBody>
          <a:bodyPr wrap="square" lIns="0" tIns="0" rIns="0" bIns="0">
            <a:spAutoFit/>
          </a:bodyPr>
          <a:lstStyle>
            <a:lvl1pPr>
              <a:defRPr sz="3000" b="0" i="0">
                <a:solidFill>
                  <a:schemeClr val="bg1"/>
                </a:solidFill>
                <a:latin typeface="Roboto"/>
                <a:cs typeface="Roboto"/>
              </a:defRPr>
            </a:lvl1pPr>
          </a:lstStyle>
          <a:p>
            <a:endParaRPr/>
          </a:p>
        </p:txBody>
      </p:sp>
      <p:sp>
        <p:nvSpPr>
          <p:cNvPr id="3" name="Holder 3"/>
          <p:cNvSpPr>
            <a:spLocks noGrp="1"/>
          </p:cNvSpPr>
          <p:nvPr>
            <p:ph type="body" idx="1"/>
          </p:nvPr>
        </p:nvSpPr>
        <p:spPr>
          <a:xfrm>
            <a:off x="5452954" y="2496703"/>
            <a:ext cx="7382091" cy="2592070"/>
          </a:xfrm>
          <a:prstGeom prst="rect">
            <a:avLst/>
          </a:prstGeom>
        </p:spPr>
        <p:txBody>
          <a:bodyPr wrap="square" lIns="0" tIns="0" rIns="0" bIns="0">
            <a:spAutoFit/>
          </a:bodyPr>
          <a:lstStyle>
            <a:lvl1pPr>
              <a:defRPr sz="4050" b="1" i="0">
                <a:solidFill>
                  <a:schemeClr val="bg1"/>
                </a:solidFill>
                <a:latin typeface="Arial"/>
                <a:cs typeface="Arial"/>
              </a:defRPr>
            </a:lvl1pPr>
          </a:lstStyle>
          <a:p>
            <a:endParaRPr/>
          </a:p>
        </p:txBody>
      </p:sp>
      <p:sp>
        <p:nvSpPr>
          <p:cNvPr id="4" name="Holder 4"/>
          <p:cNvSpPr>
            <a:spLocks noGrp="1"/>
          </p:cNvSpPr>
          <p:nvPr>
            <p:ph type="ftr" sz="quarter" idx="5"/>
          </p:nvPr>
        </p:nvSpPr>
        <p:spPr>
          <a:xfrm>
            <a:off x="230690" y="9928082"/>
            <a:ext cx="4718050" cy="169107"/>
          </a:xfrm>
          <a:prstGeom prst="rect">
            <a:avLst/>
          </a:prstGeom>
        </p:spPr>
        <p:txBody>
          <a:bodyPr wrap="square" lIns="0" tIns="0" rIns="0" bIns="0">
            <a:spAutoFit/>
          </a:bodyPr>
          <a:lstStyle>
            <a:lvl1pPr>
              <a:defRPr sz="1100" b="1" i="0">
                <a:solidFill>
                  <a:srgbClr val="737373"/>
                </a:solidFill>
                <a:latin typeface="Arial"/>
                <a:cs typeface="Arial"/>
              </a:defRPr>
            </a:lvl1p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5" name="Holder 5"/>
          <p:cNvSpPr>
            <a:spLocks noGrp="1"/>
          </p:cNvSpPr>
          <p:nvPr>
            <p:ph type="dt" sz="half" idx="6"/>
          </p:nvPr>
        </p:nvSpPr>
        <p:spPr>
          <a:xfrm>
            <a:off x="914400" y="9566910"/>
            <a:ext cx="4206240" cy="51435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8/22/23</a:t>
            </a:fld>
            <a:endParaRPr lang="en-US"/>
          </a:p>
        </p:txBody>
      </p:sp>
      <p:sp>
        <p:nvSpPr>
          <p:cNvPr id="6" name="Holder 6"/>
          <p:cNvSpPr>
            <a:spLocks noGrp="1"/>
          </p:cNvSpPr>
          <p:nvPr>
            <p:ph type="sldNum" sz="quarter" idx="7"/>
          </p:nvPr>
        </p:nvSpPr>
        <p:spPr>
          <a:xfrm>
            <a:off x="17811802" y="9932977"/>
            <a:ext cx="255905" cy="144779"/>
          </a:xfrm>
          <a:prstGeom prst="rect">
            <a:avLst/>
          </a:prstGeom>
        </p:spPr>
        <p:txBody>
          <a:bodyPr wrap="square" lIns="0" tIns="0" rIns="0" bIns="0">
            <a:spAutoFit/>
          </a:bodyPr>
          <a:lstStyle>
            <a:lvl1pPr>
              <a:defRPr sz="900" b="1" i="0">
                <a:solidFill>
                  <a:srgbClr val="737373"/>
                </a:solidFill>
                <a:latin typeface="Arial"/>
                <a:cs typeface="Arial"/>
              </a:defRPr>
            </a:lvl1pPr>
          </a:lstStyle>
          <a:p>
            <a:pPr marL="12700">
              <a:lnSpc>
                <a:spcPts val="1030"/>
              </a:lnSpc>
            </a:pPr>
            <a:r>
              <a:rPr dirty="0"/>
              <a:t>I</a:t>
            </a:r>
            <a:r>
              <a:rPr spc="-15" dirty="0"/>
              <a:t> </a:t>
            </a:r>
            <a:fld id="{81D60167-4931-47E6-BA6A-407CBD079E47}" type="slidenum">
              <a:rPr spc="-25" dirty="0"/>
              <a:t>‹#›</a:t>
            </a:fld>
            <a:endParaRPr spc="-25"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5.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1.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3" Type="http://schemas.openxmlformats.org/officeDocument/2006/relationships/image" Target="../media/image21.png"/><Relationship Id="rId21" Type="http://schemas.openxmlformats.org/officeDocument/2006/relationships/image" Target="../media/image39.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image" Target="../media/image20.png"/><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29.png"/><Relationship Id="rId24" Type="http://schemas.openxmlformats.org/officeDocument/2006/relationships/image" Target="../media/image7.pn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7.png"/><Relationship Id="rId2" Type="http://schemas.openxmlformats.org/officeDocument/2006/relationships/image" Target="../media/image42.png"/><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8.png"/><Relationship Id="rId7" Type="http://schemas.openxmlformats.org/officeDocument/2006/relationships/image" Target="../media/image42.png"/><Relationship Id="rId2"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6.pn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1.png"/><Relationship Id="rId2"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5" Type="http://schemas.openxmlformats.org/officeDocument/2006/relationships/image" Target="../media/image7.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3.png"/></Relationships>
</file>

<file path=ppt/slides/_rels/slide16.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5.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image" Target="../media/image64.png"/><Relationship Id="rId16"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55.png"/><Relationship Id="rId11" Type="http://schemas.openxmlformats.org/officeDocument/2006/relationships/image" Target="../media/image71.png"/><Relationship Id="rId5" Type="http://schemas.openxmlformats.org/officeDocument/2006/relationships/image" Target="../media/image54.png"/><Relationship Id="rId15" Type="http://schemas.openxmlformats.org/officeDocument/2006/relationships/image" Target="../media/image63.png"/><Relationship Id="rId10" Type="http://schemas.openxmlformats.org/officeDocument/2006/relationships/image" Target="../media/image70.png"/><Relationship Id="rId4" Type="http://schemas.openxmlformats.org/officeDocument/2006/relationships/image" Target="../media/image66.png"/><Relationship Id="rId9" Type="http://schemas.openxmlformats.org/officeDocument/2006/relationships/image" Target="../media/image69.png"/><Relationship Id="rId14" Type="http://schemas.openxmlformats.org/officeDocument/2006/relationships/image" Target="../media/image62.png"/></Relationships>
</file>

<file path=ppt/slides/_rels/slide1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Layout" Target="../slideLayouts/slideLayout2.xml"/><Relationship Id="rId6" Type="http://schemas.openxmlformats.org/officeDocument/2006/relationships/image" Target="../media/image78.png"/><Relationship Id="rId5" Type="http://schemas.openxmlformats.org/officeDocument/2006/relationships/image" Target="../media/image77.png"/><Relationship Id="rId10" Type="http://schemas.openxmlformats.org/officeDocument/2006/relationships/image" Target="../media/image7.png"/><Relationship Id="rId4" Type="http://schemas.openxmlformats.org/officeDocument/2006/relationships/image" Target="../media/image76.png"/><Relationship Id="rId9" Type="http://schemas.openxmlformats.org/officeDocument/2006/relationships/image" Target="../media/image80.png"/></Relationships>
</file>

<file path=ppt/slides/_rels/slide1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7.png"/><Relationship Id="rId2" Type="http://schemas.openxmlformats.org/officeDocument/2006/relationships/image" Target="../media/image81.png"/><Relationship Id="rId1" Type="http://schemas.openxmlformats.org/officeDocument/2006/relationships/slideLayout" Target="../slideLayouts/slideLayout2.xml"/><Relationship Id="rId6" Type="http://schemas.openxmlformats.org/officeDocument/2006/relationships/image" Target="../media/image85.pn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png"/><Relationship Id="rId4" Type="http://schemas.openxmlformats.org/officeDocument/2006/relationships/image" Target="../media/image83.png"/><Relationship Id="rId9" Type="http://schemas.openxmlformats.org/officeDocument/2006/relationships/image" Target="../media/image88.png"/></Relationships>
</file>

<file path=ppt/slides/_rels/slide19.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1.png"/><Relationship Id="rId18" Type="http://schemas.openxmlformats.org/officeDocument/2006/relationships/image" Target="../media/image105.png"/><Relationship Id="rId3" Type="http://schemas.openxmlformats.org/officeDocument/2006/relationships/image" Target="../media/image92.png"/><Relationship Id="rId21" Type="http://schemas.openxmlformats.org/officeDocument/2006/relationships/image" Target="../media/image108.png"/><Relationship Id="rId7" Type="http://schemas.openxmlformats.org/officeDocument/2006/relationships/image" Target="../media/image96.png"/><Relationship Id="rId12" Type="http://schemas.openxmlformats.org/officeDocument/2006/relationships/image" Target="../media/image100.png"/><Relationship Id="rId17" Type="http://schemas.openxmlformats.org/officeDocument/2006/relationships/image" Target="../media/image104.png"/><Relationship Id="rId2" Type="http://schemas.openxmlformats.org/officeDocument/2006/relationships/image" Target="../media/image91.png"/><Relationship Id="rId16" Type="http://schemas.openxmlformats.org/officeDocument/2006/relationships/image" Target="../media/image22.png"/><Relationship Id="rId20" Type="http://schemas.openxmlformats.org/officeDocument/2006/relationships/image" Target="../media/image107.png"/><Relationship Id="rId1" Type="http://schemas.openxmlformats.org/officeDocument/2006/relationships/slideLayout" Target="../slideLayouts/slideLayout2.xml"/><Relationship Id="rId6" Type="http://schemas.openxmlformats.org/officeDocument/2006/relationships/image" Target="../media/image95.png"/><Relationship Id="rId11" Type="http://schemas.openxmlformats.org/officeDocument/2006/relationships/image" Target="../media/image99.png"/><Relationship Id="rId24" Type="http://schemas.openxmlformats.org/officeDocument/2006/relationships/image" Target="../media/image7.png"/><Relationship Id="rId5" Type="http://schemas.openxmlformats.org/officeDocument/2006/relationships/image" Target="../media/image94.png"/><Relationship Id="rId15" Type="http://schemas.openxmlformats.org/officeDocument/2006/relationships/image" Target="../media/image103.png"/><Relationship Id="rId23" Type="http://schemas.openxmlformats.org/officeDocument/2006/relationships/image" Target="../media/image110.png"/><Relationship Id="rId10" Type="http://schemas.openxmlformats.org/officeDocument/2006/relationships/image" Target="../media/image98.png"/><Relationship Id="rId19" Type="http://schemas.openxmlformats.org/officeDocument/2006/relationships/image" Target="../media/image106.png"/><Relationship Id="rId4" Type="http://schemas.openxmlformats.org/officeDocument/2006/relationships/image" Target="../media/image93.png"/><Relationship Id="rId9" Type="http://schemas.openxmlformats.org/officeDocument/2006/relationships/image" Target="../media/image83.png"/><Relationship Id="rId14" Type="http://schemas.openxmlformats.org/officeDocument/2006/relationships/image" Target="../media/image102.png"/><Relationship Id="rId22" Type="http://schemas.openxmlformats.org/officeDocument/2006/relationships/image" Target="../media/image10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113.png"/></Relationships>
</file>

<file path=ppt/slides/_rels/slide21.xml.rels><?xml version="1.0" encoding="UTF-8" standalone="yes"?>
<Relationships xmlns="http://schemas.openxmlformats.org/package/2006/relationships"><Relationship Id="rId3" Type="http://schemas.openxmlformats.org/officeDocument/2006/relationships/image" Target="../media/image115.png"/><Relationship Id="rId7" Type="http://schemas.openxmlformats.org/officeDocument/2006/relationships/image" Target="../media/image7.png"/><Relationship Id="rId2" Type="http://schemas.openxmlformats.org/officeDocument/2006/relationships/image" Target="../media/image114.png"/><Relationship Id="rId1" Type="http://schemas.openxmlformats.org/officeDocument/2006/relationships/slideLayout" Target="../slideLayouts/slideLayout2.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22.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pn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png"/><Relationship Id="rId2" Type="http://schemas.openxmlformats.org/officeDocument/2006/relationships/image" Target="../media/image119.png"/><Relationship Id="rId1" Type="http://schemas.openxmlformats.org/officeDocument/2006/relationships/slideLayout" Target="../slideLayouts/slideLayout2.xml"/><Relationship Id="rId6" Type="http://schemas.openxmlformats.org/officeDocument/2006/relationships/image" Target="../media/image123.png"/><Relationship Id="rId11" Type="http://schemas.openxmlformats.org/officeDocument/2006/relationships/image" Target="../media/image128.png"/><Relationship Id="rId5" Type="http://schemas.openxmlformats.org/officeDocument/2006/relationships/image" Target="../media/image122.pn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png"/><Relationship Id="rId14" Type="http://schemas.openxmlformats.org/officeDocument/2006/relationships/image" Target="../media/image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133.png"/></Relationships>
</file>

<file path=ppt/slides/_rels/slide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35.png"/><Relationship Id="rId7" Type="http://schemas.openxmlformats.org/officeDocument/2006/relationships/image" Target="../media/image139.jpg"/><Relationship Id="rId2" Type="http://schemas.openxmlformats.org/officeDocument/2006/relationships/image" Target="../media/image134.png"/><Relationship Id="rId1" Type="http://schemas.openxmlformats.org/officeDocument/2006/relationships/slideLayout" Target="../slideLayouts/slideLayout3.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146.png"/><Relationship Id="rId13" Type="http://schemas.openxmlformats.org/officeDocument/2006/relationships/image" Target="../media/image151.png"/><Relationship Id="rId3" Type="http://schemas.openxmlformats.org/officeDocument/2006/relationships/image" Target="../media/image142.png"/><Relationship Id="rId7" Type="http://schemas.openxmlformats.org/officeDocument/2006/relationships/image" Target="../media/image83.png"/><Relationship Id="rId12" Type="http://schemas.openxmlformats.org/officeDocument/2006/relationships/image" Target="../media/image150.png"/><Relationship Id="rId2" Type="http://schemas.openxmlformats.org/officeDocument/2006/relationships/image" Target="../media/image141.png"/><Relationship Id="rId16"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45.png"/><Relationship Id="rId11" Type="http://schemas.openxmlformats.org/officeDocument/2006/relationships/image" Target="../media/image149.png"/><Relationship Id="rId5" Type="http://schemas.openxmlformats.org/officeDocument/2006/relationships/image" Target="../media/image144.png"/><Relationship Id="rId15" Type="http://schemas.openxmlformats.org/officeDocument/2006/relationships/image" Target="../media/image153.png"/><Relationship Id="rId10" Type="http://schemas.openxmlformats.org/officeDocument/2006/relationships/image" Target="../media/image148.png"/><Relationship Id="rId4" Type="http://schemas.openxmlformats.org/officeDocument/2006/relationships/image" Target="../media/image143.png"/><Relationship Id="rId9" Type="http://schemas.openxmlformats.org/officeDocument/2006/relationships/image" Target="../media/image147.png"/><Relationship Id="rId14" Type="http://schemas.openxmlformats.org/officeDocument/2006/relationships/image" Target="../media/image15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7.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7.png"/><Relationship Id="rId3" Type="http://schemas.openxmlformats.org/officeDocument/2006/relationships/image" Target="../media/image159.jpg"/><Relationship Id="rId7" Type="http://schemas.openxmlformats.org/officeDocument/2006/relationships/image" Target="../media/image163.png"/><Relationship Id="rId12" Type="http://schemas.openxmlformats.org/officeDocument/2006/relationships/image" Target="../media/image168.jpg"/><Relationship Id="rId2" Type="http://schemas.openxmlformats.org/officeDocument/2006/relationships/image" Target="../media/image158.jpg"/><Relationship Id="rId1" Type="http://schemas.openxmlformats.org/officeDocument/2006/relationships/slideLayout" Target="../slideLayouts/slideLayout2.xml"/><Relationship Id="rId6" Type="http://schemas.openxmlformats.org/officeDocument/2006/relationships/image" Target="../media/image162.jpg"/><Relationship Id="rId11" Type="http://schemas.openxmlformats.org/officeDocument/2006/relationships/image" Target="../media/image167.png"/><Relationship Id="rId5" Type="http://schemas.openxmlformats.org/officeDocument/2006/relationships/image" Target="../media/image161.png"/><Relationship Id="rId10" Type="http://schemas.openxmlformats.org/officeDocument/2006/relationships/image" Target="../media/image166.jpg"/><Relationship Id="rId4" Type="http://schemas.openxmlformats.org/officeDocument/2006/relationships/image" Target="../media/image160.jpg"/><Relationship Id="rId9" Type="http://schemas.openxmlformats.org/officeDocument/2006/relationships/image" Target="../media/image165.jp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8" Type="http://schemas.openxmlformats.org/officeDocument/2006/relationships/image" Target="../media/image175.jpg"/><Relationship Id="rId3" Type="http://schemas.openxmlformats.org/officeDocument/2006/relationships/image" Target="../media/image170.png"/><Relationship Id="rId7" Type="http://schemas.openxmlformats.org/officeDocument/2006/relationships/image" Target="../media/image174.jpg"/><Relationship Id="rId12" Type="http://schemas.openxmlformats.org/officeDocument/2006/relationships/image" Target="../media/image7.png"/><Relationship Id="rId2" Type="http://schemas.openxmlformats.org/officeDocument/2006/relationships/image" Target="../media/image169.png"/><Relationship Id="rId1" Type="http://schemas.openxmlformats.org/officeDocument/2006/relationships/slideLayout" Target="../slideLayouts/slideLayout2.xml"/><Relationship Id="rId6" Type="http://schemas.openxmlformats.org/officeDocument/2006/relationships/image" Target="../media/image173.png"/><Relationship Id="rId11" Type="http://schemas.openxmlformats.org/officeDocument/2006/relationships/image" Target="../media/image178.jpg"/><Relationship Id="rId5" Type="http://schemas.openxmlformats.org/officeDocument/2006/relationships/image" Target="../media/image172.png"/><Relationship Id="rId10" Type="http://schemas.openxmlformats.org/officeDocument/2006/relationships/image" Target="../media/image177.png"/><Relationship Id="rId4" Type="http://schemas.openxmlformats.org/officeDocument/2006/relationships/image" Target="../media/image171.png"/><Relationship Id="rId9" Type="http://schemas.openxmlformats.org/officeDocument/2006/relationships/image" Target="../media/image176.png"/></Relationships>
</file>

<file path=ppt/slides/_rels/slide38.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166.jpg"/><Relationship Id="rId7" Type="http://schemas.openxmlformats.org/officeDocument/2006/relationships/image" Target="../media/image182.png"/><Relationship Id="rId2" Type="http://schemas.openxmlformats.org/officeDocument/2006/relationships/image" Target="../media/image179.png"/><Relationship Id="rId1" Type="http://schemas.openxmlformats.org/officeDocument/2006/relationships/slideLayout" Target="../slideLayouts/slideLayout2.xml"/><Relationship Id="rId6" Type="http://schemas.openxmlformats.org/officeDocument/2006/relationships/image" Target="../media/image181.png"/><Relationship Id="rId11" Type="http://schemas.openxmlformats.org/officeDocument/2006/relationships/image" Target="../media/image7.png"/><Relationship Id="rId5" Type="http://schemas.openxmlformats.org/officeDocument/2006/relationships/image" Target="../media/image180.jpg"/><Relationship Id="rId10" Type="http://schemas.openxmlformats.org/officeDocument/2006/relationships/image" Target="../media/image185.jpg"/><Relationship Id="rId4" Type="http://schemas.openxmlformats.org/officeDocument/2006/relationships/image" Target="../media/image167.png"/><Relationship Id="rId9" Type="http://schemas.openxmlformats.org/officeDocument/2006/relationships/image" Target="../media/image184.png"/></Relationships>
</file>

<file path=ppt/slides/_rels/slide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86.emf"/><Relationship Id="rId5" Type="http://schemas.openxmlformats.org/officeDocument/2006/relationships/oleObject" Target="../embeddings/oleObject2.bin"/><Relationship Id="rId4" Type="http://schemas.openxmlformats.org/officeDocument/2006/relationships/image" Target="../media/image7.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86.emf"/><Relationship Id="rId5" Type="http://schemas.openxmlformats.org/officeDocument/2006/relationships/oleObject" Target="../embeddings/oleObject3.bin"/><Relationship Id="rId4" Type="http://schemas.openxmlformats.org/officeDocument/2006/relationships/image" Target="../media/image7.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7.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image" Target="../media/image187.png"/><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189.png"/></Relationships>
</file>

<file path=ppt/slides/_rels/slide4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89.png"/><Relationship Id="rId7" Type="http://schemas.openxmlformats.org/officeDocument/2006/relationships/image" Target="../media/image192.png"/><Relationship Id="rId2" Type="http://schemas.openxmlformats.org/officeDocument/2006/relationships/image" Target="../media/image187.png"/><Relationship Id="rId1" Type="http://schemas.openxmlformats.org/officeDocument/2006/relationships/slideLayout" Target="../slideLayouts/slideLayout2.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image" Target="../media/image188.png"/></Relationships>
</file>

<file path=ppt/slides/_rels/slide46.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image" Target="../media/image188.png"/><Relationship Id="rId7" Type="http://schemas.openxmlformats.org/officeDocument/2006/relationships/image" Target="../media/image192.png"/><Relationship Id="rId2" Type="http://schemas.openxmlformats.org/officeDocument/2006/relationships/image" Target="../media/image187.png"/><Relationship Id="rId1" Type="http://schemas.openxmlformats.org/officeDocument/2006/relationships/slideLayout" Target="../slideLayouts/slideLayout2.xml"/><Relationship Id="rId6" Type="http://schemas.openxmlformats.org/officeDocument/2006/relationships/image" Target="../media/image191.png"/><Relationship Id="rId11" Type="http://schemas.openxmlformats.org/officeDocument/2006/relationships/image" Target="../media/image7.png"/><Relationship Id="rId5" Type="http://schemas.openxmlformats.org/officeDocument/2006/relationships/image" Target="../media/image190.png"/><Relationship Id="rId10" Type="http://schemas.openxmlformats.org/officeDocument/2006/relationships/image" Target="../media/image195.png"/><Relationship Id="rId4" Type="http://schemas.openxmlformats.org/officeDocument/2006/relationships/image" Target="../media/image189.png"/><Relationship Id="rId9" Type="http://schemas.openxmlformats.org/officeDocument/2006/relationships/image" Target="../media/image194.png"/></Relationships>
</file>

<file path=ppt/slides/_rels/slide47.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image" Target="../media/image187.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8.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image" Target="../media/image187.png"/><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197.png"/></Relationships>
</file>

<file path=ppt/slides/_rels/slide49.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image" Target="../media/image187.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192.png"/><Relationship Id="rId4" Type="http://schemas.openxmlformats.org/officeDocument/2006/relationships/image" Target="../media/image197.png"/></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6.png"/><Relationship Id="rId7" Type="http://schemas.openxmlformats.org/officeDocument/2006/relationships/image" Target="../media/image199.png"/><Relationship Id="rId2" Type="http://schemas.openxmlformats.org/officeDocument/2006/relationships/image" Target="../media/image187.png"/><Relationship Id="rId1" Type="http://schemas.openxmlformats.org/officeDocument/2006/relationships/slideLayout" Target="../slideLayouts/slideLayout2.xml"/><Relationship Id="rId6" Type="http://schemas.openxmlformats.org/officeDocument/2006/relationships/image" Target="../media/image198.png"/><Relationship Id="rId5" Type="http://schemas.openxmlformats.org/officeDocument/2006/relationships/image" Target="../media/image192.png"/><Relationship Id="rId10" Type="http://schemas.openxmlformats.org/officeDocument/2006/relationships/image" Target="../media/image7.png"/><Relationship Id="rId4" Type="http://schemas.openxmlformats.org/officeDocument/2006/relationships/image" Target="../media/image197.png"/><Relationship Id="rId9" Type="http://schemas.openxmlformats.org/officeDocument/2006/relationships/image" Target="../media/image201.png"/></Relationships>
</file>

<file path=ppt/slides/_rels/slide51.xml.rels><?xml version="1.0" encoding="UTF-8" standalone="yes"?>
<Relationships xmlns="http://schemas.openxmlformats.org/package/2006/relationships"><Relationship Id="rId8" Type="http://schemas.openxmlformats.org/officeDocument/2006/relationships/image" Target="../media/image208.png"/><Relationship Id="rId13" Type="http://schemas.openxmlformats.org/officeDocument/2006/relationships/image" Target="../media/image213.png"/><Relationship Id="rId3" Type="http://schemas.openxmlformats.org/officeDocument/2006/relationships/image" Target="../media/image203.png"/><Relationship Id="rId7" Type="http://schemas.openxmlformats.org/officeDocument/2006/relationships/image" Target="../media/image207.png"/><Relationship Id="rId12" Type="http://schemas.openxmlformats.org/officeDocument/2006/relationships/image" Target="../media/image212.png"/><Relationship Id="rId17" Type="http://schemas.openxmlformats.org/officeDocument/2006/relationships/image" Target="../media/image7.png"/><Relationship Id="rId2" Type="http://schemas.openxmlformats.org/officeDocument/2006/relationships/image" Target="../media/image202.png"/><Relationship Id="rId16" Type="http://schemas.openxmlformats.org/officeDocument/2006/relationships/image" Target="../media/image216.png"/><Relationship Id="rId1" Type="http://schemas.openxmlformats.org/officeDocument/2006/relationships/slideLayout" Target="../slideLayouts/slideLayout2.xml"/><Relationship Id="rId6" Type="http://schemas.openxmlformats.org/officeDocument/2006/relationships/image" Target="../media/image206.png"/><Relationship Id="rId11" Type="http://schemas.openxmlformats.org/officeDocument/2006/relationships/image" Target="../media/image211.png"/><Relationship Id="rId5" Type="http://schemas.openxmlformats.org/officeDocument/2006/relationships/image" Target="../media/image205.png"/><Relationship Id="rId15" Type="http://schemas.openxmlformats.org/officeDocument/2006/relationships/image" Target="../media/image215.png"/><Relationship Id="rId10" Type="http://schemas.openxmlformats.org/officeDocument/2006/relationships/image" Target="../media/image210.png"/><Relationship Id="rId4" Type="http://schemas.openxmlformats.org/officeDocument/2006/relationships/image" Target="../media/image204.png"/><Relationship Id="rId9" Type="http://schemas.openxmlformats.org/officeDocument/2006/relationships/image" Target="../media/image209.png"/><Relationship Id="rId14" Type="http://schemas.openxmlformats.org/officeDocument/2006/relationships/image" Target="../media/image214.png"/></Relationships>
</file>

<file path=ppt/slides/_rels/slide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219.png"/></Relationships>
</file>

<file path=ppt/slides/_rels/slide55.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220.png"/><Relationship Id="rId4" Type="http://schemas.openxmlformats.org/officeDocument/2006/relationships/image" Target="../media/image219.png"/></Relationships>
</file>

<file path=ppt/slides/_rels/slide56.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221.png"/><Relationship Id="rId4" Type="http://schemas.openxmlformats.org/officeDocument/2006/relationships/image" Target="../media/image219.png"/></Relationships>
</file>

<file path=ppt/slides/_rels/slide57.xml.rels><?xml version="1.0" encoding="UTF-8" standalone="yes"?>
<Relationships xmlns="http://schemas.openxmlformats.org/package/2006/relationships"><Relationship Id="rId3" Type="http://schemas.openxmlformats.org/officeDocument/2006/relationships/image" Target="../media/image218.png"/><Relationship Id="rId7" Type="http://schemas.openxmlformats.org/officeDocument/2006/relationships/image" Target="../media/image7.png"/><Relationship Id="rId2" Type="http://schemas.openxmlformats.org/officeDocument/2006/relationships/image" Target="../media/image217.png"/><Relationship Id="rId1" Type="http://schemas.openxmlformats.org/officeDocument/2006/relationships/slideLayout" Target="../slideLayouts/slideLayout2.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19.png"/></Relationships>
</file>

<file path=ppt/slides/_rels/slide5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18.png"/><Relationship Id="rId7" Type="http://schemas.openxmlformats.org/officeDocument/2006/relationships/image" Target="../media/image224.png"/><Relationship Id="rId2" Type="http://schemas.openxmlformats.org/officeDocument/2006/relationships/image" Target="../media/image217.png"/><Relationship Id="rId1" Type="http://schemas.openxmlformats.org/officeDocument/2006/relationships/slideLayout" Target="../slideLayouts/slideLayout2.xml"/><Relationship Id="rId6" Type="http://schemas.openxmlformats.org/officeDocument/2006/relationships/image" Target="../media/image222.png"/><Relationship Id="rId5" Type="http://schemas.openxmlformats.org/officeDocument/2006/relationships/image" Target="../media/image223.png"/><Relationship Id="rId4" Type="http://schemas.openxmlformats.org/officeDocument/2006/relationships/image" Target="../media/image219.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openxmlformats.org/officeDocument/2006/relationships/image" Target="../media/image231.png"/><Relationship Id="rId13" Type="http://schemas.openxmlformats.org/officeDocument/2006/relationships/image" Target="../media/image236.png"/><Relationship Id="rId18" Type="http://schemas.openxmlformats.org/officeDocument/2006/relationships/image" Target="../media/image241.png"/><Relationship Id="rId26" Type="http://schemas.openxmlformats.org/officeDocument/2006/relationships/image" Target="../media/image248.png"/><Relationship Id="rId3" Type="http://schemas.openxmlformats.org/officeDocument/2006/relationships/image" Target="../media/image226.png"/><Relationship Id="rId21" Type="http://schemas.openxmlformats.org/officeDocument/2006/relationships/image" Target="../media/image244.png"/><Relationship Id="rId7" Type="http://schemas.openxmlformats.org/officeDocument/2006/relationships/image" Target="../media/image230.png"/><Relationship Id="rId12" Type="http://schemas.openxmlformats.org/officeDocument/2006/relationships/image" Target="../media/image235.png"/><Relationship Id="rId17" Type="http://schemas.openxmlformats.org/officeDocument/2006/relationships/image" Target="../media/image240.png"/><Relationship Id="rId25" Type="http://schemas.openxmlformats.org/officeDocument/2006/relationships/image" Target="../media/image247.png"/><Relationship Id="rId2" Type="http://schemas.openxmlformats.org/officeDocument/2006/relationships/image" Target="../media/image225.png"/><Relationship Id="rId16" Type="http://schemas.openxmlformats.org/officeDocument/2006/relationships/image" Target="../media/image239.png"/><Relationship Id="rId20" Type="http://schemas.openxmlformats.org/officeDocument/2006/relationships/image" Target="../media/image243.png"/><Relationship Id="rId1" Type="http://schemas.openxmlformats.org/officeDocument/2006/relationships/slideLayout" Target="../slideLayouts/slideLayout5.xml"/><Relationship Id="rId6" Type="http://schemas.openxmlformats.org/officeDocument/2006/relationships/image" Target="../media/image229.png"/><Relationship Id="rId11" Type="http://schemas.openxmlformats.org/officeDocument/2006/relationships/image" Target="../media/image234.png"/><Relationship Id="rId24" Type="http://schemas.openxmlformats.org/officeDocument/2006/relationships/image" Target="../media/image246.png"/><Relationship Id="rId5" Type="http://schemas.openxmlformats.org/officeDocument/2006/relationships/image" Target="../media/image228.png"/><Relationship Id="rId15" Type="http://schemas.openxmlformats.org/officeDocument/2006/relationships/image" Target="../media/image238.png"/><Relationship Id="rId23" Type="http://schemas.openxmlformats.org/officeDocument/2006/relationships/image" Target="../media/image245.png"/><Relationship Id="rId10" Type="http://schemas.openxmlformats.org/officeDocument/2006/relationships/image" Target="../media/image233.png"/><Relationship Id="rId19" Type="http://schemas.openxmlformats.org/officeDocument/2006/relationships/image" Target="../media/image242.png"/><Relationship Id="rId4" Type="http://schemas.openxmlformats.org/officeDocument/2006/relationships/image" Target="../media/image227.png"/><Relationship Id="rId9" Type="http://schemas.openxmlformats.org/officeDocument/2006/relationships/image" Target="../media/image232.png"/><Relationship Id="rId14" Type="http://schemas.openxmlformats.org/officeDocument/2006/relationships/image" Target="../media/image237.png"/><Relationship Id="rId22" Type="http://schemas.openxmlformats.org/officeDocument/2006/relationships/image" Target="../media/image7.png"/></Relationships>
</file>

<file path=ppt/slides/_rels/slide61.xml.rels><?xml version="1.0" encoding="UTF-8" standalone="yes"?>
<Relationships xmlns="http://schemas.openxmlformats.org/package/2006/relationships"><Relationship Id="rId8" Type="http://schemas.openxmlformats.org/officeDocument/2006/relationships/image" Target="../media/image239.png"/><Relationship Id="rId3" Type="http://schemas.openxmlformats.org/officeDocument/2006/relationships/image" Target="../media/image250.png"/><Relationship Id="rId7" Type="http://schemas.openxmlformats.org/officeDocument/2006/relationships/image" Target="../media/image253.png"/><Relationship Id="rId2" Type="http://schemas.openxmlformats.org/officeDocument/2006/relationships/image" Target="../media/image249.png"/><Relationship Id="rId1" Type="http://schemas.openxmlformats.org/officeDocument/2006/relationships/slideLayout" Target="../slideLayouts/slideLayout5.xml"/><Relationship Id="rId6" Type="http://schemas.openxmlformats.org/officeDocument/2006/relationships/image" Target="../media/image252.png"/><Relationship Id="rId11" Type="http://schemas.openxmlformats.org/officeDocument/2006/relationships/image" Target="../media/image7.png"/><Relationship Id="rId5" Type="http://schemas.openxmlformats.org/officeDocument/2006/relationships/image" Target="../media/image251.png"/><Relationship Id="rId10" Type="http://schemas.openxmlformats.org/officeDocument/2006/relationships/image" Target="../media/image241.png"/><Relationship Id="rId4" Type="http://schemas.openxmlformats.org/officeDocument/2006/relationships/image" Target="../media/image243.png"/><Relationship Id="rId9" Type="http://schemas.openxmlformats.org/officeDocument/2006/relationships/image" Target="../media/image240.png"/></Relationships>
</file>

<file path=ppt/slides/_rels/slide62.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255.png"/><Relationship Id="rId7" Type="http://schemas.openxmlformats.org/officeDocument/2006/relationships/image" Target="../media/image239.png"/><Relationship Id="rId2" Type="http://schemas.openxmlformats.org/officeDocument/2006/relationships/image" Target="../media/image254.png"/><Relationship Id="rId1" Type="http://schemas.openxmlformats.org/officeDocument/2006/relationships/slideLayout" Target="../slideLayouts/slideLayout5.xml"/><Relationship Id="rId6" Type="http://schemas.openxmlformats.org/officeDocument/2006/relationships/image" Target="../media/image253.png"/><Relationship Id="rId5" Type="http://schemas.openxmlformats.org/officeDocument/2006/relationships/image" Target="../media/image251.png"/><Relationship Id="rId10" Type="http://schemas.openxmlformats.org/officeDocument/2006/relationships/image" Target="../media/image7.png"/><Relationship Id="rId4" Type="http://schemas.openxmlformats.org/officeDocument/2006/relationships/image" Target="../media/image243.png"/><Relationship Id="rId9" Type="http://schemas.openxmlformats.org/officeDocument/2006/relationships/image" Target="../media/image241.png"/></Relationships>
</file>

<file path=ppt/slides/_rels/slide63.xml.rels><?xml version="1.0" encoding="UTF-8" standalone="yes"?>
<Relationships xmlns="http://schemas.openxmlformats.org/package/2006/relationships"><Relationship Id="rId8" Type="http://schemas.openxmlformats.org/officeDocument/2006/relationships/image" Target="../media/image239.png"/><Relationship Id="rId3" Type="http://schemas.openxmlformats.org/officeDocument/2006/relationships/image" Target="../media/image257.png"/><Relationship Id="rId7" Type="http://schemas.openxmlformats.org/officeDocument/2006/relationships/image" Target="../media/image253.png"/><Relationship Id="rId12" Type="http://schemas.openxmlformats.org/officeDocument/2006/relationships/image" Target="../media/image7.png"/><Relationship Id="rId2" Type="http://schemas.openxmlformats.org/officeDocument/2006/relationships/image" Target="../media/image256.png"/><Relationship Id="rId1" Type="http://schemas.openxmlformats.org/officeDocument/2006/relationships/slideLayout" Target="../slideLayouts/slideLayout5.xml"/><Relationship Id="rId6" Type="http://schemas.openxmlformats.org/officeDocument/2006/relationships/image" Target="../media/image251.png"/><Relationship Id="rId11" Type="http://schemas.openxmlformats.org/officeDocument/2006/relationships/image" Target="../media/image259.png"/><Relationship Id="rId5" Type="http://schemas.openxmlformats.org/officeDocument/2006/relationships/image" Target="../media/image243.png"/><Relationship Id="rId10" Type="http://schemas.openxmlformats.org/officeDocument/2006/relationships/image" Target="../media/image241.png"/><Relationship Id="rId4" Type="http://schemas.openxmlformats.org/officeDocument/2006/relationships/image" Target="../media/image258.png"/><Relationship Id="rId9" Type="http://schemas.openxmlformats.org/officeDocument/2006/relationships/image" Target="../media/image240.png"/></Relationships>
</file>

<file path=ppt/slides/_rels/slide64.xml.rels><?xml version="1.0" encoding="UTF-8" standalone="yes"?>
<Relationships xmlns="http://schemas.openxmlformats.org/package/2006/relationships"><Relationship Id="rId8" Type="http://schemas.openxmlformats.org/officeDocument/2006/relationships/image" Target="../media/image243.png"/><Relationship Id="rId3" Type="http://schemas.openxmlformats.org/officeDocument/2006/relationships/image" Target="../media/image261.png"/><Relationship Id="rId7" Type="http://schemas.openxmlformats.org/officeDocument/2006/relationships/image" Target="../media/image263.png"/><Relationship Id="rId12" Type="http://schemas.openxmlformats.org/officeDocument/2006/relationships/image" Target="../media/image4.png"/><Relationship Id="rId2" Type="http://schemas.openxmlformats.org/officeDocument/2006/relationships/image" Target="../media/image260.png"/><Relationship Id="rId1" Type="http://schemas.openxmlformats.org/officeDocument/2006/relationships/slideLayout" Target="../slideLayouts/slideLayout5.xml"/><Relationship Id="rId6" Type="http://schemas.openxmlformats.org/officeDocument/2006/relationships/image" Target="../media/image262.png"/><Relationship Id="rId11" Type="http://schemas.openxmlformats.org/officeDocument/2006/relationships/image" Target="../media/image266.png"/><Relationship Id="rId5" Type="http://schemas.openxmlformats.org/officeDocument/2006/relationships/image" Target="../media/image241.png"/><Relationship Id="rId10" Type="http://schemas.openxmlformats.org/officeDocument/2006/relationships/image" Target="../media/image265.png"/><Relationship Id="rId4" Type="http://schemas.openxmlformats.org/officeDocument/2006/relationships/image" Target="../media/image240.png"/><Relationship Id="rId9" Type="http://schemas.openxmlformats.org/officeDocument/2006/relationships/image" Target="../media/image264.png"/></Relationships>
</file>

<file path=ppt/slides/_rels/slide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7.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0"/>
                </a:moveTo>
                <a:lnTo>
                  <a:pt x="18287999" y="0"/>
                </a:lnTo>
                <a:lnTo>
                  <a:pt x="18287999" y="10286999"/>
                </a:lnTo>
                <a:lnTo>
                  <a:pt x="0" y="10286999"/>
                </a:lnTo>
                <a:lnTo>
                  <a:pt x="0" y="0"/>
                </a:lnTo>
                <a:close/>
              </a:path>
            </a:pathLst>
          </a:custGeom>
          <a:solidFill>
            <a:srgbClr val="E3112B"/>
          </a:solidFill>
        </p:spPr>
        <p:txBody>
          <a:bodyPr wrap="square" lIns="0" tIns="0" rIns="0" bIns="0" rtlCol="0"/>
          <a:lstStyle/>
          <a:p>
            <a:endParaRPr/>
          </a:p>
        </p:txBody>
      </p:sp>
      <p:grpSp>
        <p:nvGrpSpPr>
          <p:cNvPr id="3" name="object 3"/>
          <p:cNvGrpSpPr/>
          <p:nvPr/>
        </p:nvGrpSpPr>
        <p:grpSpPr>
          <a:xfrm>
            <a:off x="182274" y="162785"/>
            <a:ext cx="17935575" cy="9925685"/>
            <a:chOff x="182274" y="162785"/>
            <a:chExt cx="17935575" cy="9925685"/>
          </a:xfrm>
        </p:grpSpPr>
        <p:sp>
          <p:nvSpPr>
            <p:cNvPr id="4" name="object 4"/>
            <p:cNvSpPr/>
            <p:nvPr/>
          </p:nvSpPr>
          <p:spPr>
            <a:xfrm>
              <a:off x="201329" y="181840"/>
              <a:ext cx="17897475" cy="9886950"/>
            </a:xfrm>
            <a:custGeom>
              <a:avLst/>
              <a:gdLst/>
              <a:ahLst/>
              <a:cxnLst/>
              <a:rect l="l" t="t" r="r" b="b"/>
              <a:pathLst>
                <a:path w="17897475" h="9886950">
                  <a:moveTo>
                    <a:pt x="0" y="0"/>
                  </a:moveTo>
                  <a:lnTo>
                    <a:pt x="17897461" y="0"/>
                  </a:lnTo>
                  <a:lnTo>
                    <a:pt x="17897461" y="9886950"/>
                  </a:lnTo>
                  <a:lnTo>
                    <a:pt x="0" y="9886950"/>
                  </a:lnTo>
                  <a:lnTo>
                    <a:pt x="0" y="0"/>
                  </a:lnTo>
                </a:path>
              </a:pathLst>
            </a:custGeom>
            <a:ln w="38110">
              <a:solidFill>
                <a:srgbClr val="FFFFFF"/>
              </a:solidFill>
            </a:ln>
          </p:spPr>
          <p:txBody>
            <a:bodyPr wrap="square" lIns="0" tIns="0" rIns="0" bIns="0" rtlCol="0"/>
            <a:lstStyle/>
            <a:p>
              <a:endParaRPr/>
            </a:p>
          </p:txBody>
        </p:sp>
        <p:pic>
          <p:nvPicPr>
            <p:cNvPr id="5" name="object 5"/>
            <p:cNvPicPr/>
            <p:nvPr/>
          </p:nvPicPr>
          <p:blipFill>
            <a:blip r:embed="rId2" cstate="print"/>
            <a:stretch>
              <a:fillRect/>
            </a:stretch>
          </p:blipFill>
          <p:spPr>
            <a:xfrm>
              <a:off x="14182950" y="3283411"/>
              <a:ext cx="3362324" cy="3724274"/>
            </a:xfrm>
            <a:prstGeom prst="rect">
              <a:avLst/>
            </a:prstGeom>
          </p:spPr>
        </p:pic>
      </p:grpSp>
      <p:sp>
        <p:nvSpPr>
          <p:cNvPr id="6" name="object 6"/>
          <p:cNvSpPr txBox="1">
            <a:spLocks noGrp="1"/>
          </p:cNvSpPr>
          <p:nvPr>
            <p:ph type="title"/>
          </p:nvPr>
        </p:nvSpPr>
        <p:spPr>
          <a:xfrm>
            <a:off x="2362200" y="3880802"/>
            <a:ext cx="8409305" cy="2525395"/>
          </a:xfrm>
          <a:prstGeom prst="rect">
            <a:avLst/>
          </a:prstGeom>
        </p:spPr>
        <p:txBody>
          <a:bodyPr vert="horz" wrap="square" lIns="0" tIns="36830" rIns="0" bIns="0" rtlCol="0">
            <a:spAutoFit/>
          </a:bodyPr>
          <a:lstStyle/>
          <a:p>
            <a:pPr marL="12700" marR="5080">
              <a:lnSpc>
                <a:spcPts val="6530"/>
              </a:lnSpc>
              <a:spcBef>
                <a:spcPts val="290"/>
              </a:spcBef>
            </a:pPr>
            <a:r>
              <a:rPr sz="5500" b="1" dirty="0">
                <a:latin typeface="Arial"/>
                <a:cs typeface="Arial"/>
              </a:rPr>
              <a:t>Nuevo</a:t>
            </a:r>
            <a:r>
              <a:rPr sz="5500" b="1" spc="-240" dirty="0">
                <a:latin typeface="Arial"/>
                <a:cs typeface="Arial"/>
              </a:rPr>
              <a:t> </a:t>
            </a:r>
            <a:r>
              <a:rPr sz="5500" b="1" dirty="0">
                <a:latin typeface="Arial"/>
                <a:cs typeface="Arial"/>
              </a:rPr>
              <a:t>Plan</a:t>
            </a:r>
            <a:r>
              <a:rPr sz="5500" b="1" spc="-235" dirty="0">
                <a:latin typeface="Arial"/>
                <a:cs typeface="Arial"/>
              </a:rPr>
              <a:t> </a:t>
            </a:r>
            <a:r>
              <a:rPr sz="5500" b="1" spc="90" dirty="0">
                <a:latin typeface="Arial"/>
                <a:cs typeface="Arial"/>
              </a:rPr>
              <a:t>de</a:t>
            </a:r>
            <a:r>
              <a:rPr sz="5500" b="1" spc="-235" dirty="0">
                <a:latin typeface="Arial"/>
                <a:cs typeface="Arial"/>
              </a:rPr>
              <a:t> </a:t>
            </a:r>
            <a:r>
              <a:rPr sz="5500" b="1" spc="75" dirty="0">
                <a:latin typeface="Arial"/>
                <a:cs typeface="Arial"/>
              </a:rPr>
              <a:t>Marketing </a:t>
            </a:r>
            <a:r>
              <a:rPr sz="5500" b="1" spc="-75" dirty="0">
                <a:latin typeface="Arial"/>
                <a:cs typeface="Arial"/>
              </a:rPr>
              <a:t>Turístico</a:t>
            </a:r>
            <a:r>
              <a:rPr sz="5500" b="1" spc="-235" dirty="0">
                <a:latin typeface="Arial"/>
                <a:cs typeface="Arial"/>
              </a:rPr>
              <a:t> </a:t>
            </a:r>
            <a:r>
              <a:rPr sz="5500" b="1" spc="80" dirty="0">
                <a:latin typeface="Arial"/>
                <a:cs typeface="Arial"/>
              </a:rPr>
              <a:t>Internacional </a:t>
            </a:r>
            <a:r>
              <a:rPr sz="5500" b="1" spc="90" dirty="0">
                <a:latin typeface="Arial"/>
                <a:cs typeface="Arial"/>
              </a:rPr>
              <a:t>de</a:t>
            </a:r>
            <a:r>
              <a:rPr sz="5500" b="1" spc="-195" dirty="0">
                <a:latin typeface="Arial"/>
                <a:cs typeface="Arial"/>
              </a:rPr>
              <a:t> </a:t>
            </a:r>
            <a:r>
              <a:rPr sz="5500" b="1" dirty="0">
                <a:latin typeface="Arial"/>
                <a:cs typeface="Arial"/>
              </a:rPr>
              <a:t>Chile</a:t>
            </a:r>
            <a:r>
              <a:rPr sz="5500" b="1" spc="-185" dirty="0">
                <a:latin typeface="Arial"/>
                <a:cs typeface="Arial"/>
              </a:rPr>
              <a:t> </a:t>
            </a:r>
            <a:r>
              <a:rPr sz="5500" b="1" spc="-385" dirty="0">
                <a:latin typeface="Arial"/>
                <a:cs typeface="Arial"/>
              </a:rPr>
              <a:t>·</a:t>
            </a:r>
            <a:r>
              <a:rPr sz="5500" b="1" spc="-185" dirty="0">
                <a:latin typeface="Arial"/>
                <a:cs typeface="Arial"/>
              </a:rPr>
              <a:t> </a:t>
            </a:r>
            <a:r>
              <a:rPr sz="5500" spc="50" dirty="0">
                <a:latin typeface="Arial"/>
                <a:cs typeface="Arial"/>
              </a:rPr>
              <a:t>2023/2027</a:t>
            </a:r>
            <a:endParaRPr sz="5500" dirty="0">
              <a:latin typeface="Arial"/>
              <a:cs typeface="Arial"/>
            </a:endParaRPr>
          </a:p>
        </p:txBody>
      </p:sp>
      <p:pic>
        <p:nvPicPr>
          <p:cNvPr id="7" name="Picture 6" descr="A black and white sign&#10;&#10;Description automatically generated">
            <a:extLst>
              <a:ext uri="{FF2B5EF4-FFF2-40B4-BE49-F238E27FC236}">
                <a16:creationId xmlns:a16="http://schemas.microsoft.com/office/drawing/2014/main" id="{9C9B28B0-642C-D1E1-BD61-80213EEE28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495301"/>
            <a:ext cx="2858267" cy="17526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32"/>
            <a:ext cx="17954625" cy="9604375"/>
            <a:chOff x="166956" y="184832"/>
            <a:chExt cx="17954625" cy="9604375"/>
          </a:xfrm>
        </p:grpSpPr>
        <p:sp>
          <p:nvSpPr>
            <p:cNvPr id="3" name="object 3"/>
            <p:cNvSpPr/>
            <p:nvPr/>
          </p:nvSpPr>
          <p:spPr>
            <a:xfrm>
              <a:off x="166956" y="1113693"/>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4" y="184835"/>
              <a:ext cx="17954625" cy="8534400"/>
            </a:xfrm>
            <a:custGeom>
              <a:avLst/>
              <a:gdLst/>
              <a:ahLst/>
              <a:cxnLst/>
              <a:rect l="l" t="t" r="r" b="b"/>
              <a:pathLst>
                <a:path w="17954625" h="8534400">
                  <a:moveTo>
                    <a:pt x="6503670" y="7944726"/>
                  </a:moveTo>
                  <a:lnTo>
                    <a:pt x="6501714" y="7896390"/>
                  </a:lnTo>
                  <a:lnTo>
                    <a:pt x="6495961" y="7849133"/>
                  </a:lnTo>
                  <a:lnTo>
                    <a:pt x="6486550" y="7803096"/>
                  </a:lnTo>
                  <a:lnTo>
                    <a:pt x="6473622" y="7758443"/>
                  </a:lnTo>
                  <a:lnTo>
                    <a:pt x="6457353" y="7715313"/>
                  </a:lnTo>
                  <a:lnTo>
                    <a:pt x="6437884" y="7673873"/>
                  </a:lnTo>
                  <a:lnTo>
                    <a:pt x="6415367" y="7634275"/>
                  </a:lnTo>
                  <a:lnTo>
                    <a:pt x="6389954" y="7596645"/>
                  </a:lnTo>
                  <a:lnTo>
                    <a:pt x="6361798" y="7561173"/>
                  </a:lnTo>
                  <a:lnTo>
                    <a:pt x="6331051" y="7527976"/>
                  </a:lnTo>
                  <a:lnTo>
                    <a:pt x="6297854" y="7497229"/>
                  </a:lnTo>
                  <a:lnTo>
                    <a:pt x="6262370" y="7469073"/>
                  </a:lnTo>
                  <a:lnTo>
                    <a:pt x="6224752" y="7443660"/>
                  </a:lnTo>
                  <a:lnTo>
                    <a:pt x="6185154" y="7421143"/>
                  </a:lnTo>
                  <a:lnTo>
                    <a:pt x="6143714" y="7401674"/>
                  </a:lnTo>
                  <a:lnTo>
                    <a:pt x="6100584" y="7385405"/>
                  </a:lnTo>
                  <a:lnTo>
                    <a:pt x="6055931" y="7372477"/>
                  </a:lnTo>
                  <a:lnTo>
                    <a:pt x="6009894" y="7363066"/>
                  </a:lnTo>
                  <a:lnTo>
                    <a:pt x="5962637" y="7357313"/>
                  </a:lnTo>
                  <a:lnTo>
                    <a:pt x="5914301" y="7355357"/>
                  </a:lnTo>
                  <a:lnTo>
                    <a:pt x="4056596" y="7355357"/>
                  </a:lnTo>
                  <a:lnTo>
                    <a:pt x="4008247" y="7357313"/>
                  </a:lnTo>
                  <a:lnTo>
                    <a:pt x="3960990" y="7363066"/>
                  </a:lnTo>
                  <a:lnTo>
                    <a:pt x="3914952" y="7372477"/>
                  </a:lnTo>
                  <a:lnTo>
                    <a:pt x="3870299" y="7385405"/>
                  </a:lnTo>
                  <a:lnTo>
                    <a:pt x="3827183" y="7401674"/>
                  </a:lnTo>
                  <a:lnTo>
                    <a:pt x="3785743" y="7421143"/>
                  </a:lnTo>
                  <a:lnTo>
                    <a:pt x="3746131" y="7443660"/>
                  </a:lnTo>
                  <a:lnTo>
                    <a:pt x="3708514" y="7469073"/>
                  </a:lnTo>
                  <a:lnTo>
                    <a:pt x="3673030" y="7497229"/>
                  </a:lnTo>
                  <a:lnTo>
                    <a:pt x="3639845" y="7527976"/>
                  </a:lnTo>
                  <a:lnTo>
                    <a:pt x="3609086" y="7561173"/>
                  </a:lnTo>
                  <a:lnTo>
                    <a:pt x="3580930" y="7596645"/>
                  </a:lnTo>
                  <a:lnTo>
                    <a:pt x="3555517" y="7634275"/>
                  </a:lnTo>
                  <a:lnTo>
                    <a:pt x="3533000" y="7673873"/>
                  </a:lnTo>
                  <a:lnTo>
                    <a:pt x="3513531" y="7715313"/>
                  </a:lnTo>
                  <a:lnTo>
                    <a:pt x="3497262" y="7758443"/>
                  </a:lnTo>
                  <a:lnTo>
                    <a:pt x="3484346" y="7803096"/>
                  </a:lnTo>
                  <a:lnTo>
                    <a:pt x="3474936" y="7849133"/>
                  </a:lnTo>
                  <a:lnTo>
                    <a:pt x="3469170" y="7896390"/>
                  </a:lnTo>
                  <a:lnTo>
                    <a:pt x="3467214" y="7944726"/>
                  </a:lnTo>
                  <a:lnTo>
                    <a:pt x="3469170" y="7993062"/>
                  </a:lnTo>
                  <a:lnTo>
                    <a:pt x="3474936" y="8040332"/>
                  </a:lnTo>
                  <a:lnTo>
                    <a:pt x="3484346" y="8086357"/>
                  </a:lnTo>
                  <a:lnTo>
                    <a:pt x="3497262" y="8131010"/>
                  </a:lnTo>
                  <a:lnTo>
                    <a:pt x="3513531" y="8174139"/>
                  </a:lnTo>
                  <a:lnTo>
                    <a:pt x="3533000" y="8215579"/>
                  </a:lnTo>
                  <a:lnTo>
                    <a:pt x="3555517" y="8255178"/>
                  </a:lnTo>
                  <a:lnTo>
                    <a:pt x="3580930" y="8292808"/>
                  </a:lnTo>
                  <a:lnTo>
                    <a:pt x="3609086" y="8328279"/>
                  </a:lnTo>
                  <a:lnTo>
                    <a:pt x="3639845" y="8361477"/>
                  </a:lnTo>
                  <a:lnTo>
                    <a:pt x="3673030" y="8392223"/>
                  </a:lnTo>
                  <a:lnTo>
                    <a:pt x="3708514" y="8420379"/>
                  </a:lnTo>
                  <a:lnTo>
                    <a:pt x="3746131" y="8445792"/>
                  </a:lnTo>
                  <a:lnTo>
                    <a:pt x="3785743" y="8468309"/>
                  </a:lnTo>
                  <a:lnTo>
                    <a:pt x="3827183" y="8487778"/>
                  </a:lnTo>
                  <a:lnTo>
                    <a:pt x="3870299" y="8504047"/>
                  </a:lnTo>
                  <a:lnTo>
                    <a:pt x="3914952" y="8516976"/>
                  </a:lnTo>
                  <a:lnTo>
                    <a:pt x="3960990" y="8526386"/>
                  </a:lnTo>
                  <a:lnTo>
                    <a:pt x="4008247" y="8532139"/>
                  </a:lnTo>
                  <a:lnTo>
                    <a:pt x="4056596" y="8534095"/>
                  </a:lnTo>
                  <a:lnTo>
                    <a:pt x="5914301" y="8534095"/>
                  </a:lnTo>
                  <a:lnTo>
                    <a:pt x="5962637" y="8532139"/>
                  </a:lnTo>
                  <a:lnTo>
                    <a:pt x="6009894" y="8526386"/>
                  </a:lnTo>
                  <a:lnTo>
                    <a:pt x="6055931" y="8516976"/>
                  </a:lnTo>
                  <a:lnTo>
                    <a:pt x="6100584" y="8504047"/>
                  </a:lnTo>
                  <a:lnTo>
                    <a:pt x="6143714" y="8487778"/>
                  </a:lnTo>
                  <a:lnTo>
                    <a:pt x="6185154" y="8468309"/>
                  </a:lnTo>
                  <a:lnTo>
                    <a:pt x="6224752" y="8445792"/>
                  </a:lnTo>
                  <a:lnTo>
                    <a:pt x="6262370" y="8420379"/>
                  </a:lnTo>
                  <a:lnTo>
                    <a:pt x="6297854" y="8392223"/>
                  </a:lnTo>
                  <a:lnTo>
                    <a:pt x="6331051" y="8361477"/>
                  </a:lnTo>
                  <a:lnTo>
                    <a:pt x="6361798" y="8328279"/>
                  </a:lnTo>
                  <a:lnTo>
                    <a:pt x="6389954" y="8292808"/>
                  </a:lnTo>
                  <a:lnTo>
                    <a:pt x="6415367" y="8255178"/>
                  </a:lnTo>
                  <a:lnTo>
                    <a:pt x="6437884" y="8215579"/>
                  </a:lnTo>
                  <a:lnTo>
                    <a:pt x="6457353" y="8174139"/>
                  </a:lnTo>
                  <a:lnTo>
                    <a:pt x="6473622" y="8131010"/>
                  </a:lnTo>
                  <a:lnTo>
                    <a:pt x="6486550" y="8086357"/>
                  </a:lnTo>
                  <a:lnTo>
                    <a:pt x="6495961" y="8040332"/>
                  </a:lnTo>
                  <a:lnTo>
                    <a:pt x="6501714" y="7993062"/>
                  </a:lnTo>
                  <a:lnTo>
                    <a:pt x="6503670" y="7944726"/>
                  </a:lnTo>
                  <a:close/>
                </a:path>
                <a:path w="17954625" h="8534400">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sp>
          <p:nvSpPr>
            <p:cNvPr id="5" name="object 5"/>
            <p:cNvSpPr/>
            <p:nvPr/>
          </p:nvSpPr>
          <p:spPr>
            <a:xfrm>
              <a:off x="3609356" y="3686609"/>
              <a:ext cx="3086100" cy="3086100"/>
            </a:xfrm>
            <a:custGeom>
              <a:avLst/>
              <a:gdLst/>
              <a:ahLst/>
              <a:cxnLst/>
              <a:rect l="l" t="t" r="r" b="b"/>
              <a:pathLst>
                <a:path w="3086100" h="3086100">
                  <a:moveTo>
                    <a:pt x="1543076" y="3086099"/>
                  </a:moveTo>
                  <a:lnTo>
                    <a:pt x="1494987" y="3085365"/>
                  </a:lnTo>
                  <a:lnTo>
                    <a:pt x="1447291" y="3083177"/>
                  </a:lnTo>
                  <a:lnTo>
                    <a:pt x="1399983" y="3079555"/>
                  </a:lnTo>
                  <a:lnTo>
                    <a:pt x="1353083" y="3074522"/>
                  </a:lnTo>
                  <a:lnTo>
                    <a:pt x="1306613" y="3068099"/>
                  </a:lnTo>
                  <a:lnTo>
                    <a:pt x="1260594" y="3060306"/>
                  </a:lnTo>
                  <a:lnTo>
                    <a:pt x="1215048" y="3051166"/>
                  </a:lnTo>
                  <a:lnTo>
                    <a:pt x="1169996" y="3040700"/>
                  </a:lnTo>
                  <a:lnTo>
                    <a:pt x="1125460" y="3028929"/>
                  </a:lnTo>
                  <a:lnTo>
                    <a:pt x="1081460" y="3015874"/>
                  </a:lnTo>
                  <a:lnTo>
                    <a:pt x="1038018" y="3001557"/>
                  </a:lnTo>
                  <a:lnTo>
                    <a:pt x="995156" y="2985999"/>
                  </a:lnTo>
                  <a:lnTo>
                    <a:pt x="952894" y="2969221"/>
                  </a:lnTo>
                  <a:lnTo>
                    <a:pt x="911254" y="2951246"/>
                  </a:lnTo>
                  <a:lnTo>
                    <a:pt x="870258" y="2932093"/>
                  </a:lnTo>
                  <a:lnTo>
                    <a:pt x="829927" y="2911785"/>
                  </a:lnTo>
                  <a:lnTo>
                    <a:pt x="790281" y="2890342"/>
                  </a:lnTo>
                  <a:lnTo>
                    <a:pt x="751343" y="2867787"/>
                  </a:lnTo>
                  <a:lnTo>
                    <a:pt x="713134" y="2844140"/>
                  </a:lnTo>
                  <a:lnTo>
                    <a:pt x="675675" y="2819423"/>
                  </a:lnTo>
                  <a:lnTo>
                    <a:pt x="638987" y="2793658"/>
                  </a:lnTo>
                  <a:lnTo>
                    <a:pt x="603092" y="2766864"/>
                  </a:lnTo>
                  <a:lnTo>
                    <a:pt x="568012" y="2739065"/>
                  </a:lnTo>
                  <a:lnTo>
                    <a:pt x="533766" y="2710280"/>
                  </a:lnTo>
                  <a:lnTo>
                    <a:pt x="500378" y="2680532"/>
                  </a:lnTo>
                  <a:lnTo>
                    <a:pt x="467868" y="2649842"/>
                  </a:lnTo>
                  <a:lnTo>
                    <a:pt x="436257" y="2618231"/>
                  </a:lnTo>
                  <a:lnTo>
                    <a:pt x="405567" y="2585721"/>
                  </a:lnTo>
                  <a:lnTo>
                    <a:pt x="375819" y="2552333"/>
                  </a:lnTo>
                  <a:lnTo>
                    <a:pt x="347034" y="2518087"/>
                  </a:lnTo>
                  <a:lnTo>
                    <a:pt x="319235" y="2483007"/>
                  </a:lnTo>
                  <a:lnTo>
                    <a:pt x="292441" y="2447112"/>
                  </a:lnTo>
                  <a:lnTo>
                    <a:pt x="266676" y="2410424"/>
                  </a:lnTo>
                  <a:lnTo>
                    <a:pt x="241959" y="2372965"/>
                  </a:lnTo>
                  <a:lnTo>
                    <a:pt x="218312" y="2334756"/>
                  </a:lnTo>
                  <a:lnTo>
                    <a:pt x="195757" y="2295818"/>
                  </a:lnTo>
                  <a:lnTo>
                    <a:pt x="174314" y="2256172"/>
                  </a:lnTo>
                  <a:lnTo>
                    <a:pt x="154006" y="2215841"/>
                  </a:lnTo>
                  <a:lnTo>
                    <a:pt x="134853" y="2174845"/>
                  </a:lnTo>
                  <a:lnTo>
                    <a:pt x="116878"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8"/>
                  </a:lnTo>
                  <a:lnTo>
                    <a:pt x="734" y="1591112"/>
                  </a:lnTo>
                  <a:lnTo>
                    <a:pt x="0" y="1543046"/>
                  </a:lnTo>
                  <a:lnTo>
                    <a:pt x="734" y="1494988"/>
                  </a:lnTo>
                  <a:lnTo>
                    <a:pt x="2922" y="1447292"/>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8" y="952894"/>
                  </a:lnTo>
                  <a:lnTo>
                    <a:pt x="134853" y="911254"/>
                  </a:lnTo>
                  <a:lnTo>
                    <a:pt x="154006" y="870258"/>
                  </a:lnTo>
                  <a:lnTo>
                    <a:pt x="174314" y="829927"/>
                  </a:lnTo>
                  <a:lnTo>
                    <a:pt x="195757" y="790281"/>
                  </a:lnTo>
                  <a:lnTo>
                    <a:pt x="218312" y="751343"/>
                  </a:lnTo>
                  <a:lnTo>
                    <a:pt x="241959" y="713134"/>
                  </a:lnTo>
                  <a:lnTo>
                    <a:pt x="266676" y="675675"/>
                  </a:lnTo>
                  <a:lnTo>
                    <a:pt x="292441" y="638987"/>
                  </a:lnTo>
                  <a:lnTo>
                    <a:pt x="319235" y="603092"/>
                  </a:lnTo>
                  <a:lnTo>
                    <a:pt x="347034" y="568012"/>
                  </a:lnTo>
                  <a:lnTo>
                    <a:pt x="375819" y="533766"/>
                  </a:lnTo>
                  <a:lnTo>
                    <a:pt x="405567" y="500378"/>
                  </a:lnTo>
                  <a:lnTo>
                    <a:pt x="436257" y="467868"/>
                  </a:lnTo>
                  <a:lnTo>
                    <a:pt x="467868" y="436257"/>
                  </a:lnTo>
                  <a:lnTo>
                    <a:pt x="500378" y="405567"/>
                  </a:lnTo>
                  <a:lnTo>
                    <a:pt x="533766" y="375819"/>
                  </a:lnTo>
                  <a:lnTo>
                    <a:pt x="568012" y="347034"/>
                  </a:lnTo>
                  <a:lnTo>
                    <a:pt x="603092" y="319235"/>
                  </a:lnTo>
                  <a:lnTo>
                    <a:pt x="638987" y="292442"/>
                  </a:lnTo>
                  <a:lnTo>
                    <a:pt x="675675" y="266676"/>
                  </a:lnTo>
                  <a:lnTo>
                    <a:pt x="713134" y="241959"/>
                  </a:lnTo>
                  <a:lnTo>
                    <a:pt x="751343" y="218312"/>
                  </a:lnTo>
                  <a:lnTo>
                    <a:pt x="790281" y="195757"/>
                  </a:lnTo>
                  <a:lnTo>
                    <a:pt x="829927" y="174314"/>
                  </a:lnTo>
                  <a:lnTo>
                    <a:pt x="870258" y="154006"/>
                  </a:lnTo>
                  <a:lnTo>
                    <a:pt x="911254" y="134853"/>
                  </a:lnTo>
                  <a:lnTo>
                    <a:pt x="952894" y="116878"/>
                  </a:lnTo>
                  <a:lnTo>
                    <a:pt x="995156" y="100100"/>
                  </a:lnTo>
                  <a:lnTo>
                    <a:pt x="1038018" y="84542"/>
                  </a:lnTo>
                  <a:lnTo>
                    <a:pt x="1081460" y="70225"/>
                  </a:lnTo>
                  <a:lnTo>
                    <a:pt x="1125460" y="57170"/>
                  </a:lnTo>
                  <a:lnTo>
                    <a:pt x="1169996" y="45399"/>
                  </a:lnTo>
                  <a:lnTo>
                    <a:pt x="1215048" y="34933"/>
                  </a:lnTo>
                  <a:lnTo>
                    <a:pt x="1260594" y="25793"/>
                  </a:lnTo>
                  <a:lnTo>
                    <a:pt x="1306613" y="18000"/>
                  </a:lnTo>
                  <a:lnTo>
                    <a:pt x="1353083" y="11577"/>
                  </a:lnTo>
                  <a:lnTo>
                    <a:pt x="1399983"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5" y="134853"/>
                  </a:lnTo>
                  <a:lnTo>
                    <a:pt x="2215841" y="154006"/>
                  </a:lnTo>
                  <a:lnTo>
                    <a:pt x="2256172" y="174314"/>
                  </a:lnTo>
                  <a:lnTo>
                    <a:pt x="2295818" y="195757"/>
                  </a:lnTo>
                  <a:lnTo>
                    <a:pt x="2334756" y="218312"/>
                  </a:lnTo>
                  <a:lnTo>
                    <a:pt x="2372965" y="241959"/>
                  </a:lnTo>
                  <a:lnTo>
                    <a:pt x="2410424" y="266676"/>
                  </a:lnTo>
                  <a:lnTo>
                    <a:pt x="2447111" y="292442"/>
                  </a:lnTo>
                  <a:lnTo>
                    <a:pt x="2483006" y="319235"/>
                  </a:lnTo>
                  <a:lnTo>
                    <a:pt x="2518087" y="347034"/>
                  </a:lnTo>
                  <a:lnTo>
                    <a:pt x="2552332"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5" y="911254"/>
                  </a:lnTo>
                  <a:lnTo>
                    <a:pt x="2969221" y="952894"/>
                  </a:lnTo>
                  <a:lnTo>
                    <a:pt x="2985999" y="995156"/>
                  </a:lnTo>
                  <a:lnTo>
                    <a:pt x="3001556" y="1038018"/>
                  </a:lnTo>
                  <a:lnTo>
                    <a:pt x="3015874" y="1081460"/>
                  </a:lnTo>
                  <a:lnTo>
                    <a:pt x="3028928" y="1125460"/>
                  </a:lnTo>
                  <a:lnTo>
                    <a:pt x="3040699" y="1169996"/>
                  </a:lnTo>
                  <a:lnTo>
                    <a:pt x="3051166" y="1215048"/>
                  </a:lnTo>
                  <a:lnTo>
                    <a:pt x="3060306" y="1260594"/>
                  </a:lnTo>
                  <a:lnTo>
                    <a:pt x="3068098" y="1306613"/>
                  </a:lnTo>
                  <a:lnTo>
                    <a:pt x="3074522" y="1353083"/>
                  </a:lnTo>
                  <a:lnTo>
                    <a:pt x="3079555" y="1399983"/>
                  </a:lnTo>
                  <a:lnTo>
                    <a:pt x="3083176" y="1447292"/>
                  </a:lnTo>
                  <a:lnTo>
                    <a:pt x="3085365" y="1494988"/>
                  </a:lnTo>
                  <a:lnTo>
                    <a:pt x="3086099" y="1543050"/>
                  </a:lnTo>
                  <a:lnTo>
                    <a:pt x="3085365" y="1591112"/>
                  </a:lnTo>
                  <a:lnTo>
                    <a:pt x="3083176" y="1638808"/>
                  </a:lnTo>
                  <a:lnTo>
                    <a:pt x="3079555" y="1686116"/>
                  </a:lnTo>
                  <a:lnTo>
                    <a:pt x="3074522" y="1733016"/>
                  </a:lnTo>
                  <a:lnTo>
                    <a:pt x="3068098" y="1779486"/>
                  </a:lnTo>
                  <a:lnTo>
                    <a:pt x="3060306" y="1825505"/>
                  </a:lnTo>
                  <a:lnTo>
                    <a:pt x="3051166" y="1871051"/>
                  </a:lnTo>
                  <a:lnTo>
                    <a:pt x="3040699" y="1916103"/>
                  </a:lnTo>
                  <a:lnTo>
                    <a:pt x="3028928" y="1960639"/>
                  </a:lnTo>
                  <a:lnTo>
                    <a:pt x="3015874" y="2004639"/>
                  </a:lnTo>
                  <a:lnTo>
                    <a:pt x="3001556" y="2048081"/>
                  </a:lnTo>
                  <a:lnTo>
                    <a:pt x="2985999" y="2090943"/>
                  </a:lnTo>
                  <a:lnTo>
                    <a:pt x="2969221" y="2133205"/>
                  </a:lnTo>
                  <a:lnTo>
                    <a:pt x="2951245"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7"/>
                  </a:lnTo>
                  <a:lnTo>
                    <a:pt x="2739064" y="2518087"/>
                  </a:lnTo>
                  <a:lnTo>
                    <a:pt x="2710280" y="2552333"/>
                  </a:lnTo>
                  <a:lnTo>
                    <a:pt x="2680532" y="2585721"/>
                  </a:lnTo>
                  <a:lnTo>
                    <a:pt x="2649842" y="2618231"/>
                  </a:lnTo>
                  <a:lnTo>
                    <a:pt x="2618231" y="2649842"/>
                  </a:lnTo>
                  <a:lnTo>
                    <a:pt x="2585721" y="2680532"/>
                  </a:lnTo>
                  <a:lnTo>
                    <a:pt x="2552332" y="2710280"/>
                  </a:lnTo>
                  <a:lnTo>
                    <a:pt x="2518087" y="2739065"/>
                  </a:lnTo>
                  <a:lnTo>
                    <a:pt x="2483006" y="2766864"/>
                  </a:lnTo>
                  <a:lnTo>
                    <a:pt x="2447111" y="2793658"/>
                  </a:lnTo>
                  <a:lnTo>
                    <a:pt x="2410424" y="2819423"/>
                  </a:lnTo>
                  <a:lnTo>
                    <a:pt x="2372965" y="2844140"/>
                  </a:lnTo>
                  <a:lnTo>
                    <a:pt x="2334756" y="2867787"/>
                  </a:lnTo>
                  <a:lnTo>
                    <a:pt x="2295818" y="2890342"/>
                  </a:lnTo>
                  <a:lnTo>
                    <a:pt x="2256172" y="2911785"/>
                  </a:lnTo>
                  <a:lnTo>
                    <a:pt x="2215841" y="2932093"/>
                  </a:lnTo>
                  <a:lnTo>
                    <a:pt x="2174845"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9"/>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6" name="object 6"/>
            <p:cNvSpPr/>
            <p:nvPr/>
          </p:nvSpPr>
          <p:spPr>
            <a:xfrm>
              <a:off x="5431192" y="3686610"/>
              <a:ext cx="1224915" cy="1224915"/>
            </a:xfrm>
            <a:custGeom>
              <a:avLst/>
              <a:gdLst/>
              <a:ahLst/>
              <a:cxnLst/>
              <a:rect l="l" t="t" r="r" b="b"/>
              <a:pathLst>
                <a:path w="1224915" h="1224914">
                  <a:moveTo>
                    <a:pt x="918281" y="612187"/>
                  </a:moveTo>
                  <a:lnTo>
                    <a:pt x="306093" y="612187"/>
                  </a:lnTo>
                  <a:lnTo>
                    <a:pt x="306093" y="0"/>
                  </a:lnTo>
                  <a:lnTo>
                    <a:pt x="918281" y="0"/>
                  </a:lnTo>
                  <a:lnTo>
                    <a:pt x="918281" y="612187"/>
                  </a:lnTo>
                  <a:close/>
                </a:path>
                <a:path w="1224915" h="1224914">
                  <a:moveTo>
                    <a:pt x="612188" y="1224375"/>
                  </a:moveTo>
                  <a:lnTo>
                    <a:pt x="0" y="612188"/>
                  </a:lnTo>
                  <a:lnTo>
                    <a:pt x="1224375" y="612187"/>
                  </a:lnTo>
                  <a:lnTo>
                    <a:pt x="612188" y="1224375"/>
                  </a:lnTo>
                  <a:close/>
                </a:path>
              </a:pathLst>
            </a:custGeom>
            <a:solidFill>
              <a:srgbClr val="E3112B">
                <a:alpha val="80778"/>
              </a:srgbClr>
            </a:solidFill>
          </p:spPr>
          <p:txBody>
            <a:bodyPr wrap="square" lIns="0" tIns="0" rIns="0" bIns="0" rtlCol="0"/>
            <a:lstStyle/>
            <a:p>
              <a:endParaRPr/>
            </a:p>
          </p:txBody>
        </p:sp>
        <p:sp>
          <p:nvSpPr>
            <p:cNvPr id="7" name="object 7"/>
            <p:cNvSpPr/>
            <p:nvPr/>
          </p:nvSpPr>
          <p:spPr>
            <a:xfrm>
              <a:off x="4324870" y="4394530"/>
              <a:ext cx="1715135" cy="1659255"/>
            </a:xfrm>
            <a:custGeom>
              <a:avLst/>
              <a:gdLst/>
              <a:ahLst/>
              <a:cxnLst/>
              <a:rect l="l" t="t" r="r" b="b"/>
              <a:pathLst>
                <a:path w="1715135" h="1659254">
                  <a:moveTo>
                    <a:pt x="237329" y="369597"/>
                  </a:moveTo>
                  <a:lnTo>
                    <a:pt x="226397" y="367381"/>
                  </a:lnTo>
                  <a:lnTo>
                    <a:pt x="217473" y="361341"/>
                  </a:lnTo>
                  <a:lnTo>
                    <a:pt x="211459" y="352385"/>
                  </a:lnTo>
                  <a:lnTo>
                    <a:pt x="209254" y="341421"/>
                  </a:lnTo>
                  <a:lnTo>
                    <a:pt x="209259" y="60960"/>
                  </a:lnTo>
                  <a:lnTo>
                    <a:pt x="227051" y="17921"/>
                  </a:lnTo>
                  <a:lnTo>
                    <a:pt x="269947" y="0"/>
                  </a:lnTo>
                  <a:lnTo>
                    <a:pt x="557898" y="0"/>
                  </a:lnTo>
                  <a:lnTo>
                    <a:pt x="600753" y="17965"/>
                  </a:lnTo>
                  <a:lnTo>
                    <a:pt x="615593" y="43210"/>
                  </a:lnTo>
                  <a:lnTo>
                    <a:pt x="311996" y="43210"/>
                  </a:lnTo>
                  <a:lnTo>
                    <a:pt x="302608" y="44170"/>
                  </a:lnTo>
                  <a:lnTo>
                    <a:pt x="269031" y="71854"/>
                  </a:lnTo>
                  <a:lnTo>
                    <a:pt x="265361" y="90083"/>
                  </a:lnTo>
                  <a:lnTo>
                    <a:pt x="265361" y="341421"/>
                  </a:lnTo>
                  <a:lnTo>
                    <a:pt x="263157" y="352385"/>
                  </a:lnTo>
                  <a:lnTo>
                    <a:pt x="257148" y="361341"/>
                  </a:lnTo>
                  <a:lnTo>
                    <a:pt x="248237" y="367381"/>
                  </a:lnTo>
                  <a:lnTo>
                    <a:pt x="237329" y="369597"/>
                  </a:lnTo>
                  <a:close/>
                </a:path>
                <a:path w="1715135" h="1659254">
                  <a:moveTo>
                    <a:pt x="590516" y="369554"/>
                  </a:moveTo>
                  <a:lnTo>
                    <a:pt x="562493" y="341421"/>
                  </a:lnTo>
                  <a:lnTo>
                    <a:pt x="562484" y="90083"/>
                  </a:lnTo>
                  <a:lnTo>
                    <a:pt x="561529" y="80648"/>
                  </a:lnTo>
                  <a:lnTo>
                    <a:pt x="533986" y="46899"/>
                  </a:lnTo>
                  <a:lnTo>
                    <a:pt x="515850" y="43210"/>
                  </a:lnTo>
                  <a:lnTo>
                    <a:pt x="615593" y="43210"/>
                  </a:lnTo>
                  <a:lnTo>
                    <a:pt x="617311" y="48740"/>
                  </a:lnTo>
                  <a:lnTo>
                    <a:pt x="618548" y="60960"/>
                  </a:lnTo>
                  <a:lnTo>
                    <a:pt x="618540" y="341421"/>
                  </a:lnTo>
                  <a:lnTo>
                    <a:pt x="616344" y="352342"/>
                  </a:lnTo>
                  <a:lnTo>
                    <a:pt x="610335" y="361298"/>
                  </a:lnTo>
                  <a:lnTo>
                    <a:pt x="601424" y="367338"/>
                  </a:lnTo>
                  <a:lnTo>
                    <a:pt x="590516" y="369554"/>
                  </a:lnTo>
                  <a:close/>
                </a:path>
                <a:path w="1715135" h="1659254">
                  <a:moveTo>
                    <a:pt x="799728" y="705849"/>
                  </a:moveTo>
                  <a:lnTo>
                    <a:pt x="28032" y="705849"/>
                  </a:lnTo>
                  <a:lnTo>
                    <a:pt x="17124" y="703633"/>
                  </a:lnTo>
                  <a:lnTo>
                    <a:pt x="8218" y="697588"/>
                  </a:lnTo>
                  <a:lnTo>
                    <a:pt x="2222" y="688619"/>
                  </a:lnTo>
                  <a:lnTo>
                    <a:pt x="51" y="677674"/>
                  </a:lnTo>
                  <a:lnTo>
                    <a:pt x="42" y="523829"/>
                  </a:lnTo>
                  <a:lnTo>
                    <a:pt x="1971" y="504757"/>
                  </a:lnTo>
                  <a:lnTo>
                    <a:pt x="27869" y="456708"/>
                  </a:lnTo>
                  <a:lnTo>
                    <a:pt x="75580" y="430778"/>
                  </a:lnTo>
                  <a:lnTo>
                    <a:pt x="94554" y="428834"/>
                  </a:lnTo>
                  <a:lnTo>
                    <a:pt x="733205" y="428834"/>
                  </a:lnTo>
                  <a:lnTo>
                    <a:pt x="786010" y="445137"/>
                  </a:lnTo>
                  <a:lnTo>
                    <a:pt x="820312" y="486962"/>
                  </a:lnTo>
                  <a:lnTo>
                    <a:pt x="827760" y="677674"/>
                  </a:lnTo>
                  <a:lnTo>
                    <a:pt x="825556" y="688637"/>
                  </a:lnTo>
                  <a:lnTo>
                    <a:pt x="819546" y="697593"/>
                  </a:lnTo>
                  <a:lnTo>
                    <a:pt x="810636" y="703634"/>
                  </a:lnTo>
                  <a:lnTo>
                    <a:pt x="799728" y="705849"/>
                  </a:lnTo>
                  <a:close/>
                </a:path>
                <a:path w="1715135" h="1659254">
                  <a:moveTo>
                    <a:pt x="998953" y="840948"/>
                  </a:moveTo>
                  <a:lnTo>
                    <a:pt x="988045" y="839678"/>
                  </a:lnTo>
                  <a:lnTo>
                    <a:pt x="979134" y="833328"/>
                  </a:lnTo>
                  <a:lnTo>
                    <a:pt x="973125" y="824438"/>
                  </a:lnTo>
                  <a:lnTo>
                    <a:pt x="970921" y="813008"/>
                  </a:lnTo>
                  <a:lnTo>
                    <a:pt x="970921" y="713948"/>
                  </a:lnTo>
                  <a:lnTo>
                    <a:pt x="988666" y="670768"/>
                  </a:lnTo>
                  <a:lnTo>
                    <a:pt x="1019400" y="652988"/>
                  </a:lnTo>
                  <a:lnTo>
                    <a:pt x="1331722" y="652988"/>
                  </a:lnTo>
                  <a:lnTo>
                    <a:pt x="1369799" y="679658"/>
                  </a:lnTo>
                  <a:lnTo>
                    <a:pt x="1376995" y="694898"/>
                  </a:lnTo>
                  <a:lnTo>
                    <a:pt x="1073662" y="694898"/>
                  </a:lnTo>
                  <a:lnTo>
                    <a:pt x="1064269" y="696168"/>
                  </a:lnTo>
                  <a:lnTo>
                    <a:pt x="1030714" y="724108"/>
                  </a:lnTo>
                  <a:lnTo>
                    <a:pt x="1027028" y="741888"/>
                  </a:lnTo>
                  <a:lnTo>
                    <a:pt x="1027028" y="813008"/>
                  </a:lnTo>
                  <a:lnTo>
                    <a:pt x="1024823" y="824438"/>
                  </a:lnTo>
                  <a:lnTo>
                    <a:pt x="1018809" y="833328"/>
                  </a:lnTo>
                  <a:lnTo>
                    <a:pt x="1009885" y="839678"/>
                  </a:lnTo>
                  <a:lnTo>
                    <a:pt x="998953" y="840948"/>
                  </a:lnTo>
                  <a:close/>
                </a:path>
                <a:path w="1715135" h="1659254">
                  <a:moveTo>
                    <a:pt x="1352183" y="840948"/>
                  </a:moveTo>
                  <a:lnTo>
                    <a:pt x="1341275" y="839678"/>
                  </a:lnTo>
                  <a:lnTo>
                    <a:pt x="1332364" y="833328"/>
                  </a:lnTo>
                  <a:lnTo>
                    <a:pt x="1326355" y="824438"/>
                  </a:lnTo>
                  <a:lnTo>
                    <a:pt x="1324151" y="813008"/>
                  </a:lnTo>
                  <a:lnTo>
                    <a:pt x="1324151" y="741888"/>
                  </a:lnTo>
                  <a:lnTo>
                    <a:pt x="1323202" y="732998"/>
                  </a:lnTo>
                  <a:lnTo>
                    <a:pt x="1295636" y="698708"/>
                  </a:lnTo>
                  <a:lnTo>
                    <a:pt x="1277516" y="694898"/>
                  </a:lnTo>
                  <a:lnTo>
                    <a:pt x="1376995" y="694898"/>
                  </a:lnTo>
                  <a:lnTo>
                    <a:pt x="1378972" y="701248"/>
                  </a:lnTo>
                  <a:lnTo>
                    <a:pt x="1380215" y="713948"/>
                  </a:lnTo>
                  <a:lnTo>
                    <a:pt x="1380215" y="813008"/>
                  </a:lnTo>
                  <a:lnTo>
                    <a:pt x="1378011" y="824438"/>
                  </a:lnTo>
                  <a:lnTo>
                    <a:pt x="1372001" y="833328"/>
                  </a:lnTo>
                  <a:lnTo>
                    <a:pt x="1363091" y="839678"/>
                  </a:lnTo>
                  <a:lnTo>
                    <a:pt x="1352183" y="840948"/>
                  </a:lnTo>
                  <a:close/>
                </a:path>
                <a:path w="1715135" h="1659254">
                  <a:moveTo>
                    <a:pt x="566213" y="940008"/>
                  </a:moveTo>
                  <a:lnTo>
                    <a:pt x="28032" y="940008"/>
                  </a:lnTo>
                  <a:lnTo>
                    <a:pt x="17124" y="937468"/>
                  </a:lnTo>
                  <a:lnTo>
                    <a:pt x="8213" y="932388"/>
                  </a:lnTo>
                  <a:lnTo>
                    <a:pt x="2204" y="923498"/>
                  </a:lnTo>
                  <a:lnTo>
                    <a:pt x="0" y="912068"/>
                  </a:lnTo>
                  <a:lnTo>
                    <a:pt x="0" y="792688"/>
                  </a:lnTo>
                  <a:lnTo>
                    <a:pt x="2204" y="781258"/>
                  </a:lnTo>
                  <a:lnTo>
                    <a:pt x="8213" y="772368"/>
                  </a:lnTo>
                  <a:lnTo>
                    <a:pt x="17124" y="766018"/>
                  </a:lnTo>
                  <a:lnTo>
                    <a:pt x="28032" y="764748"/>
                  </a:lnTo>
                  <a:lnTo>
                    <a:pt x="827803" y="764748"/>
                  </a:lnTo>
                  <a:lnTo>
                    <a:pt x="827803" y="813008"/>
                  </a:lnTo>
                  <a:lnTo>
                    <a:pt x="825599" y="824438"/>
                  </a:lnTo>
                  <a:lnTo>
                    <a:pt x="819589" y="833328"/>
                  </a:lnTo>
                  <a:lnTo>
                    <a:pt x="810679" y="839678"/>
                  </a:lnTo>
                  <a:lnTo>
                    <a:pt x="799771" y="840948"/>
                  </a:lnTo>
                  <a:lnTo>
                    <a:pt x="720990" y="840948"/>
                  </a:lnTo>
                  <a:lnTo>
                    <a:pt x="692268" y="844758"/>
                  </a:lnTo>
                  <a:lnTo>
                    <a:pt x="641143" y="866348"/>
                  </a:lnTo>
                  <a:lnTo>
                    <a:pt x="611568" y="893018"/>
                  </a:lnTo>
                  <a:lnTo>
                    <a:pt x="591545" y="923498"/>
                  </a:lnTo>
                  <a:lnTo>
                    <a:pt x="587141" y="931118"/>
                  </a:lnTo>
                  <a:lnTo>
                    <a:pt x="581193" y="936198"/>
                  </a:lnTo>
                  <a:lnTo>
                    <a:pt x="574089" y="938738"/>
                  </a:lnTo>
                  <a:lnTo>
                    <a:pt x="566213" y="940008"/>
                  </a:lnTo>
                  <a:close/>
                </a:path>
                <a:path w="1715135" h="1659254">
                  <a:moveTo>
                    <a:pt x="768610" y="1233378"/>
                  </a:moveTo>
                  <a:lnTo>
                    <a:pt x="664668" y="1233378"/>
                  </a:lnTo>
                  <a:lnTo>
                    <a:pt x="653760" y="1232108"/>
                  </a:lnTo>
                  <a:lnTo>
                    <a:pt x="644850" y="1225758"/>
                  </a:lnTo>
                  <a:lnTo>
                    <a:pt x="638840" y="1216868"/>
                  </a:lnTo>
                  <a:lnTo>
                    <a:pt x="636636" y="1205438"/>
                  </a:lnTo>
                  <a:lnTo>
                    <a:pt x="636636" y="981918"/>
                  </a:lnTo>
                  <a:lnTo>
                    <a:pt x="636850" y="978108"/>
                  </a:lnTo>
                  <a:lnTo>
                    <a:pt x="637322" y="974298"/>
                  </a:lnTo>
                  <a:lnTo>
                    <a:pt x="637493" y="974298"/>
                  </a:lnTo>
                  <a:lnTo>
                    <a:pt x="637536" y="973028"/>
                  </a:lnTo>
                  <a:lnTo>
                    <a:pt x="652744" y="936198"/>
                  </a:lnTo>
                  <a:lnTo>
                    <a:pt x="688205" y="906988"/>
                  </a:lnTo>
                  <a:lnTo>
                    <a:pt x="720990" y="900638"/>
                  </a:lnTo>
                  <a:lnTo>
                    <a:pt x="1630146" y="900638"/>
                  </a:lnTo>
                  <a:lnTo>
                    <a:pt x="1677263" y="915878"/>
                  </a:lnTo>
                  <a:lnTo>
                    <a:pt x="1707834" y="952708"/>
                  </a:lnTo>
                  <a:lnTo>
                    <a:pt x="1714328" y="985728"/>
                  </a:lnTo>
                  <a:lnTo>
                    <a:pt x="1714328" y="1121618"/>
                  </a:lnTo>
                  <a:lnTo>
                    <a:pt x="854120" y="1121618"/>
                  </a:lnTo>
                  <a:lnTo>
                    <a:pt x="831758" y="1126698"/>
                  </a:lnTo>
                  <a:lnTo>
                    <a:pt x="813487" y="1139398"/>
                  </a:lnTo>
                  <a:lnTo>
                    <a:pt x="801162" y="1157178"/>
                  </a:lnTo>
                  <a:lnTo>
                    <a:pt x="796642" y="1180038"/>
                  </a:lnTo>
                  <a:lnTo>
                    <a:pt x="796642" y="1205438"/>
                  </a:lnTo>
                  <a:lnTo>
                    <a:pt x="794438" y="1216868"/>
                  </a:lnTo>
                  <a:lnTo>
                    <a:pt x="788428" y="1225758"/>
                  </a:lnTo>
                  <a:lnTo>
                    <a:pt x="779518" y="1232108"/>
                  </a:lnTo>
                  <a:lnTo>
                    <a:pt x="768610" y="1233378"/>
                  </a:lnTo>
                  <a:close/>
                </a:path>
                <a:path w="1715135" h="1659254">
                  <a:moveTo>
                    <a:pt x="549711" y="1174958"/>
                  </a:moveTo>
                  <a:lnTo>
                    <a:pt x="28032" y="1174958"/>
                  </a:lnTo>
                  <a:lnTo>
                    <a:pt x="17124" y="1173688"/>
                  </a:lnTo>
                  <a:lnTo>
                    <a:pt x="8213" y="1167338"/>
                  </a:lnTo>
                  <a:lnTo>
                    <a:pt x="2204" y="1158448"/>
                  </a:lnTo>
                  <a:lnTo>
                    <a:pt x="0" y="1147018"/>
                  </a:lnTo>
                  <a:lnTo>
                    <a:pt x="0" y="1027638"/>
                  </a:lnTo>
                  <a:lnTo>
                    <a:pt x="2204" y="1016208"/>
                  </a:lnTo>
                  <a:lnTo>
                    <a:pt x="8213" y="1007318"/>
                  </a:lnTo>
                  <a:lnTo>
                    <a:pt x="17124" y="1002238"/>
                  </a:lnTo>
                  <a:lnTo>
                    <a:pt x="28032" y="999698"/>
                  </a:lnTo>
                  <a:lnTo>
                    <a:pt x="549711" y="999698"/>
                  </a:lnTo>
                  <a:lnTo>
                    <a:pt x="560619" y="1002238"/>
                  </a:lnTo>
                  <a:lnTo>
                    <a:pt x="569530" y="1007318"/>
                  </a:lnTo>
                  <a:lnTo>
                    <a:pt x="575539" y="1016208"/>
                  </a:lnTo>
                  <a:lnTo>
                    <a:pt x="577743" y="1027638"/>
                  </a:lnTo>
                  <a:lnTo>
                    <a:pt x="577743" y="1147018"/>
                  </a:lnTo>
                  <a:lnTo>
                    <a:pt x="575539" y="1158448"/>
                  </a:lnTo>
                  <a:lnTo>
                    <a:pt x="569530" y="1167338"/>
                  </a:lnTo>
                  <a:lnTo>
                    <a:pt x="560619" y="1173688"/>
                  </a:lnTo>
                  <a:lnTo>
                    <a:pt x="549711" y="1174958"/>
                  </a:lnTo>
                  <a:close/>
                </a:path>
                <a:path w="1715135" h="1659254">
                  <a:moveTo>
                    <a:pt x="1350511" y="1233378"/>
                  </a:moveTo>
                  <a:lnTo>
                    <a:pt x="1000453" y="1233378"/>
                  </a:lnTo>
                  <a:lnTo>
                    <a:pt x="989545" y="1232108"/>
                  </a:lnTo>
                  <a:lnTo>
                    <a:pt x="980634" y="1225758"/>
                  </a:lnTo>
                  <a:lnTo>
                    <a:pt x="974625" y="1216868"/>
                  </a:lnTo>
                  <a:lnTo>
                    <a:pt x="972421" y="1205438"/>
                  </a:lnTo>
                  <a:lnTo>
                    <a:pt x="972421" y="1180038"/>
                  </a:lnTo>
                  <a:lnTo>
                    <a:pt x="967906" y="1157178"/>
                  </a:lnTo>
                  <a:lnTo>
                    <a:pt x="955592" y="1139398"/>
                  </a:lnTo>
                  <a:lnTo>
                    <a:pt x="937323" y="1126698"/>
                  </a:lnTo>
                  <a:lnTo>
                    <a:pt x="914942" y="1121618"/>
                  </a:lnTo>
                  <a:lnTo>
                    <a:pt x="1436022" y="1121618"/>
                  </a:lnTo>
                  <a:lnTo>
                    <a:pt x="1413659" y="1126698"/>
                  </a:lnTo>
                  <a:lnTo>
                    <a:pt x="1395388" y="1139398"/>
                  </a:lnTo>
                  <a:lnTo>
                    <a:pt x="1383064" y="1157178"/>
                  </a:lnTo>
                  <a:lnTo>
                    <a:pt x="1378543" y="1180038"/>
                  </a:lnTo>
                  <a:lnTo>
                    <a:pt x="1378543" y="1205438"/>
                  </a:lnTo>
                  <a:lnTo>
                    <a:pt x="1376339" y="1216868"/>
                  </a:lnTo>
                  <a:lnTo>
                    <a:pt x="1370329" y="1225758"/>
                  </a:lnTo>
                  <a:lnTo>
                    <a:pt x="1361419" y="1232108"/>
                  </a:lnTo>
                  <a:lnTo>
                    <a:pt x="1350511" y="1233378"/>
                  </a:lnTo>
                  <a:close/>
                </a:path>
                <a:path w="1715135" h="1659254">
                  <a:moveTo>
                    <a:pt x="1686296" y="1233378"/>
                  </a:moveTo>
                  <a:lnTo>
                    <a:pt x="1582354" y="1233378"/>
                  </a:lnTo>
                  <a:lnTo>
                    <a:pt x="1571446" y="1232108"/>
                  </a:lnTo>
                  <a:lnTo>
                    <a:pt x="1562536" y="1225758"/>
                  </a:lnTo>
                  <a:lnTo>
                    <a:pt x="1556526" y="1216868"/>
                  </a:lnTo>
                  <a:lnTo>
                    <a:pt x="1554322" y="1205438"/>
                  </a:lnTo>
                  <a:lnTo>
                    <a:pt x="1554322" y="1180038"/>
                  </a:lnTo>
                  <a:lnTo>
                    <a:pt x="1549807" y="1157178"/>
                  </a:lnTo>
                  <a:lnTo>
                    <a:pt x="1537493" y="1139398"/>
                  </a:lnTo>
                  <a:lnTo>
                    <a:pt x="1519224" y="1126698"/>
                  </a:lnTo>
                  <a:lnTo>
                    <a:pt x="1496843" y="1121618"/>
                  </a:lnTo>
                  <a:lnTo>
                    <a:pt x="1714328" y="1121618"/>
                  </a:lnTo>
                  <a:lnTo>
                    <a:pt x="1714328" y="1205438"/>
                  </a:lnTo>
                  <a:lnTo>
                    <a:pt x="1712124" y="1216868"/>
                  </a:lnTo>
                  <a:lnTo>
                    <a:pt x="1706114" y="1225758"/>
                  </a:lnTo>
                  <a:lnTo>
                    <a:pt x="1697204" y="1232108"/>
                  </a:lnTo>
                  <a:lnTo>
                    <a:pt x="1686296" y="1233378"/>
                  </a:lnTo>
                  <a:close/>
                </a:path>
                <a:path w="1715135" h="1659254">
                  <a:moveTo>
                    <a:pt x="885582" y="1345138"/>
                  </a:moveTo>
                  <a:lnTo>
                    <a:pt x="883653" y="1345138"/>
                  </a:lnTo>
                  <a:lnTo>
                    <a:pt x="872745" y="1343868"/>
                  </a:lnTo>
                  <a:lnTo>
                    <a:pt x="863834" y="1337518"/>
                  </a:lnTo>
                  <a:lnTo>
                    <a:pt x="857825" y="1328628"/>
                  </a:lnTo>
                  <a:lnTo>
                    <a:pt x="855621" y="1317198"/>
                  </a:lnTo>
                  <a:lnTo>
                    <a:pt x="855621" y="1209248"/>
                  </a:lnTo>
                  <a:lnTo>
                    <a:pt x="857825" y="1197818"/>
                  </a:lnTo>
                  <a:lnTo>
                    <a:pt x="863834" y="1188928"/>
                  </a:lnTo>
                  <a:lnTo>
                    <a:pt x="872745" y="1183848"/>
                  </a:lnTo>
                  <a:lnTo>
                    <a:pt x="883653" y="1181308"/>
                  </a:lnTo>
                  <a:lnTo>
                    <a:pt x="885582" y="1181308"/>
                  </a:lnTo>
                  <a:lnTo>
                    <a:pt x="896489" y="1183848"/>
                  </a:lnTo>
                  <a:lnTo>
                    <a:pt x="905400" y="1188928"/>
                  </a:lnTo>
                  <a:lnTo>
                    <a:pt x="911409" y="1197818"/>
                  </a:lnTo>
                  <a:lnTo>
                    <a:pt x="913614" y="1209248"/>
                  </a:lnTo>
                  <a:lnTo>
                    <a:pt x="913614" y="1317198"/>
                  </a:lnTo>
                  <a:lnTo>
                    <a:pt x="911409" y="1328628"/>
                  </a:lnTo>
                  <a:lnTo>
                    <a:pt x="905400" y="1337518"/>
                  </a:lnTo>
                  <a:lnTo>
                    <a:pt x="896489" y="1343868"/>
                  </a:lnTo>
                  <a:lnTo>
                    <a:pt x="885582" y="1345138"/>
                  </a:lnTo>
                  <a:close/>
                </a:path>
                <a:path w="1715135" h="1659254">
                  <a:moveTo>
                    <a:pt x="1467526" y="1345138"/>
                  </a:moveTo>
                  <a:lnTo>
                    <a:pt x="1465597" y="1345138"/>
                  </a:lnTo>
                  <a:lnTo>
                    <a:pt x="1454689" y="1343868"/>
                  </a:lnTo>
                  <a:lnTo>
                    <a:pt x="1445778" y="1337518"/>
                  </a:lnTo>
                  <a:lnTo>
                    <a:pt x="1439769" y="1328628"/>
                  </a:lnTo>
                  <a:lnTo>
                    <a:pt x="1437565" y="1317198"/>
                  </a:lnTo>
                  <a:lnTo>
                    <a:pt x="1437565" y="1209248"/>
                  </a:lnTo>
                  <a:lnTo>
                    <a:pt x="1439769" y="1197818"/>
                  </a:lnTo>
                  <a:lnTo>
                    <a:pt x="1445778" y="1188928"/>
                  </a:lnTo>
                  <a:lnTo>
                    <a:pt x="1454689" y="1183848"/>
                  </a:lnTo>
                  <a:lnTo>
                    <a:pt x="1465597" y="1181308"/>
                  </a:lnTo>
                  <a:lnTo>
                    <a:pt x="1467526" y="1181308"/>
                  </a:lnTo>
                  <a:lnTo>
                    <a:pt x="1478434" y="1183848"/>
                  </a:lnTo>
                  <a:lnTo>
                    <a:pt x="1487344" y="1188928"/>
                  </a:lnTo>
                  <a:lnTo>
                    <a:pt x="1493354" y="1197818"/>
                  </a:lnTo>
                  <a:lnTo>
                    <a:pt x="1495558" y="1209248"/>
                  </a:lnTo>
                  <a:lnTo>
                    <a:pt x="1495558" y="1317198"/>
                  </a:lnTo>
                  <a:lnTo>
                    <a:pt x="1493354" y="1328628"/>
                  </a:lnTo>
                  <a:lnTo>
                    <a:pt x="1487344" y="1337518"/>
                  </a:lnTo>
                  <a:lnTo>
                    <a:pt x="1478433" y="1343868"/>
                  </a:lnTo>
                  <a:lnTo>
                    <a:pt x="1467526" y="1345138"/>
                  </a:lnTo>
                  <a:close/>
                </a:path>
                <a:path w="1715135" h="1659254">
                  <a:moveTo>
                    <a:pt x="549668" y="1511508"/>
                  </a:moveTo>
                  <a:lnTo>
                    <a:pt x="94511" y="1511508"/>
                  </a:lnTo>
                  <a:lnTo>
                    <a:pt x="75991" y="1510238"/>
                  </a:lnTo>
                  <a:lnTo>
                    <a:pt x="29060" y="1484838"/>
                  </a:lnTo>
                  <a:lnTo>
                    <a:pt x="7474" y="1453088"/>
                  </a:lnTo>
                  <a:lnTo>
                    <a:pt x="0" y="1416258"/>
                  </a:lnTo>
                  <a:lnTo>
                    <a:pt x="0" y="1262588"/>
                  </a:lnTo>
                  <a:lnTo>
                    <a:pt x="2204" y="1251158"/>
                  </a:lnTo>
                  <a:lnTo>
                    <a:pt x="8213" y="1242268"/>
                  </a:lnTo>
                  <a:lnTo>
                    <a:pt x="17124" y="1237188"/>
                  </a:lnTo>
                  <a:lnTo>
                    <a:pt x="28032" y="1234648"/>
                  </a:lnTo>
                  <a:lnTo>
                    <a:pt x="577700" y="1234648"/>
                  </a:lnTo>
                  <a:lnTo>
                    <a:pt x="577700" y="1483568"/>
                  </a:lnTo>
                  <a:lnTo>
                    <a:pt x="575496" y="1493728"/>
                  </a:lnTo>
                  <a:lnTo>
                    <a:pt x="569487" y="1502618"/>
                  </a:lnTo>
                  <a:lnTo>
                    <a:pt x="560576" y="1508968"/>
                  </a:lnTo>
                  <a:lnTo>
                    <a:pt x="549668" y="1511508"/>
                  </a:lnTo>
                  <a:close/>
                </a:path>
                <a:path w="1715135" h="1659254">
                  <a:moveTo>
                    <a:pt x="1602242" y="1658828"/>
                  </a:moveTo>
                  <a:lnTo>
                    <a:pt x="749193" y="1658828"/>
                  </a:lnTo>
                  <a:lnTo>
                    <a:pt x="705558" y="1649938"/>
                  </a:lnTo>
                  <a:lnTo>
                    <a:pt x="669822" y="1625808"/>
                  </a:lnTo>
                  <a:lnTo>
                    <a:pt x="645676" y="1590248"/>
                  </a:lnTo>
                  <a:lnTo>
                    <a:pt x="636808" y="1547068"/>
                  </a:lnTo>
                  <a:lnTo>
                    <a:pt x="636808" y="1321008"/>
                  </a:lnTo>
                  <a:lnTo>
                    <a:pt x="639012" y="1309578"/>
                  </a:lnTo>
                  <a:lnTo>
                    <a:pt x="645021" y="1300688"/>
                  </a:lnTo>
                  <a:lnTo>
                    <a:pt x="653932" y="1295608"/>
                  </a:lnTo>
                  <a:lnTo>
                    <a:pt x="664840" y="1293068"/>
                  </a:lnTo>
                  <a:lnTo>
                    <a:pt x="768781" y="1293068"/>
                  </a:lnTo>
                  <a:lnTo>
                    <a:pt x="796813" y="1321008"/>
                  </a:lnTo>
                  <a:lnTo>
                    <a:pt x="796813" y="1346408"/>
                  </a:lnTo>
                  <a:lnTo>
                    <a:pt x="801328" y="1369268"/>
                  </a:lnTo>
                  <a:lnTo>
                    <a:pt x="813642" y="1388318"/>
                  </a:lnTo>
                  <a:lnTo>
                    <a:pt x="831912" y="1399748"/>
                  </a:lnTo>
                  <a:lnTo>
                    <a:pt x="854292" y="1404828"/>
                  </a:lnTo>
                  <a:lnTo>
                    <a:pt x="1714628" y="1404828"/>
                  </a:lnTo>
                  <a:lnTo>
                    <a:pt x="1714628" y="1547068"/>
                  </a:lnTo>
                  <a:lnTo>
                    <a:pt x="1705759" y="1590248"/>
                  </a:lnTo>
                  <a:lnTo>
                    <a:pt x="1681613" y="1625808"/>
                  </a:lnTo>
                  <a:lnTo>
                    <a:pt x="1645878" y="1649938"/>
                  </a:lnTo>
                  <a:lnTo>
                    <a:pt x="1602242" y="1658828"/>
                  </a:lnTo>
                  <a:close/>
                </a:path>
                <a:path w="1715135" h="1659254">
                  <a:moveTo>
                    <a:pt x="1436193" y="1404828"/>
                  </a:moveTo>
                  <a:lnTo>
                    <a:pt x="915114" y="1404828"/>
                  </a:lnTo>
                  <a:lnTo>
                    <a:pt x="937476" y="1399748"/>
                  </a:lnTo>
                  <a:lnTo>
                    <a:pt x="955747" y="1388318"/>
                  </a:lnTo>
                  <a:lnTo>
                    <a:pt x="968072" y="1369268"/>
                  </a:lnTo>
                  <a:lnTo>
                    <a:pt x="972592" y="1346408"/>
                  </a:lnTo>
                  <a:lnTo>
                    <a:pt x="972592" y="1321008"/>
                  </a:lnTo>
                  <a:lnTo>
                    <a:pt x="974796" y="1309578"/>
                  </a:lnTo>
                  <a:lnTo>
                    <a:pt x="980806" y="1300688"/>
                  </a:lnTo>
                  <a:lnTo>
                    <a:pt x="989717" y="1295608"/>
                  </a:lnTo>
                  <a:lnTo>
                    <a:pt x="1000624" y="1293068"/>
                  </a:lnTo>
                  <a:lnTo>
                    <a:pt x="1378714" y="1293068"/>
                  </a:lnTo>
                  <a:lnTo>
                    <a:pt x="1378714" y="1346408"/>
                  </a:lnTo>
                  <a:lnTo>
                    <a:pt x="1383229" y="1369268"/>
                  </a:lnTo>
                  <a:lnTo>
                    <a:pt x="1395543" y="1388318"/>
                  </a:lnTo>
                  <a:lnTo>
                    <a:pt x="1413813" y="1399748"/>
                  </a:lnTo>
                  <a:lnTo>
                    <a:pt x="1436193" y="1404828"/>
                  </a:lnTo>
                  <a:close/>
                </a:path>
                <a:path w="1715135" h="1659254">
                  <a:moveTo>
                    <a:pt x="1714628" y="1404828"/>
                  </a:moveTo>
                  <a:lnTo>
                    <a:pt x="1497015" y="1404828"/>
                  </a:lnTo>
                  <a:lnTo>
                    <a:pt x="1519377" y="1399748"/>
                  </a:lnTo>
                  <a:lnTo>
                    <a:pt x="1537649" y="1388318"/>
                  </a:lnTo>
                  <a:lnTo>
                    <a:pt x="1549973" y="1369268"/>
                  </a:lnTo>
                  <a:lnTo>
                    <a:pt x="1554494" y="1346408"/>
                  </a:lnTo>
                  <a:lnTo>
                    <a:pt x="1554494" y="1321008"/>
                  </a:lnTo>
                  <a:lnTo>
                    <a:pt x="1556698" y="1309578"/>
                  </a:lnTo>
                  <a:lnTo>
                    <a:pt x="1562707" y="1300688"/>
                  </a:lnTo>
                  <a:lnTo>
                    <a:pt x="1571618" y="1295608"/>
                  </a:lnTo>
                  <a:lnTo>
                    <a:pt x="1582526" y="1293068"/>
                  </a:lnTo>
                  <a:lnTo>
                    <a:pt x="1686467" y="1293068"/>
                  </a:lnTo>
                  <a:lnTo>
                    <a:pt x="1697377" y="1295608"/>
                  </a:lnTo>
                  <a:lnTo>
                    <a:pt x="1706302" y="1300688"/>
                  </a:lnTo>
                  <a:lnTo>
                    <a:pt x="1712350" y="1309578"/>
                  </a:lnTo>
                  <a:lnTo>
                    <a:pt x="1714628" y="1321008"/>
                  </a:lnTo>
                  <a:lnTo>
                    <a:pt x="1714628" y="1404828"/>
                  </a:lnTo>
                  <a:close/>
                </a:path>
                <a:path w="1715135" h="1659254">
                  <a:moveTo>
                    <a:pt x="120242" y="1658828"/>
                  </a:moveTo>
                  <a:lnTo>
                    <a:pt x="82050" y="1635968"/>
                  </a:lnTo>
                  <a:lnTo>
                    <a:pt x="75437" y="1597868"/>
                  </a:lnTo>
                  <a:lnTo>
                    <a:pt x="77810" y="1587708"/>
                  </a:lnTo>
                  <a:lnTo>
                    <a:pt x="83844" y="1578818"/>
                  </a:lnTo>
                  <a:lnTo>
                    <a:pt x="92682" y="1572468"/>
                  </a:lnTo>
                  <a:lnTo>
                    <a:pt x="103470" y="1571198"/>
                  </a:lnTo>
                  <a:lnTo>
                    <a:pt x="159405" y="1571198"/>
                  </a:lnTo>
                  <a:lnTo>
                    <a:pt x="170331" y="1572468"/>
                  </a:lnTo>
                  <a:lnTo>
                    <a:pt x="179240" y="1578818"/>
                  </a:lnTo>
                  <a:lnTo>
                    <a:pt x="185239" y="1587708"/>
                  </a:lnTo>
                  <a:lnTo>
                    <a:pt x="187437" y="1599138"/>
                  </a:lnTo>
                  <a:lnTo>
                    <a:pt x="187437" y="1618188"/>
                  </a:lnTo>
                  <a:lnTo>
                    <a:pt x="177169" y="1642318"/>
                  </a:lnTo>
                  <a:lnTo>
                    <a:pt x="151968" y="1656288"/>
                  </a:lnTo>
                  <a:lnTo>
                    <a:pt x="120242" y="1658828"/>
                  </a:lnTo>
                  <a:close/>
                </a:path>
              </a:pathLst>
            </a:custGeom>
            <a:solidFill>
              <a:srgbClr val="FFFFFF"/>
            </a:solidFill>
          </p:spPr>
          <p:txBody>
            <a:bodyPr wrap="square" lIns="0" tIns="0" rIns="0" bIns="0" rtlCol="0"/>
            <a:lstStyle/>
            <a:p>
              <a:endParaRPr/>
            </a:p>
          </p:txBody>
        </p:sp>
      </p:grpSp>
      <p:sp>
        <p:nvSpPr>
          <p:cNvPr id="8" name="object 8"/>
          <p:cNvSpPr txBox="1"/>
          <p:nvPr/>
        </p:nvSpPr>
        <p:spPr>
          <a:xfrm>
            <a:off x="3975764" y="7918415"/>
            <a:ext cx="2353310" cy="383540"/>
          </a:xfrm>
          <a:prstGeom prst="rect">
            <a:avLst/>
          </a:prstGeom>
        </p:spPr>
        <p:txBody>
          <a:bodyPr vert="horz" wrap="square" lIns="0" tIns="12700" rIns="0" bIns="0" rtlCol="0">
            <a:spAutoFit/>
          </a:bodyPr>
          <a:lstStyle/>
          <a:p>
            <a:pPr marL="12700">
              <a:lnSpc>
                <a:spcPct val="100000"/>
              </a:lnSpc>
              <a:spcBef>
                <a:spcPts val="100"/>
              </a:spcBef>
            </a:pPr>
            <a:r>
              <a:rPr sz="2350" b="1" spc="-10" dirty="0">
                <a:solidFill>
                  <a:srgbClr val="FFFFFF"/>
                </a:solidFill>
                <a:latin typeface="Roboto"/>
                <a:cs typeface="Roboto"/>
              </a:rPr>
              <a:t>Comercialización</a:t>
            </a:r>
            <a:endParaRPr sz="2350">
              <a:latin typeface="Roboto"/>
              <a:cs typeface="Roboto"/>
            </a:endParaRPr>
          </a:p>
        </p:txBody>
      </p:sp>
      <p:grpSp>
        <p:nvGrpSpPr>
          <p:cNvPr id="9" name="object 9"/>
          <p:cNvGrpSpPr/>
          <p:nvPr/>
        </p:nvGrpSpPr>
        <p:grpSpPr>
          <a:xfrm>
            <a:off x="6990730" y="3686609"/>
            <a:ext cx="3830954" cy="5032375"/>
            <a:chOff x="6990730" y="3686609"/>
            <a:chExt cx="3830954" cy="5032375"/>
          </a:xfrm>
        </p:grpSpPr>
        <p:sp>
          <p:nvSpPr>
            <p:cNvPr id="10" name="object 10"/>
            <p:cNvSpPr/>
            <p:nvPr/>
          </p:nvSpPr>
          <p:spPr>
            <a:xfrm>
              <a:off x="6990730" y="7540183"/>
              <a:ext cx="3830954" cy="1179195"/>
            </a:xfrm>
            <a:custGeom>
              <a:avLst/>
              <a:gdLst/>
              <a:ahLst/>
              <a:cxnLst/>
              <a:rect l="l" t="t" r="r" b="b"/>
              <a:pathLst>
                <a:path w="3830954" h="1179195">
                  <a:moveTo>
                    <a:pt x="3244648" y="1178745"/>
                  </a:moveTo>
                  <a:lnTo>
                    <a:pt x="589372" y="1178745"/>
                  </a:lnTo>
                  <a:lnTo>
                    <a:pt x="541034" y="1176791"/>
                  </a:lnTo>
                  <a:lnTo>
                    <a:pt x="493773" y="1171031"/>
                  </a:lnTo>
                  <a:lnTo>
                    <a:pt x="447739" y="1161616"/>
                  </a:lnTo>
                  <a:lnTo>
                    <a:pt x="403085" y="1148698"/>
                  </a:lnTo>
                  <a:lnTo>
                    <a:pt x="359962" y="1132429"/>
                  </a:lnTo>
                  <a:lnTo>
                    <a:pt x="318522" y="1112960"/>
                  </a:lnTo>
                  <a:lnTo>
                    <a:pt x="278916" y="1090443"/>
                  </a:lnTo>
                  <a:lnTo>
                    <a:pt x="241296" y="1065030"/>
                  </a:lnTo>
                  <a:lnTo>
                    <a:pt x="205815" y="1036872"/>
                  </a:lnTo>
                  <a:lnTo>
                    <a:pt x="172623" y="1006122"/>
                  </a:lnTo>
                  <a:lnTo>
                    <a:pt x="141872" y="972930"/>
                  </a:lnTo>
                  <a:lnTo>
                    <a:pt x="113714" y="937448"/>
                  </a:lnTo>
                  <a:lnTo>
                    <a:pt x="88301" y="899829"/>
                  </a:lnTo>
                  <a:lnTo>
                    <a:pt x="65784" y="860223"/>
                  </a:lnTo>
                  <a:lnTo>
                    <a:pt x="46315" y="818783"/>
                  </a:lnTo>
                  <a:lnTo>
                    <a:pt x="30046" y="775660"/>
                  </a:lnTo>
                  <a:lnTo>
                    <a:pt x="17128" y="731005"/>
                  </a:lnTo>
                  <a:lnTo>
                    <a:pt x="7713" y="684971"/>
                  </a:lnTo>
                  <a:lnTo>
                    <a:pt x="1953" y="637710"/>
                  </a:lnTo>
                  <a:lnTo>
                    <a:pt x="0" y="589372"/>
                  </a:lnTo>
                  <a:lnTo>
                    <a:pt x="1953" y="541034"/>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2" y="65784"/>
                  </a:lnTo>
                  <a:lnTo>
                    <a:pt x="359962" y="46315"/>
                  </a:lnTo>
                  <a:lnTo>
                    <a:pt x="403085" y="30046"/>
                  </a:lnTo>
                  <a:lnTo>
                    <a:pt x="447739" y="17128"/>
                  </a:lnTo>
                  <a:lnTo>
                    <a:pt x="493773" y="7713"/>
                  </a:lnTo>
                  <a:lnTo>
                    <a:pt x="541034" y="1953"/>
                  </a:lnTo>
                  <a:lnTo>
                    <a:pt x="589372" y="0"/>
                  </a:lnTo>
                  <a:lnTo>
                    <a:pt x="3244648" y="0"/>
                  </a:lnTo>
                  <a:lnTo>
                    <a:pt x="3292986" y="1953"/>
                  </a:lnTo>
                  <a:lnTo>
                    <a:pt x="3340247" y="7713"/>
                  </a:lnTo>
                  <a:lnTo>
                    <a:pt x="3386281" y="17128"/>
                  </a:lnTo>
                  <a:lnTo>
                    <a:pt x="3430935" y="30046"/>
                  </a:lnTo>
                  <a:lnTo>
                    <a:pt x="3474058" y="46315"/>
                  </a:lnTo>
                  <a:lnTo>
                    <a:pt x="3515499" y="65784"/>
                  </a:lnTo>
                  <a:lnTo>
                    <a:pt x="3555104" y="88301"/>
                  </a:lnTo>
                  <a:lnTo>
                    <a:pt x="3592724" y="113714"/>
                  </a:lnTo>
                  <a:lnTo>
                    <a:pt x="3628205" y="141872"/>
                  </a:lnTo>
                  <a:lnTo>
                    <a:pt x="3661397" y="172623"/>
                  </a:lnTo>
                  <a:lnTo>
                    <a:pt x="3692148" y="205815"/>
                  </a:lnTo>
                  <a:lnTo>
                    <a:pt x="3720306" y="241296"/>
                  </a:lnTo>
                  <a:lnTo>
                    <a:pt x="3745719" y="278916"/>
                  </a:lnTo>
                  <a:lnTo>
                    <a:pt x="3768236" y="318522"/>
                  </a:lnTo>
                  <a:lnTo>
                    <a:pt x="3787705" y="359962"/>
                  </a:lnTo>
                  <a:lnTo>
                    <a:pt x="3803974" y="403085"/>
                  </a:lnTo>
                  <a:lnTo>
                    <a:pt x="3816892" y="447739"/>
                  </a:lnTo>
                  <a:lnTo>
                    <a:pt x="3826307" y="493773"/>
                  </a:lnTo>
                  <a:lnTo>
                    <a:pt x="3830923" y="531650"/>
                  </a:lnTo>
                  <a:lnTo>
                    <a:pt x="3830923" y="647094"/>
                  </a:lnTo>
                  <a:lnTo>
                    <a:pt x="3826307" y="684971"/>
                  </a:lnTo>
                  <a:lnTo>
                    <a:pt x="3816892" y="731005"/>
                  </a:lnTo>
                  <a:lnTo>
                    <a:pt x="3803974" y="775660"/>
                  </a:lnTo>
                  <a:lnTo>
                    <a:pt x="3787705" y="818783"/>
                  </a:lnTo>
                  <a:lnTo>
                    <a:pt x="3768236" y="860223"/>
                  </a:lnTo>
                  <a:lnTo>
                    <a:pt x="3745719" y="899829"/>
                  </a:lnTo>
                  <a:lnTo>
                    <a:pt x="3720306" y="937448"/>
                  </a:lnTo>
                  <a:lnTo>
                    <a:pt x="3692148" y="972930"/>
                  </a:lnTo>
                  <a:lnTo>
                    <a:pt x="3661397" y="1006122"/>
                  </a:lnTo>
                  <a:lnTo>
                    <a:pt x="3628205" y="1036872"/>
                  </a:lnTo>
                  <a:lnTo>
                    <a:pt x="3592724" y="1065030"/>
                  </a:lnTo>
                  <a:lnTo>
                    <a:pt x="3555104" y="1090443"/>
                  </a:lnTo>
                  <a:lnTo>
                    <a:pt x="3515499" y="1112960"/>
                  </a:lnTo>
                  <a:lnTo>
                    <a:pt x="3474058" y="1132429"/>
                  </a:lnTo>
                  <a:lnTo>
                    <a:pt x="3430935" y="1148698"/>
                  </a:lnTo>
                  <a:lnTo>
                    <a:pt x="3386281" y="1161616"/>
                  </a:lnTo>
                  <a:lnTo>
                    <a:pt x="3340247" y="1171031"/>
                  </a:lnTo>
                  <a:lnTo>
                    <a:pt x="3292986" y="1176791"/>
                  </a:lnTo>
                  <a:lnTo>
                    <a:pt x="3244648" y="1178745"/>
                  </a:lnTo>
                  <a:close/>
                </a:path>
              </a:pathLst>
            </a:custGeom>
            <a:solidFill>
              <a:srgbClr val="21408B"/>
            </a:solidFill>
          </p:spPr>
          <p:txBody>
            <a:bodyPr wrap="square" lIns="0" tIns="0" rIns="0" bIns="0" rtlCol="0"/>
            <a:lstStyle/>
            <a:p>
              <a:endParaRPr/>
            </a:p>
          </p:txBody>
        </p:sp>
        <p:sp>
          <p:nvSpPr>
            <p:cNvPr id="11" name="object 11"/>
            <p:cNvSpPr/>
            <p:nvPr/>
          </p:nvSpPr>
          <p:spPr>
            <a:xfrm>
              <a:off x="7377389" y="3686609"/>
              <a:ext cx="3086100" cy="3086100"/>
            </a:xfrm>
            <a:custGeom>
              <a:avLst/>
              <a:gdLst/>
              <a:ahLst/>
              <a:cxnLst/>
              <a:rect l="l" t="t" r="r" b="b"/>
              <a:pathLst>
                <a:path w="3086100" h="3086100">
                  <a:moveTo>
                    <a:pt x="1543076" y="3086099"/>
                  </a:moveTo>
                  <a:lnTo>
                    <a:pt x="1494987" y="3085365"/>
                  </a:lnTo>
                  <a:lnTo>
                    <a:pt x="1447291" y="3083177"/>
                  </a:lnTo>
                  <a:lnTo>
                    <a:pt x="1399983" y="3079555"/>
                  </a:lnTo>
                  <a:lnTo>
                    <a:pt x="1353083" y="3074522"/>
                  </a:lnTo>
                  <a:lnTo>
                    <a:pt x="1306613" y="3068099"/>
                  </a:lnTo>
                  <a:lnTo>
                    <a:pt x="1260594" y="3060306"/>
                  </a:lnTo>
                  <a:lnTo>
                    <a:pt x="1215048" y="3051166"/>
                  </a:lnTo>
                  <a:lnTo>
                    <a:pt x="1169996" y="3040700"/>
                  </a:lnTo>
                  <a:lnTo>
                    <a:pt x="1125459" y="3028929"/>
                  </a:lnTo>
                  <a:lnTo>
                    <a:pt x="1081460" y="3015874"/>
                  </a:lnTo>
                  <a:lnTo>
                    <a:pt x="1038018" y="3001557"/>
                  </a:lnTo>
                  <a:lnTo>
                    <a:pt x="995155" y="2985999"/>
                  </a:lnTo>
                  <a:lnTo>
                    <a:pt x="952894" y="2969221"/>
                  </a:lnTo>
                  <a:lnTo>
                    <a:pt x="911254" y="2951246"/>
                  </a:lnTo>
                  <a:lnTo>
                    <a:pt x="870258" y="2932093"/>
                  </a:lnTo>
                  <a:lnTo>
                    <a:pt x="829926" y="2911785"/>
                  </a:lnTo>
                  <a:lnTo>
                    <a:pt x="790281" y="2890342"/>
                  </a:lnTo>
                  <a:lnTo>
                    <a:pt x="751343" y="2867787"/>
                  </a:lnTo>
                  <a:lnTo>
                    <a:pt x="713134" y="2844140"/>
                  </a:lnTo>
                  <a:lnTo>
                    <a:pt x="675675" y="2819423"/>
                  </a:lnTo>
                  <a:lnTo>
                    <a:pt x="638987" y="2793658"/>
                  </a:lnTo>
                  <a:lnTo>
                    <a:pt x="603092" y="2766864"/>
                  </a:lnTo>
                  <a:lnTo>
                    <a:pt x="568011" y="2739065"/>
                  </a:lnTo>
                  <a:lnTo>
                    <a:pt x="533766" y="2710280"/>
                  </a:lnTo>
                  <a:lnTo>
                    <a:pt x="500378" y="2680532"/>
                  </a:lnTo>
                  <a:lnTo>
                    <a:pt x="467867" y="2649842"/>
                  </a:lnTo>
                  <a:lnTo>
                    <a:pt x="436256" y="2618231"/>
                  </a:lnTo>
                  <a:lnTo>
                    <a:pt x="405566" y="2585721"/>
                  </a:lnTo>
                  <a:lnTo>
                    <a:pt x="375819" y="2552333"/>
                  </a:lnTo>
                  <a:lnTo>
                    <a:pt x="347034" y="2518087"/>
                  </a:lnTo>
                  <a:lnTo>
                    <a:pt x="319235" y="2483007"/>
                  </a:lnTo>
                  <a:lnTo>
                    <a:pt x="292441" y="2447112"/>
                  </a:lnTo>
                  <a:lnTo>
                    <a:pt x="266675" y="2410424"/>
                  </a:lnTo>
                  <a:lnTo>
                    <a:pt x="241958" y="2372965"/>
                  </a:lnTo>
                  <a:lnTo>
                    <a:pt x="218312" y="2334756"/>
                  </a:lnTo>
                  <a:lnTo>
                    <a:pt x="195756" y="2295818"/>
                  </a:lnTo>
                  <a:lnTo>
                    <a:pt x="174314" y="2256172"/>
                  </a:lnTo>
                  <a:lnTo>
                    <a:pt x="154006" y="2215841"/>
                  </a:lnTo>
                  <a:lnTo>
                    <a:pt x="134853" y="2174845"/>
                  </a:lnTo>
                  <a:lnTo>
                    <a:pt x="116877"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8"/>
                  </a:lnTo>
                  <a:lnTo>
                    <a:pt x="734" y="1591112"/>
                  </a:lnTo>
                  <a:lnTo>
                    <a:pt x="0" y="1543045"/>
                  </a:lnTo>
                  <a:lnTo>
                    <a:pt x="734" y="1494988"/>
                  </a:lnTo>
                  <a:lnTo>
                    <a:pt x="2922" y="1447292"/>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7" y="952894"/>
                  </a:lnTo>
                  <a:lnTo>
                    <a:pt x="134853" y="911254"/>
                  </a:lnTo>
                  <a:lnTo>
                    <a:pt x="154006" y="870258"/>
                  </a:lnTo>
                  <a:lnTo>
                    <a:pt x="174314" y="829927"/>
                  </a:lnTo>
                  <a:lnTo>
                    <a:pt x="195756" y="790281"/>
                  </a:lnTo>
                  <a:lnTo>
                    <a:pt x="218312" y="751343"/>
                  </a:lnTo>
                  <a:lnTo>
                    <a:pt x="241958" y="713134"/>
                  </a:lnTo>
                  <a:lnTo>
                    <a:pt x="266675" y="675675"/>
                  </a:lnTo>
                  <a:lnTo>
                    <a:pt x="292441" y="638987"/>
                  </a:lnTo>
                  <a:lnTo>
                    <a:pt x="319235" y="603092"/>
                  </a:lnTo>
                  <a:lnTo>
                    <a:pt x="347034" y="568012"/>
                  </a:lnTo>
                  <a:lnTo>
                    <a:pt x="375819" y="533766"/>
                  </a:lnTo>
                  <a:lnTo>
                    <a:pt x="405566" y="500378"/>
                  </a:lnTo>
                  <a:lnTo>
                    <a:pt x="436256" y="467868"/>
                  </a:lnTo>
                  <a:lnTo>
                    <a:pt x="467867" y="436257"/>
                  </a:lnTo>
                  <a:lnTo>
                    <a:pt x="500378" y="405567"/>
                  </a:lnTo>
                  <a:lnTo>
                    <a:pt x="533766" y="375819"/>
                  </a:lnTo>
                  <a:lnTo>
                    <a:pt x="568011" y="347034"/>
                  </a:lnTo>
                  <a:lnTo>
                    <a:pt x="603092" y="319235"/>
                  </a:lnTo>
                  <a:lnTo>
                    <a:pt x="638987" y="292442"/>
                  </a:lnTo>
                  <a:lnTo>
                    <a:pt x="675675" y="266676"/>
                  </a:lnTo>
                  <a:lnTo>
                    <a:pt x="713134" y="241959"/>
                  </a:lnTo>
                  <a:lnTo>
                    <a:pt x="751343" y="218312"/>
                  </a:lnTo>
                  <a:lnTo>
                    <a:pt x="790281" y="195757"/>
                  </a:lnTo>
                  <a:lnTo>
                    <a:pt x="829926" y="174314"/>
                  </a:lnTo>
                  <a:lnTo>
                    <a:pt x="870258" y="154006"/>
                  </a:lnTo>
                  <a:lnTo>
                    <a:pt x="911254" y="134853"/>
                  </a:lnTo>
                  <a:lnTo>
                    <a:pt x="952894" y="116878"/>
                  </a:lnTo>
                  <a:lnTo>
                    <a:pt x="995155" y="100100"/>
                  </a:lnTo>
                  <a:lnTo>
                    <a:pt x="1038018" y="84542"/>
                  </a:lnTo>
                  <a:lnTo>
                    <a:pt x="1081460" y="70225"/>
                  </a:lnTo>
                  <a:lnTo>
                    <a:pt x="1125459" y="57170"/>
                  </a:lnTo>
                  <a:lnTo>
                    <a:pt x="1169996" y="45399"/>
                  </a:lnTo>
                  <a:lnTo>
                    <a:pt x="1215048" y="34933"/>
                  </a:lnTo>
                  <a:lnTo>
                    <a:pt x="1260594" y="25793"/>
                  </a:lnTo>
                  <a:lnTo>
                    <a:pt x="1306613" y="18000"/>
                  </a:lnTo>
                  <a:lnTo>
                    <a:pt x="1353083" y="11577"/>
                  </a:lnTo>
                  <a:lnTo>
                    <a:pt x="1399983"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4" y="134853"/>
                  </a:lnTo>
                  <a:lnTo>
                    <a:pt x="2215841" y="154006"/>
                  </a:lnTo>
                  <a:lnTo>
                    <a:pt x="2256172" y="174314"/>
                  </a:lnTo>
                  <a:lnTo>
                    <a:pt x="2295818" y="195757"/>
                  </a:lnTo>
                  <a:lnTo>
                    <a:pt x="2334755" y="218312"/>
                  </a:lnTo>
                  <a:lnTo>
                    <a:pt x="2372965" y="241959"/>
                  </a:lnTo>
                  <a:lnTo>
                    <a:pt x="2410424" y="266676"/>
                  </a:lnTo>
                  <a:lnTo>
                    <a:pt x="2447111" y="292442"/>
                  </a:lnTo>
                  <a:lnTo>
                    <a:pt x="2483006" y="319235"/>
                  </a:lnTo>
                  <a:lnTo>
                    <a:pt x="2518087" y="347034"/>
                  </a:lnTo>
                  <a:lnTo>
                    <a:pt x="2552332"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6" y="911254"/>
                  </a:lnTo>
                  <a:lnTo>
                    <a:pt x="2969221" y="952894"/>
                  </a:lnTo>
                  <a:lnTo>
                    <a:pt x="2985999" y="995156"/>
                  </a:lnTo>
                  <a:lnTo>
                    <a:pt x="3001557" y="1038018"/>
                  </a:lnTo>
                  <a:lnTo>
                    <a:pt x="3015874" y="1081460"/>
                  </a:lnTo>
                  <a:lnTo>
                    <a:pt x="3028929" y="1125460"/>
                  </a:lnTo>
                  <a:lnTo>
                    <a:pt x="3040700" y="1169996"/>
                  </a:lnTo>
                  <a:lnTo>
                    <a:pt x="3051166" y="1215048"/>
                  </a:lnTo>
                  <a:lnTo>
                    <a:pt x="3060306" y="1260594"/>
                  </a:lnTo>
                  <a:lnTo>
                    <a:pt x="3068098" y="1306613"/>
                  </a:lnTo>
                  <a:lnTo>
                    <a:pt x="3074522" y="1353083"/>
                  </a:lnTo>
                  <a:lnTo>
                    <a:pt x="3079555" y="1399983"/>
                  </a:lnTo>
                  <a:lnTo>
                    <a:pt x="3083177" y="1447292"/>
                  </a:lnTo>
                  <a:lnTo>
                    <a:pt x="3085365" y="1494988"/>
                  </a:lnTo>
                  <a:lnTo>
                    <a:pt x="3086099" y="1543050"/>
                  </a:lnTo>
                  <a:lnTo>
                    <a:pt x="3085365" y="1591112"/>
                  </a:lnTo>
                  <a:lnTo>
                    <a:pt x="3083177" y="1638808"/>
                  </a:lnTo>
                  <a:lnTo>
                    <a:pt x="3079555" y="1686116"/>
                  </a:lnTo>
                  <a:lnTo>
                    <a:pt x="3074522" y="1733016"/>
                  </a:lnTo>
                  <a:lnTo>
                    <a:pt x="3068098" y="1779486"/>
                  </a:lnTo>
                  <a:lnTo>
                    <a:pt x="3060306" y="1825505"/>
                  </a:lnTo>
                  <a:lnTo>
                    <a:pt x="3051166" y="1871051"/>
                  </a:lnTo>
                  <a:lnTo>
                    <a:pt x="3040700" y="1916103"/>
                  </a:lnTo>
                  <a:lnTo>
                    <a:pt x="3028929" y="1960639"/>
                  </a:lnTo>
                  <a:lnTo>
                    <a:pt x="3015874" y="2004639"/>
                  </a:lnTo>
                  <a:lnTo>
                    <a:pt x="3001557" y="2048081"/>
                  </a:lnTo>
                  <a:lnTo>
                    <a:pt x="2985999" y="2090943"/>
                  </a:lnTo>
                  <a:lnTo>
                    <a:pt x="2969221" y="2133205"/>
                  </a:lnTo>
                  <a:lnTo>
                    <a:pt x="2951246"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7"/>
                  </a:lnTo>
                  <a:lnTo>
                    <a:pt x="2739064" y="2518087"/>
                  </a:lnTo>
                  <a:lnTo>
                    <a:pt x="2710280" y="2552333"/>
                  </a:lnTo>
                  <a:lnTo>
                    <a:pt x="2680532" y="2585721"/>
                  </a:lnTo>
                  <a:lnTo>
                    <a:pt x="2649842" y="2618231"/>
                  </a:lnTo>
                  <a:lnTo>
                    <a:pt x="2618231" y="2649842"/>
                  </a:lnTo>
                  <a:lnTo>
                    <a:pt x="2585721" y="2680532"/>
                  </a:lnTo>
                  <a:lnTo>
                    <a:pt x="2552332" y="2710280"/>
                  </a:lnTo>
                  <a:lnTo>
                    <a:pt x="2518087" y="2739065"/>
                  </a:lnTo>
                  <a:lnTo>
                    <a:pt x="2483006" y="2766864"/>
                  </a:lnTo>
                  <a:lnTo>
                    <a:pt x="2447111" y="2793658"/>
                  </a:lnTo>
                  <a:lnTo>
                    <a:pt x="2410424" y="2819423"/>
                  </a:lnTo>
                  <a:lnTo>
                    <a:pt x="2372965" y="2844140"/>
                  </a:lnTo>
                  <a:lnTo>
                    <a:pt x="2334755" y="2867787"/>
                  </a:lnTo>
                  <a:lnTo>
                    <a:pt x="2295818" y="2890342"/>
                  </a:lnTo>
                  <a:lnTo>
                    <a:pt x="2256172" y="2911785"/>
                  </a:lnTo>
                  <a:lnTo>
                    <a:pt x="2215841" y="2932093"/>
                  </a:lnTo>
                  <a:lnTo>
                    <a:pt x="2174844"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9"/>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12" name="object 12"/>
            <p:cNvSpPr/>
            <p:nvPr/>
          </p:nvSpPr>
          <p:spPr>
            <a:xfrm>
              <a:off x="8347999" y="4447138"/>
              <a:ext cx="1143635" cy="1633855"/>
            </a:xfrm>
            <a:custGeom>
              <a:avLst/>
              <a:gdLst/>
              <a:ahLst/>
              <a:cxnLst/>
              <a:rect l="l" t="t" r="r" b="b"/>
              <a:pathLst>
                <a:path w="1143634" h="1633854">
                  <a:moveTo>
                    <a:pt x="563083" y="1633607"/>
                  </a:moveTo>
                  <a:lnTo>
                    <a:pt x="518569" y="1627634"/>
                  </a:lnTo>
                  <a:lnTo>
                    <a:pt x="476537" y="1613269"/>
                  </a:lnTo>
                  <a:lnTo>
                    <a:pt x="438006" y="1591388"/>
                  </a:lnTo>
                  <a:lnTo>
                    <a:pt x="403997" y="1562864"/>
                  </a:lnTo>
                  <a:lnTo>
                    <a:pt x="375527" y="1528573"/>
                  </a:lnTo>
                  <a:lnTo>
                    <a:pt x="353617" y="1489388"/>
                  </a:lnTo>
                  <a:lnTo>
                    <a:pt x="339266" y="1446098"/>
                  </a:lnTo>
                  <a:lnTo>
                    <a:pt x="337708" y="1439250"/>
                  </a:lnTo>
                  <a:lnTo>
                    <a:pt x="331692" y="1430818"/>
                  </a:lnTo>
                  <a:lnTo>
                    <a:pt x="288625" y="1404815"/>
                  </a:lnTo>
                  <a:lnTo>
                    <a:pt x="261825" y="1375172"/>
                  </a:lnTo>
                  <a:lnTo>
                    <a:pt x="244992" y="1338973"/>
                  </a:lnTo>
                  <a:lnTo>
                    <a:pt x="238053" y="1296254"/>
                  </a:lnTo>
                  <a:lnTo>
                    <a:pt x="237407" y="1250773"/>
                  </a:lnTo>
                  <a:lnTo>
                    <a:pt x="237507" y="1240020"/>
                  </a:lnTo>
                  <a:lnTo>
                    <a:pt x="237925" y="1221267"/>
                  </a:lnTo>
                  <a:lnTo>
                    <a:pt x="236294" y="1170554"/>
                  </a:lnTo>
                  <a:lnTo>
                    <a:pt x="228579" y="1122113"/>
                  </a:lnTo>
                  <a:lnTo>
                    <a:pt x="214893" y="1075869"/>
                  </a:lnTo>
                  <a:lnTo>
                    <a:pt x="195303" y="1031664"/>
                  </a:lnTo>
                  <a:lnTo>
                    <a:pt x="170012" y="989594"/>
                  </a:lnTo>
                  <a:lnTo>
                    <a:pt x="139166" y="949570"/>
                  </a:lnTo>
                  <a:lnTo>
                    <a:pt x="108631" y="911289"/>
                  </a:lnTo>
                  <a:lnTo>
                    <a:pt x="81715" y="871618"/>
                  </a:lnTo>
                  <a:lnTo>
                    <a:pt x="58486" y="830575"/>
                  </a:lnTo>
                  <a:lnTo>
                    <a:pt x="39010" y="788182"/>
                  </a:lnTo>
                  <a:lnTo>
                    <a:pt x="23357" y="744459"/>
                  </a:lnTo>
                  <a:lnTo>
                    <a:pt x="11592" y="699425"/>
                  </a:lnTo>
                  <a:lnTo>
                    <a:pt x="3784" y="653101"/>
                  </a:lnTo>
                  <a:lnTo>
                    <a:pt x="0" y="605507"/>
                  </a:lnTo>
                  <a:lnTo>
                    <a:pt x="306" y="556662"/>
                  </a:lnTo>
                  <a:lnTo>
                    <a:pt x="4833" y="502755"/>
                  </a:lnTo>
                  <a:lnTo>
                    <a:pt x="13102" y="451283"/>
                  </a:lnTo>
                  <a:lnTo>
                    <a:pt x="25093" y="402247"/>
                  </a:lnTo>
                  <a:lnTo>
                    <a:pt x="40785" y="355650"/>
                  </a:lnTo>
                  <a:lnTo>
                    <a:pt x="60157" y="311492"/>
                  </a:lnTo>
                  <a:lnTo>
                    <a:pt x="83187" y="269777"/>
                  </a:lnTo>
                  <a:lnTo>
                    <a:pt x="109856" y="230506"/>
                  </a:lnTo>
                  <a:lnTo>
                    <a:pt x="140141" y="193681"/>
                  </a:lnTo>
                  <a:lnTo>
                    <a:pt x="174022" y="159304"/>
                  </a:lnTo>
                  <a:lnTo>
                    <a:pt x="211479" y="127376"/>
                  </a:lnTo>
                  <a:lnTo>
                    <a:pt x="252489" y="97900"/>
                  </a:lnTo>
                  <a:lnTo>
                    <a:pt x="297032" y="70877"/>
                  </a:lnTo>
                  <a:lnTo>
                    <a:pt x="345173" y="46275"/>
                  </a:lnTo>
                  <a:lnTo>
                    <a:pt x="387101" y="29297"/>
                  </a:lnTo>
                  <a:lnTo>
                    <a:pt x="430382" y="16654"/>
                  </a:lnTo>
                  <a:lnTo>
                    <a:pt x="474711" y="7904"/>
                  </a:lnTo>
                  <a:lnTo>
                    <a:pt x="519868" y="2568"/>
                  </a:lnTo>
                  <a:lnTo>
                    <a:pt x="523408" y="2268"/>
                  </a:lnTo>
                  <a:lnTo>
                    <a:pt x="526906" y="855"/>
                  </a:lnTo>
                  <a:lnTo>
                    <a:pt x="530405" y="0"/>
                  </a:lnTo>
                  <a:lnTo>
                    <a:pt x="613081" y="0"/>
                  </a:lnTo>
                  <a:lnTo>
                    <a:pt x="613080" y="128"/>
                  </a:lnTo>
                  <a:lnTo>
                    <a:pt x="681015" y="11576"/>
                  </a:lnTo>
                  <a:lnTo>
                    <a:pt x="751299" y="28871"/>
                  </a:lnTo>
                  <a:lnTo>
                    <a:pt x="797721" y="46310"/>
                  </a:lnTo>
                  <a:lnTo>
                    <a:pt x="842289" y="67965"/>
                  </a:lnTo>
                  <a:lnTo>
                    <a:pt x="884930" y="93644"/>
                  </a:lnTo>
                  <a:lnTo>
                    <a:pt x="888585" y="96304"/>
                  </a:lnTo>
                  <a:lnTo>
                    <a:pt x="570692" y="96304"/>
                  </a:lnTo>
                  <a:lnTo>
                    <a:pt x="521446" y="99339"/>
                  </a:lnTo>
                  <a:lnTo>
                    <a:pt x="468714" y="107466"/>
                  </a:lnTo>
                  <a:lnTo>
                    <a:pt x="418941" y="120094"/>
                  </a:lnTo>
                  <a:lnTo>
                    <a:pt x="372203" y="137200"/>
                  </a:lnTo>
                  <a:lnTo>
                    <a:pt x="328574" y="158761"/>
                  </a:lnTo>
                  <a:lnTo>
                    <a:pt x="288131" y="184753"/>
                  </a:lnTo>
                  <a:lnTo>
                    <a:pt x="250947" y="215153"/>
                  </a:lnTo>
                  <a:lnTo>
                    <a:pt x="217097" y="249938"/>
                  </a:lnTo>
                  <a:lnTo>
                    <a:pt x="186658" y="289084"/>
                  </a:lnTo>
                  <a:lnTo>
                    <a:pt x="159703" y="332568"/>
                  </a:lnTo>
                  <a:lnTo>
                    <a:pt x="136308" y="380367"/>
                  </a:lnTo>
                  <a:lnTo>
                    <a:pt x="117535" y="429646"/>
                  </a:lnTo>
                  <a:lnTo>
                    <a:pt x="104007" y="478403"/>
                  </a:lnTo>
                  <a:lnTo>
                    <a:pt x="95683" y="526599"/>
                  </a:lnTo>
                  <a:lnTo>
                    <a:pt x="92524" y="574194"/>
                  </a:lnTo>
                  <a:lnTo>
                    <a:pt x="94489" y="621150"/>
                  </a:lnTo>
                  <a:lnTo>
                    <a:pt x="101538" y="667428"/>
                  </a:lnTo>
                  <a:lnTo>
                    <a:pt x="113631" y="712990"/>
                  </a:lnTo>
                  <a:lnTo>
                    <a:pt x="130728" y="757796"/>
                  </a:lnTo>
                  <a:lnTo>
                    <a:pt x="152790" y="801808"/>
                  </a:lnTo>
                  <a:lnTo>
                    <a:pt x="179776" y="844988"/>
                  </a:lnTo>
                  <a:lnTo>
                    <a:pt x="211646" y="887295"/>
                  </a:lnTo>
                  <a:lnTo>
                    <a:pt x="244606" y="930629"/>
                  </a:lnTo>
                  <a:lnTo>
                    <a:pt x="273370" y="976069"/>
                  </a:lnTo>
                  <a:lnTo>
                    <a:pt x="297103" y="1024181"/>
                  </a:lnTo>
                  <a:lnTo>
                    <a:pt x="314970" y="1075532"/>
                  </a:lnTo>
                  <a:lnTo>
                    <a:pt x="324031" y="1113496"/>
                  </a:lnTo>
                  <a:lnTo>
                    <a:pt x="327993" y="1132339"/>
                  </a:lnTo>
                  <a:lnTo>
                    <a:pt x="332076" y="1151374"/>
                  </a:lnTo>
                  <a:lnTo>
                    <a:pt x="910033" y="1151374"/>
                  </a:lnTo>
                  <a:lnTo>
                    <a:pt x="907893" y="1163811"/>
                  </a:lnTo>
                  <a:lnTo>
                    <a:pt x="905688" y="1211680"/>
                  </a:lnTo>
                  <a:lnTo>
                    <a:pt x="905783" y="1221267"/>
                  </a:lnTo>
                  <a:lnTo>
                    <a:pt x="905909" y="1240020"/>
                  </a:lnTo>
                  <a:lnTo>
                    <a:pt x="905938" y="1248831"/>
                  </a:lnTo>
                  <a:lnTo>
                    <a:pt x="333228" y="1248831"/>
                  </a:lnTo>
                  <a:lnTo>
                    <a:pt x="333228" y="1290989"/>
                  </a:lnTo>
                  <a:lnTo>
                    <a:pt x="347210" y="1329606"/>
                  </a:lnTo>
                  <a:lnTo>
                    <a:pt x="385700" y="1343505"/>
                  </a:lnTo>
                  <a:lnTo>
                    <a:pt x="895961" y="1343607"/>
                  </a:lnTo>
                  <a:lnTo>
                    <a:pt x="883052" y="1373155"/>
                  </a:lnTo>
                  <a:lnTo>
                    <a:pt x="855446" y="1404372"/>
                  </a:lnTo>
                  <a:lnTo>
                    <a:pt x="816741" y="1428550"/>
                  </a:lnTo>
                  <a:lnTo>
                    <a:pt x="810982" y="1431246"/>
                  </a:lnTo>
                  <a:lnTo>
                    <a:pt x="805735" y="1439507"/>
                  </a:lnTo>
                  <a:lnTo>
                    <a:pt x="805619" y="1440020"/>
                  </a:lnTo>
                  <a:lnTo>
                    <a:pt x="438941" y="1440020"/>
                  </a:lnTo>
                  <a:lnTo>
                    <a:pt x="458178" y="1478623"/>
                  </a:lnTo>
                  <a:lnTo>
                    <a:pt x="489077" y="1509630"/>
                  </a:lnTo>
                  <a:lnTo>
                    <a:pt x="527896" y="1530357"/>
                  </a:lnTo>
                  <a:lnTo>
                    <a:pt x="570889" y="1538119"/>
                  </a:lnTo>
                  <a:lnTo>
                    <a:pt x="760635" y="1538119"/>
                  </a:lnTo>
                  <a:lnTo>
                    <a:pt x="734609" y="1567929"/>
                  </a:lnTo>
                  <a:lnTo>
                    <a:pt x="697876" y="1596520"/>
                  </a:lnTo>
                  <a:lnTo>
                    <a:pt x="656283" y="1617599"/>
                  </a:lnTo>
                  <a:lnTo>
                    <a:pt x="610972" y="1630261"/>
                  </a:lnTo>
                  <a:lnTo>
                    <a:pt x="563083" y="1633607"/>
                  </a:lnTo>
                  <a:close/>
                </a:path>
                <a:path w="1143634" h="1633854">
                  <a:moveTo>
                    <a:pt x="910033" y="1151374"/>
                  </a:moveTo>
                  <a:lnTo>
                    <a:pt x="811494" y="1151374"/>
                  </a:lnTo>
                  <a:lnTo>
                    <a:pt x="815614" y="1132259"/>
                  </a:lnTo>
                  <a:lnTo>
                    <a:pt x="819647" y="1113212"/>
                  </a:lnTo>
                  <a:lnTo>
                    <a:pt x="843442" y="1031664"/>
                  </a:lnTo>
                  <a:lnTo>
                    <a:pt x="863202" y="989594"/>
                  </a:lnTo>
                  <a:lnTo>
                    <a:pt x="886861" y="949570"/>
                  </a:lnTo>
                  <a:lnTo>
                    <a:pt x="913447" y="911289"/>
                  </a:lnTo>
                  <a:lnTo>
                    <a:pt x="942206" y="874113"/>
                  </a:lnTo>
                  <a:lnTo>
                    <a:pt x="972761" y="832078"/>
                  </a:lnTo>
                  <a:lnTo>
                    <a:pt x="998136" y="788557"/>
                  </a:lnTo>
                  <a:lnTo>
                    <a:pt x="1018341" y="743578"/>
                  </a:lnTo>
                  <a:lnTo>
                    <a:pt x="1033382" y="697170"/>
                  </a:lnTo>
                  <a:lnTo>
                    <a:pt x="1043268" y="649365"/>
                  </a:lnTo>
                  <a:lnTo>
                    <a:pt x="1048006" y="600191"/>
                  </a:lnTo>
                  <a:lnTo>
                    <a:pt x="1047606" y="549677"/>
                  </a:lnTo>
                  <a:lnTo>
                    <a:pt x="1042074" y="497854"/>
                  </a:lnTo>
                  <a:lnTo>
                    <a:pt x="1031852" y="448279"/>
                  </a:lnTo>
                  <a:lnTo>
                    <a:pt x="1016850" y="401041"/>
                  </a:lnTo>
                  <a:lnTo>
                    <a:pt x="997083" y="356217"/>
                  </a:lnTo>
                  <a:lnTo>
                    <a:pt x="972563" y="313882"/>
                  </a:lnTo>
                  <a:lnTo>
                    <a:pt x="943302" y="274113"/>
                  </a:lnTo>
                  <a:lnTo>
                    <a:pt x="909315" y="236986"/>
                  </a:lnTo>
                  <a:lnTo>
                    <a:pt x="872646" y="203865"/>
                  </a:lnTo>
                  <a:lnTo>
                    <a:pt x="834300" y="175076"/>
                  </a:lnTo>
                  <a:lnTo>
                    <a:pt x="794308" y="150671"/>
                  </a:lnTo>
                  <a:lnTo>
                    <a:pt x="752699" y="130705"/>
                  </a:lnTo>
                  <a:lnTo>
                    <a:pt x="709503" y="115231"/>
                  </a:lnTo>
                  <a:lnTo>
                    <a:pt x="664750" y="104304"/>
                  </a:lnTo>
                  <a:lnTo>
                    <a:pt x="618470" y="97977"/>
                  </a:lnTo>
                  <a:lnTo>
                    <a:pt x="570692" y="96304"/>
                  </a:lnTo>
                  <a:lnTo>
                    <a:pt x="888585" y="96304"/>
                  </a:lnTo>
                  <a:lnTo>
                    <a:pt x="925289" y="123015"/>
                  </a:lnTo>
                  <a:lnTo>
                    <a:pt x="963081" y="155779"/>
                  </a:lnTo>
                  <a:lnTo>
                    <a:pt x="998021" y="191640"/>
                  </a:lnTo>
                  <a:lnTo>
                    <a:pt x="1029822" y="230300"/>
                  </a:lnTo>
                  <a:lnTo>
                    <a:pt x="1058201" y="271462"/>
                  </a:lnTo>
                  <a:lnTo>
                    <a:pt x="1082873" y="314829"/>
                  </a:lnTo>
                  <a:lnTo>
                    <a:pt x="1103551" y="360103"/>
                  </a:lnTo>
                  <a:lnTo>
                    <a:pt x="1119951" y="406986"/>
                  </a:lnTo>
                  <a:lnTo>
                    <a:pt x="1131789" y="455182"/>
                  </a:lnTo>
                  <a:lnTo>
                    <a:pt x="1139460" y="504135"/>
                  </a:lnTo>
                  <a:lnTo>
                    <a:pt x="1143328" y="552278"/>
                  </a:lnTo>
                  <a:lnTo>
                    <a:pt x="1143341" y="600191"/>
                  </a:lnTo>
                  <a:lnTo>
                    <a:pt x="1139637" y="646130"/>
                  </a:lnTo>
                  <a:lnTo>
                    <a:pt x="1132071" y="691836"/>
                  </a:lnTo>
                  <a:lnTo>
                    <a:pt x="1120688" y="736729"/>
                  </a:lnTo>
                  <a:lnTo>
                    <a:pt x="1105484" y="780807"/>
                  </a:lnTo>
                  <a:lnTo>
                    <a:pt x="1086455" y="824068"/>
                  </a:lnTo>
                  <a:lnTo>
                    <a:pt x="1063599" y="866513"/>
                  </a:lnTo>
                  <a:lnTo>
                    <a:pt x="1036912" y="908139"/>
                  </a:lnTo>
                  <a:lnTo>
                    <a:pt x="1005086" y="949659"/>
                  </a:lnTo>
                  <a:lnTo>
                    <a:pt x="989333" y="969447"/>
                  </a:lnTo>
                  <a:lnTo>
                    <a:pt x="973902" y="990188"/>
                  </a:lnTo>
                  <a:lnTo>
                    <a:pt x="948846" y="1030866"/>
                  </a:lnTo>
                  <a:lnTo>
                    <a:pt x="929484" y="1073379"/>
                  </a:lnTo>
                  <a:lnTo>
                    <a:pt x="915829" y="1117702"/>
                  </a:lnTo>
                  <a:lnTo>
                    <a:pt x="910033" y="1151374"/>
                  </a:lnTo>
                  <a:close/>
                </a:path>
                <a:path w="1143634" h="1633854">
                  <a:moveTo>
                    <a:pt x="895962" y="1343604"/>
                  </a:moveTo>
                  <a:lnTo>
                    <a:pt x="659898" y="1343604"/>
                  </a:lnTo>
                  <a:lnTo>
                    <a:pt x="759022" y="1343462"/>
                  </a:lnTo>
                  <a:lnTo>
                    <a:pt x="780093" y="1339880"/>
                  </a:lnTo>
                  <a:lnTo>
                    <a:pt x="796088" y="1329761"/>
                  </a:lnTo>
                  <a:lnTo>
                    <a:pt x="806349" y="1313856"/>
                  </a:lnTo>
                  <a:lnTo>
                    <a:pt x="810214" y="1292915"/>
                  </a:lnTo>
                  <a:lnTo>
                    <a:pt x="810300" y="1248831"/>
                  </a:lnTo>
                  <a:lnTo>
                    <a:pt x="905938" y="1248831"/>
                  </a:lnTo>
                  <a:lnTo>
                    <a:pt x="905870" y="1271322"/>
                  </a:lnTo>
                  <a:lnTo>
                    <a:pt x="905688" y="1289834"/>
                  </a:lnTo>
                  <a:lnTo>
                    <a:pt x="899739" y="1334957"/>
                  </a:lnTo>
                  <a:lnTo>
                    <a:pt x="895962" y="1343604"/>
                  </a:lnTo>
                  <a:close/>
                </a:path>
                <a:path w="1143634" h="1633854">
                  <a:moveTo>
                    <a:pt x="895961" y="1343607"/>
                  </a:moveTo>
                  <a:lnTo>
                    <a:pt x="448454" y="1343607"/>
                  </a:lnTo>
                  <a:lnTo>
                    <a:pt x="511207" y="1343548"/>
                  </a:lnTo>
                  <a:lnTo>
                    <a:pt x="895962" y="1343604"/>
                  </a:lnTo>
                  <a:close/>
                </a:path>
                <a:path w="1143634" h="1633854">
                  <a:moveTo>
                    <a:pt x="760635" y="1538119"/>
                  </a:moveTo>
                  <a:lnTo>
                    <a:pt x="570889" y="1538119"/>
                  </a:lnTo>
                  <a:lnTo>
                    <a:pt x="614103" y="1530928"/>
                  </a:lnTo>
                  <a:lnTo>
                    <a:pt x="653341" y="1510384"/>
                  </a:lnTo>
                  <a:lnTo>
                    <a:pt x="684789" y="1479183"/>
                  </a:lnTo>
                  <a:lnTo>
                    <a:pt x="704630" y="1440020"/>
                  </a:lnTo>
                  <a:lnTo>
                    <a:pt x="805619" y="1440020"/>
                  </a:lnTo>
                  <a:lnTo>
                    <a:pt x="804213" y="1446184"/>
                  </a:lnTo>
                  <a:lnTo>
                    <a:pt x="788933" y="1491816"/>
                  </a:lnTo>
                  <a:lnTo>
                    <a:pt x="765342" y="1532727"/>
                  </a:lnTo>
                  <a:lnTo>
                    <a:pt x="760635" y="1538119"/>
                  </a:lnTo>
                  <a:close/>
                </a:path>
              </a:pathLst>
            </a:custGeom>
            <a:solidFill>
              <a:srgbClr val="FFFFFF"/>
            </a:solidFill>
          </p:spPr>
          <p:txBody>
            <a:bodyPr wrap="square" lIns="0" tIns="0" rIns="0" bIns="0" rtlCol="0"/>
            <a:lstStyle/>
            <a:p>
              <a:endParaRPr/>
            </a:p>
          </p:txBody>
        </p:sp>
        <p:pic>
          <p:nvPicPr>
            <p:cNvPr id="13" name="object 13"/>
            <p:cNvPicPr/>
            <p:nvPr/>
          </p:nvPicPr>
          <p:blipFill>
            <a:blip r:embed="rId2" cstate="print"/>
            <a:stretch>
              <a:fillRect/>
            </a:stretch>
          </p:blipFill>
          <p:spPr>
            <a:xfrm>
              <a:off x="8119593" y="4700682"/>
              <a:ext cx="162386" cy="163417"/>
            </a:xfrm>
            <a:prstGeom prst="rect">
              <a:avLst/>
            </a:prstGeom>
          </p:spPr>
        </p:pic>
        <p:pic>
          <p:nvPicPr>
            <p:cNvPr id="14" name="object 14"/>
            <p:cNvPicPr/>
            <p:nvPr/>
          </p:nvPicPr>
          <p:blipFill>
            <a:blip r:embed="rId3" cstate="print"/>
            <a:stretch>
              <a:fillRect/>
            </a:stretch>
          </p:blipFill>
          <p:spPr>
            <a:xfrm>
              <a:off x="8105483" y="5021305"/>
              <a:ext cx="190692" cy="96386"/>
            </a:xfrm>
            <a:prstGeom prst="rect">
              <a:avLst/>
            </a:prstGeom>
          </p:spPr>
        </p:pic>
        <p:pic>
          <p:nvPicPr>
            <p:cNvPr id="15" name="object 15"/>
            <p:cNvPicPr/>
            <p:nvPr/>
          </p:nvPicPr>
          <p:blipFill>
            <a:blip r:embed="rId4" cstate="print"/>
            <a:stretch>
              <a:fillRect/>
            </a:stretch>
          </p:blipFill>
          <p:spPr>
            <a:xfrm>
              <a:off x="9557196" y="4700981"/>
              <a:ext cx="162984" cy="162828"/>
            </a:xfrm>
            <a:prstGeom prst="rect">
              <a:avLst/>
            </a:prstGeom>
          </p:spPr>
        </p:pic>
        <p:pic>
          <p:nvPicPr>
            <p:cNvPr id="16" name="object 16"/>
            <p:cNvPicPr/>
            <p:nvPr/>
          </p:nvPicPr>
          <p:blipFill>
            <a:blip r:embed="rId5" cstate="print"/>
            <a:stretch>
              <a:fillRect/>
            </a:stretch>
          </p:blipFill>
          <p:spPr>
            <a:xfrm>
              <a:off x="8119566" y="5275426"/>
              <a:ext cx="163042" cy="162809"/>
            </a:xfrm>
            <a:prstGeom prst="rect">
              <a:avLst/>
            </a:prstGeom>
          </p:spPr>
        </p:pic>
        <p:pic>
          <p:nvPicPr>
            <p:cNvPr id="17" name="object 17"/>
            <p:cNvPicPr/>
            <p:nvPr/>
          </p:nvPicPr>
          <p:blipFill>
            <a:blip r:embed="rId6" cstate="print"/>
            <a:stretch>
              <a:fillRect/>
            </a:stretch>
          </p:blipFill>
          <p:spPr>
            <a:xfrm>
              <a:off x="9557587" y="5274599"/>
              <a:ext cx="162278" cy="163588"/>
            </a:xfrm>
            <a:prstGeom prst="rect">
              <a:avLst/>
            </a:prstGeom>
          </p:spPr>
        </p:pic>
        <p:pic>
          <p:nvPicPr>
            <p:cNvPr id="18" name="object 18"/>
            <p:cNvPicPr/>
            <p:nvPr/>
          </p:nvPicPr>
          <p:blipFill>
            <a:blip r:embed="rId7" cstate="print"/>
            <a:stretch>
              <a:fillRect/>
            </a:stretch>
          </p:blipFill>
          <p:spPr>
            <a:xfrm>
              <a:off x="9543267" y="5021493"/>
              <a:ext cx="190564" cy="96008"/>
            </a:xfrm>
            <a:prstGeom prst="rect">
              <a:avLst/>
            </a:prstGeom>
          </p:spPr>
        </p:pic>
        <p:sp>
          <p:nvSpPr>
            <p:cNvPr id="19" name="object 19"/>
            <p:cNvSpPr/>
            <p:nvPr/>
          </p:nvSpPr>
          <p:spPr>
            <a:xfrm>
              <a:off x="8872347" y="4638541"/>
              <a:ext cx="429259" cy="431165"/>
            </a:xfrm>
            <a:custGeom>
              <a:avLst/>
              <a:gdLst/>
              <a:ahLst/>
              <a:cxnLst/>
              <a:rect l="l" t="t" r="r" b="b"/>
              <a:pathLst>
                <a:path w="429259" h="431164">
                  <a:moveTo>
                    <a:pt x="383175" y="430829"/>
                  </a:moveTo>
                  <a:lnTo>
                    <a:pt x="338032" y="401999"/>
                  </a:lnTo>
                  <a:lnTo>
                    <a:pt x="328721" y="331856"/>
                  </a:lnTo>
                  <a:lnTo>
                    <a:pt x="316443" y="285374"/>
                  </a:lnTo>
                  <a:lnTo>
                    <a:pt x="296812" y="242324"/>
                  </a:lnTo>
                  <a:lnTo>
                    <a:pt x="269698" y="202785"/>
                  </a:lnTo>
                  <a:lnTo>
                    <a:pt x="234973" y="166836"/>
                  </a:lnTo>
                  <a:lnTo>
                    <a:pt x="195946" y="137727"/>
                  </a:lnTo>
                  <a:lnTo>
                    <a:pt x="153694" y="116390"/>
                  </a:lnTo>
                  <a:lnTo>
                    <a:pt x="108356" y="102621"/>
                  </a:lnTo>
                  <a:lnTo>
                    <a:pt x="60065" y="96215"/>
                  </a:lnTo>
                  <a:lnTo>
                    <a:pt x="53332" y="95853"/>
                  </a:lnTo>
                  <a:lnTo>
                    <a:pt x="46574" y="95375"/>
                  </a:lnTo>
                  <a:lnTo>
                    <a:pt x="7518" y="74242"/>
                  </a:lnTo>
                  <a:lnTo>
                    <a:pt x="0" y="43228"/>
                  </a:lnTo>
                  <a:lnTo>
                    <a:pt x="4613" y="27091"/>
                  </a:lnTo>
                  <a:lnTo>
                    <a:pt x="14253" y="13835"/>
                  </a:lnTo>
                  <a:lnTo>
                    <a:pt x="27805" y="4575"/>
                  </a:lnTo>
                  <a:lnTo>
                    <a:pt x="44153" y="427"/>
                  </a:lnTo>
                  <a:lnTo>
                    <a:pt x="49955" y="0"/>
                  </a:lnTo>
                  <a:lnTo>
                    <a:pt x="55799" y="385"/>
                  </a:lnTo>
                  <a:lnTo>
                    <a:pt x="61601" y="385"/>
                  </a:lnTo>
                  <a:lnTo>
                    <a:pt x="109036" y="5443"/>
                  </a:lnTo>
                  <a:lnTo>
                    <a:pt x="154602" y="15960"/>
                  </a:lnTo>
                  <a:lnTo>
                    <a:pt x="197938" y="31636"/>
                  </a:lnTo>
                  <a:lnTo>
                    <a:pt x="238685" y="52172"/>
                  </a:lnTo>
                  <a:lnTo>
                    <a:pt x="276480" y="77268"/>
                  </a:lnTo>
                  <a:lnTo>
                    <a:pt x="310965" y="106624"/>
                  </a:lnTo>
                  <a:lnTo>
                    <a:pt x="341778" y="139942"/>
                  </a:lnTo>
                  <a:lnTo>
                    <a:pt x="368559" y="176921"/>
                  </a:lnTo>
                  <a:lnTo>
                    <a:pt x="390946" y="217263"/>
                  </a:lnTo>
                  <a:lnTo>
                    <a:pt x="408580" y="260668"/>
                  </a:lnTo>
                  <a:lnTo>
                    <a:pt x="421101" y="306836"/>
                  </a:lnTo>
                  <a:lnTo>
                    <a:pt x="427700" y="361372"/>
                  </a:lnTo>
                  <a:lnTo>
                    <a:pt x="428651" y="379682"/>
                  </a:lnTo>
                  <a:lnTo>
                    <a:pt x="425841" y="399573"/>
                  </a:lnTo>
                  <a:lnTo>
                    <a:pt x="416376" y="415576"/>
                  </a:lnTo>
                  <a:lnTo>
                    <a:pt x="401679" y="426418"/>
                  </a:lnTo>
                  <a:lnTo>
                    <a:pt x="383175" y="430829"/>
                  </a:lnTo>
                  <a:close/>
                </a:path>
              </a:pathLst>
            </a:custGeom>
            <a:solidFill>
              <a:srgbClr val="FFFFFF"/>
            </a:solidFill>
          </p:spPr>
          <p:txBody>
            <a:bodyPr wrap="square" lIns="0" tIns="0" rIns="0" bIns="0" rtlCol="0"/>
            <a:lstStyle/>
            <a:p>
              <a:endParaRPr/>
            </a:p>
          </p:txBody>
        </p:sp>
        <p:sp>
          <p:nvSpPr>
            <p:cNvPr id="20" name="object 20"/>
            <p:cNvSpPr/>
            <p:nvPr/>
          </p:nvSpPr>
          <p:spPr>
            <a:xfrm>
              <a:off x="9199226" y="3686610"/>
              <a:ext cx="1224915" cy="1224915"/>
            </a:xfrm>
            <a:custGeom>
              <a:avLst/>
              <a:gdLst/>
              <a:ahLst/>
              <a:cxnLst/>
              <a:rect l="l" t="t" r="r" b="b"/>
              <a:pathLst>
                <a:path w="1224915" h="1224914">
                  <a:moveTo>
                    <a:pt x="918281" y="612187"/>
                  </a:moveTo>
                  <a:lnTo>
                    <a:pt x="306093" y="612187"/>
                  </a:lnTo>
                  <a:lnTo>
                    <a:pt x="306093" y="0"/>
                  </a:lnTo>
                  <a:lnTo>
                    <a:pt x="918281" y="0"/>
                  </a:lnTo>
                  <a:lnTo>
                    <a:pt x="918281" y="612187"/>
                  </a:lnTo>
                  <a:close/>
                </a:path>
                <a:path w="1224915" h="1224914">
                  <a:moveTo>
                    <a:pt x="612188" y="1224375"/>
                  </a:moveTo>
                  <a:lnTo>
                    <a:pt x="0" y="612188"/>
                  </a:lnTo>
                  <a:lnTo>
                    <a:pt x="1224375" y="612187"/>
                  </a:lnTo>
                  <a:lnTo>
                    <a:pt x="612188" y="1224375"/>
                  </a:lnTo>
                  <a:close/>
                </a:path>
              </a:pathLst>
            </a:custGeom>
            <a:solidFill>
              <a:srgbClr val="E3112B">
                <a:alpha val="80778"/>
              </a:srgbClr>
            </a:solidFill>
          </p:spPr>
          <p:txBody>
            <a:bodyPr wrap="square" lIns="0" tIns="0" rIns="0" bIns="0" rtlCol="0"/>
            <a:lstStyle/>
            <a:p>
              <a:endParaRPr/>
            </a:p>
          </p:txBody>
        </p:sp>
      </p:grpSp>
      <p:sp>
        <p:nvSpPr>
          <p:cNvPr id="21" name="object 21"/>
          <p:cNvSpPr txBox="1"/>
          <p:nvPr/>
        </p:nvSpPr>
        <p:spPr>
          <a:xfrm>
            <a:off x="7182141" y="7793948"/>
            <a:ext cx="3451225" cy="697865"/>
          </a:xfrm>
          <a:prstGeom prst="rect">
            <a:avLst/>
          </a:prstGeom>
        </p:spPr>
        <p:txBody>
          <a:bodyPr vert="horz" wrap="square" lIns="0" tIns="59055" rIns="0" bIns="0" rtlCol="0">
            <a:spAutoFit/>
          </a:bodyPr>
          <a:lstStyle/>
          <a:p>
            <a:pPr marL="305435" marR="5080" indent="-293370">
              <a:lnSpc>
                <a:spcPts val="2480"/>
              </a:lnSpc>
              <a:spcBef>
                <a:spcPts val="465"/>
              </a:spcBef>
            </a:pPr>
            <a:r>
              <a:rPr sz="2350" b="1" dirty="0">
                <a:solidFill>
                  <a:srgbClr val="FFFFFF"/>
                </a:solidFill>
                <a:latin typeface="Roboto"/>
                <a:cs typeface="Roboto"/>
              </a:rPr>
              <a:t>Conocimiento</a:t>
            </a:r>
            <a:r>
              <a:rPr sz="2350" b="1" spc="-40" dirty="0">
                <a:solidFill>
                  <a:srgbClr val="FFFFFF"/>
                </a:solidFill>
                <a:latin typeface="Roboto"/>
                <a:cs typeface="Roboto"/>
              </a:rPr>
              <a:t> </a:t>
            </a:r>
            <a:r>
              <a:rPr sz="2350" b="1" dirty="0">
                <a:solidFill>
                  <a:srgbClr val="FFFFFF"/>
                </a:solidFill>
                <a:latin typeface="Roboto"/>
                <a:cs typeface="Roboto"/>
              </a:rPr>
              <a:t>del</a:t>
            </a:r>
            <a:r>
              <a:rPr sz="2350" b="1" spc="-35" dirty="0">
                <a:solidFill>
                  <a:srgbClr val="FFFFFF"/>
                </a:solidFill>
                <a:latin typeface="Roboto"/>
                <a:cs typeface="Roboto"/>
              </a:rPr>
              <a:t> </a:t>
            </a:r>
            <a:r>
              <a:rPr sz="2350" b="1" spc="-10" dirty="0">
                <a:solidFill>
                  <a:srgbClr val="FFFFFF"/>
                </a:solidFill>
                <a:latin typeface="Roboto"/>
                <a:cs typeface="Roboto"/>
              </a:rPr>
              <a:t>destino </a:t>
            </a:r>
            <a:r>
              <a:rPr sz="2350" b="1" dirty="0">
                <a:solidFill>
                  <a:srgbClr val="FFFFFF"/>
                </a:solidFill>
                <a:latin typeface="Roboto"/>
                <a:cs typeface="Roboto"/>
              </a:rPr>
              <a:t>en</a:t>
            </a:r>
            <a:r>
              <a:rPr sz="2350" b="1" spc="-20" dirty="0">
                <a:solidFill>
                  <a:srgbClr val="FFFFFF"/>
                </a:solidFill>
                <a:latin typeface="Roboto"/>
                <a:cs typeface="Roboto"/>
              </a:rPr>
              <a:t> </a:t>
            </a:r>
            <a:r>
              <a:rPr sz="2350" b="1" dirty="0">
                <a:solidFill>
                  <a:srgbClr val="FFFFFF"/>
                </a:solidFill>
                <a:latin typeface="Roboto"/>
                <a:cs typeface="Roboto"/>
              </a:rPr>
              <a:t>el</a:t>
            </a:r>
            <a:r>
              <a:rPr sz="2350" b="1" spc="-20" dirty="0">
                <a:solidFill>
                  <a:srgbClr val="FFFFFF"/>
                </a:solidFill>
                <a:latin typeface="Roboto"/>
                <a:cs typeface="Roboto"/>
              </a:rPr>
              <a:t> </a:t>
            </a:r>
            <a:r>
              <a:rPr sz="2350" b="1" dirty="0">
                <a:solidFill>
                  <a:srgbClr val="FFFFFF"/>
                </a:solidFill>
                <a:latin typeface="Roboto"/>
                <a:cs typeface="Roboto"/>
              </a:rPr>
              <a:t>canal</a:t>
            </a:r>
            <a:r>
              <a:rPr sz="2350" b="1" spc="-20" dirty="0">
                <a:solidFill>
                  <a:srgbClr val="FFFFFF"/>
                </a:solidFill>
                <a:latin typeface="Roboto"/>
                <a:cs typeface="Roboto"/>
              </a:rPr>
              <a:t> </a:t>
            </a:r>
            <a:r>
              <a:rPr sz="2350" b="1" spc="-10" dirty="0">
                <a:solidFill>
                  <a:srgbClr val="FFFFFF"/>
                </a:solidFill>
                <a:latin typeface="Roboto"/>
                <a:cs typeface="Roboto"/>
              </a:rPr>
              <a:t>comercial</a:t>
            </a:r>
            <a:endParaRPr sz="2350">
              <a:latin typeface="Roboto"/>
              <a:cs typeface="Roboto"/>
            </a:endParaRPr>
          </a:p>
        </p:txBody>
      </p:sp>
      <p:grpSp>
        <p:nvGrpSpPr>
          <p:cNvPr id="22" name="object 22"/>
          <p:cNvGrpSpPr/>
          <p:nvPr/>
        </p:nvGrpSpPr>
        <p:grpSpPr>
          <a:xfrm>
            <a:off x="11122575" y="3686609"/>
            <a:ext cx="3086100" cy="5032375"/>
            <a:chOff x="11122575" y="3686609"/>
            <a:chExt cx="3086100" cy="5032375"/>
          </a:xfrm>
        </p:grpSpPr>
        <p:sp>
          <p:nvSpPr>
            <p:cNvPr id="23" name="object 23"/>
            <p:cNvSpPr/>
            <p:nvPr/>
          </p:nvSpPr>
          <p:spPr>
            <a:xfrm>
              <a:off x="11147397" y="7540183"/>
              <a:ext cx="3036570" cy="1179195"/>
            </a:xfrm>
            <a:custGeom>
              <a:avLst/>
              <a:gdLst/>
              <a:ahLst/>
              <a:cxnLst/>
              <a:rect l="l" t="t" r="r" b="b"/>
              <a:pathLst>
                <a:path w="3036569" h="1179195">
                  <a:moveTo>
                    <a:pt x="2447083" y="1178745"/>
                  </a:moveTo>
                  <a:lnTo>
                    <a:pt x="589372" y="1178745"/>
                  </a:lnTo>
                  <a:lnTo>
                    <a:pt x="541035" y="1176791"/>
                  </a:lnTo>
                  <a:lnTo>
                    <a:pt x="493773" y="1171031"/>
                  </a:lnTo>
                  <a:lnTo>
                    <a:pt x="447739" y="1161616"/>
                  </a:lnTo>
                  <a:lnTo>
                    <a:pt x="403085" y="1148698"/>
                  </a:lnTo>
                  <a:lnTo>
                    <a:pt x="359962" y="1132429"/>
                  </a:lnTo>
                  <a:lnTo>
                    <a:pt x="318522" y="1112960"/>
                  </a:lnTo>
                  <a:lnTo>
                    <a:pt x="278916" y="1090443"/>
                  </a:lnTo>
                  <a:lnTo>
                    <a:pt x="241296" y="1065030"/>
                  </a:lnTo>
                  <a:lnTo>
                    <a:pt x="205815" y="1036872"/>
                  </a:lnTo>
                  <a:lnTo>
                    <a:pt x="172623" y="1006122"/>
                  </a:lnTo>
                  <a:lnTo>
                    <a:pt x="141872" y="972930"/>
                  </a:lnTo>
                  <a:lnTo>
                    <a:pt x="113714" y="937448"/>
                  </a:lnTo>
                  <a:lnTo>
                    <a:pt x="88301" y="899829"/>
                  </a:lnTo>
                  <a:lnTo>
                    <a:pt x="65784" y="860223"/>
                  </a:lnTo>
                  <a:lnTo>
                    <a:pt x="46315" y="818783"/>
                  </a:lnTo>
                  <a:lnTo>
                    <a:pt x="30046" y="775660"/>
                  </a:lnTo>
                  <a:lnTo>
                    <a:pt x="17128" y="731005"/>
                  </a:lnTo>
                  <a:lnTo>
                    <a:pt x="7713" y="684971"/>
                  </a:lnTo>
                  <a:lnTo>
                    <a:pt x="1953" y="637710"/>
                  </a:lnTo>
                  <a:lnTo>
                    <a:pt x="0" y="589372"/>
                  </a:lnTo>
                  <a:lnTo>
                    <a:pt x="1953" y="541034"/>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2" y="65784"/>
                  </a:lnTo>
                  <a:lnTo>
                    <a:pt x="359962" y="46315"/>
                  </a:lnTo>
                  <a:lnTo>
                    <a:pt x="403085" y="30046"/>
                  </a:lnTo>
                  <a:lnTo>
                    <a:pt x="447739" y="17128"/>
                  </a:lnTo>
                  <a:lnTo>
                    <a:pt x="493773" y="7713"/>
                  </a:lnTo>
                  <a:lnTo>
                    <a:pt x="541035" y="1953"/>
                  </a:lnTo>
                  <a:lnTo>
                    <a:pt x="589372" y="0"/>
                  </a:lnTo>
                  <a:lnTo>
                    <a:pt x="2447083" y="0"/>
                  </a:lnTo>
                  <a:lnTo>
                    <a:pt x="2495421" y="1953"/>
                  </a:lnTo>
                  <a:lnTo>
                    <a:pt x="2542682" y="7713"/>
                  </a:lnTo>
                  <a:lnTo>
                    <a:pt x="2588716" y="17128"/>
                  </a:lnTo>
                  <a:lnTo>
                    <a:pt x="2633370" y="30046"/>
                  </a:lnTo>
                  <a:lnTo>
                    <a:pt x="2676493" y="46315"/>
                  </a:lnTo>
                  <a:lnTo>
                    <a:pt x="2717934" y="65784"/>
                  </a:lnTo>
                  <a:lnTo>
                    <a:pt x="2757539" y="88301"/>
                  </a:lnTo>
                  <a:lnTo>
                    <a:pt x="2795159" y="113714"/>
                  </a:lnTo>
                  <a:lnTo>
                    <a:pt x="2830640" y="141872"/>
                  </a:lnTo>
                  <a:lnTo>
                    <a:pt x="2863832" y="172623"/>
                  </a:lnTo>
                  <a:lnTo>
                    <a:pt x="2894583" y="205815"/>
                  </a:lnTo>
                  <a:lnTo>
                    <a:pt x="2922741" y="241296"/>
                  </a:lnTo>
                  <a:lnTo>
                    <a:pt x="2948154" y="278916"/>
                  </a:lnTo>
                  <a:lnTo>
                    <a:pt x="2970671" y="318522"/>
                  </a:lnTo>
                  <a:lnTo>
                    <a:pt x="2990140" y="359962"/>
                  </a:lnTo>
                  <a:lnTo>
                    <a:pt x="3006409" y="403085"/>
                  </a:lnTo>
                  <a:lnTo>
                    <a:pt x="3019327" y="447739"/>
                  </a:lnTo>
                  <a:lnTo>
                    <a:pt x="3028742" y="493773"/>
                  </a:lnTo>
                  <a:lnTo>
                    <a:pt x="3034502" y="541034"/>
                  </a:lnTo>
                  <a:lnTo>
                    <a:pt x="3036456" y="589373"/>
                  </a:lnTo>
                  <a:lnTo>
                    <a:pt x="3034502" y="637710"/>
                  </a:lnTo>
                  <a:lnTo>
                    <a:pt x="3028742" y="684971"/>
                  </a:lnTo>
                  <a:lnTo>
                    <a:pt x="3019327" y="731005"/>
                  </a:lnTo>
                  <a:lnTo>
                    <a:pt x="3006409" y="775660"/>
                  </a:lnTo>
                  <a:lnTo>
                    <a:pt x="2990140" y="818783"/>
                  </a:lnTo>
                  <a:lnTo>
                    <a:pt x="2970671" y="860223"/>
                  </a:lnTo>
                  <a:lnTo>
                    <a:pt x="2948154" y="899829"/>
                  </a:lnTo>
                  <a:lnTo>
                    <a:pt x="2922741" y="937448"/>
                  </a:lnTo>
                  <a:lnTo>
                    <a:pt x="2894583" y="972930"/>
                  </a:lnTo>
                  <a:lnTo>
                    <a:pt x="2863832" y="1006122"/>
                  </a:lnTo>
                  <a:lnTo>
                    <a:pt x="2830640" y="1036872"/>
                  </a:lnTo>
                  <a:lnTo>
                    <a:pt x="2795159" y="1065030"/>
                  </a:lnTo>
                  <a:lnTo>
                    <a:pt x="2757539" y="1090443"/>
                  </a:lnTo>
                  <a:lnTo>
                    <a:pt x="2717934" y="1112960"/>
                  </a:lnTo>
                  <a:lnTo>
                    <a:pt x="2676493" y="1132429"/>
                  </a:lnTo>
                  <a:lnTo>
                    <a:pt x="2633370" y="1148698"/>
                  </a:lnTo>
                  <a:lnTo>
                    <a:pt x="2588716" y="1161616"/>
                  </a:lnTo>
                  <a:lnTo>
                    <a:pt x="2542682" y="1171031"/>
                  </a:lnTo>
                  <a:lnTo>
                    <a:pt x="2495421" y="1176791"/>
                  </a:lnTo>
                  <a:lnTo>
                    <a:pt x="2447083" y="1178745"/>
                  </a:lnTo>
                  <a:close/>
                </a:path>
              </a:pathLst>
            </a:custGeom>
            <a:solidFill>
              <a:srgbClr val="21408B"/>
            </a:solidFill>
          </p:spPr>
          <p:txBody>
            <a:bodyPr wrap="square" lIns="0" tIns="0" rIns="0" bIns="0" rtlCol="0"/>
            <a:lstStyle/>
            <a:p>
              <a:endParaRPr/>
            </a:p>
          </p:txBody>
        </p:sp>
        <p:sp>
          <p:nvSpPr>
            <p:cNvPr id="24" name="object 24"/>
            <p:cNvSpPr/>
            <p:nvPr/>
          </p:nvSpPr>
          <p:spPr>
            <a:xfrm>
              <a:off x="11122575" y="3686609"/>
              <a:ext cx="3086100" cy="3086100"/>
            </a:xfrm>
            <a:custGeom>
              <a:avLst/>
              <a:gdLst/>
              <a:ahLst/>
              <a:cxnLst/>
              <a:rect l="l" t="t" r="r" b="b"/>
              <a:pathLst>
                <a:path w="3086100" h="3086100">
                  <a:moveTo>
                    <a:pt x="1543076" y="3086099"/>
                  </a:moveTo>
                  <a:lnTo>
                    <a:pt x="1494987" y="3085365"/>
                  </a:lnTo>
                  <a:lnTo>
                    <a:pt x="1447291" y="3083177"/>
                  </a:lnTo>
                  <a:lnTo>
                    <a:pt x="1399982" y="3079555"/>
                  </a:lnTo>
                  <a:lnTo>
                    <a:pt x="1353082" y="3074522"/>
                  </a:lnTo>
                  <a:lnTo>
                    <a:pt x="1306612" y="3068099"/>
                  </a:lnTo>
                  <a:lnTo>
                    <a:pt x="1260593" y="3060306"/>
                  </a:lnTo>
                  <a:lnTo>
                    <a:pt x="1215048" y="3051166"/>
                  </a:lnTo>
                  <a:lnTo>
                    <a:pt x="1169996" y="3040700"/>
                  </a:lnTo>
                  <a:lnTo>
                    <a:pt x="1125459" y="3028929"/>
                  </a:lnTo>
                  <a:lnTo>
                    <a:pt x="1081459" y="3015874"/>
                  </a:lnTo>
                  <a:lnTo>
                    <a:pt x="1038017" y="3001557"/>
                  </a:lnTo>
                  <a:lnTo>
                    <a:pt x="995155" y="2985999"/>
                  </a:lnTo>
                  <a:lnTo>
                    <a:pt x="952893" y="2969221"/>
                  </a:lnTo>
                  <a:lnTo>
                    <a:pt x="911254" y="2951246"/>
                  </a:lnTo>
                  <a:lnTo>
                    <a:pt x="870258" y="2932093"/>
                  </a:lnTo>
                  <a:lnTo>
                    <a:pt x="829926" y="2911785"/>
                  </a:lnTo>
                  <a:lnTo>
                    <a:pt x="790281" y="2890342"/>
                  </a:lnTo>
                  <a:lnTo>
                    <a:pt x="751343" y="2867787"/>
                  </a:lnTo>
                  <a:lnTo>
                    <a:pt x="713134" y="2844140"/>
                  </a:lnTo>
                  <a:lnTo>
                    <a:pt x="675675" y="2819423"/>
                  </a:lnTo>
                  <a:lnTo>
                    <a:pt x="638987" y="2793658"/>
                  </a:lnTo>
                  <a:lnTo>
                    <a:pt x="603092" y="2766864"/>
                  </a:lnTo>
                  <a:lnTo>
                    <a:pt x="568011" y="2739065"/>
                  </a:lnTo>
                  <a:lnTo>
                    <a:pt x="533766" y="2710280"/>
                  </a:lnTo>
                  <a:lnTo>
                    <a:pt x="500378" y="2680532"/>
                  </a:lnTo>
                  <a:lnTo>
                    <a:pt x="467867" y="2649842"/>
                  </a:lnTo>
                  <a:lnTo>
                    <a:pt x="436256" y="2618231"/>
                  </a:lnTo>
                  <a:lnTo>
                    <a:pt x="405566" y="2585721"/>
                  </a:lnTo>
                  <a:lnTo>
                    <a:pt x="375819" y="2552333"/>
                  </a:lnTo>
                  <a:lnTo>
                    <a:pt x="347034" y="2518087"/>
                  </a:lnTo>
                  <a:lnTo>
                    <a:pt x="319235" y="2483007"/>
                  </a:lnTo>
                  <a:lnTo>
                    <a:pt x="292441" y="2447112"/>
                  </a:lnTo>
                  <a:lnTo>
                    <a:pt x="266675" y="2410424"/>
                  </a:lnTo>
                  <a:lnTo>
                    <a:pt x="241958" y="2372965"/>
                  </a:lnTo>
                  <a:lnTo>
                    <a:pt x="218312" y="2334756"/>
                  </a:lnTo>
                  <a:lnTo>
                    <a:pt x="195756" y="2295818"/>
                  </a:lnTo>
                  <a:lnTo>
                    <a:pt x="174314" y="2256172"/>
                  </a:lnTo>
                  <a:lnTo>
                    <a:pt x="154006" y="2215841"/>
                  </a:lnTo>
                  <a:lnTo>
                    <a:pt x="134853" y="2174845"/>
                  </a:lnTo>
                  <a:lnTo>
                    <a:pt x="116877"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8"/>
                  </a:lnTo>
                  <a:lnTo>
                    <a:pt x="734" y="1591112"/>
                  </a:lnTo>
                  <a:lnTo>
                    <a:pt x="0" y="1543042"/>
                  </a:lnTo>
                  <a:lnTo>
                    <a:pt x="734" y="1494988"/>
                  </a:lnTo>
                  <a:lnTo>
                    <a:pt x="2922" y="1447292"/>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7" y="952894"/>
                  </a:lnTo>
                  <a:lnTo>
                    <a:pt x="134853" y="911254"/>
                  </a:lnTo>
                  <a:lnTo>
                    <a:pt x="154006" y="870258"/>
                  </a:lnTo>
                  <a:lnTo>
                    <a:pt x="174314" y="829927"/>
                  </a:lnTo>
                  <a:lnTo>
                    <a:pt x="195756" y="790281"/>
                  </a:lnTo>
                  <a:lnTo>
                    <a:pt x="218312" y="751343"/>
                  </a:lnTo>
                  <a:lnTo>
                    <a:pt x="241958" y="713134"/>
                  </a:lnTo>
                  <a:lnTo>
                    <a:pt x="266675" y="675675"/>
                  </a:lnTo>
                  <a:lnTo>
                    <a:pt x="292441" y="638987"/>
                  </a:lnTo>
                  <a:lnTo>
                    <a:pt x="319235" y="603092"/>
                  </a:lnTo>
                  <a:lnTo>
                    <a:pt x="347034" y="568012"/>
                  </a:lnTo>
                  <a:lnTo>
                    <a:pt x="375819" y="533766"/>
                  </a:lnTo>
                  <a:lnTo>
                    <a:pt x="405566" y="500378"/>
                  </a:lnTo>
                  <a:lnTo>
                    <a:pt x="436256" y="467868"/>
                  </a:lnTo>
                  <a:lnTo>
                    <a:pt x="467867" y="436257"/>
                  </a:lnTo>
                  <a:lnTo>
                    <a:pt x="500378" y="405567"/>
                  </a:lnTo>
                  <a:lnTo>
                    <a:pt x="533766" y="375819"/>
                  </a:lnTo>
                  <a:lnTo>
                    <a:pt x="568011" y="347034"/>
                  </a:lnTo>
                  <a:lnTo>
                    <a:pt x="603092" y="319235"/>
                  </a:lnTo>
                  <a:lnTo>
                    <a:pt x="638987" y="292442"/>
                  </a:lnTo>
                  <a:lnTo>
                    <a:pt x="675675" y="266676"/>
                  </a:lnTo>
                  <a:lnTo>
                    <a:pt x="713134" y="241959"/>
                  </a:lnTo>
                  <a:lnTo>
                    <a:pt x="751343" y="218312"/>
                  </a:lnTo>
                  <a:lnTo>
                    <a:pt x="790281" y="195757"/>
                  </a:lnTo>
                  <a:lnTo>
                    <a:pt x="829926" y="174314"/>
                  </a:lnTo>
                  <a:lnTo>
                    <a:pt x="870258" y="154006"/>
                  </a:lnTo>
                  <a:lnTo>
                    <a:pt x="911254" y="134853"/>
                  </a:lnTo>
                  <a:lnTo>
                    <a:pt x="952893" y="116878"/>
                  </a:lnTo>
                  <a:lnTo>
                    <a:pt x="995155" y="100100"/>
                  </a:lnTo>
                  <a:lnTo>
                    <a:pt x="1038017" y="84542"/>
                  </a:lnTo>
                  <a:lnTo>
                    <a:pt x="1081459" y="70225"/>
                  </a:lnTo>
                  <a:lnTo>
                    <a:pt x="1125459" y="57170"/>
                  </a:lnTo>
                  <a:lnTo>
                    <a:pt x="1169996" y="45399"/>
                  </a:lnTo>
                  <a:lnTo>
                    <a:pt x="1215048" y="34933"/>
                  </a:lnTo>
                  <a:lnTo>
                    <a:pt x="1260593" y="25793"/>
                  </a:lnTo>
                  <a:lnTo>
                    <a:pt x="1306612" y="18000"/>
                  </a:lnTo>
                  <a:lnTo>
                    <a:pt x="1353082" y="11577"/>
                  </a:lnTo>
                  <a:lnTo>
                    <a:pt x="1399982" y="6544"/>
                  </a:lnTo>
                  <a:lnTo>
                    <a:pt x="1447291" y="2922"/>
                  </a:lnTo>
                  <a:lnTo>
                    <a:pt x="1494987" y="734"/>
                  </a:lnTo>
                  <a:lnTo>
                    <a:pt x="1543049" y="0"/>
                  </a:lnTo>
                  <a:lnTo>
                    <a:pt x="1591111" y="734"/>
                  </a:lnTo>
                  <a:lnTo>
                    <a:pt x="1638807" y="2922"/>
                  </a:lnTo>
                  <a:lnTo>
                    <a:pt x="1686116" y="6544"/>
                  </a:lnTo>
                  <a:lnTo>
                    <a:pt x="1733016" y="11577"/>
                  </a:lnTo>
                  <a:lnTo>
                    <a:pt x="1779486" y="18000"/>
                  </a:lnTo>
                  <a:lnTo>
                    <a:pt x="1825504" y="25793"/>
                  </a:lnTo>
                  <a:lnTo>
                    <a:pt x="1871050" y="34933"/>
                  </a:lnTo>
                  <a:lnTo>
                    <a:pt x="1916102" y="45399"/>
                  </a:lnTo>
                  <a:lnTo>
                    <a:pt x="1960639" y="57170"/>
                  </a:lnTo>
                  <a:lnTo>
                    <a:pt x="2004639" y="70225"/>
                  </a:lnTo>
                  <a:lnTo>
                    <a:pt x="2048080" y="84542"/>
                  </a:lnTo>
                  <a:lnTo>
                    <a:pt x="2090943" y="100100"/>
                  </a:lnTo>
                  <a:lnTo>
                    <a:pt x="2133204" y="116878"/>
                  </a:lnTo>
                  <a:lnTo>
                    <a:pt x="2174844" y="134853"/>
                  </a:lnTo>
                  <a:lnTo>
                    <a:pt x="2215840" y="154006"/>
                  </a:lnTo>
                  <a:lnTo>
                    <a:pt x="2256172" y="174314"/>
                  </a:lnTo>
                  <a:lnTo>
                    <a:pt x="2295817" y="195757"/>
                  </a:lnTo>
                  <a:lnTo>
                    <a:pt x="2334755" y="218312"/>
                  </a:lnTo>
                  <a:lnTo>
                    <a:pt x="2372964" y="241959"/>
                  </a:lnTo>
                  <a:lnTo>
                    <a:pt x="2410423" y="266676"/>
                  </a:lnTo>
                  <a:lnTo>
                    <a:pt x="2447111" y="292442"/>
                  </a:lnTo>
                  <a:lnTo>
                    <a:pt x="2483006" y="319235"/>
                  </a:lnTo>
                  <a:lnTo>
                    <a:pt x="2518087" y="347034"/>
                  </a:lnTo>
                  <a:lnTo>
                    <a:pt x="2552332" y="375819"/>
                  </a:lnTo>
                  <a:lnTo>
                    <a:pt x="2585720" y="405567"/>
                  </a:lnTo>
                  <a:lnTo>
                    <a:pt x="2618231" y="436257"/>
                  </a:lnTo>
                  <a:lnTo>
                    <a:pt x="2649842" y="467868"/>
                  </a:lnTo>
                  <a:lnTo>
                    <a:pt x="2680532" y="500378"/>
                  </a:lnTo>
                  <a:lnTo>
                    <a:pt x="2710280" y="533766"/>
                  </a:lnTo>
                  <a:lnTo>
                    <a:pt x="2739064" y="568012"/>
                  </a:lnTo>
                  <a:lnTo>
                    <a:pt x="2766863" y="603092"/>
                  </a:lnTo>
                  <a:lnTo>
                    <a:pt x="2793657" y="638987"/>
                  </a:lnTo>
                  <a:lnTo>
                    <a:pt x="2819423" y="675675"/>
                  </a:lnTo>
                  <a:lnTo>
                    <a:pt x="2844140" y="713134"/>
                  </a:lnTo>
                  <a:lnTo>
                    <a:pt x="2867786" y="751343"/>
                  </a:lnTo>
                  <a:lnTo>
                    <a:pt x="2890342" y="790281"/>
                  </a:lnTo>
                  <a:lnTo>
                    <a:pt x="2911784" y="829927"/>
                  </a:lnTo>
                  <a:lnTo>
                    <a:pt x="2932092" y="870258"/>
                  </a:lnTo>
                  <a:lnTo>
                    <a:pt x="2951245" y="911254"/>
                  </a:lnTo>
                  <a:lnTo>
                    <a:pt x="2969221" y="952894"/>
                  </a:lnTo>
                  <a:lnTo>
                    <a:pt x="2985998" y="995156"/>
                  </a:lnTo>
                  <a:lnTo>
                    <a:pt x="3001556" y="1038018"/>
                  </a:lnTo>
                  <a:lnTo>
                    <a:pt x="3015873" y="1081460"/>
                  </a:lnTo>
                  <a:lnTo>
                    <a:pt x="3028928" y="1125460"/>
                  </a:lnTo>
                  <a:lnTo>
                    <a:pt x="3040699" y="1169996"/>
                  </a:lnTo>
                  <a:lnTo>
                    <a:pt x="3051165" y="1215048"/>
                  </a:lnTo>
                  <a:lnTo>
                    <a:pt x="3060305" y="1260594"/>
                  </a:lnTo>
                  <a:lnTo>
                    <a:pt x="3068098" y="1306613"/>
                  </a:lnTo>
                  <a:lnTo>
                    <a:pt x="3074521" y="1353083"/>
                  </a:lnTo>
                  <a:lnTo>
                    <a:pt x="3079554" y="1399983"/>
                  </a:lnTo>
                  <a:lnTo>
                    <a:pt x="3083176" y="1447292"/>
                  </a:lnTo>
                  <a:lnTo>
                    <a:pt x="3085364" y="1494988"/>
                  </a:lnTo>
                  <a:lnTo>
                    <a:pt x="3086099" y="1543050"/>
                  </a:lnTo>
                  <a:lnTo>
                    <a:pt x="3085364" y="1591112"/>
                  </a:lnTo>
                  <a:lnTo>
                    <a:pt x="3083176" y="1638808"/>
                  </a:lnTo>
                  <a:lnTo>
                    <a:pt x="3079554" y="1686116"/>
                  </a:lnTo>
                  <a:lnTo>
                    <a:pt x="3074521" y="1733016"/>
                  </a:lnTo>
                  <a:lnTo>
                    <a:pt x="3068098" y="1779486"/>
                  </a:lnTo>
                  <a:lnTo>
                    <a:pt x="3060305" y="1825505"/>
                  </a:lnTo>
                  <a:lnTo>
                    <a:pt x="3051165" y="1871051"/>
                  </a:lnTo>
                  <a:lnTo>
                    <a:pt x="3040699" y="1916103"/>
                  </a:lnTo>
                  <a:lnTo>
                    <a:pt x="3028928" y="1960639"/>
                  </a:lnTo>
                  <a:lnTo>
                    <a:pt x="3015873" y="2004639"/>
                  </a:lnTo>
                  <a:lnTo>
                    <a:pt x="3001556" y="2048081"/>
                  </a:lnTo>
                  <a:lnTo>
                    <a:pt x="2985998" y="2090943"/>
                  </a:lnTo>
                  <a:lnTo>
                    <a:pt x="2969221" y="2133205"/>
                  </a:lnTo>
                  <a:lnTo>
                    <a:pt x="2951245" y="2174845"/>
                  </a:lnTo>
                  <a:lnTo>
                    <a:pt x="2932092" y="2215841"/>
                  </a:lnTo>
                  <a:lnTo>
                    <a:pt x="2911784" y="2256172"/>
                  </a:lnTo>
                  <a:lnTo>
                    <a:pt x="2890342" y="2295818"/>
                  </a:lnTo>
                  <a:lnTo>
                    <a:pt x="2867786" y="2334756"/>
                  </a:lnTo>
                  <a:lnTo>
                    <a:pt x="2844140" y="2372965"/>
                  </a:lnTo>
                  <a:lnTo>
                    <a:pt x="2819423" y="2410424"/>
                  </a:lnTo>
                  <a:lnTo>
                    <a:pt x="2793657" y="2447112"/>
                  </a:lnTo>
                  <a:lnTo>
                    <a:pt x="2766863" y="2483007"/>
                  </a:lnTo>
                  <a:lnTo>
                    <a:pt x="2739064" y="2518087"/>
                  </a:lnTo>
                  <a:lnTo>
                    <a:pt x="2710280" y="2552333"/>
                  </a:lnTo>
                  <a:lnTo>
                    <a:pt x="2680532" y="2585721"/>
                  </a:lnTo>
                  <a:lnTo>
                    <a:pt x="2649842" y="2618231"/>
                  </a:lnTo>
                  <a:lnTo>
                    <a:pt x="2618231" y="2649842"/>
                  </a:lnTo>
                  <a:lnTo>
                    <a:pt x="2585720" y="2680532"/>
                  </a:lnTo>
                  <a:lnTo>
                    <a:pt x="2552332" y="2710280"/>
                  </a:lnTo>
                  <a:lnTo>
                    <a:pt x="2518087" y="2739065"/>
                  </a:lnTo>
                  <a:lnTo>
                    <a:pt x="2483006" y="2766864"/>
                  </a:lnTo>
                  <a:lnTo>
                    <a:pt x="2447111" y="2793658"/>
                  </a:lnTo>
                  <a:lnTo>
                    <a:pt x="2410423" y="2819423"/>
                  </a:lnTo>
                  <a:lnTo>
                    <a:pt x="2372964" y="2844140"/>
                  </a:lnTo>
                  <a:lnTo>
                    <a:pt x="2334755" y="2867787"/>
                  </a:lnTo>
                  <a:lnTo>
                    <a:pt x="2295817" y="2890342"/>
                  </a:lnTo>
                  <a:lnTo>
                    <a:pt x="2256172" y="2911785"/>
                  </a:lnTo>
                  <a:lnTo>
                    <a:pt x="2215840" y="2932093"/>
                  </a:lnTo>
                  <a:lnTo>
                    <a:pt x="2174844" y="2951246"/>
                  </a:lnTo>
                  <a:lnTo>
                    <a:pt x="2133204" y="2969221"/>
                  </a:lnTo>
                  <a:lnTo>
                    <a:pt x="2090943" y="2985999"/>
                  </a:lnTo>
                  <a:lnTo>
                    <a:pt x="2048080" y="3001557"/>
                  </a:lnTo>
                  <a:lnTo>
                    <a:pt x="2004639" y="3015874"/>
                  </a:lnTo>
                  <a:lnTo>
                    <a:pt x="1960639" y="3028929"/>
                  </a:lnTo>
                  <a:lnTo>
                    <a:pt x="1916102" y="3040700"/>
                  </a:lnTo>
                  <a:lnTo>
                    <a:pt x="1871050" y="3051166"/>
                  </a:lnTo>
                  <a:lnTo>
                    <a:pt x="1825504" y="3060306"/>
                  </a:lnTo>
                  <a:lnTo>
                    <a:pt x="1779486" y="3068099"/>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25" name="object 25"/>
            <p:cNvSpPr/>
            <p:nvPr/>
          </p:nvSpPr>
          <p:spPr>
            <a:xfrm>
              <a:off x="11920816" y="4527949"/>
              <a:ext cx="1466850" cy="1460500"/>
            </a:xfrm>
            <a:custGeom>
              <a:avLst/>
              <a:gdLst/>
              <a:ahLst/>
              <a:cxnLst/>
              <a:rect l="l" t="t" r="r" b="b"/>
              <a:pathLst>
                <a:path w="1466850" h="1460500">
                  <a:moveTo>
                    <a:pt x="875190" y="12699"/>
                  </a:moveTo>
                  <a:lnTo>
                    <a:pt x="590955" y="12699"/>
                  </a:lnTo>
                  <a:lnTo>
                    <a:pt x="637419" y="0"/>
                  </a:lnTo>
                  <a:lnTo>
                    <a:pt x="828709" y="0"/>
                  </a:lnTo>
                  <a:lnTo>
                    <a:pt x="875190" y="12699"/>
                  </a:lnTo>
                  <a:close/>
                </a:path>
                <a:path w="1466850" h="1460500">
                  <a:moveTo>
                    <a:pt x="828709" y="1460499"/>
                  </a:moveTo>
                  <a:lnTo>
                    <a:pt x="637419" y="1460499"/>
                  </a:lnTo>
                  <a:lnTo>
                    <a:pt x="545522" y="1435099"/>
                  </a:lnTo>
                  <a:lnTo>
                    <a:pt x="458134" y="1409699"/>
                  </a:lnTo>
                  <a:lnTo>
                    <a:pt x="416372" y="1384299"/>
                  </a:lnTo>
                  <a:lnTo>
                    <a:pt x="376026" y="1371599"/>
                  </a:lnTo>
                  <a:lnTo>
                    <a:pt x="337193" y="1346199"/>
                  </a:lnTo>
                  <a:lnTo>
                    <a:pt x="299967" y="1320799"/>
                  </a:lnTo>
                  <a:lnTo>
                    <a:pt x="264447" y="1295399"/>
                  </a:lnTo>
                  <a:lnTo>
                    <a:pt x="230727" y="1257299"/>
                  </a:lnTo>
                  <a:lnTo>
                    <a:pt x="198904" y="1231899"/>
                  </a:lnTo>
                  <a:lnTo>
                    <a:pt x="169074" y="1193799"/>
                  </a:lnTo>
                  <a:lnTo>
                    <a:pt x="141333" y="1155699"/>
                  </a:lnTo>
                  <a:lnTo>
                    <a:pt x="115778" y="1117599"/>
                  </a:lnTo>
                  <a:lnTo>
                    <a:pt x="92505" y="1079499"/>
                  </a:lnTo>
                  <a:lnTo>
                    <a:pt x="71609" y="1041399"/>
                  </a:lnTo>
                  <a:lnTo>
                    <a:pt x="53188" y="1003299"/>
                  </a:lnTo>
                  <a:lnTo>
                    <a:pt x="37337" y="965199"/>
                  </a:lnTo>
                  <a:lnTo>
                    <a:pt x="24152" y="914399"/>
                  </a:lnTo>
                  <a:lnTo>
                    <a:pt x="13729" y="863599"/>
                  </a:lnTo>
                  <a:lnTo>
                    <a:pt x="6166" y="825499"/>
                  </a:lnTo>
                  <a:lnTo>
                    <a:pt x="1557" y="774699"/>
                  </a:lnTo>
                  <a:lnTo>
                    <a:pt x="0" y="723899"/>
                  </a:lnTo>
                  <a:lnTo>
                    <a:pt x="1557" y="673099"/>
                  </a:lnTo>
                  <a:lnTo>
                    <a:pt x="6166" y="634999"/>
                  </a:lnTo>
                  <a:lnTo>
                    <a:pt x="13729" y="584199"/>
                  </a:lnTo>
                  <a:lnTo>
                    <a:pt x="24152" y="533399"/>
                  </a:lnTo>
                  <a:lnTo>
                    <a:pt x="37337" y="495299"/>
                  </a:lnTo>
                  <a:lnTo>
                    <a:pt x="53188" y="457199"/>
                  </a:lnTo>
                  <a:lnTo>
                    <a:pt x="71609" y="406399"/>
                  </a:lnTo>
                  <a:lnTo>
                    <a:pt x="92505" y="368299"/>
                  </a:lnTo>
                  <a:lnTo>
                    <a:pt x="115778" y="330199"/>
                  </a:lnTo>
                  <a:lnTo>
                    <a:pt x="141333" y="292099"/>
                  </a:lnTo>
                  <a:lnTo>
                    <a:pt x="169074" y="253999"/>
                  </a:lnTo>
                  <a:lnTo>
                    <a:pt x="198904" y="228599"/>
                  </a:lnTo>
                  <a:lnTo>
                    <a:pt x="230727" y="190499"/>
                  </a:lnTo>
                  <a:lnTo>
                    <a:pt x="264447" y="165099"/>
                  </a:lnTo>
                  <a:lnTo>
                    <a:pt x="299967" y="139699"/>
                  </a:lnTo>
                  <a:lnTo>
                    <a:pt x="337193" y="114299"/>
                  </a:lnTo>
                  <a:lnTo>
                    <a:pt x="376026" y="88899"/>
                  </a:lnTo>
                  <a:lnTo>
                    <a:pt x="416372" y="63499"/>
                  </a:lnTo>
                  <a:lnTo>
                    <a:pt x="458134" y="50799"/>
                  </a:lnTo>
                  <a:lnTo>
                    <a:pt x="501216" y="25399"/>
                  </a:lnTo>
                  <a:lnTo>
                    <a:pt x="545522" y="12699"/>
                  </a:lnTo>
                  <a:lnTo>
                    <a:pt x="920644" y="12699"/>
                  </a:lnTo>
                  <a:lnTo>
                    <a:pt x="964976" y="25399"/>
                  </a:lnTo>
                  <a:lnTo>
                    <a:pt x="1008088" y="50799"/>
                  </a:lnTo>
                  <a:lnTo>
                    <a:pt x="1049883" y="63499"/>
                  </a:lnTo>
                  <a:lnTo>
                    <a:pt x="1090266" y="88899"/>
                  </a:lnTo>
                  <a:lnTo>
                    <a:pt x="1129140" y="114299"/>
                  </a:lnTo>
                  <a:lnTo>
                    <a:pt x="1166406" y="139699"/>
                  </a:lnTo>
                  <a:lnTo>
                    <a:pt x="733424" y="139699"/>
                  </a:lnTo>
                  <a:lnTo>
                    <a:pt x="711317" y="177799"/>
                  </a:lnTo>
                  <a:lnTo>
                    <a:pt x="543101" y="177799"/>
                  </a:lnTo>
                  <a:lnTo>
                    <a:pt x="493597" y="190499"/>
                  </a:lnTo>
                  <a:lnTo>
                    <a:pt x="446449" y="215899"/>
                  </a:lnTo>
                  <a:lnTo>
                    <a:pt x="401879" y="241299"/>
                  </a:lnTo>
                  <a:lnTo>
                    <a:pt x="360111" y="279399"/>
                  </a:lnTo>
                  <a:lnTo>
                    <a:pt x="321369" y="304799"/>
                  </a:lnTo>
                  <a:lnTo>
                    <a:pt x="285875" y="342899"/>
                  </a:lnTo>
                  <a:lnTo>
                    <a:pt x="253853" y="393699"/>
                  </a:lnTo>
                  <a:lnTo>
                    <a:pt x="225528" y="431799"/>
                  </a:lnTo>
                  <a:lnTo>
                    <a:pt x="1404327" y="431799"/>
                  </a:lnTo>
                  <a:lnTo>
                    <a:pt x="1413554" y="457199"/>
                  </a:lnTo>
                  <a:lnTo>
                    <a:pt x="1429436" y="495299"/>
                  </a:lnTo>
                  <a:lnTo>
                    <a:pt x="1442647" y="533399"/>
                  </a:lnTo>
                  <a:lnTo>
                    <a:pt x="1453090" y="584199"/>
                  </a:lnTo>
                  <a:lnTo>
                    <a:pt x="165754" y="584199"/>
                  </a:lnTo>
                  <a:lnTo>
                    <a:pt x="157669" y="622299"/>
                  </a:lnTo>
                  <a:lnTo>
                    <a:pt x="151681" y="647699"/>
                  </a:lnTo>
                  <a:lnTo>
                    <a:pt x="147962" y="685799"/>
                  </a:lnTo>
                  <a:lnTo>
                    <a:pt x="146684" y="723899"/>
                  </a:lnTo>
                  <a:lnTo>
                    <a:pt x="147962" y="761999"/>
                  </a:lnTo>
                  <a:lnTo>
                    <a:pt x="151681" y="800099"/>
                  </a:lnTo>
                  <a:lnTo>
                    <a:pt x="157669" y="838199"/>
                  </a:lnTo>
                  <a:lnTo>
                    <a:pt x="165754" y="876299"/>
                  </a:lnTo>
                  <a:lnTo>
                    <a:pt x="1450479" y="876299"/>
                  </a:lnTo>
                  <a:lnTo>
                    <a:pt x="1442647" y="914399"/>
                  </a:lnTo>
                  <a:lnTo>
                    <a:pt x="1429436" y="965199"/>
                  </a:lnTo>
                  <a:lnTo>
                    <a:pt x="1413554" y="1003299"/>
                  </a:lnTo>
                  <a:lnTo>
                    <a:pt x="1407403" y="1015999"/>
                  </a:lnTo>
                  <a:lnTo>
                    <a:pt x="225528" y="1015999"/>
                  </a:lnTo>
                  <a:lnTo>
                    <a:pt x="253853" y="1066799"/>
                  </a:lnTo>
                  <a:lnTo>
                    <a:pt x="285875" y="1104899"/>
                  </a:lnTo>
                  <a:lnTo>
                    <a:pt x="321369" y="1142999"/>
                  </a:lnTo>
                  <a:lnTo>
                    <a:pt x="360111" y="1181099"/>
                  </a:lnTo>
                  <a:lnTo>
                    <a:pt x="401879" y="1206499"/>
                  </a:lnTo>
                  <a:lnTo>
                    <a:pt x="446449" y="1244599"/>
                  </a:lnTo>
                  <a:lnTo>
                    <a:pt x="493597" y="1257299"/>
                  </a:lnTo>
                  <a:lnTo>
                    <a:pt x="543101" y="1282699"/>
                  </a:lnTo>
                  <a:lnTo>
                    <a:pt x="713875" y="1282699"/>
                  </a:lnTo>
                  <a:lnTo>
                    <a:pt x="733424" y="1308099"/>
                  </a:lnTo>
                  <a:lnTo>
                    <a:pt x="1184188" y="1308099"/>
                  </a:lnTo>
                  <a:lnTo>
                    <a:pt x="1166406" y="1320799"/>
                  </a:lnTo>
                  <a:lnTo>
                    <a:pt x="1129140" y="1346199"/>
                  </a:lnTo>
                  <a:lnTo>
                    <a:pt x="1090266" y="1371599"/>
                  </a:lnTo>
                  <a:lnTo>
                    <a:pt x="1049883" y="1384299"/>
                  </a:lnTo>
                  <a:lnTo>
                    <a:pt x="1008088" y="1409699"/>
                  </a:lnTo>
                  <a:lnTo>
                    <a:pt x="920644" y="1435099"/>
                  </a:lnTo>
                  <a:lnTo>
                    <a:pt x="828709" y="1460499"/>
                  </a:lnTo>
                  <a:close/>
                </a:path>
                <a:path w="1466850" h="1460500">
                  <a:moveTo>
                    <a:pt x="1024594" y="431799"/>
                  </a:moveTo>
                  <a:lnTo>
                    <a:pt x="873509" y="431799"/>
                  </a:lnTo>
                  <a:lnTo>
                    <a:pt x="856562" y="380999"/>
                  </a:lnTo>
                  <a:lnTo>
                    <a:pt x="836946" y="330199"/>
                  </a:lnTo>
                  <a:lnTo>
                    <a:pt x="814743" y="279399"/>
                  </a:lnTo>
                  <a:lnTo>
                    <a:pt x="790034" y="228599"/>
                  </a:lnTo>
                  <a:lnTo>
                    <a:pt x="762901" y="190499"/>
                  </a:lnTo>
                  <a:lnTo>
                    <a:pt x="733424" y="139699"/>
                  </a:lnTo>
                  <a:lnTo>
                    <a:pt x="1166406" y="139699"/>
                  </a:lnTo>
                  <a:lnTo>
                    <a:pt x="1201970" y="165099"/>
                  </a:lnTo>
                  <a:lnTo>
                    <a:pt x="1218852" y="177799"/>
                  </a:lnTo>
                  <a:lnTo>
                    <a:pt x="923381" y="177799"/>
                  </a:lnTo>
                  <a:lnTo>
                    <a:pt x="944503" y="215899"/>
                  </a:lnTo>
                  <a:lnTo>
                    <a:pt x="963883" y="253999"/>
                  </a:lnTo>
                  <a:lnTo>
                    <a:pt x="981551" y="304799"/>
                  </a:lnTo>
                  <a:lnTo>
                    <a:pt x="997539" y="342899"/>
                  </a:lnTo>
                  <a:lnTo>
                    <a:pt x="1011876" y="393699"/>
                  </a:lnTo>
                  <a:lnTo>
                    <a:pt x="1024594" y="431799"/>
                  </a:lnTo>
                  <a:close/>
                </a:path>
                <a:path w="1466850" h="1460500">
                  <a:moveTo>
                    <a:pt x="593340" y="431799"/>
                  </a:moveTo>
                  <a:lnTo>
                    <a:pt x="441888" y="431799"/>
                  </a:lnTo>
                  <a:lnTo>
                    <a:pt x="454606" y="393699"/>
                  </a:lnTo>
                  <a:lnTo>
                    <a:pt x="468943" y="342899"/>
                  </a:lnTo>
                  <a:lnTo>
                    <a:pt x="484931" y="304799"/>
                  </a:lnTo>
                  <a:lnTo>
                    <a:pt x="502599" y="253999"/>
                  </a:lnTo>
                  <a:lnTo>
                    <a:pt x="521979" y="215899"/>
                  </a:lnTo>
                  <a:lnTo>
                    <a:pt x="543101" y="177799"/>
                  </a:lnTo>
                  <a:lnTo>
                    <a:pt x="711317" y="177799"/>
                  </a:lnTo>
                  <a:lnTo>
                    <a:pt x="703948" y="190499"/>
                  </a:lnTo>
                  <a:lnTo>
                    <a:pt x="676815" y="228599"/>
                  </a:lnTo>
                  <a:lnTo>
                    <a:pt x="652106" y="279399"/>
                  </a:lnTo>
                  <a:lnTo>
                    <a:pt x="629903" y="330199"/>
                  </a:lnTo>
                  <a:lnTo>
                    <a:pt x="610287" y="380999"/>
                  </a:lnTo>
                  <a:lnTo>
                    <a:pt x="593340" y="431799"/>
                  </a:lnTo>
                  <a:close/>
                </a:path>
                <a:path w="1466850" h="1460500">
                  <a:moveTo>
                    <a:pt x="1404327" y="431799"/>
                  </a:moveTo>
                  <a:lnTo>
                    <a:pt x="1240954" y="431799"/>
                  </a:lnTo>
                  <a:lnTo>
                    <a:pt x="1212629" y="393699"/>
                  </a:lnTo>
                  <a:lnTo>
                    <a:pt x="1180607" y="342899"/>
                  </a:lnTo>
                  <a:lnTo>
                    <a:pt x="1145114" y="304799"/>
                  </a:lnTo>
                  <a:lnTo>
                    <a:pt x="1106371" y="279399"/>
                  </a:lnTo>
                  <a:lnTo>
                    <a:pt x="1064603" y="241299"/>
                  </a:lnTo>
                  <a:lnTo>
                    <a:pt x="1020033" y="215899"/>
                  </a:lnTo>
                  <a:lnTo>
                    <a:pt x="972885" y="190499"/>
                  </a:lnTo>
                  <a:lnTo>
                    <a:pt x="923381" y="177799"/>
                  </a:lnTo>
                  <a:lnTo>
                    <a:pt x="1218852" y="177799"/>
                  </a:lnTo>
                  <a:lnTo>
                    <a:pt x="1235733" y="190499"/>
                  </a:lnTo>
                  <a:lnTo>
                    <a:pt x="1267600" y="228599"/>
                  </a:lnTo>
                  <a:lnTo>
                    <a:pt x="1297474" y="253999"/>
                  </a:lnTo>
                  <a:lnTo>
                    <a:pt x="1325257" y="292099"/>
                  </a:lnTo>
                  <a:lnTo>
                    <a:pt x="1350854" y="330199"/>
                  </a:lnTo>
                  <a:lnTo>
                    <a:pt x="1374167" y="368299"/>
                  </a:lnTo>
                  <a:lnTo>
                    <a:pt x="1395099" y="406399"/>
                  </a:lnTo>
                  <a:lnTo>
                    <a:pt x="1404327" y="431799"/>
                  </a:lnTo>
                  <a:close/>
                </a:path>
                <a:path w="1466850" h="1460500">
                  <a:moveTo>
                    <a:pt x="561803" y="876299"/>
                  </a:moveTo>
                  <a:lnTo>
                    <a:pt x="413651" y="876299"/>
                  </a:lnTo>
                  <a:lnTo>
                    <a:pt x="409417" y="838199"/>
                  </a:lnTo>
                  <a:lnTo>
                    <a:pt x="406179" y="800099"/>
                  </a:lnTo>
                  <a:lnTo>
                    <a:pt x="404111" y="761999"/>
                  </a:lnTo>
                  <a:lnTo>
                    <a:pt x="403383" y="723899"/>
                  </a:lnTo>
                  <a:lnTo>
                    <a:pt x="404105" y="685799"/>
                  </a:lnTo>
                  <a:lnTo>
                    <a:pt x="406134" y="647699"/>
                  </a:lnTo>
                  <a:lnTo>
                    <a:pt x="409262" y="622299"/>
                  </a:lnTo>
                  <a:lnTo>
                    <a:pt x="413284" y="584199"/>
                  </a:lnTo>
                  <a:lnTo>
                    <a:pt x="561803" y="584199"/>
                  </a:lnTo>
                  <a:lnTo>
                    <a:pt x="557030" y="622299"/>
                  </a:lnTo>
                  <a:lnTo>
                    <a:pt x="553323" y="647699"/>
                  </a:lnTo>
                  <a:lnTo>
                    <a:pt x="550922" y="685799"/>
                  </a:lnTo>
                  <a:lnTo>
                    <a:pt x="550068" y="723899"/>
                  </a:lnTo>
                  <a:lnTo>
                    <a:pt x="550922" y="761999"/>
                  </a:lnTo>
                  <a:lnTo>
                    <a:pt x="553323" y="800099"/>
                  </a:lnTo>
                  <a:lnTo>
                    <a:pt x="557030" y="838199"/>
                  </a:lnTo>
                  <a:lnTo>
                    <a:pt x="561803" y="876299"/>
                  </a:lnTo>
                  <a:close/>
                </a:path>
                <a:path w="1466850" h="1460500">
                  <a:moveTo>
                    <a:pt x="1053198" y="876299"/>
                  </a:moveTo>
                  <a:lnTo>
                    <a:pt x="905046" y="876299"/>
                  </a:lnTo>
                  <a:lnTo>
                    <a:pt x="909819" y="838199"/>
                  </a:lnTo>
                  <a:lnTo>
                    <a:pt x="913526" y="800099"/>
                  </a:lnTo>
                  <a:lnTo>
                    <a:pt x="915927" y="761999"/>
                  </a:lnTo>
                  <a:lnTo>
                    <a:pt x="916781" y="723899"/>
                  </a:lnTo>
                  <a:lnTo>
                    <a:pt x="915927" y="685799"/>
                  </a:lnTo>
                  <a:lnTo>
                    <a:pt x="913526" y="647699"/>
                  </a:lnTo>
                  <a:lnTo>
                    <a:pt x="909819" y="622299"/>
                  </a:lnTo>
                  <a:lnTo>
                    <a:pt x="905046" y="584199"/>
                  </a:lnTo>
                  <a:lnTo>
                    <a:pt x="1053198" y="584199"/>
                  </a:lnTo>
                  <a:lnTo>
                    <a:pt x="1057432" y="622299"/>
                  </a:lnTo>
                  <a:lnTo>
                    <a:pt x="1060669" y="647699"/>
                  </a:lnTo>
                  <a:lnTo>
                    <a:pt x="1062738" y="685799"/>
                  </a:lnTo>
                  <a:lnTo>
                    <a:pt x="1063466" y="723899"/>
                  </a:lnTo>
                  <a:lnTo>
                    <a:pt x="1062686" y="761999"/>
                  </a:lnTo>
                  <a:lnTo>
                    <a:pt x="1060532" y="800099"/>
                  </a:lnTo>
                  <a:lnTo>
                    <a:pt x="1057277" y="838199"/>
                  </a:lnTo>
                  <a:lnTo>
                    <a:pt x="1053198" y="876299"/>
                  </a:lnTo>
                  <a:close/>
                </a:path>
                <a:path w="1466850" h="1460500">
                  <a:moveTo>
                    <a:pt x="1450479" y="876299"/>
                  </a:moveTo>
                  <a:lnTo>
                    <a:pt x="1300729" y="876299"/>
                  </a:lnTo>
                  <a:lnTo>
                    <a:pt x="1309026" y="838199"/>
                  </a:lnTo>
                  <a:lnTo>
                    <a:pt x="1315122" y="800099"/>
                  </a:lnTo>
                  <a:lnTo>
                    <a:pt x="1318881" y="761999"/>
                  </a:lnTo>
                  <a:lnTo>
                    <a:pt x="1320164" y="723899"/>
                  </a:lnTo>
                  <a:lnTo>
                    <a:pt x="1318829" y="685799"/>
                  </a:lnTo>
                  <a:lnTo>
                    <a:pt x="1314985" y="647699"/>
                  </a:lnTo>
                  <a:lnTo>
                    <a:pt x="1308871" y="622299"/>
                  </a:lnTo>
                  <a:lnTo>
                    <a:pt x="1300729" y="584199"/>
                  </a:lnTo>
                  <a:lnTo>
                    <a:pt x="1453090" y="584199"/>
                  </a:lnTo>
                  <a:lnTo>
                    <a:pt x="1460670" y="634999"/>
                  </a:lnTo>
                  <a:lnTo>
                    <a:pt x="1465288" y="673099"/>
                  </a:lnTo>
                  <a:lnTo>
                    <a:pt x="1466849" y="723899"/>
                  </a:lnTo>
                  <a:lnTo>
                    <a:pt x="1465288" y="774699"/>
                  </a:lnTo>
                  <a:lnTo>
                    <a:pt x="1460670" y="825499"/>
                  </a:lnTo>
                  <a:lnTo>
                    <a:pt x="1453090" y="863599"/>
                  </a:lnTo>
                  <a:lnTo>
                    <a:pt x="1450479" y="876299"/>
                  </a:lnTo>
                  <a:close/>
                </a:path>
                <a:path w="1466850" h="1460500">
                  <a:moveTo>
                    <a:pt x="713875" y="1282699"/>
                  </a:moveTo>
                  <a:lnTo>
                    <a:pt x="543101" y="1282699"/>
                  </a:lnTo>
                  <a:lnTo>
                    <a:pt x="521979" y="1244599"/>
                  </a:lnTo>
                  <a:lnTo>
                    <a:pt x="502599" y="1193799"/>
                  </a:lnTo>
                  <a:lnTo>
                    <a:pt x="484931" y="1155699"/>
                  </a:lnTo>
                  <a:lnTo>
                    <a:pt x="468943" y="1104899"/>
                  </a:lnTo>
                  <a:lnTo>
                    <a:pt x="454606" y="1066799"/>
                  </a:lnTo>
                  <a:lnTo>
                    <a:pt x="441888" y="1015999"/>
                  </a:lnTo>
                  <a:lnTo>
                    <a:pt x="593340" y="1015999"/>
                  </a:lnTo>
                  <a:lnTo>
                    <a:pt x="610440" y="1066799"/>
                  </a:lnTo>
                  <a:lnTo>
                    <a:pt x="630147" y="1117599"/>
                  </a:lnTo>
                  <a:lnTo>
                    <a:pt x="652381" y="1168399"/>
                  </a:lnTo>
                  <a:lnTo>
                    <a:pt x="677059" y="1219199"/>
                  </a:lnTo>
                  <a:lnTo>
                    <a:pt x="704101" y="1269999"/>
                  </a:lnTo>
                  <a:lnTo>
                    <a:pt x="713875" y="1282699"/>
                  </a:lnTo>
                  <a:close/>
                </a:path>
                <a:path w="1466850" h="1460500">
                  <a:moveTo>
                    <a:pt x="1184188" y="1308099"/>
                  </a:moveTo>
                  <a:lnTo>
                    <a:pt x="733424" y="1308099"/>
                  </a:lnTo>
                  <a:lnTo>
                    <a:pt x="762748" y="1269999"/>
                  </a:lnTo>
                  <a:lnTo>
                    <a:pt x="789789" y="1219199"/>
                  </a:lnTo>
                  <a:lnTo>
                    <a:pt x="814468" y="1168399"/>
                  </a:lnTo>
                  <a:lnTo>
                    <a:pt x="836702" y="1117599"/>
                  </a:lnTo>
                  <a:lnTo>
                    <a:pt x="856409" y="1066799"/>
                  </a:lnTo>
                  <a:lnTo>
                    <a:pt x="873509" y="1015999"/>
                  </a:lnTo>
                  <a:lnTo>
                    <a:pt x="1024961" y="1015999"/>
                  </a:lnTo>
                  <a:lnTo>
                    <a:pt x="1012243" y="1066799"/>
                  </a:lnTo>
                  <a:lnTo>
                    <a:pt x="997906" y="1104899"/>
                  </a:lnTo>
                  <a:lnTo>
                    <a:pt x="981918" y="1155699"/>
                  </a:lnTo>
                  <a:lnTo>
                    <a:pt x="964250" y="1193799"/>
                  </a:lnTo>
                  <a:lnTo>
                    <a:pt x="944870" y="1244599"/>
                  </a:lnTo>
                  <a:lnTo>
                    <a:pt x="923748" y="1282699"/>
                  </a:lnTo>
                  <a:lnTo>
                    <a:pt x="1213224" y="1282699"/>
                  </a:lnTo>
                  <a:lnTo>
                    <a:pt x="1201970" y="1295399"/>
                  </a:lnTo>
                  <a:lnTo>
                    <a:pt x="1184188" y="1308099"/>
                  </a:lnTo>
                  <a:close/>
                </a:path>
                <a:path w="1466850" h="1460500">
                  <a:moveTo>
                    <a:pt x="1213224" y="1282699"/>
                  </a:moveTo>
                  <a:lnTo>
                    <a:pt x="923748" y="1282699"/>
                  </a:lnTo>
                  <a:lnTo>
                    <a:pt x="973131" y="1257299"/>
                  </a:lnTo>
                  <a:lnTo>
                    <a:pt x="1020194" y="1244599"/>
                  </a:lnTo>
                  <a:lnTo>
                    <a:pt x="1064712" y="1206499"/>
                  </a:lnTo>
                  <a:lnTo>
                    <a:pt x="1106463" y="1181099"/>
                  </a:lnTo>
                  <a:lnTo>
                    <a:pt x="1145223" y="1142999"/>
                  </a:lnTo>
                  <a:lnTo>
                    <a:pt x="1180768" y="1104899"/>
                  </a:lnTo>
                  <a:lnTo>
                    <a:pt x="1212875" y="1066799"/>
                  </a:lnTo>
                  <a:lnTo>
                    <a:pt x="1241321" y="1015999"/>
                  </a:lnTo>
                  <a:lnTo>
                    <a:pt x="1407403" y="1015999"/>
                  </a:lnTo>
                  <a:lnTo>
                    <a:pt x="1374167" y="1079499"/>
                  </a:lnTo>
                  <a:lnTo>
                    <a:pt x="1350854" y="1117599"/>
                  </a:lnTo>
                  <a:lnTo>
                    <a:pt x="1325257" y="1155699"/>
                  </a:lnTo>
                  <a:lnTo>
                    <a:pt x="1297474" y="1193799"/>
                  </a:lnTo>
                  <a:lnTo>
                    <a:pt x="1267600" y="1231899"/>
                  </a:lnTo>
                  <a:lnTo>
                    <a:pt x="1235733" y="1257299"/>
                  </a:lnTo>
                  <a:lnTo>
                    <a:pt x="1213224" y="1282699"/>
                  </a:lnTo>
                  <a:close/>
                </a:path>
              </a:pathLst>
            </a:custGeom>
            <a:solidFill>
              <a:srgbClr val="FFFFFF"/>
            </a:solidFill>
          </p:spPr>
          <p:txBody>
            <a:bodyPr wrap="square" lIns="0" tIns="0" rIns="0" bIns="0" rtlCol="0"/>
            <a:lstStyle/>
            <a:p>
              <a:endParaRPr/>
            </a:p>
          </p:txBody>
        </p:sp>
        <p:sp>
          <p:nvSpPr>
            <p:cNvPr id="26" name="object 26"/>
            <p:cNvSpPr/>
            <p:nvPr/>
          </p:nvSpPr>
          <p:spPr>
            <a:xfrm>
              <a:off x="12944413" y="3686610"/>
              <a:ext cx="1224915" cy="1224915"/>
            </a:xfrm>
            <a:custGeom>
              <a:avLst/>
              <a:gdLst/>
              <a:ahLst/>
              <a:cxnLst/>
              <a:rect l="l" t="t" r="r" b="b"/>
              <a:pathLst>
                <a:path w="1224915" h="1224914">
                  <a:moveTo>
                    <a:pt x="918281" y="612187"/>
                  </a:moveTo>
                  <a:lnTo>
                    <a:pt x="306093" y="612187"/>
                  </a:lnTo>
                  <a:lnTo>
                    <a:pt x="306093" y="0"/>
                  </a:lnTo>
                  <a:lnTo>
                    <a:pt x="918281" y="0"/>
                  </a:lnTo>
                  <a:lnTo>
                    <a:pt x="918281" y="612187"/>
                  </a:lnTo>
                  <a:close/>
                </a:path>
                <a:path w="1224915" h="1224914">
                  <a:moveTo>
                    <a:pt x="612188" y="1224375"/>
                  </a:moveTo>
                  <a:lnTo>
                    <a:pt x="0" y="612188"/>
                  </a:lnTo>
                  <a:lnTo>
                    <a:pt x="1224375" y="612187"/>
                  </a:lnTo>
                  <a:lnTo>
                    <a:pt x="612188" y="1224375"/>
                  </a:lnTo>
                  <a:close/>
                </a:path>
              </a:pathLst>
            </a:custGeom>
            <a:solidFill>
              <a:srgbClr val="E3112B">
                <a:alpha val="80778"/>
              </a:srgbClr>
            </a:solidFill>
          </p:spPr>
          <p:txBody>
            <a:bodyPr wrap="square" lIns="0" tIns="0" rIns="0" bIns="0" rtlCol="0"/>
            <a:lstStyle/>
            <a:p>
              <a:endParaRPr/>
            </a:p>
          </p:txBody>
        </p:sp>
      </p:grpSp>
      <p:sp>
        <p:nvSpPr>
          <p:cNvPr id="27" name="object 27"/>
          <p:cNvSpPr txBox="1"/>
          <p:nvPr/>
        </p:nvSpPr>
        <p:spPr>
          <a:xfrm>
            <a:off x="11807610" y="7906591"/>
            <a:ext cx="1779905" cy="383540"/>
          </a:xfrm>
          <a:prstGeom prst="rect">
            <a:avLst/>
          </a:prstGeom>
        </p:spPr>
        <p:txBody>
          <a:bodyPr vert="horz" wrap="square" lIns="0" tIns="12700" rIns="0" bIns="0" rtlCol="0">
            <a:spAutoFit/>
          </a:bodyPr>
          <a:lstStyle/>
          <a:p>
            <a:pPr marL="12700">
              <a:lnSpc>
                <a:spcPct val="100000"/>
              </a:lnSpc>
              <a:spcBef>
                <a:spcPts val="100"/>
              </a:spcBef>
            </a:pPr>
            <a:r>
              <a:rPr sz="2350" b="1" spc="-10" dirty="0">
                <a:solidFill>
                  <a:srgbClr val="FFFFFF"/>
                </a:solidFill>
                <a:latin typeface="Roboto"/>
                <a:cs typeface="Roboto"/>
              </a:rPr>
              <a:t>Conectividad</a:t>
            </a:r>
            <a:endParaRPr sz="2350">
              <a:latin typeface="Roboto"/>
              <a:cs typeface="Roboto"/>
            </a:endParaRPr>
          </a:p>
        </p:txBody>
      </p:sp>
      <p:sp>
        <p:nvSpPr>
          <p:cNvPr id="28" name="object 28"/>
          <p:cNvSpPr txBox="1"/>
          <p:nvPr/>
        </p:nvSpPr>
        <p:spPr>
          <a:xfrm>
            <a:off x="6568909" y="1765448"/>
            <a:ext cx="5150485" cy="1616075"/>
          </a:xfrm>
          <a:prstGeom prst="rect">
            <a:avLst/>
          </a:prstGeom>
        </p:spPr>
        <p:txBody>
          <a:bodyPr vert="horz" wrap="square" lIns="0" tIns="304165" rIns="0" bIns="0" rtlCol="0">
            <a:spAutoFit/>
          </a:bodyPr>
          <a:lstStyle/>
          <a:p>
            <a:pPr algn="ctr">
              <a:lnSpc>
                <a:spcPct val="100000"/>
              </a:lnSpc>
              <a:spcBef>
                <a:spcPts val="2395"/>
              </a:spcBef>
            </a:pPr>
            <a:r>
              <a:rPr sz="3300" b="1" dirty="0">
                <a:solidFill>
                  <a:srgbClr val="E3112B"/>
                </a:solidFill>
                <a:latin typeface="Roboto"/>
                <a:cs typeface="Roboto"/>
              </a:rPr>
              <a:t>Consecuencias</a:t>
            </a:r>
            <a:r>
              <a:rPr sz="3300" b="1" spc="180" dirty="0">
                <a:solidFill>
                  <a:srgbClr val="E3112B"/>
                </a:solidFill>
                <a:latin typeface="Roboto"/>
                <a:cs typeface="Roboto"/>
              </a:rPr>
              <a:t> </a:t>
            </a:r>
            <a:r>
              <a:rPr sz="3300" b="1" spc="-10" dirty="0">
                <a:solidFill>
                  <a:srgbClr val="E3112B"/>
                </a:solidFill>
                <a:latin typeface="Roboto"/>
                <a:cs typeface="Roboto"/>
              </a:rPr>
              <a:t>inmediatas</a:t>
            </a:r>
            <a:endParaRPr sz="3300">
              <a:latin typeface="Roboto"/>
              <a:cs typeface="Roboto"/>
            </a:endParaRPr>
          </a:p>
          <a:p>
            <a:pPr algn="ctr">
              <a:lnSpc>
                <a:spcPct val="100000"/>
              </a:lnSpc>
              <a:spcBef>
                <a:spcPts val="2300"/>
              </a:spcBef>
            </a:pPr>
            <a:r>
              <a:rPr sz="3300" dirty="0">
                <a:solidFill>
                  <a:srgbClr val="E3112B"/>
                </a:solidFill>
                <a:latin typeface="Roboto"/>
                <a:cs typeface="Roboto"/>
              </a:rPr>
              <a:t>Pérdida</a:t>
            </a:r>
            <a:r>
              <a:rPr sz="3300" spc="-65" dirty="0">
                <a:solidFill>
                  <a:srgbClr val="E3112B"/>
                </a:solidFill>
                <a:latin typeface="Roboto"/>
                <a:cs typeface="Roboto"/>
              </a:rPr>
              <a:t> </a:t>
            </a:r>
            <a:r>
              <a:rPr sz="3300" spc="-25" dirty="0">
                <a:solidFill>
                  <a:srgbClr val="E3112B"/>
                </a:solidFill>
                <a:latin typeface="Roboto"/>
                <a:cs typeface="Roboto"/>
              </a:rPr>
              <a:t>de:</a:t>
            </a:r>
            <a:endParaRPr sz="3300">
              <a:latin typeface="Roboto"/>
              <a:cs typeface="Roboto"/>
            </a:endParaRPr>
          </a:p>
        </p:txBody>
      </p:sp>
      <p:sp>
        <p:nvSpPr>
          <p:cNvPr id="29" name="object 29"/>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1.</a:t>
            </a:r>
            <a:r>
              <a:rPr spc="-110" dirty="0"/>
              <a:t> </a:t>
            </a:r>
            <a:r>
              <a:rPr spc="-30" dirty="0"/>
              <a:t>Situación</a:t>
            </a:r>
            <a:r>
              <a:rPr spc="-105" dirty="0"/>
              <a:t> </a:t>
            </a:r>
            <a:r>
              <a:rPr spc="-10" dirty="0"/>
              <a:t>general</a:t>
            </a:r>
            <a:r>
              <a:rPr spc="-110" dirty="0"/>
              <a:t> </a:t>
            </a:r>
            <a:r>
              <a:rPr dirty="0"/>
              <a:t>del</a:t>
            </a:r>
            <a:r>
              <a:rPr spc="-105" dirty="0"/>
              <a:t> </a:t>
            </a:r>
            <a:r>
              <a:rPr spc="-10" dirty="0"/>
              <a:t>turismo</a:t>
            </a:r>
            <a:r>
              <a:rPr spc="-105" dirty="0"/>
              <a:t> </a:t>
            </a:r>
            <a:r>
              <a:rPr dirty="0"/>
              <a:t>hacia</a:t>
            </a:r>
            <a:r>
              <a:rPr spc="-110" dirty="0"/>
              <a:t> </a:t>
            </a:r>
            <a:r>
              <a:rPr spc="-10" dirty="0"/>
              <a:t>Chile</a:t>
            </a:r>
          </a:p>
        </p:txBody>
      </p:sp>
      <p:pic>
        <p:nvPicPr>
          <p:cNvPr id="30" name="object 30"/>
          <p:cNvPicPr/>
          <p:nvPr/>
        </p:nvPicPr>
        <p:blipFill>
          <a:blip r:embed="rId8" cstate="print"/>
          <a:stretch>
            <a:fillRect/>
          </a:stretch>
        </p:blipFill>
        <p:spPr>
          <a:xfrm>
            <a:off x="17316450" y="237496"/>
            <a:ext cx="742949" cy="819149"/>
          </a:xfrm>
          <a:prstGeom prst="rect">
            <a:avLst/>
          </a:prstGeom>
        </p:spPr>
      </p:pic>
      <p:sp>
        <p:nvSpPr>
          <p:cNvPr id="31" name="object 31"/>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32" name="object 32"/>
          <p:cNvSpPr txBox="1"/>
          <p:nvPr/>
        </p:nvSpPr>
        <p:spPr>
          <a:xfrm>
            <a:off x="17811802" y="9932977"/>
            <a:ext cx="229235"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02</a:t>
            </a:r>
            <a:endParaRPr sz="900">
              <a:latin typeface="Arial"/>
              <a:cs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31"/>
            <a:ext cx="18121630" cy="9758045"/>
            <a:chOff x="166956" y="184831"/>
            <a:chExt cx="18121630" cy="9758045"/>
          </a:xfrm>
        </p:grpSpPr>
        <p:sp>
          <p:nvSpPr>
            <p:cNvPr id="3" name="object 3"/>
            <p:cNvSpPr/>
            <p:nvPr/>
          </p:nvSpPr>
          <p:spPr>
            <a:xfrm>
              <a:off x="166956" y="1113693"/>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6" y="1113693"/>
              <a:ext cx="11774170" cy="8829040"/>
            </a:xfrm>
            <a:custGeom>
              <a:avLst/>
              <a:gdLst/>
              <a:ahLst/>
              <a:cxnLst/>
              <a:rect l="l" t="t" r="r" b="b"/>
              <a:pathLst>
                <a:path w="11774170" h="8829040">
                  <a:moveTo>
                    <a:pt x="0" y="8828793"/>
                  </a:moveTo>
                  <a:lnTo>
                    <a:pt x="11773792" y="8828793"/>
                  </a:lnTo>
                  <a:lnTo>
                    <a:pt x="11773792" y="0"/>
                  </a:lnTo>
                  <a:lnTo>
                    <a:pt x="0" y="0"/>
                  </a:lnTo>
                  <a:lnTo>
                    <a:pt x="0" y="8828793"/>
                  </a:lnTo>
                  <a:close/>
                </a:path>
              </a:pathLst>
            </a:custGeom>
            <a:solidFill>
              <a:srgbClr val="FFFFFF"/>
            </a:solidFill>
          </p:spPr>
          <p:txBody>
            <a:bodyPr wrap="square" lIns="0" tIns="0" rIns="0" bIns="0" rtlCol="0"/>
            <a:lstStyle/>
            <a:p>
              <a:endParaRPr/>
            </a:p>
          </p:txBody>
        </p:sp>
        <p:sp>
          <p:nvSpPr>
            <p:cNvPr id="5" name="object 5"/>
            <p:cNvSpPr/>
            <p:nvPr/>
          </p:nvSpPr>
          <p:spPr>
            <a:xfrm>
              <a:off x="1749230" y="6771320"/>
              <a:ext cx="1741170" cy="1741170"/>
            </a:xfrm>
            <a:custGeom>
              <a:avLst/>
              <a:gdLst/>
              <a:ahLst/>
              <a:cxnLst/>
              <a:rect l="l" t="t" r="r" b="b"/>
              <a:pathLst>
                <a:path w="1741170" h="1741170">
                  <a:moveTo>
                    <a:pt x="870453" y="1740898"/>
                  </a:moveTo>
                  <a:lnTo>
                    <a:pt x="822690" y="1739610"/>
                  </a:lnTo>
                  <a:lnTo>
                    <a:pt x="775604" y="1735790"/>
                  </a:lnTo>
                  <a:lnTo>
                    <a:pt x="729257" y="1729505"/>
                  </a:lnTo>
                  <a:lnTo>
                    <a:pt x="683717" y="1720821"/>
                  </a:lnTo>
                  <a:lnTo>
                    <a:pt x="639049" y="1709804"/>
                  </a:lnTo>
                  <a:lnTo>
                    <a:pt x="595319" y="1696522"/>
                  </a:lnTo>
                  <a:lnTo>
                    <a:pt x="552595" y="1681039"/>
                  </a:lnTo>
                  <a:lnTo>
                    <a:pt x="510942" y="1663423"/>
                  </a:lnTo>
                  <a:lnTo>
                    <a:pt x="470427" y="1643740"/>
                  </a:lnTo>
                  <a:lnTo>
                    <a:pt x="431116" y="1622056"/>
                  </a:lnTo>
                  <a:lnTo>
                    <a:pt x="393076" y="1598438"/>
                  </a:lnTo>
                  <a:lnTo>
                    <a:pt x="356373" y="1572952"/>
                  </a:lnTo>
                  <a:lnTo>
                    <a:pt x="321073" y="1545664"/>
                  </a:lnTo>
                  <a:lnTo>
                    <a:pt x="287242" y="1516641"/>
                  </a:lnTo>
                  <a:lnTo>
                    <a:pt x="254948" y="1485949"/>
                  </a:lnTo>
                  <a:lnTo>
                    <a:pt x="224256" y="1453655"/>
                  </a:lnTo>
                  <a:lnTo>
                    <a:pt x="195233" y="1419825"/>
                  </a:lnTo>
                  <a:lnTo>
                    <a:pt x="167946" y="1384525"/>
                  </a:lnTo>
                  <a:lnTo>
                    <a:pt x="142460" y="1347821"/>
                  </a:lnTo>
                  <a:lnTo>
                    <a:pt x="118841" y="1309781"/>
                  </a:lnTo>
                  <a:lnTo>
                    <a:pt x="97157" y="1270470"/>
                  </a:lnTo>
                  <a:lnTo>
                    <a:pt x="77474" y="1229955"/>
                  </a:lnTo>
                  <a:lnTo>
                    <a:pt x="59858" y="1188302"/>
                  </a:lnTo>
                  <a:lnTo>
                    <a:pt x="44376" y="1145578"/>
                  </a:lnTo>
                  <a:lnTo>
                    <a:pt x="31093" y="1101849"/>
                  </a:lnTo>
                  <a:lnTo>
                    <a:pt x="20076" y="1057180"/>
                  </a:lnTo>
                  <a:lnTo>
                    <a:pt x="11392" y="1011640"/>
                  </a:lnTo>
                  <a:lnTo>
                    <a:pt x="5116" y="965294"/>
                  </a:lnTo>
                  <a:lnTo>
                    <a:pt x="1287" y="918208"/>
                  </a:lnTo>
                  <a:lnTo>
                    <a:pt x="0" y="870448"/>
                  </a:lnTo>
                  <a:lnTo>
                    <a:pt x="1287" y="822690"/>
                  </a:lnTo>
                  <a:lnTo>
                    <a:pt x="5128" y="775449"/>
                  </a:lnTo>
                  <a:lnTo>
                    <a:pt x="11392" y="729257"/>
                  </a:lnTo>
                  <a:lnTo>
                    <a:pt x="20076" y="683717"/>
                  </a:lnTo>
                  <a:lnTo>
                    <a:pt x="31093" y="639049"/>
                  </a:lnTo>
                  <a:lnTo>
                    <a:pt x="44376" y="595319"/>
                  </a:lnTo>
                  <a:lnTo>
                    <a:pt x="59858" y="552595"/>
                  </a:lnTo>
                  <a:lnTo>
                    <a:pt x="77474" y="510942"/>
                  </a:lnTo>
                  <a:lnTo>
                    <a:pt x="97157" y="470427"/>
                  </a:lnTo>
                  <a:lnTo>
                    <a:pt x="118841" y="431116"/>
                  </a:lnTo>
                  <a:lnTo>
                    <a:pt x="142460" y="393076"/>
                  </a:lnTo>
                  <a:lnTo>
                    <a:pt x="167946" y="356373"/>
                  </a:lnTo>
                  <a:lnTo>
                    <a:pt x="195233" y="321073"/>
                  </a:lnTo>
                  <a:lnTo>
                    <a:pt x="224256" y="287242"/>
                  </a:lnTo>
                  <a:lnTo>
                    <a:pt x="254948" y="254948"/>
                  </a:lnTo>
                  <a:lnTo>
                    <a:pt x="287242" y="224256"/>
                  </a:lnTo>
                  <a:lnTo>
                    <a:pt x="321073" y="195233"/>
                  </a:lnTo>
                  <a:lnTo>
                    <a:pt x="356373" y="167946"/>
                  </a:lnTo>
                  <a:lnTo>
                    <a:pt x="393076" y="142459"/>
                  </a:lnTo>
                  <a:lnTo>
                    <a:pt x="431116" y="118841"/>
                  </a:lnTo>
                  <a:lnTo>
                    <a:pt x="470427" y="97157"/>
                  </a:lnTo>
                  <a:lnTo>
                    <a:pt x="510942" y="77474"/>
                  </a:lnTo>
                  <a:lnTo>
                    <a:pt x="552595" y="59858"/>
                  </a:lnTo>
                  <a:lnTo>
                    <a:pt x="595319" y="44376"/>
                  </a:lnTo>
                  <a:lnTo>
                    <a:pt x="639049" y="31093"/>
                  </a:lnTo>
                  <a:lnTo>
                    <a:pt x="683717" y="20076"/>
                  </a:lnTo>
                  <a:lnTo>
                    <a:pt x="729257" y="11392"/>
                  </a:lnTo>
                  <a:lnTo>
                    <a:pt x="775604" y="5107"/>
                  </a:lnTo>
                  <a:lnTo>
                    <a:pt x="822690" y="1287"/>
                  </a:lnTo>
                  <a:lnTo>
                    <a:pt x="870449" y="0"/>
                  </a:lnTo>
                  <a:lnTo>
                    <a:pt x="870449" y="313361"/>
                  </a:lnTo>
                  <a:lnTo>
                    <a:pt x="822381" y="315406"/>
                  </a:lnTo>
                  <a:lnTo>
                    <a:pt x="775449" y="321429"/>
                  </a:lnTo>
                  <a:lnTo>
                    <a:pt x="729819" y="331263"/>
                  </a:lnTo>
                  <a:lnTo>
                    <a:pt x="685660" y="344741"/>
                  </a:lnTo>
                  <a:lnTo>
                    <a:pt x="643137" y="361695"/>
                  </a:lnTo>
                  <a:lnTo>
                    <a:pt x="602419" y="381959"/>
                  </a:lnTo>
                  <a:lnTo>
                    <a:pt x="563672" y="405365"/>
                  </a:lnTo>
                  <a:lnTo>
                    <a:pt x="527064" y="431745"/>
                  </a:lnTo>
                  <a:lnTo>
                    <a:pt x="492762" y="460934"/>
                  </a:lnTo>
                  <a:lnTo>
                    <a:pt x="460934" y="492762"/>
                  </a:lnTo>
                  <a:lnTo>
                    <a:pt x="431745" y="527064"/>
                  </a:lnTo>
                  <a:lnTo>
                    <a:pt x="405365" y="563672"/>
                  </a:lnTo>
                  <a:lnTo>
                    <a:pt x="381959" y="602419"/>
                  </a:lnTo>
                  <a:lnTo>
                    <a:pt x="361695" y="643137"/>
                  </a:lnTo>
                  <a:lnTo>
                    <a:pt x="344741" y="685660"/>
                  </a:lnTo>
                  <a:lnTo>
                    <a:pt x="331263" y="729819"/>
                  </a:lnTo>
                  <a:lnTo>
                    <a:pt x="321429" y="775449"/>
                  </a:lnTo>
                  <a:lnTo>
                    <a:pt x="315406" y="822381"/>
                  </a:lnTo>
                  <a:lnTo>
                    <a:pt x="313361" y="870449"/>
                  </a:lnTo>
                  <a:lnTo>
                    <a:pt x="315406" y="918516"/>
                  </a:lnTo>
                  <a:lnTo>
                    <a:pt x="321429" y="965449"/>
                  </a:lnTo>
                  <a:lnTo>
                    <a:pt x="331263" y="1011078"/>
                  </a:lnTo>
                  <a:lnTo>
                    <a:pt x="344741" y="1055238"/>
                  </a:lnTo>
                  <a:lnTo>
                    <a:pt x="361695" y="1097760"/>
                  </a:lnTo>
                  <a:lnTo>
                    <a:pt x="381959" y="1138479"/>
                  </a:lnTo>
                  <a:lnTo>
                    <a:pt x="405365" y="1177225"/>
                  </a:lnTo>
                  <a:lnTo>
                    <a:pt x="431745" y="1213833"/>
                  </a:lnTo>
                  <a:lnTo>
                    <a:pt x="460934" y="1248135"/>
                  </a:lnTo>
                  <a:lnTo>
                    <a:pt x="492762" y="1279964"/>
                  </a:lnTo>
                  <a:lnTo>
                    <a:pt x="527064" y="1309152"/>
                  </a:lnTo>
                  <a:lnTo>
                    <a:pt x="563672" y="1335533"/>
                  </a:lnTo>
                  <a:lnTo>
                    <a:pt x="602419" y="1358939"/>
                  </a:lnTo>
                  <a:lnTo>
                    <a:pt x="643137" y="1379202"/>
                  </a:lnTo>
                  <a:lnTo>
                    <a:pt x="685660" y="1396157"/>
                  </a:lnTo>
                  <a:lnTo>
                    <a:pt x="729819" y="1409634"/>
                  </a:lnTo>
                  <a:lnTo>
                    <a:pt x="775449" y="1419468"/>
                  </a:lnTo>
                  <a:lnTo>
                    <a:pt x="822381" y="1425491"/>
                  </a:lnTo>
                  <a:lnTo>
                    <a:pt x="870449" y="1427536"/>
                  </a:lnTo>
                  <a:lnTo>
                    <a:pt x="1539048" y="1427536"/>
                  </a:lnTo>
                  <a:lnTo>
                    <a:pt x="1516641" y="1453655"/>
                  </a:lnTo>
                  <a:lnTo>
                    <a:pt x="1485949" y="1485949"/>
                  </a:lnTo>
                  <a:lnTo>
                    <a:pt x="1453655" y="1516641"/>
                  </a:lnTo>
                  <a:lnTo>
                    <a:pt x="1419825" y="1545664"/>
                  </a:lnTo>
                  <a:lnTo>
                    <a:pt x="1384525" y="1572952"/>
                  </a:lnTo>
                  <a:lnTo>
                    <a:pt x="1347821" y="1598438"/>
                  </a:lnTo>
                  <a:lnTo>
                    <a:pt x="1309781" y="1622056"/>
                  </a:lnTo>
                  <a:lnTo>
                    <a:pt x="1270470" y="1643740"/>
                  </a:lnTo>
                  <a:lnTo>
                    <a:pt x="1229955" y="1663423"/>
                  </a:lnTo>
                  <a:lnTo>
                    <a:pt x="1188302" y="1681039"/>
                  </a:lnTo>
                  <a:lnTo>
                    <a:pt x="1145578" y="1696522"/>
                  </a:lnTo>
                  <a:lnTo>
                    <a:pt x="1101849" y="1709804"/>
                  </a:lnTo>
                  <a:lnTo>
                    <a:pt x="1057181" y="1720821"/>
                  </a:lnTo>
                  <a:lnTo>
                    <a:pt x="1011640" y="1729505"/>
                  </a:lnTo>
                  <a:lnTo>
                    <a:pt x="965294" y="1735790"/>
                  </a:lnTo>
                  <a:lnTo>
                    <a:pt x="918208" y="1739610"/>
                  </a:lnTo>
                  <a:lnTo>
                    <a:pt x="870453" y="1740898"/>
                  </a:lnTo>
                  <a:close/>
                </a:path>
                <a:path w="1741170" h="1741170">
                  <a:moveTo>
                    <a:pt x="1539048" y="1427536"/>
                  </a:moveTo>
                  <a:lnTo>
                    <a:pt x="870449" y="1427536"/>
                  </a:lnTo>
                  <a:lnTo>
                    <a:pt x="918516" y="1425491"/>
                  </a:lnTo>
                  <a:lnTo>
                    <a:pt x="965449" y="1419468"/>
                  </a:lnTo>
                  <a:lnTo>
                    <a:pt x="1011078" y="1409634"/>
                  </a:lnTo>
                  <a:lnTo>
                    <a:pt x="1055238" y="1396157"/>
                  </a:lnTo>
                  <a:lnTo>
                    <a:pt x="1097760" y="1379202"/>
                  </a:lnTo>
                  <a:lnTo>
                    <a:pt x="1138479" y="1358939"/>
                  </a:lnTo>
                  <a:lnTo>
                    <a:pt x="1177225" y="1335533"/>
                  </a:lnTo>
                  <a:lnTo>
                    <a:pt x="1213833" y="1309152"/>
                  </a:lnTo>
                  <a:lnTo>
                    <a:pt x="1248135" y="1279964"/>
                  </a:lnTo>
                  <a:lnTo>
                    <a:pt x="1279964" y="1248135"/>
                  </a:lnTo>
                  <a:lnTo>
                    <a:pt x="1309152" y="1213833"/>
                  </a:lnTo>
                  <a:lnTo>
                    <a:pt x="1335533" y="1177225"/>
                  </a:lnTo>
                  <a:lnTo>
                    <a:pt x="1358939" y="1138479"/>
                  </a:lnTo>
                  <a:lnTo>
                    <a:pt x="1379202" y="1097760"/>
                  </a:lnTo>
                  <a:lnTo>
                    <a:pt x="1396157" y="1055238"/>
                  </a:lnTo>
                  <a:lnTo>
                    <a:pt x="1409634" y="1011078"/>
                  </a:lnTo>
                  <a:lnTo>
                    <a:pt x="1419468" y="965449"/>
                  </a:lnTo>
                  <a:lnTo>
                    <a:pt x="1425492" y="918516"/>
                  </a:lnTo>
                  <a:lnTo>
                    <a:pt x="1427536" y="870448"/>
                  </a:lnTo>
                  <a:lnTo>
                    <a:pt x="1425492" y="822381"/>
                  </a:lnTo>
                  <a:lnTo>
                    <a:pt x="1419468" y="775449"/>
                  </a:lnTo>
                  <a:lnTo>
                    <a:pt x="1409634" y="729819"/>
                  </a:lnTo>
                  <a:lnTo>
                    <a:pt x="1396157" y="685660"/>
                  </a:lnTo>
                  <a:lnTo>
                    <a:pt x="1379202" y="643137"/>
                  </a:lnTo>
                  <a:lnTo>
                    <a:pt x="1358939" y="602419"/>
                  </a:lnTo>
                  <a:lnTo>
                    <a:pt x="1335533" y="563672"/>
                  </a:lnTo>
                  <a:lnTo>
                    <a:pt x="1309152" y="527064"/>
                  </a:lnTo>
                  <a:lnTo>
                    <a:pt x="1279964" y="492762"/>
                  </a:lnTo>
                  <a:lnTo>
                    <a:pt x="1248135" y="460934"/>
                  </a:lnTo>
                  <a:lnTo>
                    <a:pt x="1213833" y="431745"/>
                  </a:lnTo>
                  <a:lnTo>
                    <a:pt x="1177225" y="405365"/>
                  </a:lnTo>
                  <a:lnTo>
                    <a:pt x="1138479" y="381959"/>
                  </a:lnTo>
                  <a:lnTo>
                    <a:pt x="1097760" y="361695"/>
                  </a:lnTo>
                  <a:lnTo>
                    <a:pt x="1055238" y="344741"/>
                  </a:lnTo>
                  <a:lnTo>
                    <a:pt x="1011078" y="331263"/>
                  </a:lnTo>
                  <a:lnTo>
                    <a:pt x="965449" y="321429"/>
                  </a:lnTo>
                  <a:lnTo>
                    <a:pt x="918516" y="315406"/>
                  </a:lnTo>
                  <a:lnTo>
                    <a:pt x="870449" y="313361"/>
                  </a:lnTo>
                  <a:lnTo>
                    <a:pt x="870449" y="0"/>
                  </a:lnTo>
                  <a:lnTo>
                    <a:pt x="918208" y="1287"/>
                  </a:lnTo>
                  <a:lnTo>
                    <a:pt x="965294" y="5107"/>
                  </a:lnTo>
                  <a:lnTo>
                    <a:pt x="1011640" y="11392"/>
                  </a:lnTo>
                  <a:lnTo>
                    <a:pt x="1057181" y="20076"/>
                  </a:lnTo>
                  <a:lnTo>
                    <a:pt x="1101849" y="31093"/>
                  </a:lnTo>
                  <a:lnTo>
                    <a:pt x="1145578" y="44376"/>
                  </a:lnTo>
                  <a:lnTo>
                    <a:pt x="1188302" y="59858"/>
                  </a:lnTo>
                  <a:lnTo>
                    <a:pt x="1229955" y="77474"/>
                  </a:lnTo>
                  <a:lnTo>
                    <a:pt x="1270470" y="97157"/>
                  </a:lnTo>
                  <a:lnTo>
                    <a:pt x="1309781" y="118841"/>
                  </a:lnTo>
                  <a:lnTo>
                    <a:pt x="1347821" y="142459"/>
                  </a:lnTo>
                  <a:lnTo>
                    <a:pt x="1384525" y="167946"/>
                  </a:lnTo>
                  <a:lnTo>
                    <a:pt x="1419825" y="195233"/>
                  </a:lnTo>
                  <a:lnTo>
                    <a:pt x="1453655" y="224256"/>
                  </a:lnTo>
                  <a:lnTo>
                    <a:pt x="1485949" y="254948"/>
                  </a:lnTo>
                  <a:lnTo>
                    <a:pt x="1516641" y="287242"/>
                  </a:lnTo>
                  <a:lnTo>
                    <a:pt x="1545664" y="321073"/>
                  </a:lnTo>
                  <a:lnTo>
                    <a:pt x="1572952" y="356373"/>
                  </a:lnTo>
                  <a:lnTo>
                    <a:pt x="1598438" y="393076"/>
                  </a:lnTo>
                  <a:lnTo>
                    <a:pt x="1622056" y="431116"/>
                  </a:lnTo>
                  <a:lnTo>
                    <a:pt x="1643740" y="470427"/>
                  </a:lnTo>
                  <a:lnTo>
                    <a:pt x="1663423" y="510942"/>
                  </a:lnTo>
                  <a:lnTo>
                    <a:pt x="1681039" y="552595"/>
                  </a:lnTo>
                  <a:lnTo>
                    <a:pt x="1696522" y="595319"/>
                  </a:lnTo>
                  <a:lnTo>
                    <a:pt x="1709805" y="639049"/>
                  </a:lnTo>
                  <a:lnTo>
                    <a:pt x="1720821" y="683717"/>
                  </a:lnTo>
                  <a:lnTo>
                    <a:pt x="1729505" y="729257"/>
                  </a:lnTo>
                  <a:lnTo>
                    <a:pt x="1735782" y="775604"/>
                  </a:lnTo>
                  <a:lnTo>
                    <a:pt x="1739610" y="822690"/>
                  </a:lnTo>
                  <a:lnTo>
                    <a:pt x="1740898" y="870449"/>
                  </a:lnTo>
                  <a:lnTo>
                    <a:pt x="1739610" y="918208"/>
                  </a:lnTo>
                  <a:lnTo>
                    <a:pt x="1735769" y="965449"/>
                  </a:lnTo>
                  <a:lnTo>
                    <a:pt x="1729505" y="1011640"/>
                  </a:lnTo>
                  <a:lnTo>
                    <a:pt x="1720821" y="1057180"/>
                  </a:lnTo>
                  <a:lnTo>
                    <a:pt x="1709805" y="1101849"/>
                  </a:lnTo>
                  <a:lnTo>
                    <a:pt x="1696522" y="1145578"/>
                  </a:lnTo>
                  <a:lnTo>
                    <a:pt x="1681039" y="1188302"/>
                  </a:lnTo>
                  <a:lnTo>
                    <a:pt x="1663423" y="1229955"/>
                  </a:lnTo>
                  <a:lnTo>
                    <a:pt x="1643740" y="1270470"/>
                  </a:lnTo>
                  <a:lnTo>
                    <a:pt x="1622056" y="1309781"/>
                  </a:lnTo>
                  <a:lnTo>
                    <a:pt x="1598438" y="1347821"/>
                  </a:lnTo>
                  <a:lnTo>
                    <a:pt x="1572952" y="1384525"/>
                  </a:lnTo>
                  <a:lnTo>
                    <a:pt x="1545664" y="1419825"/>
                  </a:lnTo>
                  <a:lnTo>
                    <a:pt x="1539048" y="1427536"/>
                  </a:lnTo>
                  <a:close/>
                </a:path>
              </a:pathLst>
            </a:custGeom>
            <a:solidFill>
              <a:srgbClr val="A6A6A6"/>
            </a:solidFill>
          </p:spPr>
          <p:txBody>
            <a:bodyPr wrap="square" lIns="0" tIns="0" rIns="0" bIns="0" rtlCol="0"/>
            <a:lstStyle/>
            <a:p>
              <a:endParaRPr/>
            </a:p>
          </p:txBody>
        </p:sp>
        <p:sp>
          <p:nvSpPr>
            <p:cNvPr id="6" name="object 6"/>
            <p:cNvSpPr/>
            <p:nvPr/>
          </p:nvSpPr>
          <p:spPr>
            <a:xfrm>
              <a:off x="1749286" y="6789472"/>
              <a:ext cx="1741170" cy="1722755"/>
            </a:xfrm>
            <a:custGeom>
              <a:avLst/>
              <a:gdLst/>
              <a:ahLst/>
              <a:cxnLst/>
              <a:rect l="l" t="t" r="r" b="b"/>
              <a:pathLst>
                <a:path w="1741170" h="1722754">
                  <a:moveTo>
                    <a:pt x="1539178" y="1409122"/>
                  </a:moveTo>
                  <a:lnTo>
                    <a:pt x="887976" y="1409122"/>
                  </a:lnTo>
                  <a:lnTo>
                    <a:pt x="936096" y="1405524"/>
                  </a:lnTo>
                  <a:lnTo>
                    <a:pt x="983966" y="1397719"/>
                  </a:lnTo>
                  <a:lnTo>
                    <a:pt x="1031309" y="1385667"/>
                  </a:lnTo>
                  <a:lnTo>
                    <a:pt x="1077847" y="1369328"/>
                  </a:lnTo>
                  <a:lnTo>
                    <a:pt x="1123305" y="1348665"/>
                  </a:lnTo>
                  <a:lnTo>
                    <a:pt x="1166741" y="1324035"/>
                  </a:lnTo>
                  <a:lnTo>
                    <a:pt x="1207313" y="1295988"/>
                  </a:lnTo>
                  <a:lnTo>
                    <a:pt x="1244891" y="1264771"/>
                  </a:lnTo>
                  <a:lnTo>
                    <a:pt x="1279343" y="1230631"/>
                  </a:lnTo>
                  <a:lnTo>
                    <a:pt x="1310539" y="1193816"/>
                  </a:lnTo>
                  <a:lnTo>
                    <a:pt x="1338346" y="1154572"/>
                  </a:lnTo>
                  <a:lnTo>
                    <a:pt x="1362636" y="1113147"/>
                  </a:lnTo>
                  <a:lnTo>
                    <a:pt x="1383275" y="1069788"/>
                  </a:lnTo>
                  <a:lnTo>
                    <a:pt x="1400134" y="1024742"/>
                  </a:lnTo>
                  <a:lnTo>
                    <a:pt x="1413082" y="978257"/>
                  </a:lnTo>
                  <a:lnTo>
                    <a:pt x="1421987" y="930579"/>
                  </a:lnTo>
                  <a:lnTo>
                    <a:pt x="1426718" y="881956"/>
                  </a:lnTo>
                  <a:lnTo>
                    <a:pt x="1427145" y="832635"/>
                  </a:lnTo>
                  <a:lnTo>
                    <a:pt x="1423136" y="782863"/>
                  </a:lnTo>
                  <a:lnTo>
                    <a:pt x="1414710" y="733645"/>
                  </a:lnTo>
                  <a:lnTo>
                    <a:pt x="1402098" y="685962"/>
                  </a:lnTo>
                  <a:lnTo>
                    <a:pt x="1385488" y="640020"/>
                  </a:lnTo>
                  <a:lnTo>
                    <a:pt x="1365067" y="596026"/>
                  </a:lnTo>
                  <a:lnTo>
                    <a:pt x="1341025" y="554187"/>
                  </a:lnTo>
                  <a:lnTo>
                    <a:pt x="1313548" y="514710"/>
                  </a:lnTo>
                  <a:lnTo>
                    <a:pt x="1282826" y="477803"/>
                  </a:lnTo>
                  <a:lnTo>
                    <a:pt x="1249046" y="443673"/>
                  </a:lnTo>
                  <a:lnTo>
                    <a:pt x="1212396" y="412526"/>
                  </a:lnTo>
                  <a:lnTo>
                    <a:pt x="1173064" y="384570"/>
                  </a:lnTo>
                  <a:lnTo>
                    <a:pt x="1131238" y="360012"/>
                  </a:lnTo>
                  <a:lnTo>
                    <a:pt x="1087107" y="339059"/>
                  </a:lnTo>
                  <a:lnTo>
                    <a:pt x="1040858" y="321918"/>
                  </a:lnTo>
                  <a:lnTo>
                    <a:pt x="992680" y="308796"/>
                  </a:lnTo>
                  <a:lnTo>
                    <a:pt x="946118" y="290133"/>
                  </a:lnTo>
                  <a:lnTo>
                    <a:pt x="909039" y="258991"/>
                  </a:lnTo>
                  <a:lnTo>
                    <a:pt x="883394" y="218456"/>
                  </a:lnTo>
                  <a:lnTo>
                    <a:pt x="871136" y="171612"/>
                  </a:lnTo>
                  <a:lnTo>
                    <a:pt x="874214" y="121544"/>
                  </a:lnTo>
                  <a:lnTo>
                    <a:pt x="892878" y="74982"/>
                  </a:lnTo>
                  <a:lnTo>
                    <a:pt x="924019" y="37903"/>
                  </a:lnTo>
                  <a:lnTo>
                    <a:pt x="964554" y="12258"/>
                  </a:lnTo>
                  <a:lnTo>
                    <a:pt x="1011398" y="0"/>
                  </a:lnTo>
                  <a:lnTo>
                    <a:pt x="1061467" y="3078"/>
                  </a:lnTo>
                  <a:lnTo>
                    <a:pt x="1109705" y="15381"/>
                  </a:lnTo>
                  <a:lnTo>
                    <a:pt x="1156765" y="30275"/>
                  </a:lnTo>
                  <a:lnTo>
                    <a:pt x="1202572" y="47677"/>
                  </a:lnTo>
                  <a:lnTo>
                    <a:pt x="1247050" y="67503"/>
                  </a:lnTo>
                  <a:lnTo>
                    <a:pt x="1290123" y="89669"/>
                  </a:lnTo>
                  <a:lnTo>
                    <a:pt x="1331716" y="114093"/>
                  </a:lnTo>
                  <a:lnTo>
                    <a:pt x="1371752" y="140691"/>
                  </a:lnTo>
                  <a:lnTo>
                    <a:pt x="1410156" y="169378"/>
                  </a:lnTo>
                  <a:lnTo>
                    <a:pt x="1446853" y="200073"/>
                  </a:lnTo>
                  <a:lnTo>
                    <a:pt x="1481766" y="232692"/>
                  </a:lnTo>
                  <a:lnTo>
                    <a:pt x="1514820" y="267151"/>
                  </a:lnTo>
                  <a:lnTo>
                    <a:pt x="1545939" y="303367"/>
                  </a:lnTo>
                  <a:lnTo>
                    <a:pt x="1575048" y="341256"/>
                  </a:lnTo>
                  <a:lnTo>
                    <a:pt x="1602070" y="380735"/>
                  </a:lnTo>
                  <a:lnTo>
                    <a:pt x="1626930" y="421721"/>
                  </a:lnTo>
                  <a:lnTo>
                    <a:pt x="1649553" y="464131"/>
                  </a:lnTo>
                  <a:lnTo>
                    <a:pt x="1669787" y="507720"/>
                  </a:lnTo>
                  <a:lnTo>
                    <a:pt x="1687781" y="552886"/>
                  </a:lnTo>
                  <a:lnTo>
                    <a:pt x="1703236" y="599065"/>
                  </a:lnTo>
                  <a:lnTo>
                    <a:pt x="1716151" y="646333"/>
                  </a:lnTo>
                  <a:lnTo>
                    <a:pt x="1726449" y="694608"/>
                  </a:lnTo>
                  <a:lnTo>
                    <a:pt x="1734043" y="743806"/>
                  </a:lnTo>
                  <a:lnTo>
                    <a:pt x="1738853" y="793357"/>
                  </a:lnTo>
                  <a:lnTo>
                    <a:pt x="1740815" y="842679"/>
                  </a:lnTo>
                  <a:lnTo>
                    <a:pt x="1739993" y="891673"/>
                  </a:lnTo>
                  <a:lnTo>
                    <a:pt x="1736439" y="940240"/>
                  </a:lnTo>
                  <a:lnTo>
                    <a:pt x="1730208" y="988279"/>
                  </a:lnTo>
                  <a:lnTo>
                    <a:pt x="1721350" y="1035692"/>
                  </a:lnTo>
                  <a:lnTo>
                    <a:pt x="1709920" y="1082379"/>
                  </a:lnTo>
                  <a:lnTo>
                    <a:pt x="1695969" y="1128240"/>
                  </a:lnTo>
                  <a:lnTo>
                    <a:pt x="1679551" y="1173177"/>
                  </a:lnTo>
                  <a:lnTo>
                    <a:pt x="1660718" y="1217088"/>
                  </a:lnTo>
                  <a:lnTo>
                    <a:pt x="1639523" y="1259875"/>
                  </a:lnTo>
                  <a:lnTo>
                    <a:pt x="1616018" y="1301439"/>
                  </a:lnTo>
                  <a:lnTo>
                    <a:pt x="1590257" y="1341679"/>
                  </a:lnTo>
                  <a:lnTo>
                    <a:pt x="1562293" y="1380497"/>
                  </a:lnTo>
                  <a:lnTo>
                    <a:pt x="1539178" y="1409122"/>
                  </a:lnTo>
                  <a:close/>
                </a:path>
                <a:path w="1741170" h="1722754">
                  <a:moveTo>
                    <a:pt x="891027" y="1722524"/>
                  </a:moveTo>
                  <a:lnTo>
                    <a:pt x="843185" y="1722331"/>
                  </a:lnTo>
                  <a:lnTo>
                    <a:pt x="795488" y="1719520"/>
                  </a:lnTo>
                  <a:lnTo>
                    <a:pt x="748047" y="1714105"/>
                  </a:lnTo>
                  <a:lnTo>
                    <a:pt x="700973" y="1706102"/>
                  </a:lnTo>
                  <a:lnTo>
                    <a:pt x="654379" y="1695528"/>
                  </a:lnTo>
                  <a:lnTo>
                    <a:pt x="608374" y="1682398"/>
                  </a:lnTo>
                  <a:lnTo>
                    <a:pt x="563071" y="1666727"/>
                  </a:lnTo>
                  <a:lnTo>
                    <a:pt x="518582" y="1648533"/>
                  </a:lnTo>
                  <a:lnTo>
                    <a:pt x="475029" y="1627830"/>
                  </a:lnTo>
                  <a:lnTo>
                    <a:pt x="432490" y="1604635"/>
                  </a:lnTo>
                  <a:lnTo>
                    <a:pt x="391110" y="1578963"/>
                  </a:lnTo>
                  <a:lnTo>
                    <a:pt x="350990" y="1550830"/>
                  </a:lnTo>
                  <a:lnTo>
                    <a:pt x="312241" y="1520252"/>
                  </a:lnTo>
                  <a:lnTo>
                    <a:pt x="274974" y="1487244"/>
                  </a:lnTo>
                  <a:lnTo>
                    <a:pt x="239643" y="1452173"/>
                  </a:lnTo>
                  <a:lnTo>
                    <a:pt x="206640" y="1415467"/>
                  </a:lnTo>
                  <a:lnTo>
                    <a:pt x="175990" y="1377235"/>
                  </a:lnTo>
                  <a:lnTo>
                    <a:pt x="147715" y="1337589"/>
                  </a:lnTo>
                  <a:lnTo>
                    <a:pt x="121837" y="1296638"/>
                  </a:lnTo>
                  <a:lnTo>
                    <a:pt x="98381" y="1254492"/>
                  </a:lnTo>
                  <a:lnTo>
                    <a:pt x="77368" y="1211263"/>
                  </a:lnTo>
                  <a:lnTo>
                    <a:pt x="58822" y="1167059"/>
                  </a:lnTo>
                  <a:lnTo>
                    <a:pt x="42766" y="1121992"/>
                  </a:lnTo>
                  <a:lnTo>
                    <a:pt x="29223" y="1076172"/>
                  </a:lnTo>
                  <a:lnTo>
                    <a:pt x="18215" y="1029709"/>
                  </a:lnTo>
                  <a:lnTo>
                    <a:pt x="9766" y="982714"/>
                  </a:lnTo>
                  <a:lnTo>
                    <a:pt x="3898" y="935295"/>
                  </a:lnTo>
                  <a:lnTo>
                    <a:pt x="635" y="887565"/>
                  </a:lnTo>
                  <a:lnTo>
                    <a:pt x="0" y="839633"/>
                  </a:lnTo>
                  <a:lnTo>
                    <a:pt x="2014" y="791609"/>
                  </a:lnTo>
                  <a:lnTo>
                    <a:pt x="6714" y="743605"/>
                  </a:lnTo>
                  <a:lnTo>
                    <a:pt x="14087" y="695729"/>
                  </a:lnTo>
                  <a:lnTo>
                    <a:pt x="24192" y="648092"/>
                  </a:lnTo>
                  <a:lnTo>
                    <a:pt x="37038" y="600805"/>
                  </a:lnTo>
                  <a:lnTo>
                    <a:pt x="52580" y="554187"/>
                  </a:lnTo>
                  <a:lnTo>
                    <a:pt x="71049" y="507720"/>
                  </a:lnTo>
                  <a:lnTo>
                    <a:pt x="97989" y="465405"/>
                  </a:lnTo>
                  <a:lnTo>
                    <a:pt x="135441" y="434713"/>
                  </a:lnTo>
                  <a:lnTo>
                    <a:pt x="180013" y="416993"/>
                  </a:lnTo>
                  <a:lnTo>
                    <a:pt x="228315" y="413593"/>
                  </a:lnTo>
                  <a:lnTo>
                    <a:pt x="276955" y="425863"/>
                  </a:lnTo>
                  <a:lnTo>
                    <a:pt x="319271" y="452802"/>
                  </a:lnTo>
                  <a:lnTo>
                    <a:pt x="349962" y="490254"/>
                  </a:lnTo>
                  <a:lnTo>
                    <a:pt x="367682" y="534826"/>
                  </a:lnTo>
                  <a:lnTo>
                    <a:pt x="371082" y="583128"/>
                  </a:lnTo>
                  <a:lnTo>
                    <a:pt x="358813" y="631768"/>
                  </a:lnTo>
                  <a:lnTo>
                    <a:pt x="341110" y="678458"/>
                  </a:lnTo>
                  <a:lnTo>
                    <a:pt x="327793" y="725949"/>
                  </a:lnTo>
                  <a:lnTo>
                    <a:pt x="318805" y="773968"/>
                  </a:lnTo>
                  <a:lnTo>
                    <a:pt x="314088" y="822240"/>
                  </a:lnTo>
                  <a:lnTo>
                    <a:pt x="313586" y="870492"/>
                  </a:lnTo>
                  <a:lnTo>
                    <a:pt x="317242" y="918450"/>
                  </a:lnTo>
                  <a:lnTo>
                    <a:pt x="324999" y="965841"/>
                  </a:lnTo>
                  <a:lnTo>
                    <a:pt x="336799" y="1012389"/>
                  </a:lnTo>
                  <a:lnTo>
                    <a:pt x="352586" y="1057821"/>
                  </a:lnTo>
                  <a:lnTo>
                    <a:pt x="372302" y="1101864"/>
                  </a:lnTo>
                  <a:lnTo>
                    <a:pt x="395892" y="1144244"/>
                  </a:lnTo>
                  <a:lnTo>
                    <a:pt x="423296" y="1184686"/>
                  </a:lnTo>
                  <a:lnTo>
                    <a:pt x="454460" y="1222917"/>
                  </a:lnTo>
                  <a:lnTo>
                    <a:pt x="489325" y="1258663"/>
                  </a:lnTo>
                  <a:lnTo>
                    <a:pt x="527235" y="1291161"/>
                  </a:lnTo>
                  <a:lnTo>
                    <a:pt x="567387" y="1319806"/>
                  </a:lnTo>
                  <a:lnTo>
                    <a:pt x="609505" y="1344559"/>
                  </a:lnTo>
                  <a:lnTo>
                    <a:pt x="653312" y="1365379"/>
                  </a:lnTo>
                  <a:lnTo>
                    <a:pt x="698529" y="1382228"/>
                  </a:lnTo>
                  <a:lnTo>
                    <a:pt x="744882" y="1395066"/>
                  </a:lnTo>
                  <a:lnTo>
                    <a:pt x="792091" y="1403854"/>
                  </a:lnTo>
                  <a:lnTo>
                    <a:pt x="839882" y="1408552"/>
                  </a:lnTo>
                  <a:lnTo>
                    <a:pt x="887976" y="1409122"/>
                  </a:lnTo>
                  <a:lnTo>
                    <a:pt x="1539178" y="1409122"/>
                  </a:lnTo>
                  <a:lnTo>
                    <a:pt x="1532177" y="1417792"/>
                  </a:lnTo>
                  <a:lnTo>
                    <a:pt x="1499963" y="1453465"/>
                  </a:lnTo>
                  <a:lnTo>
                    <a:pt x="1465703" y="1487417"/>
                  </a:lnTo>
                  <a:lnTo>
                    <a:pt x="1429451" y="1519548"/>
                  </a:lnTo>
                  <a:lnTo>
                    <a:pt x="1391258" y="1549758"/>
                  </a:lnTo>
                  <a:lnTo>
                    <a:pt x="1351179" y="1577949"/>
                  </a:lnTo>
                  <a:lnTo>
                    <a:pt x="1309264" y="1604020"/>
                  </a:lnTo>
                  <a:lnTo>
                    <a:pt x="1265556" y="1627872"/>
                  </a:lnTo>
                  <a:lnTo>
                    <a:pt x="1220587" y="1649203"/>
                  </a:lnTo>
                  <a:lnTo>
                    <a:pt x="1174859" y="1667788"/>
                  </a:lnTo>
                  <a:lnTo>
                    <a:pt x="1128494" y="1683644"/>
                  </a:lnTo>
                  <a:lnTo>
                    <a:pt x="1081604" y="1696785"/>
                  </a:lnTo>
                  <a:lnTo>
                    <a:pt x="1034301" y="1707228"/>
                  </a:lnTo>
                  <a:lnTo>
                    <a:pt x="986696" y="1714988"/>
                  </a:lnTo>
                  <a:lnTo>
                    <a:pt x="938901" y="1720081"/>
                  </a:lnTo>
                  <a:lnTo>
                    <a:pt x="891027" y="1722524"/>
                  </a:lnTo>
                  <a:close/>
                </a:path>
              </a:pathLst>
            </a:custGeom>
            <a:solidFill>
              <a:srgbClr val="0090AE"/>
            </a:solidFill>
          </p:spPr>
          <p:txBody>
            <a:bodyPr wrap="square" lIns="0" tIns="0" rIns="0" bIns="0" rtlCol="0"/>
            <a:lstStyle/>
            <a:p>
              <a:endParaRPr/>
            </a:p>
          </p:txBody>
        </p:sp>
        <p:sp>
          <p:nvSpPr>
            <p:cNvPr id="7" name="object 7"/>
            <p:cNvSpPr/>
            <p:nvPr/>
          </p:nvSpPr>
          <p:spPr>
            <a:xfrm>
              <a:off x="6016153" y="5743069"/>
              <a:ext cx="1741170" cy="1741170"/>
            </a:xfrm>
            <a:custGeom>
              <a:avLst/>
              <a:gdLst/>
              <a:ahLst/>
              <a:cxnLst/>
              <a:rect l="l" t="t" r="r" b="b"/>
              <a:pathLst>
                <a:path w="1741170" h="1741170">
                  <a:moveTo>
                    <a:pt x="870450" y="1740898"/>
                  </a:moveTo>
                  <a:lnTo>
                    <a:pt x="822690" y="1739610"/>
                  </a:lnTo>
                  <a:lnTo>
                    <a:pt x="775604" y="1735790"/>
                  </a:lnTo>
                  <a:lnTo>
                    <a:pt x="729257" y="1729505"/>
                  </a:lnTo>
                  <a:lnTo>
                    <a:pt x="683717" y="1720821"/>
                  </a:lnTo>
                  <a:lnTo>
                    <a:pt x="639049" y="1709804"/>
                  </a:lnTo>
                  <a:lnTo>
                    <a:pt x="595319" y="1696522"/>
                  </a:lnTo>
                  <a:lnTo>
                    <a:pt x="552595" y="1681039"/>
                  </a:lnTo>
                  <a:lnTo>
                    <a:pt x="510942" y="1663423"/>
                  </a:lnTo>
                  <a:lnTo>
                    <a:pt x="470427" y="1643740"/>
                  </a:lnTo>
                  <a:lnTo>
                    <a:pt x="431116" y="1622056"/>
                  </a:lnTo>
                  <a:lnTo>
                    <a:pt x="393076" y="1598438"/>
                  </a:lnTo>
                  <a:lnTo>
                    <a:pt x="356372" y="1572952"/>
                  </a:lnTo>
                  <a:lnTo>
                    <a:pt x="321072" y="1545664"/>
                  </a:lnTo>
                  <a:lnTo>
                    <a:pt x="287242" y="1516641"/>
                  </a:lnTo>
                  <a:lnTo>
                    <a:pt x="254948" y="1485949"/>
                  </a:lnTo>
                  <a:lnTo>
                    <a:pt x="224256" y="1453655"/>
                  </a:lnTo>
                  <a:lnTo>
                    <a:pt x="195233" y="1419825"/>
                  </a:lnTo>
                  <a:lnTo>
                    <a:pt x="167945" y="1384525"/>
                  </a:lnTo>
                  <a:lnTo>
                    <a:pt x="142459" y="1347822"/>
                  </a:lnTo>
                  <a:lnTo>
                    <a:pt x="118841" y="1309781"/>
                  </a:lnTo>
                  <a:lnTo>
                    <a:pt x="97157" y="1270470"/>
                  </a:lnTo>
                  <a:lnTo>
                    <a:pt x="77474" y="1229955"/>
                  </a:lnTo>
                  <a:lnTo>
                    <a:pt x="59858" y="1188303"/>
                  </a:lnTo>
                  <a:lnTo>
                    <a:pt x="44375" y="1145578"/>
                  </a:lnTo>
                  <a:lnTo>
                    <a:pt x="31093" y="1101849"/>
                  </a:lnTo>
                  <a:lnTo>
                    <a:pt x="20076" y="1057181"/>
                  </a:lnTo>
                  <a:lnTo>
                    <a:pt x="11392" y="1011640"/>
                  </a:lnTo>
                  <a:lnTo>
                    <a:pt x="5115" y="965294"/>
                  </a:lnTo>
                  <a:lnTo>
                    <a:pt x="1287" y="918208"/>
                  </a:lnTo>
                  <a:lnTo>
                    <a:pt x="0" y="870442"/>
                  </a:lnTo>
                  <a:lnTo>
                    <a:pt x="1287" y="822690"/>
                  </a:lnTo>
                  <a:lnTo>
                    <a:pt x="5128" y="775449"/>
                  </a:lnTo>
                  <a:lnTo>
                    <a:pt x="11392" y="729258"/>
                  </a:lnTo>
                  <a:lnTo>
                    <a:pt x="20076" y="683717"/>
                  </a:lnTo>
                  <a:lnTo>
                    <a:pt x="31093" y="639049"/>
                  </a:lnTo>
                  <a:lnTo>
                    <a:pt x="44375" y="595320"/>
                  </a:lnTo>
                  <a:lnTo>
                    <a:pt x="59858" y="552595"/>
                  </a:lnTo>
                  <a:lnTo>
                    <a:pt x="77474" y="510942"/>
                  </a:lnTo>
                  <a:lnTo>
                    <a:pt x="97157" y="470427"/>
                  </a:lnTo>
                  <a:lnTo>
                    <a:pt x="118841" y="431117"/>
                  </a:lnTo>
                  <a:lnTo>
                    <a:pt x="142459" y="393076"/>
                  </a:lnTo>
                  <a:lnTo>
                    <a:pt x="167945" y="356373"/>
                  </a:lnTo>
                  <a:lnTo>
                    <a:pt x="195233" y="321073"/>
                  </a:lnTo>
                  <a:lnTo>
                    <a:pt x="224256" y="287243"/>
                  </a:lnTo>
                  <a:lnTo>
                    <a:pt x="254948" y="254948"/>
                  </a:lnTo>
                  <a:lnTo>
                    <a:pt x="287242" y="224256"/>
                  </a:lnTo>
                  <a:lnTo>
                    <a:pt x="321072" y="195234"/>
                  </a:lnTo>
                  <a:lnTo>
                    <a:pt x="356372" y="167946"/>
                  </a:lnTo>
                  <a:lnTo>
                    <a:pt x="393076" y="142460"/>
                  </a:lnTo>
                  <a:lnTo>
                    <a:pt x="431116" y="118841"/>
                  </a:lnTo>
                  <a:lnTo>
                    <a:pt x="470427" y="97158"/>
                  </a:lnTo>
                  <a:lnTo>
                    <a:pt x="510942" y="77474"/>
                  </a:lnTo>
                  <a:lnTo>
                    <a:pt x="552595" y="59858"/>
                  </a:lnTo>
                  <a:lnTo>
                    <a:pt x="595319" y="44376"/>
                  </a:lnTo>
                  <a:lnTo>
                    <a:pt x="639049" y="31093"/>
                  </a:lnTo>
                  <a:lnTo>
                    <a:pt x="683717" y="20076"/>
                  </a:lnTo>
                  <a:lnTo>
                    <a:pt x="729257" y="11392"/>
                  </a:lnTo>
                  <a:lnTo>
                    <a:pt x="775604" y="5107"/>
                  </a:lnTo>
                  <a:lnTo>
                    <a:pt x="822690" y="1287"/>
                  </a:lnTo>
                  <a:lnTo>
                    <a:pt x="870449" y="0"/>
                  </a:lnTo>
                  <a:lnTo>
                    <a:pt x="870449" y="313361"/>
                  </a:lnTo>
                  <a:lnTo>
                    <a:pt x="822381" y="315406"/>
                  </a:lnTo>
                  <a:lnTo>
                    <a:pt x="775449" y="321429"/>
                  </a:lnTo>
                  <a:lnTo>
                    <a:pt x="729819" y="331263"/>
                  </a:lnTo>
                  <a:lnTo>
                    <a:pt x="685660" y="344741"/>
                  </a:lnTo>
                  <a:lnTo>
                    <a:pt x="643137" y="361695"/>
                  </a:lnTo>
                  <a:lnTo>
                    <a:pt x="602419" y="381959"/>
                  </a:lnTo>
                  <a:lnTo>
                    <a:pt x="563672" y="405365"/>
                  </a:lnTo>
                  <a:lnTo>
                    <a:pt x="527064" y="431746"/>
                  </a:lnTo>
                  <a:lnTo>
                    <a:pt x="492762" y="460934"/>
                  </a:lnTo>
                  <a:lnTo>
                    <a:pt x="460934" y="492763"/>
                  </a:lnTo>
                  <a:lnTo>
                    <a:pt x="431745" y="527065"/>
                  </a:lnTo>
                  <a:lnTo>
                    <a:pt x="405365" y="563672"/>
                  </a:lnTo>
                  <a:lnTo>
                    <a:pt x="381959" y="602419"/>
                  </a:lnTo>
                  <a:lnTo>
                    <a:pt x="361695" y="643137"/>
                  </a:lnTo>
                  <a:lnTo>
                    <a:pt x="344741" y="685660"/>
                  </a:lnTo>
                  <a:lnTo>
                    <a:pt x="331263" y="729820"/>
                  </a:lnTo>
                  <a:lnTo>
                    <a:pt x="321429" y="775449"/>
                  </a:lnTo>
                  <a:lnTo>
                    <a:pt x="315406" y="822381"/>
                  </a:lnTo>
                  <a:lnTo>
                    <a:pt x="313361" y="870450"/>
                  </a:lnTo>
                  <a:lnTo>
                    <a:pt x="315406" y="918517"/>
                  </a:lnTo>
                  <a:lnTo>
                    <a:pt x="321429" y="965449"/>
                  </a:lnTo>
                  <a:lnTo>
                    <a:pt x="331263" y="1011078"/>
                  </a:lnTo>
                  <a:lnTo>
                    <a:pt x="344741" y="1055238"/>
                  </a:lnTo>
                  <a:lnTo>
                    <a:pt x="361695" y="1097761"/>
                  </a:lnTo>
                  <a:lnTo>
                    <a:pt x="381959" y="1138479"/>
                  </a:lnTo>
                  <a:lnTo>
                    <a:pt x="405365" y="1177226"/>
                  </a:lnTo>
                  <a:lnTo>
                    <a:pt x="431745" y="1213833"/>
                  </a:lnTo>
                  <a:lnTo>
                    <a:pt x="460934" y="1248135"/>
                  </a:lnTo>
                  <a:lnTo>
                    <a:pt x="492762" y="1279964"/>
                  </a:lnTo>
                  <a:lnTo>
                    <a:pt x="527064" y="1309152"/>
                  </a:lnTo>
                  <a:lnTo>
                    <a:pt x="563672" y="1335533"/>
                  </a:lnTo>
                  <a:lnTo>
                    <a:pt x="602419" y="1358939"/>
                  </a:lnTo>
                  <a:lnTo>
                    <a:pt x="643137" y="1379202"/>
                  </a:lnTo>
                  <a:lnTo>
                    <a:pt x="685660" y="1396157"/>
                  </a:lnTo>
                  <a:lnTo>
                    <a:pt x="729819" y="1409635"/>
                  </a:lnTo>
                  <a:lnTo>
                    <a:pt x="775449" y="1419469"/>
                  </a:lnTo>
                  <a:lnTo>
                    <a:pt x="822381" y="1425492"/>
                  </a:lnTo>
                  <a:lnTo>
                    <a:pt x="870449" y="1427537"/>
                  </a:lnTo>
                  <a:lnTo>
                    <a:pt x="1539048" y="1427537"/>
                  </a:lnTo>
                  <a:lnTo>
                    <a:pt x="1516641" y="1453655"/>
                  </a:lnTo>
                  <a:lnTo>
                    <a:pt x="1485949" y="1485949"/>
                  </a:lnTo>
                  <a:lnTo>
                    <a:pt x="1453655" y="1516641"/>
                  </a:lnTo>
                  <a:lnTo>
                    <a:pt x="1419825" y="1545664"/>
                  </a:lnTo>
                  <a:lnTo>
                    <a:pt x="1384525" y="1572952"/>
                  </a:lnTo>
                  <a:lnTo>
                    <a:pt x="1347821" y="1598438"/>
                  </a:lnTo>
                  <a:lnTo>
                    <a:pt x="1309781" y="1622056"/>
                  </a:lnTo>
                  <a:lnTo>
                    <a:pt x="1270470" y="1643740"/>
                  </a:lnTo>
                  <a:lnTo>
                    <a:pt x="1229955" y="1663423"/>
                  </a:lnTo>
                  <a:lnTo>
                    <a:pt x="1188302" y="1681039"/>
                  </a:lnTo>
                  <a:lnTo>
                    <a:pt x="1145578" y="1696522"/>
                  </a:lnTo>
                  <a:lnTo>
                    <a:pt x="1101849" y="1709804"/>
                  </a:lnTo>
                  <a:lnTo>
                    <a:pt x="1057181" y="1720821"/>
                  </a:lnTo>
                  <a:lnTo>
                    <a:pt x="1011640" y="1729505"/>
                  </a:lnTo>
                  <a:lnTo>
                    <a:pt x="965294" y="1735790"/>
                  </a:lnTo>
                  <a:lnTo>
                    <a:pt x="918208" y="1739610"/>
                  </a:lnTo>
                  <a:lnTo>
                    <a:pt x="870450" y="1740898"/>
                  </a:lnTo>
                  <a:close/>
                </a:path>
                <a:path w="1741170" h="1741170">
                  <a:moveTo>
                    <a:pt x="1539048" y="1427537"/>
                  </a:moveTo>
                  <a:lnTo>
                    <a:pt x="870449" y="1427537"/>
                  </a:lnTo>
                  <a:lnTo>
                    <a:pt x="918516" y="1425492"/>
                  </a:lnTo>
                  <a:lnTo>
                    <a:pt x="965449" y="1419469"/>
                  </a:lnTo>
                  <a:lnTo>
                    <a:pt x="1011078" y="1409635"/>
                  </a:lnTo>
                  <a:lnTo>
                    <a:pt x="1055238" y="1396157"/>
                  </a:lnTo>
                  <a:lnTo>
                    <a:pt x="1097760" y="1379202"/>
                  </a:lnTo>
                  <a:lnTo>
                    <a:pt x="1138479" y="1358939"/>
                  </a:lnTo>
                  <a:lnTo>
                    <a:pt x="1177225" y="1335533"/>
                  </a:lnTo>
                  <a:lnTo>
                    <a:pt x="1213833" y="1309152"/>
                  </a:lnTo>
                  <a:lnTo>
                    <a:pt x="1248135" y="1279964"/>
                  </a:lnTo>
                  <a:lnTo>
                    <a:pt x="1279964" y="1248135"/>
                  </a:lnTo>
                  <a:lnTo>
                    <a:pt x="1309152" y="1213833"/>
                  </a:lnTo>
                  <a:lnTo>
                    <a:pt x="1335533" y="1177226"/>
                  </a:lnTo>
                  <a:lnTo>
                    <a:pt x="1358939" y="1138479"/>
                  </a:lnTo>
                  <a:lnTo>
                    <a:pt x="1379202" y="1097761"/>
                  </a:lnTo>
                  <a:lnTo>
                    <a:pt x="1396157" y="1055238"/>
                  </a:lnTo>
                  <a:lnTo>
                    <a:pt x="1409634" y="1011078"/>
                  </a:lnTo>
                  <a:lnTo>
                    <a:pt x="1419468" y="965449"/>
                  </a:lnTo>
                  <a:lnTo>
                    <a:pt x="1425491" y="918517"/>
                  </a:lnTo>
                  <a:lnTo>
                    <a:pt x="1427536" y="870442"/>
                  </a:lnTo>
                  <a:lnTo>
                    <a:pt x="1425491" y="822381"/>
                  </a:lnTo>
                  <a:lnTo>
                    <a:pt x="1419468" y="775449"/>
                  </a:lnTo>
                  <a:lnTo>
                    <a:pt x="1409634" y="729820"/>
                  </a:lnTo>
                  <a:lnTo>
                    <a:pt x="1396157" y="685660"/>
                  </a:lnTo>
                  <a:lnTo>
                    <a:pt x="1379202" y="643137"/>
                  </a:lnTo>
                  <a:lnTo>
                    <a:pt x="1358939" y="602419"/>
                  </a:lnTo>
                  <a:lnTo>
                    <a:pt x="1335533" y="563672"/>
                  </a:lnTo>
                  <a:lnTo>
                    <a:pt x="1309152" y="527065"/>
                  </a:lnTo>
                  <a:lnTo>
                    <a:pt x="1279964" y="492763"/>
                  </a:lnTo>
                  <a:lnTo>
                    <a:pt x="1248135" y="460934"/>
                  </a:lnTo>
                  <a:lnTo>
                    <a:pt x="1213833" y="431746"/>
                  </a:lnTo>
                  <a:lnTo>
                    <a:pt x="1177225" y="405365"/>
                  </a:lnTo>
                  <a:lnTo>
                    <a:pt x="1138479" y="381959"/>
                  </a:lnTo>
                  <a:lnTo>
                    <a:pt x="1097760" y="361695"/>
                  </a:lnTo>
                  <a:lnTo>
                    <a:pt x="1055238" y="344741"/>
                  </a:lnTo>
                  <a:lnTo>
                    <a:pt x="1011078" y="331263"/>
                  </a:lnTo>
                  <a:lnTo>
                    <a:pt x="965449" y="321429"/>
                  </a:lnTo>
                  <a:lnTo>
                    <a:pt x="918516" y="315406"/>
                  </a:lnTo>
                  <a:lnTo>
                    <a:pt x="870449" y="313361"/>
                  </a:lnTo>
                  <a:lnTo>
                    <a:pt x="870449" y="0"/>
                  </a:lnTo>
                  <a:lnTo>
                    <a:pt x="918208" y="1287"/>
                  </a:lnTo>
                  <a:lnTo>
                    <a:pt x="965294" y="5107"/>
                  </a:lnTo>
                  <a:lnTo>
                    <a:pt x="1011640" y="11392"/>
                  </a:lnTo>
                  <a:lnTo>
                    <a:pt x="1057181" y="20076"/>
                  </a:lnTo>
                  <a:lnTo>
                    <a:pt x="1101849" y="31093"/>
                  </a:lnTo>
                  <a:lnTo>
                    <a:pt x="1145578" y="44376"/>
                  </a:lnTo>
                  <a:lnTo>
                    <a:pt x="1188302" y="59858"/>
                  </a:lnTo>
                  <a:lnTo>
                    <a:pt x="1229955" y="77474"/>
                  </a:lnTo>
                  <a:lnTo>
                    <a:pt x="1270470" y="97158"/>
                  </a:lnTo>
                  <a:lnTo>
                    <a:pt x="1309781" y="118841"/>
                  </a:lnTo>
                  <a:lnTo>
                    <a:pt x="1347821" y="142460"/>
                  </a:lnTo>
                  <a:lnTo>
                    <a:pt x="1384525" y="167946"/>
                  </a:lnTo>
                  <a:lnTo>
                    <a:pt x="1419825" y="195234"/>
                  </a:lnTo>
                  <a:lnTo>
                    <a:pt x="1453655" y="224256"/>
                  </a:lnTo>
                  <a:lnTo>
                    <a:pt x="1485949" y="254948"/>
                  </a:lnTo>
                  <a:lnTo>
                    <a:pt x="1516641" y="287243"/>
                  </a:lnTo>
                  <a:lnTo>
                    <a:pt x="1545664" y="321073"/>
                  </a:lnTo>
                  <a:lnTo>
                    <a:pt x="1572952" y="356373"/>
                  </a:lnTo>
                  <a:lnTo>
                    <a:pt x="1598438" y="393076"/>
                  </a:lnTo>
                  <a:lnTo>
                    <a:pt x="1622056" y="431117"/>
                  </a:lnTo>
                  <a:lnTo>
                    <a:pt x="1643740" y="470427"/>
                  </a:lnTo>
                  <a:lnTo>
                    <a:pt x="1663423" y="510942"/>
                  </a:lnTo>
                  <a:lnTo>
                    <a:pt x="1681039" y="552595"/>
                  </a:lnTo>
                  <a:lnTo>
                    <a:pt x="1696522" y="595320"/>
                  </a:lnTo>
                  <a:lnTo>
                    <a:pt x="1709805" y="639049"/>
                  </a:lnTo>
                  <a:lnTo>
                    <a:pt x="1720821" y="683717"/>
                  </a:lnTo>
                  <a:lnTo>
                    <a:pt x="1729505" y="729258"/>
                  </a:lnTo>
                  <a:lnTo>
                    <a:pt x="1735782" y="775604"/>
                  </a:lnTo>
                  <a:lnTo>
                    <a:pt x="1739610" y="822690"/>
                  </a:lnTo>
                  <a:lnTo>
                    <a:pt x="1740898" y="870450"/>
                  </a:lnTo>
                  <a:lnTo>
                    <a:pt x="1739610" y="918208"/>
                  </a:lnTo>
                  <a:lnTo>
                    <a:pt x="1735769" y="965449"/>
                  </a:lnTo>
                  <a:lnTo>
                    <a:pt x="1729505" y="1011640"/>
                  </a:lnTo>
                  <a:lnTo>
                    <a:pt x="1720821" y="1057181"/>
                  </a:lnTo>
                  <a:lnTo>
                    <a:pt x="1709805" y="1101849"/>
                  </a:lnTo>
                  <a:lnTo>
                    <a:pt x="1696522" y="1145578"/>
                  </a:lnTo>
                  <a:lnTo>
                    <a:pt x="1681039" y="1188303"/>
                  </a:lnTo>
                  <a:lnTo>
                    <a:pt x="1663423" y="1229955"/>
                  </a:lnTo>
                  <a:lnTo>
                    <a:pt x="1643740" y="1270470"/>
                  </a:lnTo>
                  <a:lnTo>
                    <a:pt x="1622056" y="1309781"/>
                  </a:lnTo>
                  <a:lnTo>
                    <a:pt x="1598438" y="1347822"/>
                  </a:lnTo>
                  <a:lnTo>
                    <a:pt x="1572952" y="1384525"/>
                  </a:lnTo>
                  <a:lnTo>
                    <a:pt x="1545664" y="1419825"/>
                  </a:lnTo>
                  <a:lnTo>
                    <a:pt x="1539048" y="1427537"/>
                  </a:lnTo>
                  <a:close/>
                </a:path>
              </a:pathLst>
            </a:custGeom>
            <a:solidFill>
              <a:srgbClr val="A6A6A6"/>
            </a:solidFill>
          </p:spPr>
          <p:txBody>
            <a:bodyPr wrap="square" lIns="0" tIns="0" rIns="0" bIns="0" rtlCol="0"/>
            <a:lstStyle/>
            <a:p>
              <a:endParaRPr/>
            </a:p>
          </p:txBody>
        </p:sp>
        <p:sp>
          <p:nvSpPr>
            <p:cNvPr id="8" name="object 8"/>
            <p:cNvSpPr/>
            <p:nvPr/>
          </p:nvSpPr>
          <p:spPr>
            <a:xfrm>
              <a:off x="6887345" y="5761222"/>
              <a:ext cx="869950" cy="1593215"/>
            </a:xfrm>
            <a:custGeom>
              <a:avLst/>
              <a:gdLst/>
              <a:ahLst/>
              <a:cxnLst/>
              <a:rect l="l" t="t" r="r" b="b"/>
              <a:pathLst>
                <a:path w="869950" h="1593215">
                  <a:moveTo>
                    <a:pt x="422317" y="1593063"/>
                  </a:moveTo>
                  <a:lnTo>
                    <a:pt x="381788" y="1591342"/>
                  </a:lnTo>
                  <a:lnTo>
                    <a:pt x="342446" y="1578980"/>
                  </a:lnTo>
                  <a:lnTo>
                    <a:pt x="307687" y="1556788"/>
                  </a:lnTo>
                  <a:lnTo>
                    <a:pt x="280316" y="1526848"/>
                  </a:lnTo>
                  <a:lnTo>
                    <a:pt x="261542" y="1490888"/>
                  </a:lnTo>
                  <a:lnTo>
                    <a:pt x="252576" y="1450636"/>
                  </a:lnTo>
                  <a:lnTo>
                    <a:pt x="254416" y="1409437"/>
                  </a:lnTo>
                  <a:lnTo>
                    <a:pt x="266659" y="1370763"/>
                  </a:lnTo>
                  <a:lnTo>
                    <a:pt x="288415" y="1336525"/>
                  </a:lnTo>
                  <a:lnTo>
                    <a:pt x="318792" y="1308633"/>
                  </a:lnTo>
                  <a:lnTo>
                    <a:pt x="358845" y="1277800"/>
                  </a:lnTo>
                  <a:lnTo>
                    <a:pt x="395533" y="1243876"/>
                  </a:lnTo>
                  <a:lnTo>
                    <a:pt x="428748" y="1207134"/>
                  </a:lnTo>
                  <a:lnTo>
                    <a:pt x="458381" y="1167844"/>
                  </a:lnTo>
                  <a:lnTo>
                    <a:pt x="484321" y="1126280"/>
                  </a:lnTo>
                  <a:lnTo>
                    <a:pt x="506460" y="1082712"/>
                  </a:lnTo>
                  <a:lnTo>
                    <a:pt x="524689" y="1037413"/>
                  </a:lnTo>
                  <a:lnTo>
                    <a:pt x="538897" y="990654"/>
                  </a:lnTo>
                  <a:lnTo>
                    <a:pt x="548976" y="942707"/>
                  </a:lnTo>
                  <a:lnTo>
                    <a:pt x="554816" y="893843"/>
                  </a:lnTo>
                  <a:lnTo>
                    <a:pt x="556308" y="844335"/>
                  </a:lnTo>
                  <a:lnTo>
                    <a:pt x="553342" y="794454"/>
                  </a:lnTo>
                  <a:lnTo>
                    <a:pt x="545810" y="744472"/>
                  </a:lnTo>
                  <a:lnTo>
                    <a:pt x="533796" y="695375"/>
                  </a:lnTo>
                  <a:lnTo>
                    <a:pt x="517596" y="648105"/>
                  </a:lnTo>
                  <a:lnTo>
                    <a:pt x="497414" y="602873"/>
                  </a:lnTo>
                  <a:lnTo>
                    <a:pt x="473454" y="559888"/>
                  </a:lnTo>
                  <a:lnTo>
                    <a:pt x="445921" y="519361"/>
                  </a:lnTo>
                  <a:lnTo>
                    <a:pt x="415019" y="481501"/>
                  </a:lnTo>
                  <a:lnTo>
                    <a:pt x="380952" y="446519"/>
                  </a:lnTo>
                  <a:lnTo>
                    <a:pt x="343926" y="414623"/>
                  </a:lnTo>
                  <a:lnTo>
                    <a:pt x="304143" y="386024"/>
                  </a:lnTo>
                  <a:lnTo>
                    <a:pt x="261810" y="360933"/>
                  </a:lnTo>
                  <a:lnTo>
                    <a:pt x="217129" y="339558"/>
                  </a:lnTo>
                  <a:lnTo>
                    <a:pt x="170306" y="322109"/>
                  </a:lnTo>
                  <a:lnTo>
                    <a:pt x="121544" y="308797"/>
                  </a:lnTo>
                  <a:lnTo>
                    <a:pt x="74982" y="290133"/>
                  </a:lnTo>
                  <a:lnTo>
                    <a:pt x="37903" y="258991"/>
                  </a:lnTo>
                  <a:lnTo>
                    <a:pt x="12258" y="218456"/>
                  </a:lnTo>
                  <a:lnTo>
                    <a:pt x="0" y="171612"/>
                  </a:lnTo>
                  <a:lnTo>
                    <a:pt x="3077" y="121544"/>
                  </a:lnTo>
                  <a:lnTo>
                    <a:pt x="21741" y="74982"/>
                  </a:lnTo>
                  <a:lnTo>
                    <a:pt x="52883" y="37903"/>
                  </a:lnTo>
                  <a:lnTo>
                    <a:pt x="93418" y="12258"/>
                  </a:lnTo>
                  <a:lnTo>
                    <a:pt x="140262" y="0"/>
                  </a:lnTo>
                  <a:lnTo>
                    <a:pt x="190331" y="3078"/>
                  </a:lnTo>
                  <a:lnTo>
                    <a:pt x="237836" y="15174"/>
                  </a:lnTo>
                  <a:lnTo>
                    <a:pt x="284227" y="29795"/>
                  </a:lnTo>
                  <a:lnTo>
                    <a:pt x="329429" y="46864"/>
                  </a:lnTo>
                  <a:lnTo>
                    <a:pt x="373364" y="66301"/>
                  </a:lnTo>
                  <a:lnTo>
                    <a:pt x="415959" y="88029"/>
                  </a:lnTo>
                  <a:lnTo>
                    <a:pt x="457137" y="111971"/>
                  </a:lnTo>
                  <a:lnTo>
                    <a:pt x="496821" y="138049"/>
                  </a:lnTo>
                  <a:lnTo>
                    <a:pt x="534938" y="166184"/>
                  </a:lnTo>
                  <a:lnTo>
                    <a:pt x="571410" y="196300"/>
                  </a:lnTo>
                  <a:lnTo>
                    <a:pt x="606162" y="228318"/>
                  </a:lnTo>
                  <a:lnTo>
                    <a:pt x="639118" y="262161"/>
                  </a:lnTo>
                  <a:lnTo>
                    <a:pt x="670203" y="297750"/>
                  </a:lnTo>
                  <a:lnTo>
                    <a:pt x="699340" y="335008"/>
                  </a:lnTo>
                  <a:lnTo>
                    <a:pt x="726454" y="373858"/>
                  </a:lnTo>
                  <a:lnTo>
                    <a:pt x="751470" y="414221"/>
                  </a:lnTo>
                  <a:lnTo>
                    <a:pt x="774311" y="456019"/>
                  </a:lnTo>
                  <a:lnTo>
                    <a:pt x="794901" y="499175"/>
                  </a:lnTo>
                  <a:lnTo>
                    <a:pt x="813166" y="543611"/>
                  </a:lnTo>
                  <a:lnTo>
                    <a:pt x="829029" y="589250"/>
                  </a:lnTo>
                  <a:lnTo>
                    <a:pt x="842414" y="636012"/>
                  </a:lnTo>
                  <a:lnTo>
                    <a:pt x="853246" y="683822"/>
                  </a:lnTo>
                  <a:lnTo>
                    <a:pt x="861382" y="732163"/>
                  </a:lnTo>
                  <a:lnTo>
                    <a:pt x="866760" y="780505"/>
                  </a:lnTo>
                  <a:lnTo>
                    <a:pt x="869418" y="828749"/>
                  </a:lnTo>
                  <a:lnTo>
                    <a:pt x="869398" y="876792"/>
                  </a:lnTo>
                  <a:lnTo>
                    <a:pt x="866739" y="924535"/>
                  </a:lnTo>
                  <a:lnTo>
                    <a:pt x="861484" y="971876"/>
                  </a:lnTo>
                  <a:lnTo>
                    <a:pt x="853671" y="1018715"/>
                  </a:lnTo>
                  <a:lnTo>
                    <a:pt x="843343" y="1064951"/>
                  </a:lnTo>
                  <a:lnTo>
                    <a:pt x="830538" y="1110484"/>
                  </a:lnTo>
                  <a:lnTo>
                    <a:pt x="815299" y="1155212"/>
                  </a:lnTo>
                  <a:lnTo>
                    <a:pt x="797664" y="1199035"/>
                  </a:lnTo>
                  <a:lnTo>
                    <a:pt x="777676" y="1241852"/>
                  </a:lnTo>
                  <a:lnTo>
                    <a:pt x="755374" y="1283563"/>
                  </a:lnTo>
                  <a:lnTo>
                    <a:pt x="730798" y="1324066"/>
                  </a:lnTo>
                  <a:lnTo>
                    <a:pt x="703991" y="1363261"/>
                  </a:lnTo>
                  <a:lnTo>
                    <a:pt x="674991" y="1401048"/>
                  </a:lnTo>
                  <a:lnTo>
                    <a:pt x="643840" y="1437325"/>
                  </a:lnTo>
                  <a:lnTo>
                    <a:pt x="610577" y="1471992"/>
                  </a:lnTo>
                  <a:lnTo>
                    <a:pt x="575245" y="1504947"/>
                  </a:lnTo>
                  <a:lnTo>
                    <a:pt x="537882" y="1536092"/>
                  </a:lnTo>
                  <a:lnTo>
                    <a:pt x="498530" y="1565323"/>
                  </a:lnTo>
                  <a:lnTo>
                    <a:pt x="461932" y="1584329"/>
                  </a:lnTo>
                  <a:lnTo>
                    <a:pt x="422317" y="1593063"/>
                  </a:lnTo>
                  <a:close/>
                </a:path>
              </a:pathLst>
            </a:custGeom>
            <a:solidFill>
              <a:srgbClr val="E3112B"/>
            </a:solidFill>
          </p:spPr>
          <p:txBody>
            <a:bodyPr wrap="square" lIns="0" tIns="0" rIns="0" bIns="0" rtlCol="0"/>
            <a:lstStyle/>
            <a:p>
              <a:endParaRPr/>
            </a:p>
          </p:txBody>
        </p:sp>
        <p:sp>
          <p:nvSpPr>
            <p:cNvPr id="9" name="object 9"/>
            <p:cNvSpPr/>
            <p:nvPr/>
          </p:nvSpPr>
          <p:spPr>
            <a:xfrm>
              <a:off x="6026043" y="7759912"/>
              <a:ext cx="1741170" cy="1741170"/>
            </a:xfrm>
            <a:custGeom>
              <a:avLst/>
              <a:gdLst/>
              <a:ahLst/>
              <a:cxnLst/>
              <a:rect l="l" t="t" r="r" b="b"/>
              <a:pathLst>
                <a:path w="1741170" h="1741170">
                  <a:moveTo>
                    <a:pt x="870449" y="1740898"/>
                  </a:moveTo>
                  <a:lnTo>
                    <a:pt x="822689" y="1739610"/>
                  </a:lnTo>
                  <a:lnTo>
                    <a:pt x="775603" y="1735790"/>
                  </a:lnTo>
                  <a:lnTo>
                    <a:pt x="729257" y="1729505"/>
                  </a:lnTo>
                  <a:lnTo>
                    <a:pt x="683716" y="1720821"/>
                  </a:lnTo>
                  <a:lnTo>
                    <a:pt x="639048" y="1709804"/>
                  </a:lnTo>
                  <a:lnTo>
                    <a:pt x="595319" y="1696522"/>
                  </a:lnTo>
                  <a:lnTo>
                    <a:pt x="552594" y="1681039"/>
                  </a:lnTo>
                  <a:lnTo>
                    <a:pt x="510942" y="1663423"/>
                  </a:lnTo>
                  <a:lnTo>
                    <a:pt x="470426" y="1643740"/>
                  </a:lnTo>
                  <a:lnTo>
                    <a:pt x="431116" y="1622056"/>
                  </a:lnTo>
                  <a:lnTo>
                    <a:pt x="393075" y="1598438"/>
                  </a:lnTo>
                  <a:lnTo>
                    <a:pt x="356372" y="1572952"/>
                  </a:lnTo>
                  <a:lnTo>
                    <a:pt x="321072" y="1545664"/>
                  </a:lnTo>
                  <a:lnTo>
                    <a:pt x="287242" y="1516641"/>
                  </a:lnTo>
                  <a:lnTo>
                    <a:pt x="254947" y="1485949"/>
                  </a:lnTo>
                  <a:lnTo>
                    <a:pt x="224256" y="1453655"/>
                  </a:lnTo>
                  <a:lnTo>
                    <a:pt x="195233" y="1419825"/>
                  </a:lnTo>
                  <a:lnTo>
                    <a:pt x="167945" y="1384525"/>
                  </a:lnTo>
                  <a:lnTo>
                    <a:pt x="142459" y="1347821"/>
                  </a:lnTo>
                  <a:lnTo>
                    <a:pt x="118841" y="1309781"/>
                  </a:lnTo>
                  <a:lnTo>
                    <a:pt x="97157" y="1270470"/>
                  </a:lnTo>
                  <a:lnTo>
                    <a:pt x="77474" y="1229955"/>
                  </a:lnTo>
                  <a:lnTo>
                    <a:pt x="59857" y="1188302"/>
                  </a:lnTo>
                  <a:lnTo>
                    <a:pt x="44375" y="1145578"/>
                  </a:lnTo>
                  <a:lnTo>
                    <a:pt x="31092" y="1101849"/>
                  </a:lnTo>
                  <a:lnTo>
                    <a:pt x="20075" y="1057180"/>
                  </a:lnTo>
                  <a:lnTo>
                    <a:pt x="11391" y="1011640"/>
                  </a:lnTo>
                  <a:lnTo>
                    <a:pt x="5115" y="965294"/>
                  </a:lnTo>
                  <a:lnTo>
                    <a:pt x="1287" y="918208"/>
                  </a:lnTo>
                  <a:lnTo>
                    <a:pt x="0" y="870438"/>
                  </a:lnTo>
                  <a:lnTo>
                    <a:pt x="1287" y="822690"/>
                  </a:lnTo>
                  <a:lnTo>
                    <a:pt x="5127" y="775449"/>
                  </a:lnTo>
                  <a:lnTo>
                    <a:pt x="11391" y="729257"/>
                  </a:lnTo>
                  <a:lnTo>
                    <a:pt x="20075" y="683717"/>
                  </a:lnTo>
                  <a:lnTo>
                    <a:pt x="31092" y="639049"/>
                  </a:lnTo>
                  <a:lnTo>
                    <a:pt x="44375" y="595319"/>
                  </a:lnTo>
                  <a:lnTo>
                    <a:pt x="59857" y="552595"/>
                  </a:lnTo>
                  <a:lnTo>
                    <a:pt x="77474" y="510942"/>
                  </a:lnTo>
                  <a:lnTo>
                    <a:pt x="97157" y="470427"/>
                  </a:lnTo>
                  <a:lnTo>
                    <a:pt x="118841" y="431116"/>
                  </a:lnTo>
                  <a:lnTo>
                    <a:pt x="142459" y="393076"/>
                  </a:lnTo>
                  <a:lnTo>
                    <a:pt x="167945" y="356373"/>
                  </a:lnTo>
                  <a:lnTo>
                    <a:pt x="195233" y="321073"/>
                  </a:lnTo>
                  <a:lnTo>
                    <a:pt x="224256" y="287242"/>
                  </a:lnTo>
                  <a:lnTo>
                    <a:pt x="254947" y="254948"/>
                  </a:lnTo>
                  <a:lnTo>
                    <a:pt x="287242" y="224256"/>
                  </a:lnTo>
                  <a:lnTo>
                    <a:pt x="321072" y="195233"/>
                  </a:lnTo>
                  <a:lnTo>
                    <a:pt x="356372" y="167946"/>
                  </a:lnTo>
                  <a:lnTo>
                    <a:pt x="393075" y="142459"/>
                  </a:lnTo>
                  <a:lnTo>
                    <a:pt x="431116" y="118841"/>
                  </a:lnTo>
                  <a:lnTo>
                    <a:pt x="470426" y="97157"/>
                  </a:lnTo>
                  <a:lnTo>
                    <a:pt x="510942" y="77474"/>
                  </a:lnTo>
                  <a:lnTo>
                    <a:pt x="552594" y="59858"/>
                  </a:lnTo>
                  <a:lnTo>
                    <a:pt x="595319" y="44376"/>
                  </a:lnTo>
                  <a:lnTo>
                    <a:pt x="639048" y="31093"/>
                  </a:lnTo>
                  <a:lnTo>
                    <a:pt x="683716" y="20076"/>
                  </a:lnTo>
                  <a:lnTo>
                    <a:pt x="729257" y="11392"/>
                  </a:lnTo>
                  <a:lnTo>
                    <a:pt x="775603" y="5107"/>
                  </a:lnTo>
                  <a:lnTo>
                    <a:pt x="822689" y="1287"/>
                  </a:lnTo>
                  <a:lnTo>
                    <a:pt x="870448" y="0"/>
                  </a:lnTo>
                  <a:lnTo>
                    <a:pt x="870448" y="313362"/>
                  </a:lnTo>
                  <a:lnTo>
                    <a:pt x="822381" y="315406"/>
                  </a:lnTo>
                  <a:lnTo>
                    <a:pt x="775448" y="321429"/>
                  </a:lnTo>
                  <a:lnTo>
                    <a:pt x="729819" y="331264"/>
                  </a:lnTo>
                  <a:lnTo>
                    <a:pt x="685659" y="344741"/>
                  </a:lnTo>
                  <a:lnTo>
                    <a:pt x="643137" y="361696"/>
                  </a:lnTo>
                  <a:lnTo>
                    <a:pt x="602418" y="381959"/>
                  </a:lnTo>
                  <a:lnTo>
                    <a:pt x="563672" y="405365"/>
                  </a:lnTo>
                  <a:lnTo>
                    <a:pt x="527064" y="431746"/>
                  </a:lnTo>
                  <a:lnTo>
                    <a:pt x="492762" y="460934"/>
                  </a:lnTo>
                  <a:lnTo>
                    <a:pt x="460933" y="492763"/>
                  </a:lnTo>
                  <a:lnTo>
                    <a:pt x="431745" y="527064"/>
                  </a:lnTo>
                  <a:lnTo>
                    <a:pt x="405364" y="563672"/>
                  </a:lnTo>
                  <a:lnTo>
                    <a:pt x="381959" y="602419"/>
                  </a:lnTo>
                  <a:lnTo>
                    <a:pt x="361695" y="643137"/>
                  </a:lnTo>
                  <a:lnTo>
                    <a:pt x="344741" y="685660"/>
                  </a:lnTo>
                  <a:lnTo>
                    <a:pt x="331263" y="729819"/>
                  </a:lnTo>
                  <a:lnTo>
                    <a:pt x="321429" y="775449"/>
                  </a:lnTo>
                  <a:lnTo>
                    <a:pt x="315406" y="822381"/>
                  </a:lnTo>
                  <a:lnTo>
                    <a:pt x="313361" y="870458"/>
                  </a:lnTo>
                  <a:lnTo>
                    <a:pt x="315406" y="918516"/>
                  </a:lnTo>
                  <a:lnTo>
                    <a:pt x="321429" y="965449"/>
                  </a:lnTo>
                  <a:lnTo>
                    <a:pt x="331263" y="1011078"/>
                  </a:lnTo>
                  <a:lnTo>
                    <a:pt x="344741" y="1055238"/>
                  </a:lnTo>
                  <a:lnTo>
                    <a:pt x="361695" y="1097760"/>
                  </a:lnTo>
                  <a:lnTo>
                    <a:pt x="381959" y="1138479"/>
                  </a:lnTo>
                  <a:lnTo>
                    <a:pt x="405364" y="1177225"/>
                  </a:lnTo>
                  <a:lnTo>
                    <a:pt x="431745" y="1213833"/>
                  </a:lnTo>
                  <a:lnTo>
                    <a:pt x="460933" y="1248135"/>
                  </a:lnTo>
                  <a:lnTo>
                    <a:pt x="492762" y="1279964"/>
                  </a:lnTo>
                  <a:lnTo>
                    <a:pt x="527064" y="1309152"/>
                  </a:lnTo>
                  <a:lnTo>
                    <a:pt x="563672" y="1335533"/>
                  </a:lnTo>
                  <a:lnTo>
                    <a:pt x="602418" y="1358939"/>
                  </a:lnTo>
                  <a:lnTo>
                    <a:pt x="643137" y="1379202"/>
                  </a:lnTo>
                  <a:lnTo>
                    <a:pt x="685659" y="1396157"/>
                  </a:lnTo>
                  <a:lnTo>
                    <a:pt x="729819" y="1409634"/>
                  </a:lnTo>
                  <a:lnTo>
                    <a:pt x="775448" y="1419468"/>
                  </a:lnTo>
                  <a:lnTo>
                    <a:pt x="822381" y="1425491"/>
                  </a:lnTo>
                  <a:lnTo>
                    <a:pt x="870448" y="1427536"/>
                  </a:lnTo>
                  <a:lnTo>
                    <a:pt x="1539048" y="1427536"/>
                  </a:lnTo>
                  <a:lnTo>
                    <a:pt x="1516641" y="1453655"/>
                  </a:lnTo>
                  <a:lnTo>
                    <a:pt x="1485949" y="1485949"/>
                  </a:lnTo>
                  <a:lnTo>
                    <a:pt x="1453655" y="1516641"/>
                  </a:lnTo>
                  <a:lnTo>
                    <a:pt x="1419824" y="1545664"/>
                  </a:lnTo>
                  <a:lnTo>
                    <a:pt x="1384524" y="1572952"/>
                  </a:lnTo>
                  <a:lnTo>
                    <a:pt x="1347821" y="1598438"/>
                  </a:lnTo>
                  <a:lnTo>
                    <a:pt x="1309781" y="1622056"/>
                  </a:lnTo>
                  <a:lnTo>
                    <a:pt x="1270470" y="1643740"/>
                  </a:lnTo>
                  <a:lnTo>
                    <a:pt x="1229955" y="1663423"/>
                  </a:lnTo>
                  <a:lnTo>
                    <a:pt x="1188302" y="1681039"/>
                  </a:lnTo>
                  <a:lnTo>
                    <a:pt x="1145578" y="1696522"/>
                  </a:lnTo>
                  <a:lnTo>
                    <a:pt x="1101848" y="1709804"/>
                  </a:lnTo>
                  <a:lnTo>
                    <a:pt x="1057180" y="1720821"/>
                  </a:lnTo>
                  <a:lnTo>
                    <a:pt x="1011640" y="1729505"/>
                  </a:lnTo>
                  <a:lnTo>
                    <a:pt x="965293" y="1735790"/>
                  </a:lnTo>
                  <a:lnTo>
                    <a:pt x="918207" y="1739610"/>
                  </a:lnTo>
                  <a:lnTo>
                    <a:pt x="870449" y="1740898"/>
                  </a:lnTo>
                  <a:close/>
                </a:path>
                <a:path w="1741170" h="1741170">
                  <a:moveTo>
                    <a:pt x="1539048" y="1427536"/>
                  </a:moveTo>
                  <a:lnTo>
                    <a:pt x="870448" y="1427536"/>
                  </a:lnTo>
                  <a:lnTo>
                    <a:pt x="918516" y="1425491"/>
                  </a:lnTo>
                  <a:lnTo>
                    <a:pt x="965448" y="1419468"/>
                  </a:lnTo>
                  <a:lnTo>
                    <a:pt x="1011078" y="1409634"/>
                  </a:lnTo>
                  <a:lnTo>
                    <a:pt x="1055237" y="1396157"/>
                  </a:lnTo>
                  <a:lnTo>
                    <a:pt x="1097760" y="1379202"/>
                  </a:lnTo>
                  <a:lnTo>
                    <a:pt x="1138478" y="1358939"/>
                  </a:lnTo>
                  <a:lnTo>
                    <a:pt x="1177225" y="1335533"/>
                  </a:lnTo>
                  <a:lnTo>
                    <a:pt x="1213833" y="1309152"/>
                  </a:lnTo>
                  <a:lnTo>
                    <a:pt x="1248135" y="1279964"/>
                  </a:lnTo>
                  <a:lnTo>
                    <a:pt x="1279963" y="1248135"/>
                  </a:lnTo>
                  <a:lnTo>
                    <a:pt x="1309152" y="1213833"/>
                  </a:lnTo>
                  <a:lnTo>
                    <a:pt x="1335532" y="1177225"/>
                  </a:lnTo>
                  <a:lnTo>
                    <a:pt x="1358938" y="1138479"/>
                  </a:lnTo>
                  <a:lnTo>
                    <a:pt x="1379202" y="1097760"/>
                  </a:lnTo>
                  <a:lnTo>
                    <a:pt x="1396156" y="1055238"/>
                  </a:lnTo>
                  <a:lnTo>
                    <a:pt x="1409634" y="1011078"/>
                  </a:lnTo>
                  <a:lnTo>
                    <a:pt x="1419468" y="965449"/>
                  </a:lnTo>
                  <a:lnTo>
                    <a:pt x="1425491" y="918516"/>
                  </a:lnTo>
                  <a:lnTo>
                    <a:pt x="1427535" y="870438"/>
                  </a:lnTo>
                  <a:lnTo>
                    <a:pt x="1425491" y="822381"/>
                  </a:lnTo>
                  <a:lnTo>
                    <a:pt x="1419468" y="775449"/>
                  </a:lnTo>
                  <a:lnTo>
                    <a:pt x="1409634" y="729819"/>
                  </a:lnTo>
                  <a:lnTo>
                    <a:pt x="1396156" y="685660"/>
                  </a:lnTo>
                  <a:lnTo>
                    <a:pt x="1379202" y="643137"/>
                  </a:lnTo>
                  <a:lnTo>
                    <a:pt x="1358938" y="602419"/>
                  </a:lnTo>
                  <a:lnTo>
                    <a:pt x="1335532" y="563672"/>
                  </a:lnTo>
                  <a:lnTo>
                    <a:pt x="1309152" y="527064"/>
                  </a:lnTo>
                  <a:lnTo>
                    <a:pt x="1279963" y="492763"/>
                  </a:lnTo>
                  <a:lnTo>
                    <a:pt x="1248135" y="460934"/>
                  </a:lnTo>
                  <a:lnTo>
                    <a:pt x="1213833" y="431746"/>
                  </a:lnTo>
                  <a:lnTo>
                    <a:pt x="1177225" y="405365"/>
                  </a:lnTo>
                  <a:lnTo>
                    <a:pt x="1138478" y="381959"/>
                  </a:lnTo>
                  <a:lnTo>
                    <a:pt x="1097760" y="361696"/>
                  </a:lnTo>
                  <a:lnTo>
                    <a:pt x="1055237" y="344741"/>
                  </a:lnTo>
                  <a:lnTo>
                    <a:pt x="1011078" y="331264"/>
                  </a:lnTo>
                  <a:lnTo>
                    <a:pt x="965448" y="321429"/>
                  </a:lnTo>
                  <a:lnTo>
                    <a:pt x="918516" y="315406"/>
                  </a:lnTo>
                  <a:lnTo>
                    <a:pt x="870448" y="313362"/>
                  </a:lnTo>
                  <a:lnTo>
                    <a:pt x="870448" y="0"/>
                  </a:lnTo>
                  <a:lnTo>
                    <a:pt x="918207" y="1287"/>
                  </a:lnTo>
                  <a:lnTo>
                    <a:pt x="965293" y="5107"/>
                  </a:lnTo>
                  <a:lnTo>
                    <a:pt x="1011640" y="11392"/>
                  </a:lnTo>
                  <a:lnTo>
                    <a:pt x="1057180" y="20076"/>
                  </a:lnTo>
                  <a:lnTo>
                    <a:pt x="1101848" y="31093"/>
                  </a:lnTo>
                  <a:lnTo>
                    <a:pt x="1145578" y="44376"/>
                  </a:lnTo>
                  <a:lnTo>
                    <a:pt x="1188302" y="59858"/>
                  </a:lnTo>
                  <a:lnTo>
                    <a:pt x="1229955" y="77474"/>
                  </a:lnTo>
                  <a:lnTo>
                    <a:pt x="1270470" y="97157"/>
                  </a:lnTo>
                  <a:lnTo>
                    <a:pt x="1309781" y="118841"/>
                  </a:lnTo>
                  <a:lnTo>
                    <a:pt x="1347821" y="142459"/>
                  </a:lnTo>
                  <a:lnTo>
                    <a:pt x="1384524" y="167946"/>
                  </a:lnTo>
                  <a:lnTo>
                    <a:pt x="1419824" y="195233"/>
                  </a:lnTo>
                  <a:lnTo>
                    <a:pt x="1453655" y="224256"/>
                  </a:lnTo>
                  <a:lnTo>
                    <a:pt x="1485949" y="254948"/>
                  </a:lnTo>
                  <a:lnTo>
                    <a:pt x="1516641" y="287242"/>
                  </a:lnTo>
                  <a:lnTo>
                    <a:pt x="1545664" y="321073"/>
                  </a:lnTo>
                  <a:lnTo>
                    <a:pt x="1572951" y="356373"/>
                  </a:lnTo>
                  <a:lnTo>
                    <a:pt x="1598438" y="393076"/>
                  </a:lnTo>
                  <a:lnTo>
                    <a:pt x="1622056" y="431116"/>
                  </a:lnTo>
                  <a:lnTo>
                    <a:pt x="1643740" y="470427"/>
                  </a:lnTo>
                  <a:lnTo>
                    <a:pt x="1663423" y="510942"/>
                  </a:lnTo>
                  <a:lnTo>
                    <a:pt x="1681039" y="552595"/>
                  </a:lnTo>
                  <a:lnTo>
                    <a:pt x="1696522" y="595319"/>
                  </a:lnTo>
                  <a:lnTo>
                    <a:pt x="1709805" y="639049"/>
                  </a:lnTo>
                  <a:lnTo>
                    <a:pt x="1720821" y="683717"/>
                  </a:lnTo>
                  <a:lnTo>
                    <a:pt x="1729505" y="729257"/>
                  </a:lnTo>
                  <a:lnTo>
                    <a:pt x="1735782" y="775604"/>
                  </a:lnTo>
                  <a:lnTo>
                    <a:pt x="1739610" y="822690"/>
                  </a:lnTo>
                  <a:lnTo>
                    <a:pt x="1740897" y="870458"/>
                  </a:lnTo>
                  <a:lnTo>
                    <a:pt x="1739610" y="918208"/>
                  </a:lnTo>
                  <a:lnTo>
                    <a:pt x="1735769" y="965449"/>
                  </a:lnTo>
                  <a:lnTo>
                    <a:pt x="1729505" y="1011640"/>
                  </a:lnTo>
                  <a:lnTo>
                    <a:pt x="1720821" y="1057180"/>
                  </a:lnTo>
                  <a:lnTo>
                    <a:pt x="1709805" y="1101849"/>
                  </a:lnTo>
                  <a:lnTo>
                    <a:pt x="1696522" y="1145578"/>
                  </a:lnTo>
                  <a:lnTo>
                    <a:pt x="1681039" y="1188302"/>
                  </a:lnTo>
                  <a:lnTo>
                    <a:pt x="1663423" y="1229955"/>
                  </a:lnTo>
                  <a:lnTo>
                    <a:pt x="1643740" y="1270470"/>
                  </a:lnTo>
                  <a:lnTo>
                    <a:pt x="1622056" y="1309781"/>
                  </a:lnTo>
                  <a:lnTo>
                    <a:pt x="1598438" y="1347821"/>
                  </a:lnTo>
                  <a:lnTo>
                    <a:pt x="1572951" y="1384525"/>
                  </a:lnTo>
                  <a:lnTo>
                    <a:pt x="1545664" y="1419825"/>
                  </a:lnTo>
                  <a:lnTo>
                    <a:pt x="1539048" y="1427536"/>
                  </a:lnTo>
                  <a:close/>
                </a:path>
              </a:pathLst>
            </a:custGeom>
            <a:solidFill>
              <a:srgbClr val="A6A6A6"/>
            </a:solidFill>
          </p:spPr>
          <p:txBody>
            <a:bodyPr wrap="square" lIns="0" tIns="0" rIns="0" bIns="0" rtlCol="0"/>
            <a:lstStyle/>
            <a:p>
              <a:endParaRPr/>
            </a:p>
          </p:txBody>
        </p:sp>
        <p:sp>
          <p:nvSpPr>
            <p:cNvPr id="10" name="object 10"/>
            <p:cNvSpPr/>
            <p:nvPr/>
          </p:nvSpPr>
          <p:spPr>
            <a:xfrm>
              <a:off x="6037820" y="7777460"/>
              <a:ext cx="1729105" cy="1723389"/>
            </a:xfrm>
            <a:custGeom>
              <a:avLst/>
              <a:gdLst/>
              <a:ahLst/>
              <a:cxnLst/>
              <a:rect l="l" t="t" r="r" b="b"/>
              <a:pathLst>
                <a:path w="1729104" h="1723390">
                  <a:moveTo>
                    <a:pt x="1527605" y="1409491"/>
                  </a:moveTo>
                  <a:lnTo>
                    <a:pt x="834599" y="1409491"/>
                  </a:lnTo>
                  <a:lnTo>
                    <a:pt x="883426" y="1409438"/>
                  </a:lnTo>
                  <a:lnTo>
                    <a:pt x="932065" y="1405156"/>
                  </a:lnTo>
                  <a:lnTo>
                    <a:pt x="979437" y="1396803"/>
                  </a:lnTo>
                  <a:lnTo>
                    <a:pt x="1025359" y="1384556"/>
                  </a:lnTo>
                  <a:lnTo>
                    <a:pt x="1069648" y="1368588"/>
                  </a:lnTo>
                  <a:lnTo>
                    <a:pt x="1112120" y="1349075"/>
                  </a:lnTo>
                  <a:lnTo>
                    <a:pt x="1152594" y="1326192"/>
                  </a:lnTo>
                  <a:lnTo>
                    <a:pt x="1190887" y="1300113"/>
                  </a:lnTo>
                  <a:lnTo>
                    <a:pt x="1226814" y="1271015"/>
                  </a:lnTo>
                  <a:lnTo>
                    <a:pt x="1260195" y="1239072"/>
                  </a:lnTo>
                  <a:lnTo>
                    <a:pt x="1290844" y="1204458"/>
                  </a:lnTo>
                  <a:lnTo>
                    <a:pt x="1318581" y="1167349"/>
                  </a:lnTo>
                  <a:lnTo>
                    <a:pt x="1343222" y="1127921"/>
                  </a:lnTo>
                  <a:lnTo>
                    <a:pt x="1364583" y="1086347"/>
                  </a:lnTo>
                  <a:lnTo>
                    <a:pt x="1382483" y="1042803"/>
                  </a:lnTo>
                  <a:lnTo>
                    <a:pt x="1396738" y="997464"/>
                  </a:lnTo>
                  <a:lnTo>
                    <a:pt x="1407165" y="950505"/>
                  </a:lnTo>
                  <a:lnTo>
                    <a:pt x="1413582" y="902101"/>
                  </a:lnTo>
                  <a:lnTo>
                    <a:pt x="1415782" y="853323"/>
                  </a:lnTo>
                  <a:lnTo>
                    <a:pt x="1413779" y="805262"/>
                  </a:lnTo>
                  <a:lnTo>
                    <a:pt x="1407724" y="758123"/>
                  </a:lnTo>
                  <a:lnTo>
                    <a:pt x="1397764" y="712109"/>
                  </a:lnTo>
                  <a:lnTo>
                    <a:pt x="1384051" y="667425"/>
                  </a:lnTo>
                  <a:lnTo>
                    <a:pt x="1366732" y="624276"/>
                  </a:lnTo>
                  <a:lnTo>
                    <a:pt x="1345957" y="582866"/>
                  </a:lnTo>
                  <a:lnTo>
                    <a:pt x="1321875" y="543400"/>
                  </a:lnTo>
                  <a:lnTo>
                    <a:pt x="1294636" y="506081"/>
                  </a:lnTo>
                  <a:lnTo>
                    <a:pt x="1264388" y="471116"/>
                  </a:lnTo>
                  <a:lnTo>
                    <a:pt x="1231282" y="438707"/>
                  </a:lnTo>
                  <a:lnTo>
                    <a:pt x="1195465" y="409060"/>
                  </a:lnTo>
                  <a:lnTo>
                    <a:pt x="1157088" y="382378"/>
                  </a:lnTo>
                  <a:lnTo>
                    <a:pt x="1116300" y="358867"/>
                  </a:lnTo>
                  <a:lnTo>
                    <a:pt x="1073249" y="338731"/>
                  </a:lnTo>
                  <a:lnTo>
                    <a:pt x="1028086" y="322174"/>
                  </a:lnTo>
                  <a:lnTo>
                    <a:pt x="980959" y="309401"/>
                  </a:lnTo>
                  <a:lnTo>
                    <a:pt x="942266" y="295135"/>
                  </a:lnTo>
                  <a:lnTo>
                    <a:pt x="909137" y="271725"/>
                  </a:lnTo>
                  <a:lnTo>
                    <a:pt x="883123" y="240598"/>
                  </a:lnTo>
                  <a:lnTo>
                    <a:pt x="865775" y="203185"/>
                  </a:lnTo>
                  <a:lnTo>
                    <a:pt x="858782" y="162544"/>
                  </a:lnTo>
                  <a:lnTo>
                    <a:pt x="862493" y="122148"/>
                  </a:lnTo>
                  <a:lnTo>
                    <a:pt x="876442" y="84056"/>
                  </a:lnTo>
                  <a:lnTo>
                    <a:pt x="900168" y="50326"/>
                  </a:lnTo>
                  <a:lnTo>
                    <a:pt x="931869" y="23949"/>
                  </a:lnTo>
                  <a:lnTo>
                    <a:pt x="968708" y="6965"/>
                  </a:lnTo>
                  <a:lnTo>
                    <a:pt x="1008671" y="0"/>
                  </a:lnTo>
                  <a:lnTo>
                    <a:pt x="1049746" y="3682"/>
                  </a:lnTo>
                  <a:lnTo>
                    <a:pt x="1096455" y="15542"/>
                  </a:lnTo>
                  <a:lnTo>
                    <a:pt x="1141981" y="29793"/>
                  </a:lnTo>
                  <a:lnTo>
                    <a:pt x="1186268" y="46354"/>
                  </a:lnTo>
                  <a:lnTo>
                    <a:pt x="1229255" y="65147"/>
                  </a:lnTo>
                  <a:lnTo>
                    <a:pt x="1270886" y="86091"/>
                  </a:lnTo>
                  <a:lnTo>
                    <a:pt x="1311103" y="109107"/>
                  </a:lnTo>
                  <a:lnTo>
                    <a:pt x="1349846" y="134114"/>
                  </a:lnTo>
                  <a:lnTo>
                    <a:pt x="1387058" y="161034"/>
                  </a:lnTo>
                  <a:lnTo>
                    <a:pt x="1422680" y="189787"/>
                  </a:lnTo>
                  <a:lnTo>
                    <a:pt x="1456654" y="220292"/>
                  </a:lnTo>
                  <a:lnTo>
                    <a:pt x="1488923" y="252470"/>
                  </a:lnTo>
                  <a:lnTo>
                    <a:pt x="1519427" y="286241"/>
                  </a:lnTo>
                  <a:lnTo>
                    <a:pt x="1548109" y="321526"/>
                  </a:lnTo>
                  <a:lnTo>
                    <a:pt x="1574911" y="358245"/>
                  </a:lnTo>
                  <a:lnTo>
                    <a:pt x="1599774" y="396317"/>
                  </a:lnTo>
                  <a:lnTo>
                    <a:pt x="1622640" y="435664"/>
                  </a:lnTo>
                  <a:lnTo>
                    <a:pt x="1643450" y="476205"/>
                  </a:lnTo>
                  <a:lnTo>
                    <a:pt x="1662148" y="517862"/>
                  </a:lnTo>
                  <a:lnTo>
                    <a:pt x="1678673" y="560553"/>
                  </a:lnTo>
                  <a:lnTo>
                    <a:pt x="1692969" y="604199"/>
                  </a:lnTo>
                  <a:lnTo>
                    <a:pt x="1704977" y="648721"/>
                  </a:lnTo>
                  <a:lnTo>
                    <a:pt x="1714639" y="694039"/>
                  </a:lnTo>
                  <a:lnTo>
                    <a:pt x="1721897" y="740073"/>
                  </a:lnTo>
                  <a:lnTo>
                    <a:pt x="1726692" y="786744"/>
                  </a:lnTo>
                  <a:lnTo>
                    <a:pt x="1728843" y="831431"/>
                  </a:lnTo>
                  <a:lnTo>
                    <a:pt x="1728805" y="859071"/>
                  </a:lnTo>
                  <a:lnTo>
                    <a:pt x="1725719" y="929776"/>
                  </a:lnTo>
                  <a:lnTo>
                    <a:pt x="1720152" y="977644"/>
                  </a:lnTo>
                  <a:lnTo>
                    <a:pt x="1712059" y="1024658"/>
                  </a:lnTo>
                  <a:lnTo>
                    <a:pt x="1701511" y="1070748"/>
                  </a:lnTo>
                  <a:lnTo>
                    <a:pt x="1688580" y="1115847"/>
                  </a:lnTo>
                  <a:lnTo>
                    <a:pt x="1673336" y="1159886"/>
                  </a:lnTo>
                  <a:lnTo>
                    <a:pt x="1655851" y="1202797"/>
                  </a:lnTo>
                  <a:lnTo>
                    <a:pt x="1636197" y="1244512"/>
                  </a:lnTo>
                  <a:lnTo>
                    <a:pt x="1614445" y="1284962"/>
                  </a:lnTo>
                  <a:lnTo>
                    <a:pt x="1590666" y="1324080"/>
                  </a:lnTo>
                  <a:lnTo>
                    <a:pt x="1564931" y="1361796"/>
                  </a:lnTo>
                  <a:lnTo>
                    <a:pt x="1537312" y="1398044"/>
                  </a:lnTo>
                  <a:lnTo>
                    <a:pt x="1527605" y="1409491"/>
                  </a:lnTo>
                  <a:close/>
                </a:path>
                <a:path w="1729104" h="1723390">
                  <a:moveTo>
                    <a:pt x="849166" y="1723315"/>
                  </a:moveTo>
                  <a:lnTo>
                    <a:pt x="801495" y="1721522"/>
                  </a:lnTo>
                  <a:lnTo>
                    <a:pt x="754413" y="1717173"/>
                  </a:lnTo>
                  <a:lnTo>
                    <a:pt x="707999" y="1710331"/>
                  </a:lnTo>
                  <a:lnTo>
                    <a:pt x="662328" y="1701056"/>
                  </a:lnTo>
                  <a:lnTo>
                    <a:pt x="617479" y="1689411"/>
                  </a:lnTo>
                  <a:lnTo>
                    <a:pt x="573528" y="1675457"/>
                  </a:lnTo>
                  <a:lnTo>
                    <a:pt x="530552" y="1659256"/>
                  </a:lnTo>
                  <a:lnTo>
                    <a:pt x="488629" y="1640869"/>
                  </a:lnTo>
                  <a:lnTo>
                    <a:pt x="447835" y="1620358"/>
                  </a:lnTo>
                  <a:lnTo>
                    <a:pt x="408248" y="1597785"/>
                  </a:lnTo>
                  <a:lnTo>
                    <a:pt x="369944" y="1573211"/>
                  </a:lnTo>
                  <a:lnTo>
                    <a:pt x="333002" y="1546699"/>
                  </a:lnTo>
                  <a:lnTo>
                    <a:pt x="297497" y="1518309"/>
                  </a:lnTo>
                  <a:lnTo>
                    <a:pt x="263507" y="1488103"/>
                  </a:lnTo>
                  <a:lnTo>
                    <a:pt x="231110" y="1456143"/>
                  </a:lnTo>
                  <a:lnTo>
                    <a:pt x="200382" y="1422491"/>
                  </a:lnTo>
                  <a:lnTo>
                    <a:pt x="171400" y="1387208"/>
                  </a:lnTo>
                  <a:lnTo>
                    <a:pt x="144247" y="1350356"/>
                  </a:lnTo>
                  <a:lnTo>
                    <a:pt x="118984" y="1311996"/>
                  </a:lnTo>
                  <a:lnTo>
                    <a:pt x="95704" y="1272191"/>
                  </a:lnTo>
                  <a:lnTo>
                    <a:pt x="74479" y="1231002"/>
                  </a:lnTo>
                  <a:lnTo>
                    <a:pt x="55385" y="1188490"/>
                  </a:lnTo>
                  <a:lnTo>
                    <a:pt x="38501" y="1144717"/>
                  </a:lnTo>
                  <a:lnTo>
                    <a:pt x="23903" y="1099746"/>
                  </a:lnTo>
                  <a:lnTo>
                    <a:pt x="11667" y="1053637"/>
                  </a:lnTo>
                  <a:lnTo>
                    <a:pt x="1873" y="1006451"/>
                  </a:lnTo>
                  <a:lnTo>
                    <a:pt x="0" y="965255"/>
                  </a:lnTo>
                  <a:lnTo>
                    <a:pt x="8715" y="925637"/>
                  </a:lnTo>
                  <a:lnTo>
                    <a:pt x="27303" y="889581"/>
                  </a:lnTo>
                  <a:lnTo>
                    <a:pt x="55048" y="859071"/>
                  </a:lnTo>
                  <a:lnTo>
                    <a:pt x="89789" y="836850"/>
                  </a:lnTo>
                  <a:lnTo>
                    <a:pt x="128457" y="824589"/>
                  </a:lnTo>
                  <a:lnTo>
                    <a:pt x="168977" y="822658"/>
                  </a:lnTo>
                  <a:lnTo>
                    <a:pt x="209272" y="831431"/>
                  </a:lnTo>
                  <a:lnTo>
                    <a:pt x="245886" y="850407"/>
                  </a:lnTo>
                  <a:lnTo>
                    <a:pt x="275838" y="877764"/>
                  </a:lnTo>
                  <a:lnTo>
                    <a:pt x="297770" y="911890"/>
                  </a:lnTo>
                  <a:lnTo>
                    <a:pt x="310320" y="951173"/>
                  </a:lnTo>
                  <a:lnTo>
                    <a:pt x="321009" y="998816"/>
                  </a:lnTo>
                  <a:lnTo>
                    <a:pt x="335564" y="1044664"/>
                  </a:lnTo>
                  <a:lnTo>
                    <a:pt x="353788" y="1088558"/>
                  </a:lnTo>
                  <a:lnTo>
                    <a:pt x="375483" y="1130341"/>
                  </a:lnTo>
                  <a:lnTo>
                    <a:pt x="400451" y="1169854"/>
                  </a:lnTo>
                  <a:lnTo>
                    <a:pt x="428495" y="1206939"/>
                  </a:lnTo>
                  <a:lnTo>
                    <a:pt x="459417" y="1241439"/>
                  </a:lnTo>
                  <a:lnTo>
                    <a:pt x="493019" y="1273195"/>
                  </a:lnTo>
                  <a:lnTo>
                    <a:pt x="529104" y="1302049"/>
                  </a:lnTo>
                  <a:lnTo>
                    <a:pt x="567473" y="1327842"/>
                  </a:lnTo>
                  <a:lnTo>
                    <a:pt x="607818" y="1350356"/>
                  </a:lnTo>
                  <a:lnTo>
                    <a:pt x="650275" y="1369617"/>
                  </a:lnTo>
                  <a:lnTo>
                    <a:pt x="694313" y="1385282"/>
                  </a:lnTo>
                  <a:lnTo>
                    <a:pt x="739844" y="1397255"/>
                  </a:lnTo>
                  <a:lnTo>
                    <a:pt x="786672" y="1405377"/>
                  </a:lnTo>
                  <a:lnTo>
                    <a:pt x="834599" y="1409491"/>
                  </a:lnTo>
                  <a:lnTo>
                    <a:pt x="1527605" y="1409491"/>
                  </a:lnTo>
                  <a:lnTo>
                    <a:pt x="1507880" y="1432754"/>
                  </a:lnTo>
                  <a:lnTo>
                    <a:pt x="1476706" y="1465858"/>
                  </a:lnTo>
                  <a:lnTo>
                    <a:pt x="1443862" y="1497288"/>
                  </a:lnTo>
                  <a:lnTo>
                    <a:pt x="1409419" y="1526976"/>
                  </a:lnTo>
                  <a:lnTo>
                    <a:pt x="1373449" y="1554854"/>
                  </a:lnTo>
                  <a:lnTo>
                    <a:pt x="1336022" y="1580852"/>
                  </a:lnTo>
                  <a:lnTo>
                    <a:pt x="1297210" y="1604904"/>
                  </a:lnTo>
                  <a:lnTo>
                    <a:pt x="1257085" y="1626940"/>
                  </a:lnTo>
                  <a:lnTo>
                    <a:pt x="1215717" y="1646893"/>
                  </a:lnTo>
                  <a:lnTo>
                    <a:pt x="1173179" y="1664694"/>
                  </a:lnTo>
                  <a:lnTo>
                    <a:pt x="1129540" y="1680275"/>
                  </a:lnTo>
                  <a:lnTo>
                    <a:pt x="1084873" y="1693568"/>
                  </a:lnTo>
                  <a:lnTo>
                    <a:pt x="1039250" y="1704504"/>
                  </a:lnTo>
                  <a:lnTo>
                    <a:pt x="992740" y="1713015"/>
                  </a:lnTo>
                  <a:lnTo>
                    <a:pt x="945416" y="1719033"/>
                  </a:lnTo>
                  <a:lnTo>
                    <a:pt x="897350" y="1722490"/>
                  </a:lnTo>
                  <a:lnTo>
                    <a:pt x="849166" y="1723315"/>
                  </a:lnTo>
                  <a:close/>
                </a:path>
              </a:pathLst>
            </a:custGeom>
            <a:solidFill>
              <a:srgbClr val="04A24A"/>
            </a:solidFill>
          </p:spPr>
          <p:txBody>
            <a:bodyPr wrap="square" lIns="0" tIns="0" rIns="0" bIns="0" rtlCol="0"/>
            <a:lstStyle/>
            <a:p>
              <a:endParaRPr/>
            </a:p>
          </p:txBody>
        </p:sp>
        <p:sp>
          <p:nvSpPr>
            <p:cNvPr id="11" name="object 11"/>
            <p:cNvSpPr/>
            <p:nvPr/>
          </p:nvSpPr>
          <p:spPr>
            <a:xfrm>
              <a:off x="1545286" y="8725831"/>
              <a:ext cx="2148840" cy="647700"/>
            </a:xfrm>
            <a:custGeom>
              <a:avLst/>
              <a:gdLst/>
              <a:ahLst/>
              <a:cxnLst/>
              <a:rect l="l" t="t" r="r" b="b"/>
              <a:pathLst>
                <a:path w="2148840" h="647700">
                  <a:moveTo>
                    <a:pt x="1853376" y="647124"/>
                  </a:moveTo>
                  <a:lnTo>
                    <a:pt x="295409" y="647124"/>
                  </a:lnTo>
                  <a:lnTo>
                    <a:pt x="275748" y="645676"/>
                  </a:lnTo>
                  <a:lnTo>
                    <a:pt x="230113" y="635453"/>
                  </a:lnTo>
                  <a:lnTo>
                    <a:pt x="187156" y="619027"/>
                  </a:lnTo>
                  <a:lnTo>
                    <a:pt x="147379" y="596901"/>
                  </a:lnTo>
                  <a:lnTo>
                    <a:pt x="111281" y="569577"/>
                  </a:lnTo>
                  <a:lnTo>
                    <a:pt x="79364" y="537558"/>
                  </a:lnTo>
                  <a:lnTo>
                    <a:pt x="52127" y="501345"/>
                  </a:lnTo>
                  <a:lnTo>
                    <a:pt x="30072" y="461440"/>
                  </a:lnTo>
                  <a:lnTo>
                    <a:pt x="13699" y="418346"/>
                  </a:lnTo>
                  <a:lnTo>
                    <a:pt x="3508" y="372565"/>
                  </a:lnTo>
                  <a:lnTo>
                    <a:pt x="0" y="324598"/>
                  </a:lnTo>
                  <a:lnTo>
                    <a:pt x="3508" y="276631"/>
                  </a:lnTo>
                  <a:lnTo>
                    <a:pt x="13699" y="230850"/>
                  </a:lnTo>
                  <a:lnTo>
                    <a:pt x="30072" y="187756"/>
                  </a:lnTo>
                  <a:lnTo>
                    <a:pt x="52127" y="147851"/>
                  </a:lnTo>
                  <a:lnTo>
                    <a:pt x="79364" y="111638"/>
                  </a:lnTo>
                  <a:lnTo>
                    <a:pt x="111281" y="79618"/>
                  </a:lnTo>
                  <a:lnTo>
                    <a:pt x="147379" y="52294"/>
                  </a:lnTo>
                  <a:lnTo>
                    <a:pt x="187156" y="30169"/>
                  </a:lnTo>
                  <a:lnTo>
                    <a:pt x="230113" y="13743"/>
                  </a:lnTo>
                  <a:lnTo>
                    <a:pt x="275748" y="3519"/>
                  </a:lnTo>
                  <a:lnTo>
                    <a:pt x="323562" y="0"/>
                  </a:lnTo>
                  <a:lnTo>
                    <a:pt x="1825224" y="0"/>
                  </a:lnTo>
                  <a:lnTo>
                    <a:pt x="1873037" y="3519"/>
                  </a:lnTo>
                  <a:lnTo>
                    <a:pt x="1918673" y="13743"/>
                  </a:lnTo>
                  <a:lnTo>
                    <a:pt x="1961629" y="30169"/>
                  </a:lnTo>
                  <a:lnTo>
                    <a:pt x="2001406" y="52294"/>
                  </a:lnTo>
                  <a:lnTo>
                    <a:pt x="2037504" y="79618"/>
                  </a:lnTo>
                  <a:lnTo>
                    <a:pt x="2069421" y="111638"/>
                  </a:lnTo>
                  <a:lnTo>
                    <a:pt x="2096658" y="147851"/>
                  </a:lnTo>
                  <a:lnTo>
                    <a:pt x="2118713" y="187756"/>
                  </a:lnTo>
                  <a:lnTo>
                    <a:pt x="2135086" y="230850"/>
                  </a:lnTo>
                  <a:lnTo>
                    <a:pt x="2145277" y="276631"/>
                  </a:lnTo>
                  <a:lnTo>
                    <a:pt x="2148786" y="324598"/>
                  </a:lnTo>
                  <a:lnTo>
                    <a:pt x="2145277" y="372565"/>
                  </a:lnTo>
                  <a:lnTo>
                    <a:pt x="2135086" y="418346"/>
                  </a:lnTo>
                  <a:lnTo>
                    <a:pt x="2118713" y="461440"/>
                  </a:lnTo>
                  <a:lnTo>
                    <a:pt x="2096658" y="501345"/>
                  </a:lnTo>
                  <a:lnTo>
                    <a:pt x="2069421" y="537558"/>
                  </a:lnTo>
                  <a:lnTo>
                    <a:pt x="2037504" y="569577"/>
                  </a:lnTo>
                  <a:lnTo>
                    <a:pt x="2001406" y="596901"/>
                  </a:lnTo>
                  <a:lnTo>
                    <a:pt x="1961629" y="619027"/>
                  </a:lnTo>
                  <a:lnTo>
                    <a:pt x="1918673" y="635453"/>
                  </a:lnTo>
                  <a:lnTo>
                    <a:pt x="1873037" y="645676"/>
                  </a:lnTo>
                  <a:lnTo>
                    <a:pt x="1853376" y="647124"/>
                  </a:lnTo>
                  <a:close/>
                </a:path>
              </a:pathLst>
            </a:custGeom>
            <a:solidFill>
              <a:srgbClr val="0090AE"/>
            </a:solidFill>
          </p:spPr>
          <p:txBody>
            <a:bodyPr wrap="square" lIns="0" tIns="0" rIns="0" bIns="0" rtlCol="0"/>
            <a:lstStyle/>
            <a:p>
              <a:endParaRPr/>
            </a:p>
          </p:txBody>
        </p:sp>
        <p:sp>
          <p:nvSpPr>
            <p:cNvPr id="12" name="object 12"/>
            <p:cNvSpPr/>
            <p:nvPr/>
          </p:nvSpPr>
          <p:spPr>
            <a:xfrm>
              <a:off x="8054474" y="6288920"/>
              <a:ext cx="2148840" cy="647700"/>
            </a:xfrm>
            <a:custGeom>
              <a:avLst/>
              <a:gdLst/>
              <a:ahLst/>
              <a:cxnLst/>
              <a:rect l="l" t="t" r="r" b="b"/>
              <a:pathLst>
                <a:path w="2148840" h="647700">
                  <a:moveTo>
                    <a:pt x="1853378" y="647124"/>
                  </a:moveTo>
                  <a:lnTo>
                    <a:pt x="295406" y="647124"/>
                  </a:lnTo>
                  <a:lnTo>
                    <a:pt x="275748" y="645677"/>
                  </a:lnTo>
                  <a:lnTo>
                    <a:pt x="230112" y="635453"/>
                  </a:lnTo>
                  <a:lnTo>
                    <a:pt x="187156" y="619027"/>
                  </a:lnTo>
                  <a:lnTo>
                    <a:pt x="147378" y="596901"/>
                  </a:lnTo>
                  <a:lnTo>
                    <a:pt x="111281" y="569578"/>
                  </a:lnTo>
                  <a:lnTo>
                    <a:pt x="79364" y="537558"/>
                  </a:lnTo>
                  <a:lnTo>
                    <a:pt x="52127" y="501345"/>
                  </a:lnTo>
                  <a:lnTo>
                    <a:pt x="30072" y="461440"/>
                  </a:lnTo>
                  <a:lnTo>
                    <a:pt x="13699" y="418346"/>
                  </a:lnTo>
                  <a:lnTo>
                    <a:pt x="3508" y="372565"/>
                  </a:lnTo>
                  <a:lnTo>
                    <a:pt x="0" y="324598"/>
                  </a:lnTo>
                  <a:lnTo>
                    <a:pt x="3508" y="276631"/>
                  </a:lnTo>
                  <a:lnTo>
                    <a:pt x="13699" y="230850"/>
                  </a:lnTo>
                  <a:lnTo>
                    <a:pt x="30072" y="187756"/>
                  </a:lnTo>
                  <a:lnTo>
                    <a:pt x="52127" y="147851"/>
                  </a:lnTo>
                  <a:lnTo>
                    <a:pt x="79364" y="111638"/>
                  </a:lnTo>
                  <a:lnTo>
                    <a:pt x="111281" y="79618"/>
                  </a:lnTo>
                  <a:lnTo>
                    <a:pt x="147378" y="52294"/>
                  </a:lnTo>
                  <a:lnTo>
                    <a:pt x="187156" y="30169"/>
                  </a:lnTo>
                  <a:lnTo>
                    <a:pt x="230112" y="13743"/>
                  </a:lnTo>
                  <a:lnTo>
                    <a:pt x="275748" y="3519"/>
                  </a:lnTo>
                  <a:lnTo>
                    <a:pt x="323561" y="0"/>
                  </a:lnTo>
                  <a:lnTo>
                    <a:pt x="1825223" y="0"/>
                  </a:lnTo>
                  <a:lnTo>
                    <a:pt x="1873037" y="3519"/>
                  </a:lnTo>
                  <a:lnTo>
                    <a:pt x="1918672" y="13743"/>
                  </a:lnTo>
                  <a:lnTo>
                    <a:pt x="1961629" y="30169"/>
                  </a:lnTo>
                  <a:lnTo>
                    <a:pt x="2001406" y="52294"/>
                  </a:lnTo>
                  <a:lnTo>
                    <a:pt x="2037504" y="79618"/>
                  </a:lnTo>
                  <a:lnTo>
                    <a:pt x="2069421" y="111638"/>
                  </a:lnTo>
                  <a:lnTo>
                    <a:pt x="2096657" y="147851"/>
                  </a:lnTo>
                  <a:lnTo>
                    <a:pt x="2118713" y="187756"/>
                  </a:lnTo>
                  <a:lnTo>
                    <a:pt x="2135086" y="230850"/>
                  </a:lnTo>
                  <a:lnTo>
                    <a:pt x="2145277" y="276631"/>
                  </a:lnTo>
                  <a:lnTo>
                    <a:pt x="2148785" y="324598"/>
                  </a:lnTo>
                  <a:lnTo>
                    <a:pt x="2145277" y="372565"/>
                  </a:lnTo>
                  <a:lnTo>
                    <a:pt x="2135086" y="418346"/>
                  </a:lnTo>
                  <a:lnTo>
                    <a:pt x="2118713" y="461440"/>
                  </a:lnTo>
                  <a:lnTo>
                    <a:pt x="2096657" y="501345"/>
                  </a:lnTo>
                  <a:lnTo>
                    <a:pt x="2069421" y="537558"/>
                  </a:lnTo>
                  <a:lnTo>
                    <a:pt x="2037504" y="569578"/>
                  </a:lnTo>
                  <a:lnTo>
                    <a:pt x="2001406" y="596901"/>
                  </a:lnTo>
                  <a:lnTo>
                    <a:pt x="1961629" y="619027"/>
                  </a:lnTo>
                  <a:lnTo>
                    <a:pt x="1918672" y="635453"/>
                  </a:lnTo>
                  <a:lnTo>
                    <a:pt x="1873037" y="645677"/>
                  </a:lnTo>
                  <a:lnTo>
                    <a:pt x="1853378" y="647124"/>
                  </a:lnTo>
                  <a:close/>
                </a:path>
              </a:pathLst>
            </a:custGeom>
            <a:solidFill>
              <a:srgbClr val="E1092F"/>
            </a:solidFill>
          </p:spPr>
          <p:txBody>
            <a:bodyPr wrap="square" lIns="0" tIns="0" rIns="0" bIns="0" rtlCol="0"/>
            <a:lstStyle/>
            <a:p>
              <a:endParaRPr/>
            </a:p>
          </p:txBody>
        </p:sp>
        <p:sp>
          <p:nvSpPr>
            <p:cNvPr id="13" name="object 13"/>
            <p:cNvSpPr/>
            <p:nvPr/>
          </p:nvSpPr>
          <p:spPr>
            <a:xfrm>
              <a:off x="8054474" y="8187620"/>
              <a:ext cx="2148840" cy="647700"/>
            </a:xfrm>
            <a:custGeom>
              <a:avLst/>
              <a:gdLst/>
              <a:ahLst/>
              <a:cxnLst/>
              <a:rect l="l" t="t" r="r" b="b"/>
              <a:pathLst>
                <a:path w="2148840" h="647700">
                  <a:moveTo>
                    <a:pt x="1853379" y="647124"/>
                  </a:moveTo>
                  <a:lnTo>
                    <a:pt x="295406" y="647124"/>
                  </a:lnTo>
                  <a:lnTo>
                    <a:pt x="275748" y="645677"/>
                  </a:lnTo>
                  <a:lnTo>
                    <a:pt x="230112" y="635453"/>
                  </a:lnTo>
                  <a:lnTo>
                    <a:pt x="187156" y="619027"/>
                  </a:lnTo>
                  <a:lnTo>
                    <a:pt x="147378" y="596901"/>
                  </a:lnTo>
                  <a:lnTo>
                    <a:pt x="111281" y="569578"/>
                  </a:lnTo>
                  <a:lnTo>
                    <a:pt x="79364" y="537558"/>
                  </a:lnTo>
                  <a:lnTo>
                    <a:pt x="52127" y="501345"/>
                  </a:lnTo>
                  <a:lnTo>
                    <a:pt x="30072" y="461440"/>
                  </a:lnTo>
                  <a:lnTo>
                    <a:pt x="13699" y="418346"/>
                  </a:lnTo>
                  <a:lnTo>
                    <a:pt x="3508" y="372565"/>
                  </a:lnTo>
                  <a:lnTo>
                    <a:pt x="0" y="324598"/>
                  </a:lnTo>
                  <a:lnTo>
                    <a:pt x="3508" y="276631"/>
                  </a:lnTo>
                  <a:lnTo>
                    <a:pt x="13699" y="230850"/>
                  </a:lnTo>
                  <a:lnTo>
                    <a:pt x="30072" y="187756"/>
                  </a:lnTo>
                  <a:lnTo>
                    <a:pt x="52127" y="147851"/>
                  </a:lnTo>
                  <a:lnTo>
                    <a:pt x="79364" y="111638"/>
                  </a:lnTo>
                  <a:lnTo>
                    <a:pt x="111281" y="79618"/>
                  </a:lnTo>
                  <a:lnTo>
                    <a:pt x="147378" y="52294"/>
                  </a:lnTo>
                  <a:lnTo>
                    <a:pt x="187156" y="30169"/>
                  </a:lnTo>
                  <a:lnTo>
                    <a:pt x="230112" y="13743"/>
                  </a:lnTo>
                  <a:lnTo>
                    <a:pt x="275748" y="3519"/>
                  </a:lnTo>
                  <a:lnTo>
                    <a:pt x="323561" y="0"/>
                  </a:lnTo>
                  <a:lnTo>
                    <a:pt x="1825223" y="0"/>
                  </a:lnTo>
                  <a:lnTo>
                    <a:pt x="1873037" y="3519"/>
                  </a:lnTo>
                  <a:lnTo>
                    <a:pt x="1918672" y="13743"/>
                  </a:lnTo>
                  <a:lnTo>
                    <a:pt x="1961629" y="30169"/>
                  </a:lnTo>
                  <a:lnTo>
                    <a:pt x="2001406" y="52294"/>
                  </a:lnTo>
                  <a:lnTo>
                    <a:pt x="2037504" y="79618"/>
                  </a:lnTo>
                  <a:lnTo>
                    <a:pt x="2069421" y="111638"/>
                  </a:lnTo>
                  <a:lnTo>
                    <a:pt x="2096657" y="147851"/>
                  </a:lnTo>
                  <a:lnTo>
                    <a:pt x="2118713" y="187756"/>
                  </a:lnTo>
                  <a:lnTo>
                    <a:pt x="2135086" y="230850"/>
                  </a:lnTo>
                  <a:lnTo>
                    <a:pt x="2145277" y="276631"/>
                  </a:lnTo>
                  <a:lnTo>
                    <a:pt x="2148785" y="324598"/>
                  </a:lnTo>
                  <a:lnTo>
                    <a:pt x="2145277" y="372565"/>
                  </a:lnTo>
                  <a:lnTo>
                    <a:pt x="2135086" y="418346"/>
                  </a:lnTo>
                  <a:lnTo>
                    <a:pt x="2118713" y="461440"/>
                  </a:lnTo>
                  <a:lnTo>
                    <a:pt x="2096657" y="501345"/>
                  </a:lnTo>
                  <a:lnTo>
                    <a:pt x="2069421" y="537558"/>
                  </a:lnTo>
                  <a:lnTo>
                    <a:pt x="2037504" y="569578"/>
                  </a:lnTo>
                  <a:lnTo>
                    <a:pt x="2001406" y="596901"/>
                  </a:lnTo>
                  <a:lnTo>
                    <a:pt x="1961629" y="619027"/>
                  </a:lnTo>
                  <a:lnTo>
                    <a:pt x="1918672" y="635453"/>
                  </a:lnTo>
                  <a:lnTo>
                    <a:pt x="1873037" y="645677"/>
                  </a:lnTo>
                  <a:lnTo>
                    <a:pt x="1853379" y="647124"/>
                  </a:lnTo>
                  <a:close/>
                </a:path>
              </a:pathLst>
            </a:custGeom>
            <a:solidFill>
              <a:srgbClr val="04A24A"/>
            </a:solidFill>
          </p:spPr>
          <p:txBody>
            <a:bodyPr wrap="square" lIns="0" tIns="0" rIns="0" bIns="0" rtlCol="0"/>
            <a:lstStyle/>
            <a:p>
              <a:endParaRPr/>
            </a:p>
          </p:txBody>
        </p:sp>
        <p:sp>
          <p:nvSpPr>
            <p:cNvPr id="14" name="object 14"/>
            <p:cNvSpPr/>
            <p:nvPr/>
          </p:nvSpPr>
          <p:spPr>
            <a:xfrm>
              <a:off x="3754840" y="6619508"/>
              <a:ext cx="1863089" cy="786130"/>
            </a:xfrm>
            <a:custGeom>
              <a:avLst/>
              <a:gdLst/>
              <a:ahLst/>
              <a:cxnLst/>
              <a:rect l="l" t="t" r="r" b="b"/>
              <a:pathLst>
                <a:path w="1863089" h="786129">
                  <a:moveTo>
                    <a:pt x="0" y="785764"/>
                  </a:moveTo>
                  <a:lnTo>
                    <a:pt x="1862932" y="0"/>
                  </a:lnTo>
                </a:path>
              </a:pathLst>
            </a:custGeom>
            <a:ln w="28572">
              <a:solidFill>
                <a:srgbClr val="A6A6A6"/>
              </a:solidFill>
            </a:ln>
          </p:spPr>
          <p:txBody>
            <a:bodyPr wrap="square" lIns="0" tIns="0" rIns="0" bIns="0" rtlCol="0"/>
            <a:lstStyle/>
            <a:p>
              <a:endParaRPr/>
            </a:p>
          </p:txBody>
        </p:sp>
        <p:pic>
          <p:nvPicPr>
            <p:cNvPr id="15" name="object 15"/>
            <p:cNvPicPr/>
            <p:nvPr/>
          </p:nvPicPr>
          <p:blipFill>
            <a:blip r:embed="rId2" cstate="print"/>
            <a:stretch>
              <a:fillRect/>
            </a:stretch>
          </p:blipFill>
          <p:spPr>
            <a:xfrm>
              <a:off x="3651654" y="7367541"/>
              <a:ext cx="114273" cy="114307"/>
            </a:xfrm>
            <a:prstGeom prst="rect">
              <a:avLst/>
            </a:prstGeom>
          </p:spPr>
        </p:pic>
        <p:sp>
          <p:nvSpPr>
            <p:cNvPr id="16" name="object 16"/>
            <p:cNvSpPr/>
            <p:nvPr/>
          </p:nvSpPr>
          <p:spPr>
            <a:xfrm>
              <a:off x="5548486" y="6602213"/>
              <a:ext cx="69850" cy="79375"/>
            </a:xfrm>
            <a:custGeom>
              <a:avLst/>
              <a:gdLst/>
              <a:ahLst/>
              <a:cxnLst/>
              <a:rect l="l" t="t" r="r" b="b"/>
              <a:pathLst>
                <a:path w="69850" h="79375">
                  <a:moveTo>
                    <a:pt x="0" y="0"/>
                  </a:moveTo>
                  <a:lnTo>
                    <a:pt x="69286" y="17295"/>
                  </a:lnTo>
                  <a:lnTo>
                    <a:pt x="33315" y="78986"/>
                  </a:lnTo>
                </a:path>
              </a:pathLst>
            </a:custGeom>
            <a:ln w="28566">
              <a:solidFill>
                <a:srgbClr val="A6A6A6"/>
              </a:solidFill>
            </a:ln>
          </p:spPr>
          <p:txBody>
            <a:bodyPr wrap="square" lIns="0" tIns="0" rIns="0" bIns="0" rtlCol="0"/>
            <a:lstStyle/>
            <a:p>
              <a:endParaRPr/>
            </a:p>
          </p:txBody>
        </p:sp>
        <p:sp>
          <p:nvSpPr>
            <p:cNvPr id="17" name="object 17"/>
            <p:cNvSpPr/>
            <p:nvPr/>
          </p:nvSpPr>
          <p:spPr>
            <a:xfrm>
              <a:off x="3766586" y="7816447"/>
              <a:ext cx="1851660" cy="812800"/>
            </a:xfrm>
            <a:custGeom>
              <a:avLst/>
              <a:gdLst/>
              <a:ahLst/>
              <a:cxnLst/>
              <a:rect l="l" t="t" r="r" b="b"/>
              <a:pathLst>
                <a:path w="1851660" h="812800">
                  <a:moveTo>
                    <a:pt x="0" y="0"/>
                  </a:moveTo>
                  <a:lnTo>
                    <a:pt x="1851409" y="812527"/>
                  </a:lnTo>
                </a:path>
              </a:pathLst>
            </a:custGeom>
            <a:ln w="28572">
              <a:solidFill>
                <a:srgbClr val="A6A6A6"/>
              </a:solidFill>
            </a:ln>
          </p:spPr>
          <p:txBody>
            <a:bodyPr wrap="square" lIns="0" tIns="0" rIns="0" bIns="0" rtlCol="0"/>
            <a:lstStyle/>
            <a:p>
              <a:endParaRPr/>
            </a:p>
          </p:txBody>
        </p:sp>
        <p:pic>
          <p:nvPicPr>
            <p:cNvPr id="18" name="object 18"/>
            <p:cNvPicPr/>
            <p:nvPr/>
          </p:nvPicPr>
          <p:blipFill>
            <a:blip r:embed="rId3" cstate="print"/>
            <a:stretch>
              <a:fillRect/>
            </a:stretch>
          </p:blipFill>
          <p:spPr>
            <a:xfrm>
              <a:off x="3663682" y="7739210"/>
              <a:ext cx="114271" cy="114300"/>
            </a:xfrm>
            <a:prstGeom prst="rect">
              <a:avLst/>
            </a:prstGeom>
          </p:spPr>
        </p:pic>
        <p:sp>
          <p:nvSpPr>
            <p:cNvPr id="19" name="object 19"/>
            <p:cNvSpPr/>
            <p:nvPr/>
          </p:nvSpPr>
          <p:spPr>
            <a:xfrm>
              <a:off x="5548463" y="8566770"/>
              <a:ext cx="69850" cy="78740"/>
            </a:xfrm>
            <a:custGeom>
              <a:avLst/>
              <a:gdLst/>
              <a:ahLst/>
              <a:cxnLst/>
              <a:rect l="l" t="t" r="r" b="b"/>
              <a:pathLst>
                <a:path w="69850" h="78740">
                  <a:moveTo>
                    <a:pt x="34450" y="0"/>
                  </a:moveTo>
                  <a:lnTo>
                    <a:pt x="69531" y="62204"/>
                  </a:lnTo>
                  <a:lnTo>
                    <a:pt x="0" y="78498"/>
                  </a:lnTo>
                </a:path>
              </a:pathLst>
            </a:custGeom>
            <a:ln w="28567">
              <a:solidFill>
                <a:srgbClr val="A6A6A6"/>
              </a:solidFill>
            </a:ln>
          </p:spPr>
          <p:txBody>
            <a:bodyPr wrap="square" lIns="0" tIns="0" rIns="0" bIns="0" rtlCol="0"/>
            <a:lstStyle/>
            <a:p>
              <a:endParaRPr/>
            </a:p>
          </p:txBody>
        </p:sp>
        <p:sp>
          <p:nvSpPr>
            <p:cNvPr id="20" name="object 20"/>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pic>
          <p:nvPicPr>
            <p:cNvPr id="21" name="object 21"/>
            <p:cNvPicPr/>
            <p:nvPr/>
          </p:nvPicPr>
          <p:blipFill>
            <a:blip r:embed="rId4" cstate="print"/>
            <a:stretch>
              <a:fillRect/>
            </a:stretch>
          </p:blipFill>
          <p:spPr>
            <a:xfrm>
              <a:off x="10998983" y="4878776"/>
              <a:ext cx="7289016" cy="2438399"/>
            </a:xfrm>
            <a:prstGeom prst="rect">
              <a:avLst/>
            </a:prstGeom>
          </p:spPr>
        </p:pic>
        <p:sp>
          <p:nvSpPr>
            <p:cNvPr id="22" name="object 22"/>
            <p:cNvSpPr/>
            <p:nvPr/>
          </p:nvSpPr>
          <p:spPr>
            <a:xfrm>
              <a:off x="11352884" y="5151559"/>
              <a:ext cx="6421755" cy="1864995"/>
            </a:xfrm>
            <a:custGeom>
              <a:avLst/>
              <a:gdLst/>
              <a:ahLst/>
              <a:cxnLst/>
              <a:rect l="l" t="t" r="r" b="b"/>
              <a:pathLst>
                <a:path w="6421755" h="1864995">
                  <a:moveTo>
                    <a:pt x="5705371" y="1864518"/>
                  </a:moveTo>
                  <a:lnTo>
                    <a:pt x="715953" y="1864518"/>
                  </a:lnTo>
                  <a:lnTo>
                    <a:pt x="684591" y="1861333"/>
                  </a:lnTo>
                  <a:lnTo>
                    <a:pt x="642156" y="1854127"/>
                  </a:lnTo>
                  <a:lnTo>
                    <a:pt x="600493" y="1844176"/>
                  </a:lnTo>
                  <a:lnTo>
                    <a:pt x="559666" y="1831558"/>
                  </a:lnTo>
                  <a:lnTo>
                    <a:pt x="519740" y="1816352"/>
                  </a:lnTo>
                  <a:lnTo>
                    <a:pt x="480780" y="1798637"/>
                  </a:lnTo>
                  <a:lnTo>
                    <a:pt x="442852" y="1778492"/>
                  </a:lnTo>
                  <a:lnTo>
                    <a:pt x="406021" y="1755994"/>
                  </a:lnTo>
                  <a:lnTo>
                    <a:pt x="370351" y="1731225"/>
                  </a:lnTo>
                  <a:lnTo>
                    <a:pt x="335908" y="1704261"/>
                  </a:lnTo>
                  <a:lnTo>
                    <a:pt x="302758" y="1675182"/>
                  </a:lnTo>
                  <a:lnTo>
                    <a:pt x="270964" y="1644067"/>
                  </a:lnTo>
                  <a:lnTo>
                    <a:pt x="240593" y="1610994"/>
                  </a:lnTo>
                  <a:lnTo>
                    <a:pt x="211709" y="1576043"/>
                  </a:lnTo>
                  <a:lnTo>
                    <a:pt x="184378" y="1539291"/>
                  </a:lnTo>
                  <a:lnTo>
                    <a:pt x="158664" y="1500819"/>
                  </a:lnTo>
                  <a:lnTo>
                    <a:pt x="134633" y="1460704"/>
                  </a:lnTo>
                  <a:lnTo>
                    <a:pt x="112350" y="1419026"/>
                  </a:lnTo>
                  <a:lnTo>
                    <a:pt x="91880" y="1375864"/>
                  </a:lnTo>
                  <a:lnTo>
                    <a:pt x="73289" y="1331295"/>
                  </a:lnTo>
                  <a:lnTo>
                    <a:pt x="56640" y="1285400"/>
                  </a:lnTo>
                  <a:lnTo>
                    <a:pt x="42001" y="1238256"/>
                  </a:lnTo>
                  <a:lnTo>
                    <a:pt x="29434" y="1189943"/>
                  </a:lnTo>
                  <a:lnTo>
                    <a:pt x="19007" y="1140540"/>
                  </a:lnTo>
                  <a:lnTo>
                    <a:pt x="10783" y="1090124"/>
                  </a:lnTo>
                  <a:lnTo>
                    <a:pt x="4828" y="1038776"/>
                  </a:lnTo>
                  <a:lnTo>
                    <a:pt x="1208" y="986574"/>
                  </a:lnTo>
                  <a:lnTo>
                    <a:pt x="0" y="934159"/>
                  </a:lnTo>
                  <a:lnTo>
                    <a:pt x="0" y="933034"/>
                  </a:lnTo>
                  <a:lnTo>
                    <a:pt x="1208" y="880618"/>
                  </a:lnTo>
                  <a:lnTo>
                    <a:pt x="4828" y="828416"/>
                  </a:lnTo>
                  <a:lnTo>
                    <a:pt x="10783" y="777068"/>
                  </a:lnTo>
                  <a:lnTo>
                    <a:pt x="19007" y="726652"/>
                  </a:lnTo>
                  <a:lnTo>
                    <a:pt x="29434" y="677249"/>
                  </a:lnTo>
                  <a:lnTo>
                    <a:pt x="42001" y="628936"/>
                  </a:lnTo>
                  <a:lnTo>
                    <a:pt x="56640" y="581792"/>
                  </a:lnTo>
                  <a:lnTo>
                    <a:pt x="73289" y="535896"/>
                  </a:lnTo>
                  <a:lnTo>
                    <a:pt x="91880" y="491328"/>
                  </a:lnTo>
                  <a:lnTo>
                    <a:pt x="112350" y="448165"/>
                  </a:lnTo>
                  <a:lnTo>
                    <a:pt x="134633" y="406487"/>
                  </a:lnTo>
                  <a:lnTo>
                    <a:pt x="158664" y="366373"/>
                  </a:lnTo>
                  <a:lnTo>
                    <a:pt x="184378" y="327900"/>
                  </a:lnTo>
                  <a:lnTo>
                    <a:pt x="211709" y="291149"/>
                  </a:lnTo>
                  <a:lnTo>
                    <a:pt x="240593" y="256198"/>
                  </a:lnTo>
                  <a:lnTo>
                    <a:pt x="270964" y="223125"/>
                  </a:lnTo>
                  <a:lnTo>
                    <a:pt x="302758" y="192010"/>
                  </a:lnTo>
                  <a:lnTo>
                    <a:pt x="335908" y="162931"/>
                  </a:lnTo>
                  <a:lnTo>
                    <a:pt x="370351" y="135967"/>
                  </a:lnTo>
                  <a:lnTo>
                    <a:pt x="406021" y="111197"/>
                  </a:lnTo>
                  <a:lnTo>
                    <a:pt x="442852" y="88700"/>
                  </a:lnTo>
                  <a:lnTo>
                    <a:pt x="480780" y="68554"/>
                  </a:lnTo>
                  <a:lnTo>
                    <a:pt x="519740" y="50839"/>
                  </a:lnTo>
                  <a:lnTo>
                    <a:pt x="559666" y="35633"/>
                  </a:lnTo>
                  <a:lnTo>
                    <a:pt x="600493" y="23015"/>
                  </a:lnTo>
                  <a:lnTo>
                    <a:pt x="642156" y="13064"/>
                  </a:lnTo>
                  <a:lnTo>
                    <a:pt x="684591" y="5859"/>
                  </a:lnTo>
                  <a:lnTo>
                    <a:pt x="727731" y="1477"/>
                  </a:lnTo>
                  <a:lnTo>
                    <a:pt x="771512" y="0"/>
                  </a:lnTo>
                  <a:lnTo>
                    <a:pt x="5649812" y="0"/>
                  </a:lnTo>
                  <a:lnTo>
                    <a:pt x="5693593" y="1477"/>
                  </a:lnTo>
                  <a:lnTo>
                    <a:pt x="5736733" y="5859"/>
                  </a:lnTo>
                  <a:lnTo>
                    <a:pt x="5779168" y="13064"/>
                  </a:lnTo>
                  <a:lnTo>
                    <a:pt x="5820831" y="23015"/>
                  </a:lnTo>
                  <a:lnTo>
                    <a:pt x="5861658" y="35633"/>
                  </a:lnTo>
                  <a:lnTo>
                    <a:pt x="5901584" y="50839"/>
                  </a:lnTo>
                  <a:lnTo>
                    <a:pt x="5940544" y="68554"/>
                  </a:lnTo>
                  <a:lnTo>
                    <a:pt x="5978472" y="88700"/>
                  </a:lnTo>
                  <a:lnTo>
                    <a:pt x="6015303" y="111197"/>
                  </a:lnTo>
                  <a:lnTo>
                    <a:pt x="6050973" y="135967"/>
                  </a:lnTo>
                  <a:lnTo>
                    <a:pt x="6085416" y="162931"/>
                  </a:lnTo>
                  <a:lnTo>
                    <a:pt x="6118566" y="192010"/>
                  </a:lnTo>
                  <a:lnTo>
                    <a:pt x="6150360" y="223125"/>
                  </a:lnTo>
                  <a:lnTo>
                    <a:pt x="6180731" y="256198"/>
                  </a:lnTo>
                  <a:lnTo>
                    <a:pt x="6209615" y="291149"/>
                  </a:lnTo>
                  <a:lnTo>
                    <a:pt x="6236946" y="327900"/>
                  </a:lnTo>
                  <a:lnTo>
                    <a:pt x="6262660" y="366373"/>
                  </a:lnTo>
                  <a:lnTo>
                    <a:pt x="6286691" y="406487"/>
                  </a:lnTo>
                  <a:lnTo>
                    <a:pt x="6308974" y="448165"/>
                  </a:lnTo>
                  <a:lnTo>
                    <a:pt x="6329444" y="491328"/>
                  </a:lnTo>
                  <a:lnTo>
                    <a:pt x="6348035" y="535896"/>
                  </a:lnTo>
                  <a:lnTo>
                    <a:pt x="6364684" y="581792"/>
                  </a:lnTo>
                  <a:lnTo>
                    <a:pt x="6379323" y="628936"/>
                  </a:lnTo>
                  <a:lnTo>
                    <a:pt x="6391890" y="677249"/>
                  </a:lnTo>
                  <a:lnTo>
                    <a:pt x="6402317" y="726652"/>
                  </a:lnTo>
                  <a:lnTo>
                    <a:pt x="6410541" y="777068"/>
                  </a:lnTo>
                  <a:lnTo>
                    <a:pt x="6416495" y="828416"/>
                  </a:lnTo>
                  <a:lnTo>
                    <a:pt x="6420116" y="880618"/>
                  </a:lnTo>
                  <a:lnTo>
                    <a:pt x="6421324" y="933034"/>
                  </a:lnTo>
                  <a:lnTo>
                    <a:pt x="6421324" y="934159"/>
                  </a:lnTo>
                  <a:lnTo>
                    <a:pt x="6420116" y="986574"/>
                  </a:lnTo>
                  <a:lnTo>
                    <a:pt x="6416495" y="1038776"/>
                  </a:lnTo>
                  <a:lnTo>
                    <a:pt x="6410541" y="1090124"/>
                  </a:lnTo>
                  <a:lnTo>
                    <a:pt x="6402317" y="1140540"/>
                  </a:lnTo>
                  <a:lnTo>
                    <a:pt x="6391890" y="1189943"/>
                  </a:lnTo>
                  <a:lnTo>
                    <a:pt x="6379323" y="1238256"/>
                  </a:lnTo>
                  <a:lnTo>
                    <a:pt x="6364684" y="1285400"/>
                  </a:lnTo>
                  <a:lnTo>
                    <a:pt x="6348035" y="1331295"/>
                  </a:lnTo>
                  <a:lnTo>
                    <a:pt x="6329444" y="1375864"/>
                  </a:lnTo>
                  <a:lnTo>
                    <a:pt x="6308974" y="1419026"/>
                  </a:lnTo>
                  <a:lnTo>
                    <a:pt x="6286691" y="1460704"/>
                  </a:lnTo>
                  <a:lnTo>
                    <a:pt x="6262660" y="1500819"/>
                  </a:lnTo>
                  <a:lnTo>
                    <a:pt x="6236946" y="1539291"/>
                  </a:lnTo>
                  <a:lnTo>
                    <a:pt x="6209615" y="1576043"/>
                  </a:lnTo>
                  <a:lnTo>
                    <a:pt x="6180731" y="1610994"/>
                  </a:lnTo>
                  <a:lnTo>
                    <a:pt x="6150360" y="1644067"/>
                  </a:lnTo>
                  <a:lnTo>
                    <a:pt x="6118566" y="1675182"/>
                  </a:lnTo>
                  <a:lnTo>
                    <a:pt x="6085416" y="1704261"/>
                  </a:lnTo>
                  <a:lnTo>
                    <a:pt x="6050973" y="1731225"/>
                  </a:lnTo>
                  <a:lnTo>
                    <a:pt x="6015303" y="1755994"/>
                  </a:lnTo>
                  <a:lnTo>
                    <a:pt x="5978472" y="1778492"/>
                  </a:lnTo>
                  <a:lnTo>
                    <a:pt x="5940544" y="1798637"/>
                  </a:lnTo>
                  <a:lnTo>
                    <a:pt x="5901584" y="1816352"/>
                  </a:lnTo>
                  <a:lnTo>
                    <a:pt x="5861658" y="1831558"/>
                  </a:lnTo>
                  <a:lnTo>
                    <a:pt x="5820831" y="1844176"/>
                  </a:lnTo>
                  <a:lnTo>
                    <a:pt x="5779168" y="1854127"/>
                  </a:lnTo>
                  <a:lnTo>
                    <a:pt x="5736733" y="1861333"/>
                  </a:lnTo>
                  <a:lnTo>
                    <a:pt x="5705371" y="1864518"/>
                  </a:lnTo>
                  <a:close/>
                </a:path>
              </a:pathLst>
            </a:custGeom>
            <a:solidFill>
              <a:srgbClr val="FFFFFF"/>
            </a:solidFill>
          </p:spPr>
          <p:txBody>
            <a:bodyPr wrap="square" lIns="0" tIns="0" rIns="0" bIns="0" rtlCol="0"/>
            <a:lstStyle/>
            <a:p>
              <a:endParaRPr/>
            </a:p>
          </p:txBody>
        </p:sp>
        <p:pic>
          <p:nvPicPr>
            <p:cNvPr id="23" name="object 23"/>
            <p:cNvPicPr/>
            <p:nvPr/>
          </p:nvPicPr>
          <p:blipFill>
            <a:blip r:embed="rId4" cstate="print"/>
            <a:stretch>
              <a:fillRect/>
            </a:stretch>
          </p:blipFill>
          <p:spPr>
            <a:xfrm>
              <a:off x="10998983" y="7065560"/>
              <a:ext cx="7289016" cy="2438399"/>
            </a:xfrm>
            <a:prstGeom prst="rect">
              <a:avLst/>
            </a:prstGeom>
          </p:spPr>
        </p:pic>
        <p:sp>
          <p:nvSpPr>
            <p:cNvPr id="24" name="object 24"/>
            <p:cNvSpPr/>
            <p:nvPr/>
          </p:nvSpPr>
          <p:spPr>
            <a:xfrm>
              <a:off x="11352884" y="7399752"/>
              <a:ext cx="6421755" cy="1478915"/>
            </a:xfrm>
            <a:custGeom>
              <a:avLst/>
              <a:gdLst/>
              <a:ahLst/>
              <a:cxnLst/>
              <a:rect l="l" t="t" r="r" b="b"/>
              <a:pathLst>
                <a:path w="6421755" h="1478915">
                  <a:moveTo>
                    <a:pt x="5649812" y="1478750"/>
                  </a:moveTo>
                  <a:lnTo>
                    <a:pt x="771512" y="1478750"/>
                  </a:lnTo>
                  <a:lnTo>
                    <a:pt x="722719" y="1477295"/>
                  </a:lnTo>
                  <a:lnTo>
                    <a:pt x="674733" y="1472989"/>
                  </a:lnTo>
                  <a:lnTo>
                    <a:pt x="627644" y="1465918"/>
                  </a:lnTo>
                  <a:lnTo>
                    <a:pt x="581542" y="1456169"/>
                  </a:lnTo>
                  <a:lnTo>
                    <a:pt x="536517" y="1443828"/>
                  </a:lnTo>
                  <a:lnTo>
                    <a:pt x="492661" y="1428981"/>
                  </a:lnTo>
                  <a:lnTo>
                    <a:pt x="450063" y="1411717"/>
                  </a:lnTo>
                  <a:lnTo>
                    <a:pt x="408814" y="1392120"/>
                  </a:lnTo>
                  <a:lnTo>
                    <a:pt x="369003" y="1370279"/>
                  </a:lnTo>
                  <a:lnTo>
                    <a:pt x="330723" y="1346279"/>
                  </a:lnTo>
                  <a:lnTo>
                    <a:pt x="294062" y="1320206"/>
                  </a:lnTo>
                  <a:lnTo>
                    <a:pt x="259111" y="1292148"/>
                  </a:lnTo>
                  <a:lnTo>
                    <a:pt x="225961" y="1262192"/>
                  </a:lnTo>
                  <a:lnTo>
                    <a:pt x="194702" y="1230423"/>
                  </a:lnTo>
                  <a:lnTo>
                    <a:pt x="165424" y="1196929"/>
                  </a:lnTo>
                  <a:lnTo>
                    <a:pt x="138218" y="1161796"/>
                  </a:lnTo>
                  <a:lnTo>
                    <a:pt x="113174" y="1125110"/>
                  </a:lnTo>
                  <a:lnTo>
                    <a:pt x="90383" y="1086959"/>
                  </a:lnTo>
                  <a:lnTo>
                    <a:pt x="69934" y="1047428"/>
                  </a:lnTo>
                  <a:lnTo>
                    <a:pt x="51919" y="1006605"/>
                  </a:lnTo>
                  <a:lnTo>
                    <a:pt x="36427" y="964576"/>
                  </a:lnTo>
                  <a:lnTo>
                    <a:pt x="23550" y="921428"/>
                  </a:lnTo>
                  <a:lnTo>
                    <a:pt x="13376" y="877247"/>
                  </a:lnTo>
                  <a:lnTo>
                    <a:pt x="5998" y="832120"/>
                  </a:lnTo>
                  <a:lnTo>
                    <a:pt x="1504" y="786134"/>
                  </a:lnTo>
                  <a:lnTo>
                    <a:pt x="0" y="739774"/>
                  </a:lnTo>
                  <a:lnTo>
                    <a:pt x="0" y="738975"/>
                  </a:lnTo>
                  <a:lnTo>
                    <a:pt x="1504" y="692616"/>
                  </a:lnTo>
                  <a:lnTo>
                    <a:pt x="5998" y="646629"/>
                  </a:lnTo>
                  <a:lnTo>
                    <a:pt x="13376" y="601502"/>
                  </a:lnTo>
                  <a:lnTo>
                    <a:pt x="23550" y="557321"/>
                  </a:lnTo>
                  <a:lnTo>
                    <a:pt x="36427" y="514173"/>
                  </a:lnTo>
                  <a:lnTo>
                    <a:pt x="51919" y="472144"/>
                  </a:lnTo>
                  <a:lnTo>
                    <a:pt x="69934" y="431321"/>
                  </a:lnTo>
                  <a:lnTo>
                    <a:pt x="90383" y="391791"/>
                  </a:lnTo>
                  <a:lnTo>
                    <a:pt x="113174" y="353639"/>
                  </a:lnTo>
                  <a:lnTo>
                    <a:pt x="138218" y="316954"/>
                  </a:lnTo>
                  <a:lnTo>
                    <a:pt x="165424" y="281821"/>
                  </a:lnTo>
                  <a:lnTo>
                    <a:pt x="194702" y="248326"/>
                  </a:lnTo>
                  <a:lnTo>
                    <a:pt x="225961" y="216557"/>
                  </a:lnTo>
                  <a:lnTo>
                    <a:pt x="259111" y="186601"/>
                  </a:lnTo>
                  <a:lnTo>
                    <a:pt x="294062" y="158543"/>
                  </a:lnTo>
                  <a:lnTo>
                    <a:pt x="330723" y="132471"/>
                  </a:lnTo>
                  <a:lnTo>
                    <a:pt x="369003" y="108471"/>
                  </a:lnTo>
                  <a:lnTo>
                    <a:pt x="408814" y="86629"/>
                  </a:lnTo>
                  <a:lnTo>
                    <a:pt x="450063" y="67032"/>
                  </a:lnTo>
                  <a:lnTo>
                    <a:pt x="492661" y="49768"/>
                  </a:lnTo>
                  <a:lnTo>
                    <a:pt x="536517" y="34922"/>
                  </a:lnTo>
                  <a:lnTo>
                    <a:pt x="581542" y="22581"/>
                  </a:lnTo>
                  <a:lnTo>
                    <a:pt x="627644" y="12831"/>
                  </a:lnTo>
                  <a:lnTo>
                    <a:pt x="674733" y="5760"/>
                  </a:lnTo>
                  <a:lnTo>
                    <a:pt x="722719" y="1454"/>
                  </a:lnTo>
                  <a:lnTo>
                    <a:pt x="771512" y="0"/>
                  </a:lnTo>
                  <a:lnTo>
                    <a:pt x="5649812" y="0"/>
                  </a:lnTo>
                  <a:lnTo>
                    <a:pt x="5698605" y="1454"/>
                  </a:lnTo>
                  <a:lnTo>
                    <a:pt x="5746591" y="5760"/>
                  </a:lnTo>
                  <a:lnTo>
                    <a:pt x="5793680" y="12831"/>
                  </a:lnTo>
                  <a:lnTo>
                    <a:pt x="5839782" y="22581"/>
                  </a:lnTo>
                  <a:lnTo>
                    <a:pt x="5884807" y="34922"/>
                  </a:lnTo>
                  <a:lnTo>
                    <a:pt x="5928663" y="49768"/>
                  </a:lnTo>
                  <a:lnTo>
                    <a:pt x="5971261" y="67032"/>
                  </a:lnTo>
                  <a:lnTo>
                    <a:pt x="6012511" y="86629"/>
                  </a:lnTo>
                  <a:lnTo>
                    <a:pt x="6052321" y="108471"/>
                  </a:lnTo>
                  <a:lnTo>
                    <a:pt x="6090602" y="132471"/>
                  </a:lnTo>
                  <a:lnTo>
                    <a:pt x="6127262" y="158543"/>
                  </a:lnTo>
                  <a:lnTo>
                    <a:pt x="6162213" y="186601"/>
                  </a:lnTo>
                  <a:lnTo>
                    <a:pt x="6195363" y="216557"/>
                  </a:lnTo>
                  <a:lnTo>
                    <a:pt x="6226622" y="248326"/>
                  </a:lnTo>
                  <a:lnTo>
                    <a:pt x="6255900" y="281821"/>
                  </a:lnTo>
                  <a:lnTo>
                    <a:pt x="6283106" y="316954"/>
                  </a:lnTo>
                  <a:lnTo>
                    <a:pt x="6308150" y="353639"/>
                  </a:lnTo>
                  <a:lnTo>
                    <a:pt x="6330941" y="391791"/>
                  </a:lnTo>
                  <a:lnTo>
                    <a:pt x="6351390" y="431321"/>
                  </a:lnTo>
                  <a:lnTo>
                    <a:pt x="6369405" y="472144"/>
                  </a:lnTo>
                  <a:lnTo>
                    <a:pt x="6384897" y="514173"/>
                  </a:lnTo>
                  <a:lnTo>
                    <a:pt x="6397774" y="557321"/>
                  </a:lnTo>
                  <a:lnTo>
                    <a:pt x="6407948" y="601502"/>
                  </a:lnTo>
                  <a:lnTo>
                    <a:pt x="6415326" y="646629"/>
                  </a:lnTo>
                  <a:lnTo>
                    <a:pt x="6419819" y="692616"/>
                  </a:lnTo>
                  <a:lnTo>
                    <a:pt x="6421324" y="738975"/>
                  </a:lnTo>
                  <a:lnTo>
                    <a:pt x="6421324" y="739774"/>
                  </a:lnTo>
                  <a:lnTo>
                    <a:pt x="6419819" y="786134"/>
                  </a:lnTo>
                  <a:lnTo>
                    <a:pt x="6415326" y="832120"/>
                  </a:lnTo>
                  <a:lnTo>
                    <a:pt x="6407948" y="877247"/>
                  </a:lnTo>
                  <a:lnTo>
                    <a:pt x="6397774" y="921428"/>
                  </a:lnTo>
                  <a:lnTo>
                    <a:pt x="6384897" y="964576"/>
                  </a:lnTo>
                  <a:lnTo>
                    <a:pt x="6369405" y="1006605"/>
                  </a:lnTo>
                  <a:lnTo>
                    <a:pt x="6351390" y="1047428"/>
                  </a:lnTo>
                  <a:lnTo>
                    <a:pt x="6330941" y="1086959"/>
                  </a:lnTo>
                  <a:lnTo>
                    <a:pt x="6308150" y="1125110"/>
                  </a:lnTo>
                  <a:lnTo>
                    <a:pt x="6283106" y="1161796"/>
                  </a:lnTo>
                  <a:lnTo>
                    <a:pt x="6255900" y="1196929"/>
                  </a:lnTo>
                  <a:lnTo>
                    <a:pt x="6226622" y="1230423"/>
                  </a:lnTo>
                  <a:lnTo>
                    <a:pt x="6195363" y="1262192"/>
                  </a:lnTo>
                  <a:lnTo>
                    <a:pt x="6162213" y="1292148"/>
                  </a:lnTo>
                  <a:lnTo>
                    <a:pt x="6127262" y="1320206"/>
                  </a:lnTo>
                  <a:lnTo>
                    <a:pt x="6090602" y="1346279"/>
                  </a:lnTo>
                  <a:lnTo>
                    <a:pt x="6052321" y="1370279"/>
                  </a:lnTo>
                  <a:lnTo>
                    <a:pt x="6012511" y="1392120"/>
                  </a:lnTo>
                  <a:lnTo>
                    <a:pt x="5971261" y="1411717"/>
                  </a:lnTo>
                  <a:lnTo>
                    <a:pt x="5928663" y="1428981"/>
                  </a:lnTo>
                  <a:lnTo>
                    <a:pt x="5884807" y="1443828"/>
                  </a:lnTo>
                  <a:lnTo>
                    <a:pt x="5839782" y="1456169"/>
                  </a:lnTo>
                  <a:lnTo>
                    <a:pt x="5793680" y="1465918"/>
                  </a:lnTo>
                  <a:lnTo>
                    <a:pt x="5746591" y="1472989"/>
                  </a:lnTo>
                  <a:lnTo>
                    <a:pt x="5698605" y="1477295"/>
                  </a:lnTo>
                  <a:lnTo>
                    <a:pt x="5649812" y="1478750"/>
                  </a:lnTo>
                  <a:close/>
                </a:path>
              </a:pathLst>
            </a:custGeom>
            <a:solidFill>
              <a:srgbClr val="FFFFFF"/>
            </a:solidFill>
          </p:spPr>
          <p:txBody>
            <a:bodyPr wrap="square" lIns="0" tIns="0" rIns="0" bIns="0" rtlCol="0"/>
            <a:lstStyle/>
            <a:p>
              <a:endParaRPr/>
            </a:p>
          </p:txBody>
        </p:sp>
        <p:sp>
          <p:nvSpPr>
            <p:cNvPr id="25" name="object 25"/>
            <p:cNvSpPr/>
            <p:nvPr/>
          </p:nvSpPr>
          <p:spPr>
            <a:xfrm>
              <a:off x="11352860" y="5349493"/>
              <a:ext cx="1478915" cy="3529329"/>
            </a:xfrm>
            <a:custGeom>
              <a:avLst/>
              <a:gdLst/>
              <a:ahLst/>
              <a:cxnLst/>
              <a:rect l="l" t="t" r="r" b="b"/>
              <a:pathLst>
                <a:path w="1478915" h="3529329">
                  <a:moveTo>
                    <a:pt x="1478749" y="2789644"/>
                  </a:moveTo>
                  <a:lnTo>
                    <a:pt x="1477187" y="2741028"/>
                  </a:lnTo>
                  <a:lnTo>
                    <a:pt x="1472526" y="2693251"/>
                  </a:lnTo>
                  <a:lnTo>
                    <a:pt x="1464894" y="2646413"/>
                  </a:lnTo>
                  <a:lnTo>
                    <a:pt x="1454365" y="2600617"/>
                  </a:lnTo>
                  <a:lnTo>
                    <a:pt x="1441056" y="2555938"/>
                  </a:lnTo>
                  <a:lnTo>
                    <a:pt x="1425054" y="2512504"/>
                  </a:lnTo>
                  <a:lnTo>
                    <a:pt x="1406461" y="2470378"/>
                  </a:lnTo>
                  <a:lnTo>
                    <a:pt x="1385379" y="2429687"/>
                  </a:lnTo>
                  <a:lnTo>
                    <a:pt x="1361884" y="2390521"/>
                  </a:lnTo>
                  <a:lnTo>
                    <a:pt x="1336103" y="2352979"/>
                  </a:lnTo>
                  <a:lnTo>
                    <a:pt x="1308100" y="2317140"/>
                  </a:lnTo>
                  <a:lnTo>
                    <a:pt x="1278001" y="2283117"/>
                  </a:lnTo>
                  <a:lnTo>
                    <a:pt x="1245895" y="2251011"/>
                  </a:lnTo>
                  <a:lnTo>
                    <a:pt x="1211884" y="2220912"/>
                  </a:lnTo>
                  <a:lnTo>
                    <a:pt x="1176045" y="2192921"/>
                  </a:lnTo>
                  <a:lnTo>
                    <a:pt x="1138491" y="2167128"/>
                  </a:lnTo>
                  <a:lnTo>
                    <a:pt x="1099324" y="2143645"/>
                  </a:lnTo>
                  <a:lnTo>
                    <a:pt x="1058633" y="2122551"/>
                  </a:lnTo>
                  <a:lnTo>
                    <a:pt x="1016520" y="2103958"/>
                  </a:lnTo>
                  <a:lnTo>
                    <a:pt x="973074" y="2087956"/>
                  </a:lnTo>
                  <a:lnTo>
                    <a:pt x="928408" y="2074646"/>
                  </a:lnTo>
                  <a:lnTo>
                    <a:pt x="882611" y="2064131"/>
                  </a:lnTo>
                  <a:lnTo>
                    <a:pt x="835774" y="2056485"/>
                  </a:lnTo>
                  <a:lnTo>
                    <a:pt x="787996" y="2051837"/>
                  </a:lnTo>
                  <a:lnTo>
                    <a:pt x="739381" y="2050262"/>
                  </a:lnTo>
                  <a:lnTo>
                    <a:pt x="690765" y="2051837"/>
                  </a:lnTo>
                  <a:lnTo>
                    <a:pt x="642988" y="2056485"/>
                  </a:lnTo>
                  <a:lnTo>
                    <a:pt x="596150" y="2064131"/>
                  </a:lnTo>
                  <a:lnTo>
                    <a:pt x="550354" y="2074646"/>
                  </a:lnTo>
                  <a:lnTo>
                    <a:pt x="505675" y="2087956"/>
                  </a:lnTo>
                  <a:lnTo>
                    <a:pt x="462241" y="2103958"/>
                  </a:lnTo>
                  <a:lnTo>
                    <a:pt x="420128" y="2122551"/>
                  </a:lnTo>
                  <a:lnTo>
                    <a:pt x="379437" y="2143645"/>
                  </a:lnTo>
                  <a:lnTo>
                    <a:pt x="340271" y="2167128"/>
                  </a:lnTo>
                  <a:lnTo>
                    <a:pt x="302717" y="2192921"/>
                  </a:lnTo>
                  <a:lnTo>
                    <a:pt x="266877" y="2220912"/>
                  </a:lnTo>
                  <a:lnTo>
                    <a:pt x="232867" y="2251011"/>
                  </a:lnTo>
                  <a:lnTo>
                    <a:pt x="200748" y="2283117"/>
                  </a:lnTo>
                  <a:lnTo>
                    <a:pt x="170649" y="2317140"/>
                  </a:lnTo>
                  <a:lnTo>
                    <a:pt x="142659" y="2352979"/>
                  </a:lnTo>
                  <a:lnTo>
                    <a:pt x="116878" y="2390521"/>
                  </a:lnTo>
                  <a:lnTo>
                    <a:pt x="93383" y="2429687"/>
                  </a:lnTo>
                  <a:lnTo>
                    <a:pt x="72288" y="2470378"/>
                  </a:lnTo>
                  <a:lnTo>
                    <a:pt x="53695" y="2512504"/>
                  </a:lnTo>
                  <a:lnTo>
                    <a:pt x="37693" y="2555938"/>
                  </a:lnTo>
                  <a:lnTo>
                    <a:pt x="24384" y="2600617"/>
                  </a:lnTo>
                  <a:lnTo>
                    <a:pt x="13868" y="2646413"/>
                  </a:lnTo>
                  <a:lnTo>
                    <a:pt x="6235" y="2693251"/>
                  </a:lnTo>
                  <a:lnTo>
                    <a:pt x="1574" y="2741028"/>
                  </a:lnTo>
                  <a:lnTo>
                    <a:pt x="0" y="2789644"/>
                  </a:lnTo>
                  <a:lnTo>
                    <a:pt x="1574" y="2838259"/>
                  </a:lnTo>
                  <a:lnTo>
                    <a:pt x="6235" y="2886024"/>
                  </a:lnTo>
                  <a:lnTo>
                    <a:pt x="13868" y="2932861"/>
                  </a:lnTo>
                  <a:lnTo>
                    <a:pt x="24384" y="2978670"/>
                  </a:lnTo>
                  <a:lnTo>
                    <a:pt x="37693" y="3023336"/>
                  </a:lnTo>
                  <a:lnTo>
                    <a:pt x="53695" y="3066783"/>
                  </a:lnTo>
                  <a:lnTo>
                    <a:pt x="72288" y="3108896"/>
                  </a:lnTo>
                  <a:lnTo>
                    <a:pt x="93383" y="3149587"/>
                  </a:lnTo>
                  <a:lnTo>
                    <a:pt x="116878" y="3188754"/>
                  </a:lnTo>
                  <a:lnTo>
                    <a:pt x="142659" y="3226308"/>
                  </a:lnTo>
                  <a:lnTo>
                    <a:pt x="170649" y="3262134"/>
                  </a:lnTo>
                  <a:lnTo>
                    <a:pt x="200748" y="3296158"/>
                  </a:lnTo>
                  <a:lnTo>
                    <a:pt x="232867" y="3328263"/>
                  </a:lnTo>
                  <a:lnTo>
                    <a:pt x="266877" y="3358362"/>
                  </a:lnTo>
                  <a:lnTo>
                    <a:pt x="302717" y="3386353"/>
                  </a:lnTo>
                  <a:lnTo>
                    <a:pt x="340271" y="3412147"/>
                  </a:lnTo>
                  <a:lnTo>
                    <a:pt x="379437" y="3435642"/>
                  </a:lnTo>
                  <a:lnTo>
                    <a:pt x="420128" y="3456724"/>
                  </a:lnTo>
                  <a:lnTo>
                    <a:pt x="462241" y="3475317"/>
                  </a:lnTo>
                  <a:lnTo>
                    <a:pt x="505675" y="3491319"/>
                  </a:lnTo>
                  <a:lnTo>
                    <a:pt x="550354" y="3504628"/>
                  </a:lnTo>
                  <a:lnTo>
                    <a:pt x="596150" y="3515156"/>
                  </a:lnTo>
                  <a:lnTo>
                    <a:pt x="642988" y="3522789"/>
                  </a:lnTo>
                  <a:lnTo>
                    <a:pt x="690765" y="3527437"/>
                  </a:lnTo>
                  <a:lnTo>
                    <a:pt x="739368" y="3529012"/>
                  </a:lnTo>
                  <a:lnTo>
                    <a:pt x="787996" y="3527437"/>
                  </a:lnTo>
                  <a:lnTo>
                    <a:pt x="835774" y="3522789"/>
                  </a:lnTo>
                  <a:lnTo>
                    <a:pt x="882611" y="3515156"/>
                  </a:lnTo>
                  <a:lnTo>
                    <a:pt x="928408" y="3504628"/>
                  </a:lnTo>
                  <a:lnTo>
                    <a:pt x="973074" y="3491319"/>
                  </a:lnTo>
                  <a:lnTo>
                    <a:pt x="1016520" y="3475317"/>
                  </a:lnTo>
                  <a:lnTo>
                    <a:pt x="1058633" y="3456724"/>
                  </a:lnTo>
                  <a:lnTo>
                    <a:pt x="1099324" y="3435642"/>
                  </a:lnTo>
                  <a:lnTo>
                    <a:pt x="1138491" y="3412147"/>
                  </a:lnTo>
                  <a:lnTo>
                    <a:pt x="1176045" y="3386353"/>
                  </a:lnTo>
                  <a:lnTo>
                    <a:pt x="1211884" y="3358362"/>
                  </a:lnTo>
                  <a:lnTo>
                    <a:pt x="1245895" y="3328263"/>
                  </a:lnTo>
                  <a:lnTo>
                    <a:pt x="1278001" y="3296158"/>
                  </a:lnTo>
                  <a:lnTo>
                    <a:pt x="1308100" y="3262134"/>
                  </a:lnTo>
                  <a:lnTo>
                    <a:pt x="1336103" y="3226308"/>
                  </a:lnTo>
                  <a:lnTo>
                    <a:pt x="1361884" y="3188754"/>
                  </a:lnTo>
                  <a:lnTo>
                    <a:pt x="1385379" y="3149587"/>
                  </a:lnTo>
                  <a:lnTo>
                    <a:pt x="1406461" y="3108896"/>
                  </a:lnTo>
                  <a:lnTo>
                    <a:pt x="1425054" y="3066783"/>
                  </a:lnTo>
                  <a:lnTo>
                    <a:pt x="1441056" y="3023336"/>
                  </a:lnTo>
                  <a:lnTo>
                    <a:pt x="1454365" y="2978670"/>
                  </a:lnTo>
                  <a:lnTo>
                    <a:pt x="1464894" y="2932861"/>
                  </a:lnTo>
                  <a:lnTo>
                    <a:pt x="1472526" y="2886024"/>
                  </a:lnTo>
                  <a:lnTo>
                    <a:pt x="1477187" y="2838259"/>
                  </a:lnTo>
                  <a:lnTo>
                    <a:pt x="1478749" y="2789644"/>
                  </a:lnTo>
                  <a:close/>
                </a:path>
                <a:path w="1478915" h="3529329">
                  <a:moveTo>
                    <a:pt x="1478749" y="739368"/>
                  </a:moveTo>
                  <a:lnTo>
                    <a:pt x="1477187" y="690765"/>
                  </a:lnTo>
                  <a:lnTo>
                    <a:pt x="1472526" y="642988"/>
                  </a:lnTo>
                  <a:lnTo>
                    <a:pt x="1464894" y="596150"/>
                  </a:lnTo>
                  <a:lnTo>
                    <a:pt x="1454365" y="550341"/>
                  </a:lnTo>
                  <a:lnTo>
                    <a:pt x="1441056" y="505675"/>
                  </a:lnTo>
                  <a:lnTo>
                    <a:pt x="1425054" y="462229"/>
                  </a:lnTo>
                  <a:lnTo>
                    <a:pt x="1406461" y="420116"/>
                  </a:lnTo>
                  <a:lnTo>
                    <a:pt x="1385379" y="379425"/>
                  </a:lnTo>
                  <a:lnTo>
                    <a:pt x="1361884" y="340258"/>
                  </a:lnTo>
                  <a:lnTo>
                    <a:pt x="1336103" y="302704"/>
                  </a:lnTo>
                  <a:lnTo>
                    <a:pt x="1308100" y="266877"/>
                  </a:lnTo>
                  <a:lnTo>
                    <a:pt x="1278001" y="232854"/>
                  </a:lnTo>
                  <a:lnTo>
                    <a:pt x="1245895" y="200748"/>
                  </a:lnTo>
                  <a:lnTo>
                    <a:pt x="1211884" y="170649"/>
                  </a:lnTo>
                  <a:lnTo>
                    <a:pt x="1176045" y="142659"/>
                  </a:lnTo>
                  <a:lnTo>
                    <a:pt x="1138491" y="116865"/>
                  </a:lnTo>
                  <a:lnTo>
                    <a:pt x="1099324" y="93383"/>
                  </a:lnTo>
                  <a:lnTo>
                    <a:pt x="1058633" y="72288"/>
                  </a:lnTo>
                  <a:lnTo>
                    <a:pt x="1016520" y="53695"/>
                  </a:lnTo>
                  <a:lnTo>
                    <a:pt x="973074" y="37693"/>
                  </a:lnTo>
                  <a:lnTo>
                    <a:pt x="928408" y="24384"/>
                  </a:lnTo>
                  <a:lnTo>
                    <a:pt x="882611" y="13855"/>
                  </a:lnTo>
                  <a:lnTo>
                    <a:pt x="835774" y="6223"/>
                  </a:lnTo>
                  <a:lnTo>
                    <a:pt x="787996" y="1574"/>
                  </a:lnTo>
                  <a:lnTo>
                    <a:pt x="739381" y="0"/>
                  </a:lnTo>
                  <a:lnTo>
                    <a:pt x="690765" y="1574"/>
                  </a:lnTo>
                  <a:lnTo>
                    <a:pt x="642988" y="6223"/>
                  </a:lnTo>
                  <a:lnTo>
                    <a:pt x="596150" y="13855"/>
                  </a:lnTo>
                  <a:lnTo>
                    <a:pt x="550354" y="24384"/>
                  </a:lnTo>
                  <a:lnTo>
                    <a:pt x="505675" y="37693"/>
                  </a:lnTo>
                  <a:lnTo>
                    <a:pt x="462241" y="53695"/>
                  </a:lnTo>
                  <a:lnTo>
                    <a:pt x="420128" y="72288"/>
                  </a:lnTo>
                  <a:lnTo>
                    <a:pt x="379437" y="93383"/>
                  </a:lnTo>
                  <a:lnTo>
                    <a:pt x="340271" y="116865"/>
                  </a:lnTo>
                  <a:lnTo>
                    <a:pt x="302717" y="142659"/>
                  </a:lnTo>
                  <a:lnTo>
                    <a:pt x="266877" y="170649"/>
                  </a:lnTo>
                  <a:lnTo>
                    <a:pt x="232867" y="200748"/>
                  </a:lnTo>
                  <a:lnTo>
                    <a:pt x="200748" y="232854"/>
                  </a:lnTo>
                  <a:lnTo>
                    <a:pt x="170649" y="266877"/>
                  </a:lnTo>
                  <a:lnTo>
                    <a:pt x="142659" y="302704"/>
                  </a:lnTo>
                  <a:lnTo>
                    <a:pt x="116878" y="340258"/>
                  </a:lnTo>
                  <a:lnTo>
                    <a:pt x="93383" y="379425"/>
                  </a:lnTo>
                  <a:lnTo>
                    <a:pt x="72288" y="420116"/>
                  </a:lnTo>
                  <a:lnTo>
                    <a:pt x="53695" y="462229"/>
                  </a:lnTo>
                  <a:lnTo>
                    <a:pt x="37693" y="505675"/>
                  </a:lnTo>
                  <a:lnTo>
                    <a:pt x="24384" y="550341"/>
                  </a:lnTo>
                  <a:lnTo>
                    <a:pt x="13868" y="596150"/>
                  </a:lnTo>
                  <a:lnTo>
                    <a:pt x="6235" y="642988"/>
                  </a:lnTo>
                  <a:lnTo>
                    <a:pt x="1574" y="690765"/>
                  </a:lnTo>
                  <a:lnTo>
                    <a:pt x="0" y="739368"/>
                  </a:lnTo>
                  <a:lnTo>
                    <a:pt x="1574" y="787984"/>
                  </a:lnTo>
                  <a:lnTo>
                    <a:pt x="6235" y="835761"/>
                  </a:lnTo>
                  <a:lnTo>
                    <a:pt x="13868" y="882599"/>
                  </a:lnTo>
                  <a:lnTo>
                    <a:pt x="24384" y="928408"/>
                  </a:lnTo>
                  <a:lnTo>
                    <a:pt x="37693" y="973074"/>
                  </a:lnTo>
                  <a:lnTo>
                    <a:pt x="53695" y="1016520"/>
                  </a:lnTo>
                  <a:lnTo>
                    <a:pt x="72288" y="1058633"/>
                  </a:lnTo>
                  <a:lnTo>
                    <a:pt x="93383" y="1099324"/>
                  </a:lnTo>
                  <a:lnTo>
                    <a:pt x="116878" y="1138491"/>
                  </a:lnTo>
                  <a:lnTo>
                    <a:pt x="142659" y="1176045"/>
                  </a:lnTo>
                  <a:lnTo>
                    <a:pt x="170649" y="1211872"/>
                  </a:lnTo>
                  <a:lnTo>
                    <a:pt x="200748" y="1245895"/>
                  </a:lnTo>
                  <a:lnTo>
                    <a:pt x="232867" y="1278001"/>
                  </a:lnTo>
                  <a:lnTo>
                    <a:pt x="266877" y="1308100"/>
                  </a:lnTo>
                  <a:lnTo>
                    <a:pt x="302717" y="1336090"/>
                  </a:lnTo>
                  <a:lnTo>
                    <a:pt x="340271" y="1361884"/>
                  </a:lnTo>
                  <a:lnTo>
                    <a:pt x="379437" y="1385366"/>
                  </a:lnTo>
                  <a:lnTo>
                    <a:pt x="420128" y="1406461"/>
                  </a:lnTo>
                  <a:lnTo>
                    <a:pt x="462241" y="1425054"/>
                  </a:lnTo>
                  <a:lnTo>
                    <a:pt x="505675" y="1441056"/>
                  </a:lnTo>
                  <a:lnTo>
                    <a:pt x="550354" y="1454365"/>
                  </a:lnTo>
                  <a:lnTo>
                    <a:pt x="596150" y="1464881"/>
                  </a:lnTo>
                  <a:lnTo>
                    <a:pt x="642988" y="1472526"/>
                  </a:lnTo>
                  <a:lnTo>
                    <a:pt x="690765" y="1477175"/>
                  </a:lnTo>
                  <a:lnTo>
                    <a:pt x="739381" y="1478749"/>
                  </a:lnTo>
                  <a:lnTo>
                    <a:pt x="787996" y="1477175"/>
                  </a:lnTo>
                  <a:lnTo>
                    <a:pt x="835774" y="1472526"/>
                  </a:lnTo>
                  <a:lnTo>
                    <a:pt x="882611" y="1464881"/>
                  </a:lnTo>
                  <a:lnTo>
                    <a:pt x="928408" y="1454365"/>
                  </a:lnTo>
                  <a:lnTo>
                    <a:pt x="973074" y="1441056"/>
                  </a:lnTo>
                  <a:lnTo>
                    <a:pt x="1016520" y="1425054"/>
                  </a:lnTo>
                  <a:lnTo>
                    <a:pt x="1058633" y="1406461"/>
                  </a:lnTo>
                  <a:lnTo>
                    <a:pt x="1099324" y="1385366"/>
                  </a:lnTo>
                  <a:lnTo>
                    <a:pt x="1138491" y="1361884"/>
                  </a:lnTo>
                  <a:lnTo>
                    <a:pt x="1176045" y="1336090"/>
                  </a:lnTo>
                  <a:lnTo>
                    <a:pt x="1211884" y="1308100"/>
                  </a:lnTo>
                  <a:lnTo>
                    <a:pt x="1245895" y="1278001"/>
                  </a:lnTo>
                  <a:lnTo>
                    <a:pt x="1278001" y="1245895"/>
                  </a:lnTo>
                  <a:lnTo>
                    <a:pt x="1308100" y="1211872"/>
                  </a:lnTo>
                  <a:lnTo>
                    <a:pt x="1336103" y="1176045"/>
                  </a:lnTo>
                  <a:lnTo>
                    <a:pt x="1361884" y="1138491"/>
                  </a:lnTo>
                  <a:lnTo>
                    <a:pt x="1385379" y="1099324"/>
                  </a:lnTo>
                  <a:lnTo>
                    <a:pt x="1406461" y="1058633"/>
                  </a:lnTo>
                  <a:lnTo>
                    <a:pt x="1425054" y="1016520"/>
                  </a:lnTo>
                  <a:lnTo>
                    <a:pt x="1441056" y="973074"/>
                  </a:lnTo>
                  <a:lnTo>
                    <a:pt x="1454365" y="928408"/>
                  </a:lnTo>
                  <a:lnTo>
                    <a:pt x="1464894" y="882599"/>
                  </a:lnTo>
                  <a:lnTo>
                    <a:pt x="1472526" y="835761"/>
                  </a:lnTo>
                  <a:lnTo>
                    <a:pt x="1477187" y="787984"/>
                  </a:lnTo>
                  <a:lnTo>
                    <a:pt x="1478749" y="739368"/>
                  </a:lnTo>
                  <a:close/>
                </a:path>
              </a:pathLst>
            </a:custGeom>
            <a:solidFill>
              <a:srgbClr val="21408B"/>
            </a:solidFill>
          </p:spPr>
          <p:txBody>
            <a:bodyPr wrap="square" lIns="0" tIns="0" rIns="0" bIns="0" rtlCol="0"/>
            <a:lstStyle/>
            <a:p>
              <a:endParaRPr/>
            </a:p>
          </p:txBody>
        </p:sp>
        <p:sp>
          <p:nvSpPr>
            <p:cNvPr id="26" name="object 26"/>
            <p:cNvSpPr/>
            <p:nvPr/>
          </p:nvSpPr>
          <p:spPr>
            <a:xfrm>
              <a:off x="11732984" y="5783985"/>
              <a:ext cx="747395" cy="2738120"/>
            </a:xfrm>
            <a:custGeom>
              <a:avLst/>
              <a:gdLst/>
              <a:ahLst/>
              <a:cxnLst/>
              <a:rect l="l" t="t" r="r" b="b"/>
              <a:pathLst>
                <a:path w="747395" h="2738120">
                  <a:moveTo>
                    <a:pt x="277990" y="158229"/>
                  </a:moveTo>
                  <a:lnTo>
                    <a:pt x="268668" y="93586"/>
                  </a:lnTo>
                  <a:lnTo>
                    <a:pt x="240766" y="43256"/>
                  </a:lnTo>
                  <a:lnTo>
                    <a:pt x="203314" y="14579"/>
                  </a:lnTo>
                  <a:lnTo>
                    <a:pt x="203314" y="163309"/>
                  </a:lnTo>
                  <a:lnTo>
                    <a:pt x="201968" y="189014"/>
                  </a:lnTo>
                  <a:lnTo>
                    <a:pt x="191185" y="229108"/>
                  </a:lnTo>
                  <a:lnTo>
                    <a:pt x="153416" y="258572"/>
                  </a:lnTo>
                  <a:lnTo>
                    <a:pt x="140804" y="259588"/>
                  </a:lnTo>
                  <a:lnTo>
                    <a:pt x="128130" y="258572"/>
                  </a:lnTo>
                  <a:lnTo>
                    <a:pt x="90906" y="229120"/>
                  </a:lnTo>
                  <a:lnTo>
                    <a:pt x="80149" y="189026"/>
                  </a:lnTo>
                  <a:lnTo>
                    <a:pt x="78803" y="163309"/>
                  </a:lnTo>
                  <a:lnTo>
                    <a:pt x="80149" y="137566"/>
                  </a:lnTo>
                  <a:lnTo>
                    <a:pt x="90893" y="97409"/>
                  </a:lnTo>
                  <a:lnTo>
                    <a:pt x="128130" y="67640"/>
                  </a:lnTo>
                  <a:lnTo>
                    <a:pt x="140804" y="66611"/>
                  </a:lnTo>
                  <a:lnTo>
                    <a:pt x="153416" y="67602"/>
                  </a:lnTo>
                  <a:lnTo>
                    <a:pt x="191173" y="97205"/>
                  </a:lnTo>
                  <a:lnTo>
                    <a:pt x="201968" y="137566"/>
                  </a:lnTo>
                  <a:lnTo>
                    <a:pt x="203314" y="163309"/>
                  </a:lnTo>
                  <a:lnTo>
                    <a:pt x="203314" y="14579"/>
                  </a:lnTo>
                  <a:lnTo>
                    <a:pt x="196697" y="10807"/>
                  </a:lnTo>
                  <a:lnTo>
                    <a:pt x="169494" y="2705"/>
                  </a:lnTo>
                  <a:lnTo>
                    <a:pt x="138836" y="0"/>
                  </a:lnTo>
                  <a:lnTo>
                    <a:pt x="117779" y="1270"/>
                  </a:lnTo>
                  <a:lnTo>
                    <a:pt x="79895" y="11455"/>
                  </a:lnTo>
                  <a:lnTo>
                    <a:pt x="35013" y="45173"/>
                  </a:lnTo>
                  <a:lnTo>
                    <a:pt x="15405" y="78473"/>
                  </a:lnTo>
                  <a:lnTo>
                    <a:pt x="3848" y="117170"/>
                  </a:lnTo>
                  <a:lnTo>
                    <a:pt x="0" y="158229"/>
                  </a:lnTo>
                  <a:lnTo>
                    <a:pt x="965" y="179031"/>
                  </a:lnTo>
                  <a:lnTo>
                    <a:pt x="8686" y="218897"/>
                  </a:lnTo>
                  <a:lnTo>
                    <a:pt x="24168" y="255651"/>
                  </a:lnTo>
                  <a:lnTo>
                    <a:pt x="63042" y="295922"/>
                  </a:lnTo>
                  <a:lnTo>
                    <a:pt x="98132" y="311327"/>
                  </a:lnTo>
                  <a:lnTo>
                    <a:pt x="138836" y="316484"/>
                  </a:lnTo>
                  <a:lnTo>
                    <a:pt x="169494" y="313778"/>
                  </a:lnTo>
                  <a:lnTo>
                    <a:pt x="196697" y="305638"/>
                  </a:lnTo>
                  <a:lnTo>
                    <a:pt x="220459" y="292087"/>
                  </a:lnTo>
                  <a:lnTo>
                    <a:pt x="240766" y="273151"/>
                  </a:lnTo>
                  <a:lnTo>
                    <a:pt x="250202" y="259588"/>
                  </a:lnTo>
                  <a:lnTo>
                    <a:pt x="257035" y="249770"/>
                  </a:lnTo>
                  <a:lnTo>
                    <a:pt x="268668" y="222821"/>
                  </a:lnTo>
                  <a:lnTo>
                    <a:pt x="275653" y="192303"/>
                  </a:lnTo>
                  <a:lnTo>
                    <a:pt x="277990" y="158229"/>
                  </a:lnTo>
                  <a:close/>
                </a:path>
                <a:path w="747395" h="2738120">
                  <a:moveTo>
                    <a:pt x="563410" y="2794"/>
                  </a:moveTo>
                  <a:lnTo>
                    <a:pt x="479526" y="2794"/>
                  </a:lnTo>
                  <a:lnTo>
                    <a:pt x="144183" y="626681"/>
                  </a:lnTo>
                  <a:lnTo>
                    <a:pt x="227215" y="626681"/>
                  </a:lnTo>
                  <a:lnTo>
                    <a:pt x="563410" y="2794"/>
                  </a:lnTo>
                  <a:close/>
                </a:path>
                <a:path w="747395" h="2738120">
                  <a:moveTo>
                    <a:pt x="703999" y="469163"/>
                  </a:moveTo>
                  <a:lnTo>
                    <a:pt x="701662" y="435076"/>
                  </a:lnTo>
                  <a:lnTo>
                    <a:pt x="694677" y="404533"/>
                  </a:lnTo>
                  <a:lnTo>
                    <a:pt x="683044" y="377558"/>
                  </a:lnTo>
                  <a:lnTo>
                    <a:pt x="629323" y="377558"/>
                  </a:lnTo>
                  <a:lnTo>
                    <a:pt x="629323" y="474256"/>
                  </a:lnTo>
                  <a:lnTo>
                    <a:pt x="627976" y="499948"/>
                  </a:lnTo>
                  <a:lnTo>
                    <a:pt x="617194" y="540042"/>
                  </a:lnTo>
                  <a:lnTo>
                    <a:pt x="579424" y="569518"/>
                  </a:lnTo>
                  <a:lnTo>
                    <a:pt x="566813" y="570522"/>
                  </a:lnTo>
                  <a:lnTo>
                    <a:pt x="554139" y="569518"/>
                  </a:lnTo>
                  <a:lnTo>
                    <a:pt x="516915" y="540054"/>
                  </a:lnTo>
                  <a:lnTo>
                    <a:pt x="506158" y="499948"/>
                  </a:lnTo>
                  <a:lnTo>
                    <a:pt x="504812" y="474256"/>
                  </a:lnTo>
                  <a:lnTo>
                    <a:pt x="506158" y="448475"/>
                  </a:lnTo>
                  <a:lnTo>
                    <a:pt x="516902" y="408330"/>
                  </a:lnTo>
                  <a:lnTo>
                    <a:pt x="554139" y="378574"/>
                  </a:lnTo>
                  <a:lnTo>
                    <a:pt x="566762" y="377558"/>
                  </a:lnTo>
                  <a:lnTo>
                    <a:pt x="566966" y="377558"/>
                  </a:lnTo>
                  <a:lnTo>
                    <a:pt x="607758" y="393522"/>
                  </a:lnTo>
                  <a:lnTo>
                    <a:pt x="627976" y="448475"/>
                  </a:lnTo>
                  <a:lnTo>
                    <a:pt x="629323" y="474256"/>
                  </a:lnTo>
                  <a:lnTo>
                    <a:pt x="629323" y="377558"/>
                  </a:lnTo>
                  <a:lnTo>
                    <a:pt x="624916" y="377558"/>
                  </a:lnTo>
                  <a:lnTo>
                    <a:pt x="683044" y="377545"/>
                  </a:lnTo>
                  <a:lnTo>
                    <a:pt x="666775" y="354190"/>
                  </a:lnTo>
                  <a:lnTo>
                    <a:pt x="646468" y="335267"/>
                  </a:lnTo>
                  <a:lnTo>
                    <a:pt x="622706" y="321741"/>
                  </a:lnTo>
                  <a:lnTo>
                    <a:pt x="595503" y="313639"/>
                  </a:lnTo>
                  <a:lnTo>
                    <a:pt x="564845" y="310934"/>
                  </a:lnTo>
                  <a:lnTo>
                    <a:pt x="543788" y="312204"/>
                  </a:lnTo>
                  <a:lnTo>
                    <a:pt x="505904" y="322389"/>
                  </a:lnTo>
                  <a:lnTo>
                    <a:pt x="461022" y="356120"/>
                  </a:lnTo>
                  <a:lnTo>
                    <a:pt x="441413" y="389407"/>
                  </a:lnTo>
                  <a:lnTo>
                    <a:pt x="429856" y="428104"/>
                  </a:lnTo>
                  <a:lnTo>
                    <a:pt x="426008" y="469163"/>
                  </a:lnTo>
                  <a:lnTo>
                    <a:pt x="426974" y="489966"/>
                  </a:lnTo>
                  <a:lnTo>
                    <a:pt x="434695" y="529818"/>
                  </a:lnTo>
                  <a:lnTo>
                    <a:pt x="450164" y="566585"/>
                  </a:lnTo>
                  <a:lnTo>
                    <a:pt x="489051" y="606869"/>
                  </a:lnTo>
                  <a:lnTo>
                    <a:pt x="524141" y="622236"/>
                  </a:lnTo>
                  <a:lnTo>
                    <a:pt x="564845" y="627392"/>
                  </a:lnTo>
                  <a:lnTo>
                    <a:pt x="595503" y="624674"/>
                  </a:lnTo>
                  <a:lnTo>
                    <a:pt x="622706" y="616534"/>
                  </a:lnTo>
                  <a:lnTo>
                    <a:pt x="646468" y="603008"/>
                  </a:lnTo>
                  <a:lnTo>
                    <a:pt x="666775" y="584085"/>
                  </a:lnTo>
                  <a:lnTo>
                    <a:pt x="676211" y="570522"/>
                  </a:lnTo>
                  <a:lnTo>
                    <a:pt x="683044" y="560705"/>
                  </a:lnTo>
                  <a:lnTo>
                    <a:pt x="694677" y="533755"/>
                  </a:lnTo>
                  <a:lnTo>
                    <a:pt x="701662" y="503237"/>
                  </a:lnTo>
                  <a:lnTo>
                    <a:pt x="703999" y="469163"/>
                  </a:lnTo>
                  <a:close/>
                </a:path>
                <a:path w="747395" h="2738120">
                  <a:moveTo>
                    <a:pt x="746912" y="2668105"/>
                  </a:moveTo>
                  <a:lnTo>
                    <a:pt x="735571" y="2627465"/>
                  </a:lnTo>
                  <a:lnTo>
                    <a:pt x="714273" y="2605760"/>
                  </a:lnTo>
                  <a:lnTo>
                    <a:pt x="714273" y="2671915"/>
                  </a:lnTo>
                  <a:lnTo>
                    <a:pt x="713282" y="2676995"/>
                  </a:lnTo>
                  <a:lnTo>
                    <a:pt x="709282" y="2685885"/>
                  </a:lnTo>
                  <a:lnTo>
                    <a:pt x="706437" y="2690965"/>
                  </a:lnTo>
                  <a:lnTo>
                    <a:pt x="699046" y="2697315"/>
                  </a:lnTo>
                  <a:lnTo>
                    <a:pt x="694778" y="2701125"/>
                  </a:lnTo>
                  <a:lnTo>
                    <a:pt x="685114" y="2704935"/>
                  </a:lnTo>
                  <a:lnTo>
                    <a:pt x="680085" y="2706205"/>
                  </a:lnTo>
                  <a:lnTo>
                    <a:pt x="669620" y="2706205"/>
                  </a:lnTo>
                  <a:lnTo>
                    <a:pt x="664591" y="2704935"/>
                  </a:lnTo>
                  <a:lnTo>
                    <a:pt x="654926" y="2701125"/>
                  </a:lnTo>
                  <a:lnTo>
                    <a:pt x="650659" y="2697315"/>
                  </a:lnTo>
                  <a:lnTo>
                    <a:pt x="643255" y="2690965"/>
                  </a:lnTo>
                  <a:lnTo>
                    <a:pt x="640397" y="2685885"/>
                  </a:lnTo>
                  <a:lnTo>
                    <a:pt x="636397" y="2676995"/>
                  </a:lnTo>
                  <a:lnTo>
                    <a:pt x="635393" y="2671915"/>
                  </a:lnTo>
                  <a:lnTo>
                    <a:pt x="635393" y="2660485"/>
                  </a:lnTo>
                  <a:lnTo>
                    <a:pt x="664565" y="2627465"/>
                  </a:lnTo>
                  <a:lnTo>
                    <a:pt x="685063" y="2627465"/>
                  </a:lnTo>
                  <a:lnTo>
                    <a:pt x="694702" y="2631275"/>
                  </a:lnTo>
                  <a:lnTo>
                    <a:pt x="698957" y="2635085"/>
                  </a:lnTo>
                  <a:lnTo>
                    <a:pt x="706348" y="2641435"/>
                  </a:lnTo>
                  <a:lnTo>
                    <a:pt x="709193" y="2646515"/>
                  </a:lnTo>
                  <a:lnTo>
                    <a:pt x="713219" y="2655405"/>
                  </a:lnTo>
                  <a:lnTo>
                    <a:pt x="714248" y="2660485"/>
                  </a:lnTo>
                  <a:lnTo>
                    <a:pt x="714273" y="2671915"/>
                  </a:lnTo>
                  <a:lnTo>
                    <a:pt x="714273" y="2605760"/>
                  </a:lnTo>
                  <a:lnTo>
                    <a:pt x="679132" y="2594445"/>
                  </a:lnTo>
                  <a:lnTo>
                    <a:pt x="673620" y="2594445"/>
                  </a:lnTo>
                  <a:lnTo>
                    <a:pt x="662546" y="2595715"/>
                  </a:lnTo>
                  <a:lnTo>
                    <a:pt x="646620" y="2599525"/>
                  </a:lnTo>
                  <a:lnTo>
                    <a:pt x="641629" y="2602065"/>
                  </a:lnTo>
                  <a:lnTo>
                    <a:pt x="636917" y="2605875"/>
                  </a:lnTo>
                  <a:lnTo>
                    <a:pt x="492696" y="2461095"/>
                  </a:lnTo>
                  <a:lnTo>
                    <a:pt x="487629" y="2456015"/>
                  </a:lnTo>
                  <a:lnTo>
                    <a:pt x="469912" y="2438235"/>
                  </a:lnTo>
                  <a:lnTo>
                    <a:pt x="474764" y="2431885"/>
                  </a:lnTo>
                  <a:lnTo>
                    <a:pt x="479018" y="2425535"/>
                  </a:lnTo>
                  <a:lnTo>
                    <a:pt x="494030" y="2388705"/>
                  </a:lnTo>
                  <a:lnTo>
                    <a:pt x="497827" y="2358225"/>
                  </a:lnTo>
                  <a:lnTo>
                    <a:pt x="496887" y="2341715"/>
                  </a:lnTo>
                  <a:lnTo>
                    <a:pt x="482981" y="2297265"/>
                  </a:lnTo>
                  <a:lnTo>
                    <a:pt x="465353" y="2272042"/>
                  </a:lnTo>
                  <a:lnTo>
                    <a:pt x="465353" y="2351875"/>
                  </a:lnTo>
                  <a:lnTo>
                    <a:pt x="465353" y="2364575"/>
                  </a:lnTo>
                  <a:lnTo>
                    <a:pt x="455396" y="2401405"/>
                  </a:lnTo>
                  <a:lnTo>
                    <a:pt x="432003" y="2431885"/>
                  </a:lnTo>
                  <a:lnTo>
                    <a:pt x="398729" y="2450935"/>
                  </a:lnTo>
                  <a:lnTo>
                    <a:pt x="379933" y="2456015"/>
                  </a:lnTo>
                  <a:lnTo>
                    <a:pt x="354279" y="2456015"/>
                  </a:lnTo>
                  <a:lnTo>
                    <a:pt x="317957" y="2443315"/>
                  </a:lnTo>
                  <a:lnTo>
                    <a:pt x="291147" y="2420455"/>
                  </a:lnTo>
                  <a:lnTo>
                    <a:pt x="289115" y="2417915"/>
                  </a:lnTo>
                  <a:lnTo>
                    <a:pt x="272110" y="2383625"/>
                  </a:lnTo>
                  <a:lnTo>
                    <a:pt x="268922" y="2358225"/>
                  </a:lnTo>
                  <a:lnTo>
                    <a:pt x="268998" y="2351875"/>
                  </a:lnTo>
                  <a:lnTo>
                    <a:pt x="278917" y="2315045"/>
                  </a:lnTo>
                  <a:lnTo>
                    <a:pt x="302272" y="2284565"/>
                  </a:lnTo>
                  <a:lnTo>
                    <a:pt x="307238" y="2279485"/>
                  </a:lnTo>
                  <a:lnTo>
                    <a:pt x="317957" y="2273135"/>
                  </a:lnTo>
                  <a:lnTo>
                    <a:pt x="323608" y="2269325"/>
                  </a:lnTo>
                  <a:lnTo>
                    <a:pt x="335534" y="2264245"/>
                  </a:lnTo>
                  <a:lnTo>
                    <a:pt x="360705" y="2259165"/>
                  </a:lnTo>
                  <a:lnTo>
                    <a:pt x="373595" y="2259165"/>
                  </a:lnTo>
                  <a:lnTo>
                    <a:pt x="398780" y="2264245"/>
                  </a:lnTo>
                  <a:lnTo>
                    <a:pt x="410692" y="2269325"/>
                  </a:lnTo>
                  <a:lnTo>
                    <a:pt x="416356" y="2273135"/>
                  </a:lnTo>
                  <a:lnTo>
                    <a:pt x="427075" y="2279485"/>
                  </a:lnTo>
                  <a:lnTo>
                    <a:pt x="432041" y="2284565"/>
                  </a:lnTo>
                  <a:lnTo>
                    <a:pt x="441159" y="2293455"/>
                  </a:lnTo>
                  <a:lnTo>
                    <a:pt x="445236" y="2298535"/>
                  </a:lnTo>
                  <a:lnTo>
                    <a:pt x="462216" y="2332825"/>
                  </a:lnTo>
                  <a:lnTo>
                    <a:pt x="465353" y="2351875"/>
                  </a:lnTo>
                  <a:lnTo>
                    <a:pt x="465353" y="2272042"/>
                  </a:lnTo>
                  <a:lnTo>
                    <a:pt x="465213" y="2271865"/>
                  </a:lnTo>
                  <a:lnTo>
                    <a:pt x="459663" y="2265515"/>
                  </a:lnTo>
                  <a:lnTo>
                    <a:pt x="464654" y="2259165"/>
                  </a:lnTo>
                  <a:lnTo>
                    <a:pt x="467652" y="2255355"/>
                  </a:lnTo>
                  <a:lnTo>
                    <a:pt x="474624" y="2246465"/>
                  </a:lnTo>
                  <a:lnTo>
                    <a:pt x="533501" y="2171535"/>
                  </a:lnTo>
                  <a:lnTo>
                    <a:pt x="538784" y="2174075"/>
                  </a:lnTo>
                  <a:lnTo>
                    <a:pt x="544296" y="2176615"/>
                  </a:lnTo>
                  <a:lnTo>
                    <a:pt x="555752" y="2177885"/>
                  </a:lnTo>
                  <a:lnTo>
                    <a:pt x="561543" y="2179155"/>
                  </a:lnTo>
                  <a:lnTo>
                    <a:pt x="573201" y="2177885"/>
                  </a:lnTo>
                  <a:lnTo>
                    <a:pt x="590105" y="2174075"/>
                  </a:lnTo>
                  <a:lnTo>
                    <a:pt x="595426" y="2171535"/>
                  </a:lnTo>
                  <a:lnTo>
                    <a:pt x="605485" y="2165185"/>
                  </a:lnTo>
                  <a:lnTo>
                    <a:pt x="610082" y="2162645"/>
                  </a:lnTo>
                  <a:lnTo>
                    <a:pt x="618413" y="2153755"/>
                  </a:lnTo>
                  <a:lnTo>
                    <a:pt x="622020" y="2149945"/>
                  </a:lnTo>
                  <a:lnTo>
                    <a:pt x="624319" y="2146135"/>
                  </a:lnTo>
                  <a:lnTo>
                    <a:pt x="635863" y="2106765"/>
                  </a:lnTo>
                  <a:lnTo>
                    <a:pt x="635787" y="2102954"/>
                  </a:lnTo>
                  <a:lnTo>
                    <a:pt x="612825" y="2053424"/>
                  </a:lnTo>
                  <a:lnTo>
                    <a:pt x="603631" y="2047074"/>
                  </a:lnTo>
                  <a:lnTo>
                    <a:pt x="603135" y="2046706"/>
                  </a:lnTo>
                  <a:lnTo>
                    <a:pt x="603135" y="2101684"/>
                  </a:lnTo>
                  <a:lnTo>
                    <a:pt x="603135" y="2111845"/>
                  </a:lnTo>
                  <a:lnTo>
                    <a:pt x="602132" y="2116925"/>
                  </a:lnTo>
                  <a:lnTo>
                    <a:pt x="573951" y="2144865"/>
                  </a:lnTo>
                  <a:lnTo>
                    <a:pt x="568921" y="2146135"/>
                  </a:lnTo>
                  <a:lnTo>
                    <a:pt x="558469" y="2146135"/>
                  </a:lnTo>
                  <a:lnTo>
                    <a:pt x="525259" y="2116925"/>
                  </a:lnTo>
                  <a:lnTo>
                    <a:pt x="524256" y="2111845"/>
                  </a:lnTo>
                  <a:lnTo>
                    <a:pt x="524268" y="2101684"/>
                  </a:lnTo>
                  <a:lnTo>
                    <a:pt x="553440" y="2068664"/>
                  </a:lnTo>
                  <a:lnTo>
                    <a:pt x="558469" y="2067394"/>
                  </a:lnTo>
                  <a:lnTo>
                    <a:pt x="568921" y="2067394"/>
                  </a:lnTo>
                  <a:lnTo>
                    <a:pt x="602132" y="2096604"/>
                  </a:lnTo>
                  <a:lnTo>
                    <a:pt x="603135" y="2101684"/>
                  </a:lnTo>
                  <a:lnTo>
                    <a:pt x="603135" y="2046706"/>
                  </a:lnTo>
                  <a:lnTo>
                    <a:pt x="598665" y="2043264"/>
                  </a:lnTo>
                  <a:lnTo>
                    <a:pt x="588010" y="2039454"/>
                  </a:lnTo>
                  <a:lnTo>
                    <a:pt x="582472" y="2036914"/>
                  </a:lnTo>
                  <a:lnTo>
                    <a:pt x="570979" y="2035644"/>
                  </a:lnTo>
                  <a:lnTo>
                    <a:pt x="565188" y="2034374"/>
                  </a:lnTo>
                  <a:lnTo>
                    <a:pt x="553529" y="2035644"/>
                  </a:lnTo>
                  <a:lnTo>
                    <a:pt x="547827" y="2036914"/>
                  </a:lnTo>
                  <a:lnTo>
                    <a:pt x="536702" y="2040724"/>
                  </a:lnTo>
                  <a:lnTo>
                    <a:pt x="531418" y="2041994"/>
                  </a:lnTo>
                  <a:lnTo>
                    <a:pt x="499224" y="2075014"/>
                  </a:lnTo>
                  <a:lnTo>
                    <a:pt x="491972" y="2109305"/>
                  </a:lnTo>
                  <a:lnTo>
                    <a:pt x="492391" y="2114385"/>
                  </a:lnTo>
                  <a:lnTo>
                    <a:pt x="508101" y="2152485"/>
                  </a:lnTo>
                  <a:lnTo>
                    <a:pt x="434187" y="2246465"/>
                  </a:lnTo>
                  <a:lnTo>
                    <a:pt x="398195" y="2231225"/>
                  </a:lnTo>
                  <a:lnTo>
                    <a:pt x="369201" y="2227415"/>
                  </a:lnTo>
                  <a:lnTo>
                    <a:pt x="359410" y="2227415"/>
                  </a:lnTo>
                  <a:lnTo>
                    <a:pt x="321322" y="2236305"/>
                  </a:lnTo>
                  <a:lnTo>
                    <a:pt x="287324" y="2255355"/>
                  </a:lnTo>
                  <a:lnTo>
                    <a:pt x="189712" y="2156295"/>
                  </a:lnTo>
                  <a:lnTo>
                    <a:pt x="169697" y="2135975"/>
                  </a:lnTo>
                  <a:lnTo>
                    <a:pt x="167195" y="2133435"/>
                  </a:lnTo>
                  <a:lnTo>
                    <a:pt x="170307" y="2129625"/>
                  </a:lnTo>
                  <a:lnTo>
                    <a:pt x="178333" y="2091524"/>
                  </a:lnTo>
                  <a:lnTo>
                    <a:pt x="178231" y="2088984"/>
                  </a:lnTo>
                  <a:lnTo>
                    <a:pt x="159893" y="2047074"/>
                  </a:lnTo>
                  <a:lnTo>
                    <a:pt x="146037" y="2035314"/>
                  </a:lnTo>
                  <a:lnTo>
                    <a:pt x="146037" y="2090254"/>
                  </a:lnTo>
                  <a:lnTo>
                    <a:pt x="146037" y="2101684"/>
                  </a:lnTo>
                  <a:lnTo>
                    <a:pt x="145034" y="2106765"/>
                  </a:lnTo>
                  <a:lnTo>
                    <a:pt x="141033" y="2115655"/>
                  </a:lnTo>
                  <a:lnTo>
                    <a:pt x="138188" y="2120735"/>
                  </a:lnTo>
                  <a:lnTo>
                    <a:pt x="130784" y="2127085"/>
                  </a:lnTo>
                  <a:lnTo>
                    <a:pt x="126517" y="2130895"/>
                  </a:lnTo>
                  <a:lnTo>
                    <a:pt x="116865" y="2134705"/>
                  </a:lnTo>
                  <a:lnTo>
                    <a:pt x="111823" y="2135975"/>
                  </a:lnTo>
                  <a:lnTo>
                    <a:pt x="101371" y="2135975"/>
                  </a:lnTo>
                  <a:lnTo>
                    <a:pt x="96329" y="2134705"/>
                  </a:lnTo>
                  <a:lnTo>
                    <a:pt x="86664" y="2130895"/>
                  </a:lnTo>
                  <a:lnTo>
                    <a:pt x="82397" y="2127085"/>
                  </a:lnTo>
                  <a:lnTo>
                    <a:pt x="74993" y="2120735"/>
                  </a:lnTo>
                  <a:lnTo>
                    <a:pt x="72136" y="2115655"/>
                  </a:lnTo>
                  <a:lnTo>
                    <a:pt x="68122" y="2106765"/>
                  </a:lnTo>
                  <a:lnTo>
                    <a:pt x="67119" y="2101684"/>
                  </a:lnTo>
                  <a:lnTo>
                    <a:pt x="67119" y="2096604"/>
                  </a:lnTo>
                  <a:lnTo>
                    <a:pt x="82410" y="2064854"/>
                  </a:lnTo>
                  <a:lnTo>
                    <a:pt x="86677" y="2061044"/>
                  </a:lnTo>
                  <a:lnTo>
                    <a:pt x="96342" y="2057234"/>
                  </a:lnTo>
                  <a:lnTo>
                    <a:pt x="101371" y="2055964"/>
                  </a:lnTo>
                  <a:lnTo>
                    <a:pt x="111823" y="2055964"/>
                  </a:lnTo>
                  <a:lnTo>
                    <a:pt x="116865" y="2057234"/>
                  </a:lnTo>
                  <a:lnTo>
                    <a:pt x="126517" y="2061044"/>
                  </a:lnTo>
                  <a:lnTo>
                    <a:pt x="130784" y="2064854"/>
                  </a:lnTo>
                  <a:lnTo>
                    <a:pt x="138188" y="2071204"/>
                  </a:lnTo>
                  <a:lnTo>
                    <a:pt x="141033" y="2076284"/>
                  </a:lnTo>
                  <a:lnTo>
                    <a:pt x="145034" y="2085174"/>
                  </a:lnTo>
                  <a:lnTo>
                    <a:pt x="146037" y="2090254"/>
                  </a:lnTo>
                  <a:lnTo>
                    <a:pt x="146037" y="2035314"/>
                  </a:lnTo>
                  <a:lnTo>
                    <a:pt x="141732" y="2033104"/>
                  </a:lnTo>
                  <a:lnTo>
                    <a:pt x="131102" y="2028024"/>
                  </a:lnTo>
                  <a:lnTo>
                    <a:pt x="114058" y="2024214"/>
                  </a:lnTo>
                  <a:lnTo>
                    <a:pt x="96558" y="2024214"/>
                  </a:lnTo>
                  <a:lnTo>
                    <a:pt x="59677" y="2040724"/>
                  </a:lnTo>
                  <a:lnTo>
                    <a:pt x="35814" y="2080094"/>
                  </a:lnTo>
                  <a:lnTo>
                    <a:pt x="34150" y="2096604"/>
                  </a:lnTo>
                  <a:lnTo>
                    <a:pt x="34264" y="2100414"/>
                  </a:lnTo>
                  <a:lnTo>
                    <a:pt x="53479" y="2144865"/>
                  </a:lnTo>
                  <a:lnTo>
                    <a:pt x="99707" y="2167725"/>
                  </a:lnTo>
                  <a:lnTo>
                    <a:pt x="117208" y="2167725"/>
                  </a:lnTo>
                  <a:lnTo>
                    <a:pt x="122910" y="2166455"/>
                  </a:lnTo>
                  <a:lnTo>
                    <a:pt x="134061" y="2162645"/>
                  </a:lnTo>
                  <a:lnTo>
                    <a:pt x="139331" y="2160105"/>
                  </a:lnTo>
                  <a:lnTo>
                    <a:pt x="144297" y="2156295"/>
                  </a:lnTo>
                  <a:lnTo>
                    <a:pt x="264439" y="2278215"/>
                  </a:lnTo>
                  <a:lnTo>
                    <a:pt x="259994" y="2283295"/>
                  </a:lnTo>
                  <a:lnTo>
                    <a:pt x="255905" y="2289645"/>
                  </a:lnTo>
                  <a:lnTo>
                    <a:pt x="252183" y="2295995"/>
                  </a:lnTo>
                  <a:lnTo>
                    <a:pt x="248831" y="2303615"/>
                  </a:lnTo>
                  <a:lnTo>
                    <a:pt x="245872" y="2309965"/>
                  </a:lnTo>
                  <a:lnTo>
                    <a:pt x="236804" y="2351875"/>
                  </a:lnTo>
                  <a:lnTo>
                    <a:pt x="236880" y="2364575"/>
                  </a:lnTo>
                  <a:lnTo>
                    <a:pt x="237070" y="2368385"/>
                  </a:lnTo>
                  <a:lnTo>
                    <a:pt x="237883" y="2376005"/>
                  </a:lnTo>
                  <a:lnTo>
                    <a:pt x="239115" y="2383625"/>
                  </a:lnTo>
                  <a:lnTo>
                    <a:pt x="240779" y="2391245"/>
                  </a:lnTo>
                  <a:lnTo>
                    <a:pt x="138163" y="2431885"/>
                  </a:lnTo>
                  <a:lnTo>
                    <a:pt x="134924" y="2426805"/>
                  </a:lnTo>
                  <a:lnTo>
                    <a:pt x="131191" y="2422995"/>
                  </a:lnTo>
                  <a:lnTo>
                    <a:pt x="122707" y="2415375"/>
                  </a:lnTo>
                  <a:lnTo>
                    <a:pt x="118719" y="2412098"/>
                  </a:lnTo>
                  <a:lnTo>
                    <a:pt x="118719" y="2477605"/>
                  </a:lnTo>
                  <a:lnTo>
                    <a:pt x="117729" y="2482685"/>
                  </a:lnTo>
                  <a:lnTo>
                    <a:pt x="89547" y="2510625"/>
                  </a:lnTo>
                  <a:lnTo>
                    <a:pt x="84505" y="2511895"/>
                  </a:lnTo>
                  <a:lnTo>
                    <a:pt x="74041" y="2511895"/>
                  </a:lnTo>
                  <a:lnTo>
                    <a:pt x="40843" y="2482685"/>
                  </a:lnTo>
                  <a:lnTo>
                    <a:pt x="39814" y="2467445"/>
                  </a:lnTo>
                  <a:lnTo>
                    <a:pt x="40805" y="2462365"/>
                  </a:lnTo>
                  <a:lnTo>
                    <a:pt x="68859" y="2434425"/>
                  </a:lnTo>
                  <a:lnTo>
                    <a:pt x="73888" y="2433155"/>
                  </a:lnTo>
                  <a:lnTo>
                    <a:pt x="84328" y="2433155"/>
                  </a:lnTo>
                  <a:lnTo>
                    <a:pt x="117652" y="2462365"/>
                  </a:lnTo>
                  <a:lnTo>
                    <a:pt x="118719" y="2477605"/>
                  </a:lnTo>
                  <a:lnTo>
                    <a:pt x="118719" y="2412098"/>
                  </a:lnTo>
                  <a:lnTo>
                    <a:pt x="118084" y="2411565"/>
                  </a:lnTo>
                  <a:lnTo>
                    <a:pt x="108064" y="2406485"/>
                  </a:lnTo>
                  <a:lnTo>
                    <a:pt x="102819" y="2403945"/>
                  </a:lnTo>
                  <a:lnTo>
                    <a:pt x="91833" y="2401405"/>
                  </a:lnTo>
                  <a:lnTo>
                    <a:pt x="86258" y="2401405"/>
                  </a:lnTo>
                  <a:lnTo>
                    <a:pt x="74904" y="2400135"/>
                  </a:lnTo>
                  <a:lnTo>
                    <a:pt x="58229" y="2403945"/>
                  </a:lnTo>
                  <a:lnTo>
                    <a:pt x="52920" y="2405215"/>
                  </a:lnTo>
                  <a:lnTo>
                    <a:pt x="42735" y="2410295"/>
                  </a:lnTo>
                  <a:lnTo>
                    <a:pt x="38011" y="2414105"/>
                  </a:lnTo>
                  <a:lnTo>
                    <a:pt x="29273" y="2420455"/>
                  </a:lnTo>
                  <a:lnTo>
                    <a:pt x="25400" y="2424265"/>
                  </a:lnTo>
                  <a:lnTo>
                    <a:pt x="18605" y="2434425"/>
                  </a:lnTo>
                  <a:lnTo>
                    <a:pt x="15798" y="2438235"/>
                  </a:lnTo>
                  <a:lnTo>
                    <a:pt x="11328" y="2449665"/>
                  </a:lnTo>
                  <a:lnTo>
                    <a:pt x="9740" y="2454745"/>
                  </a:lnTo>
                  <a:lnTo>
                    <a:pt x="7835" y="2466175"/>
                  </a:lnTo>
                  <a:lnTo>
                    <a:pt x="7556" y="2471255"/>
                  </a:lnTo>
                  <a:lnTo>
                    <a:pt x="8331" y="2482685"/>
                  </a:lnTo>
                  <a:lnTo>
                    <a:pt x="24384" y="2518245"/>
                  </a:lnTo>
                  <a:lnTo>
                    <a:pt x="32346" y="2527135"/>
                  </a:lnTo>
                  <a:lnTo>
                    <a:pt x="36741" y="2529675"/>
                  </a:lnTo>
                  <a:lnTo>
                    <a:pt x="46380" y="2536025"/>
                  </a:lnTo>
                  <a:lnTo>
                    <a:pt x="51485" y="2538565"/>
                  </a:lnTo>
                  <a:lnTo>
                    <a:pt x="62242" y="2542375"/>
                  </a:lnTo>
                  <a:lnTo>
                    <a:pt x="67767" y="2543645"/>
                  </a:lnTo>
                  <a:lnTo>
                    <a:pt x="84709" y="2543645"/>
                  </a:lnTo>
                  <a:lnTo>
                    <a:pt x="125945" y="2527135"/>
                  </a:lnTo>
                  <a:lnTo>
                    <a:pt x="139039" y="2511895"/>
                  </a:lnTo>
                  <a:lnTo>
                    <a:pt x="140614" y="2509355"/>
                  </a:lnTo>
                  <a:lnTo>
                    <a:pt x="145757" y="2499195"/>
                  </a:lnTo>
                  <a:lnTo>
                    <a:pt x="147713" y="2494115"/>
                  </a:lnTo>
                  <a:lnTo>
                    <a:pt x="150355" y="2483955"/>
                  </a:lnTo>
                  <a:lnTo>
                    <a:pt x="151015" y="2477605"/>
                  </a:lnTo>
                  <a:lnTo>
                    <a:pt x="150964" y="2468715"/>
                  </a:lnTo>
                  <a:lnTo>
                    <a:pt x="150647" y="2464905"/>
                  </a:lnTo>
                  <a:lnTo>
                    <a:pt x="150075" y="2461095"/>
                  </a:lnTo>
                  <a:lnTo>
                    <a:pt x="220649" y="2433155"/>
                  </a:lnTo>
                  <a:lnTo>
                    <a:pt x="223862" y="2431885"/>
                  </a:lnTo>
                  <a:lnTo>
                    <a:pt x="252730" y="2420455"/>
                  </a:lnTo>
                  <a:lnTo>
                    <a:pt x="254990" y="2424265"/>
                  </a:lnTo>
                  <a:lnTo>
                    <a:pt x="257467" y="2429345"/>
                  </a:lnTo>
                  <a:lnTo>
                    <a:pt x="262839" y="2436965"/>
                  </a:lnTo>
                  <a:lnTo>
                    <a:pt x="265734" y="2440775"/>
                  </a:lnTo>
                  <a:lnTo>
                    <a:pt x="271919" y="2447125"/>
                  </a:lnTo>
                  <a:lnTo>
                    <a:pt x="275183" y="2450935"/>
                  </a:lnTo>
                  <a:lnTo>
                    <a:pt x="282105" y="2457285"/>
                  </a:lnTo>
                  <a:lnTo>
                    <a:pt x="285711" y="2459825"/>
                  </a:lnTo>
                  <a:lnTo>
                    <a:pt x="293281" y="2466175"/>
                  </a:lnTo>
                  <a:lnTo>
                    <a:pt x="297205" y="2468715"/>
                  </a:lnTo>
                  <a:lnTo>
                    <a:pt x="305320" y="2472525"/>
                  </a:lnTo>
                  <a:lnTo>
                    <a:pt x="309499" y="2475065"/>
                  </a:lnTo>
                  <a:lnTo>
                    <a:pt x="318084" y="2478875"/>
                  </a:lnTo>
                  <a:lnTo>
                    <a:pt x="322465" y="2480145"/>
                  </a:lnTo>
                  <a:lnTo>
                    <a:pt x="331419" y="2483955"/>
                  </a:lnTo>
                  <a:lnTo>
                    <a:pt x="335965" y="2485225"/>
                  </a:lnTo>
                  <a:lnTo>
                    <a:pt x="345186" y="2486495"/>
                  </a:lnTo>
                  <a:lnTo>
                    <a:pt x="349821" y="2487765"/>
                  </a:lnTo>
                  <a:lnTo>
                    <a:pt x="359194" y="2487765"/>
                  </a:lnTo>
                  <a:lnTo>
                    <a:pt x="363880" y="2489035"/>
                  </a:lnTo>
                  <a:lnTo>
                    <a:pt x="373291" y="2487765"/>
                  </a:lnTo>
                  <a:lnTo>
                    <a:pt x="377990" y="2487765"/>
                  </a:lnTo>
                  <a:lnTo>
                    <a:pt x="387324" y="2486495"/>
                  </a:lnTo>
                  <a:lnTo>
                    <a:pt x="391960" y="2486495"/>
                  </a:lnTo>
                  <a:lnTo>
                    <a:pt x="414515" y="2480145"/>
                  </a:lnTo>
                  <a:lnTo>
                    <a:pt x="418858" y="2477605"/>
                  </a:lnTo>
                  <a:lnTo>
                    <a:pt x="427355" y="2473795"/>
                  </a:lnTo>
                  <a:lnTo>
                    <a:pt x="431482" y="2471255"/>
                  </a:lnTo>
                  <a:lnTo>
                    <a:pt x="439496" y="2466175"/>
                  </a:lnTo>
                  <a:lnTo>
                    <a:pt x="443357" y="2463635"/>
                  </a:lnTo>
                  <a:lnTo>
                    <a:pt x="447065" y="2461095"/>
                  </a:lnTo>
                  <a:lnTo>
                    <a:pt x="614070" y="2628735"/>
                  </a:lnTo>
                  <a:lnTo>
                    <a:pt x="603046" y="2668105"/>
                  </a:lnTo>
                  <a:lnTo>
                    <a:pt x="603110" y="2671915"/>
                  </a:lnTo>
                  <a:lnTo>
                    <a:pt x="618972" y="2711285"/>
                  </a:lnTo>
                  <a:lnTo>
                    <a:pt x="627913" y="2720175"/>
                  </a:lnTo>
                  <a:lnTo>
                    <a:pt x="632904" y="2725255"/>
                  </a:lnTo>
                  <a:lnTo>
                    <a:pt x="643940" y="2731605"/>
                  </a:lnTo>
                  <a:lnTo>
                    <a:pt x="649782" y="2734145"/>
                  </a:lnTo>
                  <a:lnTo>
                    <a:pt x="668426" y="2737955"/>
                  </a:lnTo>
                  <a:lnTo>
                    <a:pt x="680389" y="2737955"/>
                  </a:lnTo>
                  <a:lnTo>
                    <a:pt x="716495" y="2725255"/>
                  </a:lnTo>
                  <a:lnTo>
                    <a:pt x="734618" y="2706205"/>
                  </a:lnTo>
                  <a:lnTo>
                    <a:pt x="735584" y="2704935"/>
                  </a:lnTo>
                  <a:lnTo>
                    <a:pt x="738378" y="2699855"/>
                  </a:lnTo>
                  <a:lnTo>
                    <a:pt x="742873" y="2689695"/>
                  </a:lnTo>
                  <a:lnTo>
                    <a:pt x="744499" y="2684615"/>
                  </a:lnTo>
                  <a:lnTo>
                    <a:pt x="746544" y="2673185"/>
                  </a:lnTo>
                  <a:lnTo>
                    <a:pt x="746912" y="2668105"/>
                  </a:lnTo>
                  <a:close/>
                </a:path>
              </a:pathLst>
            </a:custGeom>
            <a:solidFill>
              <a:srgbClr val="FFFFFF"/>
            </a:solidFill>
          </p:spPr>
          <p:txBody>
            <a:bodyPr wrap="square" lIns="0" tIns="0" rIns="0" bIns="0" rtlCol="0"/>
            <a:lstStyle/>
            <a:p>
              <a:endParaRPr/>
            </a:p>
          </p:txBody>
        </p:sp>
        <p:pic>
          <p:nvPicPr>
            <p:cNvPr id="27" name="object 27"/>
            <p:cNvPicPr/>
            <p:nvPr/>
          </p:nvPicPr>
          <p:blipFill>
            <a:blip r:embed="rId4" cstate="print"/>
            <a:stretch>
              <a:fillRect/>
            </a:stretch>
          </p:blipFill>
          <p:spPr>
            <a:xfrm>
              <a:off x="10998983" y="2861224"/>
              <a:ext cx="7289016" cy="2438399"/>
            </a:xfrm>
            <a:prstGeom prst="rect">
              <a:avLst/>
            </a:prstGeom>
          </p:spPr>
        </p:pic>
        <p:sp>
          <p:nvSpPr>
            <p:cNvPr id="28" name="object 28"/>
            <p:cNvSpPr/>
            <p:nvPr/>
          </p:nvSpPr>
          <p:spPr>
            <a:xfrm>
              <a:off x="11352884" y="3289712"/>
              <a:ext cx="6421755" cy="1478915"/>
            </a:xfrm>
            <a:custGeom>
              <a:avLst/>
              <a:gdLst/>
              <a:ahLst/>
              <a:cxnLst/>
              <a:rect l="l" t="t" r="r" b="b"/>
              <a:pathLst>
                <a:path w="6421755" h="1478914">
                  <a:moveTo>
                    <a:pt x="5649812" y="1478750"/>
                  </a:moveTo>
                  <a:lnTo>
                    <a:pt x="771512" y="1478750"/>
                  </a:lnTo>
                  <a:lnTo>
                    <a:pt x="722719" y="1477295"/>
                  </a:lnTo>
                  <a:lnTo>
                    <a:pt x="674733" y="1472989"/>
                  </a:lnTo>
                  <a:lnTo>
                    <a:pt x="627644" y="1465918"/>
                  </a:lnTo>
                  <a:lnTo>
                    <a:pt x="581542" y="1456168"/>
                  </a:lnTo>
                  <a:lnTo>
                    <a:pt x="536517" y="1443827"/>
                  </a:lnTo>
                  <a:lnTo>
                    <a:pt x="492661" y="1428981"/>
                  </a:lnTo>
                  <a:lnTo>
                    <a:pt x="450063" y="1411717"/>
                  </a:lnTo>
                  <a:lnTo>
                    <a:pt x="408814" y="1392120"/>
                  </a:lnTo>
                  <a:lnTo>
                    <a:pt x="369003" y="1370278"/>
                  </a:lnTo>
                  <a:lnTo>
                    <a:pt x="330723" y="1346278"/>
                  </a:lnTo>
                  <a:lnTo>
                    <a:pt x="294062" y="1320206"/>
                  </a:lnTo>
                  <a:lnTo>
                    <a:pt x="259111" y="1292148"/>
                  </a:lnTo>
                  <a:lnTo>
                    <a:pt x="225961" y="1262192"/>
                  </a:lnTo>
                  <a:lnTo>
                    <a:pt x="194702" y="1230423"/>
                  </a:lnTo>
                  <a:lnTo>
                    <a:pt x="165424" y="1196929"/>
                  </a:lnTo>
                  <a:lnTo>
                    <a:pt x="138218" y="1161795"/>
                  </a:lnTo>
                  <a:lnTo>
                    <a:pt x="113174" y="1125110"/>
                  </a:lnTo>
                  <a:lnTo>
                    <a:pt x="90383" y="1086958"/>
                  </a:lnTo>
                  <a:lnTo>
                    <a:pt x="69934" y="1047428"/>
                  </a:lnTo>
                  <a:lnTo>
                    <a:pt x="51919" y="1006605"/>
                  </a:lnTo>
                  <a:lnTo>
                    <a:pt x="36427" y="964576"/>
                  </a:lnTo>
                  <a:lnTo>
                    <a:pt x="23550" y="921428"/>
                  </a:lnTo>
                  <a:lnTo>
                    <a:pt x="13376" y="877247"/>
                  </a:lnTo>
                  <a:lnTo>
                    <a:pt x="5998" y="832120"/>
                  </a:lnTo>
                  <a:lnTo>
                    <a:pt x="1504" y="786134"/>
                  </a:lnTo>
                  <a:lnTo>
                    <a:pt x="0" y="739774"/>
                  </a:lnTo>
                  <a:lnTo>
                    <a:pt x="0" y="738975"/>
                  </a:lnTo>
                  <a:lnTo>
                    <a:pt x="1504" y="692615"/>
                  </a:lnTo>
                  <a:lnTo>
                    <a:pt x="5998" y="646629"/>
                  </a:lnTo>
                  <a:lnTo>
                    <a:pt x="13376" y="601502"/>
                  </a:lnTo>
                  <a:lnTo>
                    <a:pt x="23550" y="557321"/>
                  </a:lnTo>
                  <a:lnTo>
                    <a:pt x="36427" y="514173"/>
                  </a:lnTo>
                  <a:lnTo>
                    <a:pt x="51919" y="472144"/>
                  </a:lnTo>
                  <a:lnTo>
                    <a:pt x="69934" y="431321"/>
                  </a:lnTo>
                  <a:lnTo>
                    <a:pt x="90383" y="391790"/>
                  </a:lnTo>
                  <a:lnTo>
                    <a:pt x="113174" y="353639"/>
                  </a:lnTo>
                  <a:lnTo>
                    <a:pt x="138218" y="316953"/>
                  </a:lnTo>
                  <a:lnTo>
                    <a:pt x="165424" y="281820"/>
                  </a:lnTo>
                  <a:lnTo>
                    <a:pt x="194702" y="248326"/>
                  </a:lnTo>
                  <a:lnTo>
                    <a:pt x="225961" y="216557"/>
                  </a:lnTo>
                  <a:lnTo>
                    <a:pt x="259111" y="186601"/>
                  </a:lnTo>
                  <a:lnTo>
                    <a:pt x="294062" y="158543"/>
                  </a:lnTo>
                  <a:lnTo>
                    <a:pt x="330723" y="132471"/>
                  </a:lnTo>
                  <a:lnTo>
                    <a:pt x="369003" y="108470"/>
                  </a:lnTo>
                  <a:lnTo>
                    <a:pt x="408814" y="86629"/>
                  </a:lnTo>
                  <a:lnTo>
                    <a:pt x="450063" y="67032"/>
                  </a:lnTo>
                  <a:lnTo>
                    <a:pt x="492661" y="49768"/>
                  </a:lnTo>
                  <a:lnTo>
                    <a:pt x="536517" y="34921"/>
                  </a:lnTo>
                  <a:lnTo>
                    <a:pt x="581542" y="22580"/>
                  </a:lnTo>
                  <a:lnTo>
                    <a:pt x="627644" y="12831"/>
                  </a:lnTo>
                  <a:lnTo>
                    <a:pt x="674733" y="5760"/>
                  </a:lnTo>
                  <a:lnTo>
                    <a:pt x="722719" y="1454"/>
                  </a:lnTo>
                  <a:lnTo>
                    <a:pt x="771503" y="0"/>
                  </a:lnTo>
                  <a:lnTo>
                    <a:pt x="5649821" y="0"/>
                  </a:lnTo>
                  <a:lnTo>
                    <a:pt x="5698605" y="1454"/>
                  </a:lnTo>
                  <a:lnTo>
                    <a:pt x="5746591" y="5760"/>
                  </a:lnTo>
                  <a:lnTo>
                    <a:pt x="5793680" y="12831"/>
                  </a:lnTo>
                  <a:lnTo>
                    <a:pt x="5839782" y="22580"/>
                  </a:lnTo>
                  <a:lnTo>
                    <a:pt x="5884807" y="34921"/>
                  </a:lnTo>
                  <a:lnTo>
                    <a:pt x="5928663" y="49768"/>
                  </a:lnTo>
                  <a:lnTo>
                    <a:pt x="5971261" y="67032"/>
                  </a:lnTo>
                  <a:lnTo>
                    <a:pt x="6012511" y="86629"/>
                  </a:lnTo>
                  <a:lnTo>
                    <a:pt x="6052321" y="108470"/>
                  </a:lnTo>
                  <a:lnTo>
                    <a:pt x="6090602" y="132471"/>
                  </a:lnTo>
                  <a:lnTo>
                    <a:pt x="6127262" y="158543"/>
                  </a:lnTo>
                  <a:lnTo>
                    <a:pt x="6162213" y="186601"/>
                  </a:lnTo>
                  <a:lnTo>
                    <a:pt x="6195363" y="216557"/>
                  </a:lnTo>
                  <a:lnTo>
                    <a:pt x="6226622" y="248326"/>
                  </a:lnTo>
                  <a:lnTo>
                    <a:pt x="6255900" y="281820"/>
                  </a:lnTo>
                  <a:lnTo>
                    <a:pt x="6283106" y="316953"/>
                  </a:lnTo>
                  <a:lnTo>
                    <a:pt x="6308150" y="353639"/>
                  </a:lnTo>
                  <a:lnTo>
                    <a:pt x="6330941" y="391790"/>
                  </a:lnTo>
                  <a:lnTo>
                    <a:pt x="6351390" y="431321"/>
                  </a:lnTo>
                  <a:lnTo>
                    <a:pt x="6369405" y="472144"/>
                  </a:lnTo>
                  <a:lnTo>
                    <a:pt x="6384897" y="514173"/>
                  </a:lnTo>
                  <a:lnTo>
                    <a:pt x="6397774" y="557321"/>
                  </a:lnTo>
                  <a:lnTo>
                    <a:pt x="6407948" y="601502"/>
                  </a:lnTo>
                  <a:lnTo>
                    <a:pt x="6415326" y="646629"/>
                  </a:lnTo>
                  <a:lnTo>
                    <a:pt x="6419819" y="692615"/>
                  </a:lnTo>
                  <a:lnTo>
                    <a:pt x="6421324" y="738975"/>
                  </a:lnTo>
                  <a:lnTo>
                    <a:pt x="6421324" y="739774"/>
                  </a:lnTo>
                  <a:lnTo>
                    <a:pt x="6419819" y="786134"/>
                  </a:lnTo>
                  <a:lnTo>
                    <a:pt x="6415326" y="832120"/>
                  </a:lnTo>
                  <a:lnTo>
                    <a:pt x="6407948" y="877247"/>
                  </a:lnTo>
                  <a:lnTo>
                    <a:pt x="6397774" y="921428"/>
                  </a:lnTo>
                  <a:lnTo>
                    <a:pt x="6384897" y="964576"/>
                  </a:lnTo>
                  <a:lnTo>
                    <a:pt x="6369405" y="1006605"/>
                  </a:lnTo>
                  <a:lnTo>
                    <a:pt x="6351390" y="1047428"/>
                  </a:lnTo>
                  <a:lnTo>
                    <a:pt x="6330941" y="1086958"/>
                  </a:lnTo>
                  <a:lnTo>
                    <a:pt x="6308150" y="1125110"/>
                  </a:lnTo>
                  <a:lnTo>
                    <a:pt x="6283106" y="1161795"/>
                  </a:lnTo>
                  <a:lnTo>
                    <a:pt x="6255900" y="1196929"/>
                  </a:lnTo>
                  <a:lnTo>
                    <a:pt x="6226622" y="1230423"/>
                  </a:lnTo>
                  <a:lnTo>
                    <a:pt x="6195363" y="1262192"/>
                  </a:lnTo>
                  <a:lnTo>
                    <a:pt x="6162213" y="1292148"/>
                  </a:lnTo>
                  <a:lnTo>
                    <a:pt x="6127262" y="1320206"/>
                  </a:lnTo>
                  <a:lnTo>
                    <a:pt x="6090602" y="1346278"/>
                  </a:lnTo>
                  <a:lnTo>
                    <a:pt x="6052321" y="1370278"/>
                  </a:lnTo>
                  <a:lnTo>
                    <a:pt x="6012511" y="1392120"/>
                  </a:lnTo>
                  <a:lnTo>
                    <a:pt x="5971261" y="1411717"/>
                  </a:lnTo>
                  <a:lnTo>
                    <a:pt x="5928663" y="1428981"/>
                  </a:lnTo>
                  <a:lnTo>
                    <a:pt x="5884807" y="1443827"/>
                  </a:lnTo>
                  <a:lnTo>
                    <a:pt x="5839782" y="1456168"/>
                  </a:lnTo>
                  <a:lnTo>
                    <a:pt x="5793680" y="1465918"/>
                  </a:lnTo>
                  <a:lnTo>
                    <a:pt x="5746591" y="1472989"/>
                  </a:lnTo>
                  <a:lnTo>
                    <a:pt x="5698605" y="1477295"/>
                  </a:lnTo>
                  <a:lnTo>
                    <a:pt x="5649812" y="1478750"/>
                  </a:lnTo>
                  <a:close/>
                </a:path>
              </a:pathLst>
            </a:custGeom>
            <a:solidFill>
              <a:srgbClr val="FFFFFF"/>
            </a:solidFill>
          </p:spPr>
          <p:txBody>
            <a:bodyPr wrap="square" lIns="0" tIns="0" rIns="0" bIns="0" rtlCol="0"/>
            <a:lstStyle/>
            <a:p>
              <a:endParaRPr/>
            </a:p>
          </p:txBody>
        </p:sp>
        <p:sp>
          <p:nvSpPr>
            <p:cNvPr id="29" name="object 29"/>
            <p:cNvSpPr/>
            <p:nvPr/>
          </p:nvSpPr>
          <p:spPr>
            <a:xfrm>
              <a:off x="11352872" y="3289712"/>
              <a:ext cx="1478915" cy="1478915"/>
            </a:xfrm>
            <a:custGeom>
              <a:avLst/>
              <a:gdLst/>
              <a:ahLst/>
              <a:cxnLst/>
              <a:rect l="l" t="t" r="r" b="b"/>
              <a:pathLst>
                <a:path w="1478915" h="1478914">
                  <a:moveTo>
                    <a:pt x="739390" y="1478749"/>
                  </a:moveTo>
                  <a:lnTo>
                    <a:pt x="690760" y="1477177"/>
                  </a:lnTo>
                  <a:lnTo>
                    <a:pt x="642986" y="1472524"/>
                  </a:lnTo>
                  <a:lnTo>
                    <a:pt x="596148" y="1464888"/>
                  </a:lnTo>
                  <a:lnTo>
                    <a:pt x="550346" y="1454366"/>
                  </a:lnTo>
                  <a:lnTo>
                    <a:pt x="505675" y="1441056"/>
                  </a:lnTo>
                  <a:lnTo>
                    <a:pt x="462233" y="1425055"/>
                  </a:lnTo>
                  <a:lnTo>
                    <a:pt x="420118" y="1406461"/>
                  </a:lnTo>
                  <a:lnTo>
                    <a:pt x="379428" y="1385371"/>
                  </a:lnTo>
                  <a:lnTo>
                    <a:pt x="340259" y="1361883"/>
                  </a:lnTo>
                  <a:lnTo>
                    <a:pt x="302709" y="1336093"/>
                  </a:lnTo>
                  <a:lnTo>
                    <a:pt x="266876" y="1308100"/>
                  </a:lnTo>
                  <a:lnTo>
                    <a:pt x="232856" y="1278001"/>
                  </a:lnTo>
                  <a:lnTo>
                    <a:pt x="200748" y="1245893"/>
                  </a:lnTo>
                  <a:lnTo>
                    <a:pt x="170649" y="1211873"/>
                  </a:lnTo>
                  <a:lnTo>
                    <a:pt x="142656" y="1176040"/>
                  </a:lnTo>
                  <a:lnTo>
                    <a:pt x="116866" y="1138490"/>
                  </a:lnTo>
                  <a:lnTo>
                    <a:pt x="93378" y="1099321"/>
                  </a:lnTo>
                  <a:lnTo>
                    <a:pt x="72288" y="1058631"/>
                  </a:lnTo>
                  <a:lnTo>
                    <a:pt x="53694" y="1016516"/>
                  </a:lnTo>
                  <a:lnTo>
                    <a:pt x="37693" y="973074"/>
                  </a:lnTo>
                  <a:lnTo>
                    <a:pt x="24383" y="928403"/>
                  </a:lnTo>
                  <a:lnTo>
                    <a:pt x="13862" y="882601"/>
                  </a:lnTo>
                  <a:lnTo>
                    <a:pt x="6225" y="835763"/>
                  </a:lnTo>
                  <a:lnTo>
                    <a:pt x="1572" y="787989"/>
                  </a:lnTo>
                  <a:lnTo>
                    <a:pt x="0" y="739375"/>
                  </a:lnTo>
                  <a:lnTo>
                    <a:pt x="1572" y="690760"/>
                  </a:lnTo>
                  <a:lnTo>
                    <a:pt x="6225" y="642986"/>
                  </a:lnTo>
                  <a:lnTo>
                    <a:pt x="13862" y="596149"/>
                  </a:lnTo>
                  <a:lnTo>
                    <a:pt x="24383" y="550346"/>
                  </a:lnTo>
                  <a:lnTo>
                    <a:pt x="37693" y="505675"/>
                  </a:lnTo>
                  <a:lnTo>
                    <a:pt x="53694" y="462233"/>
                  </a:lnTo>
                  <a:lnTo>
                    <a:pt x="72288" y="420119"/>
                  </a:lnTo>
                  <a:lnTo>
                    <a:pt x="93378" y="379428"/>
                  </a:lnTo>
                  <a:lnTo>
                    <a:pt x="116866" y="340259"/>
                  </a:lnTo>
                  <a:lnTo>
                    <a:pt x="142656" y="302709"/>
                  </a:lnTo>
                  <a:lnTo>
                    <a:pt x="170649" y="266876"/>
                  </a:lnTo>
                  <a:lnTo>
                    <a:pt x="200748" y="232856"/>
                  </a:lnTo>
                  <a:lnTo>
                    <a:pt x="232856" y="200748"/>
                  </a:lnTo>
                  <a:lnTo>
                    <a:pt x="266876" y="170649"/>
                  </a:lnTo>
                  <a:lnTo>
                    <a:pt x="302709" y="142656"/>
                  </a:lnTo>
                  <a:lnTo>
                    <a:pt x="340259" y="116867"/>
                  </a:lnTo>
                  <a:lnTo>
                    <a:pt x="379428" y="93378"/>
                  </a:lnTo>
                  <a:lnTo>
                    <a:pt x="420118" y="72288"/>
                  </a:lnTo>
                  <a:lnTo>
                    <a:pt x="462233" y="53694"/>
                  </a:lnTo>
                  <a:lnTo>
                    <a:pt x="505675" y="37693"/>
                  </a:lnTo>
                  <a:lnTo>
                    <a:pt x="550346" y="24383"/>
                  </a:lnTo>
                  <a:lnTo>
                    <a:pt x="596148" y="13862"/>
                  </a:lnTo>
                  <a:lnTo>
                    <a:pt x="642986" y="6225"/>
                  </a:lnTo>
                  <a:lnTo>
                    <a:pt x="690760" y="1572"/>
                  </a:lnTo>
                  <a:lnTo>
                    <a:pt x="739374" y="0"/>
                  </a:lnTo>
                  <a:lnTo>
                    <a:pt x="787988" y="1572"/>
                  </a:lnTo>
                  <a:lnTo>
                    <a:pt x="835763" y="6225"/>
                  </a:lnTo>
                  <a:lnTo>
                    <a:pt x="882600" y="13862"/>
                  </a:lnTo>
                  <a:lnTo>
                    <a:pt x="928403" y="24383"/>
                  </a:lnTo>
                  <a:lnTo>
                    <a:pt x="973074" y="37693"/>
                  </a:lnTo>
                  <a:lnTo>
                    <a:pt x="1016515" y="53694"/>
                  </a:lnTo>
                  <a:lnTo>
                    <a:pt x="1058630" y="72288"/>
                  </a:lnTo>
                  <a:lnTo>
                    <a:pt x="1099321" y="93378"/>
                  </a:lnTo>
                  <a:lnTo>
                    <a:pt x="1138489" y="116867"/>
                  </a:lnTo>
                  <a:lnTo>
                    <a:pt x="1176039" y="142656"/>
                  </a:lnTo>
                  <a:lnTo>
                    <a:pt x="1211872" y="170649"/>
                  </a:lnTo>
                  <a:lnTo>
                    <a:pt x="1245892" y="200748"/>
                  </a:lnTo>
                  <a:lnTo>
                    <a:pt x="1278000" y="232856"/>
                  </a:lnTo>
                  <a:lnTo>
                    <a:pt x="1308099" y="266876"/>
                  </a:lnTo>
                  <a:lnTo>
                    <a:pt x="1336092" y="302709"/>
                  </a:lnTo>
                  <a:lnTo>
                    <a:pt x="1361882" y="340259"/>
                  </a:lnTo>
                  <a:lnTo>
                    <a:pt x="1385370" y="379428"/>
                  </a:lnTo>
                  <a:lnTo>
                    <a:pt x="1406460" y="420119"/>
                  </a:lnTo>
                  <a:lnTo>
                    <a:pt x="1425054" y="462233"/>
                  </a:lnTo>
                  <a:lnTo>
                    <a:pt x="1441055" y="505675"/>
                  </a:lnTo>
                  <a:lnTo>
                    <a:pt x="1454365" y="550346"/>
                  </a:lnTo>
                  <a:lnTo>
                    <a:pt x="1464887" y="596149"/>
                  </a:lnTo>
                  <a:lnTo>
                    <a:pt x="1472523" y="642986"/>
                  </a:lnTo>
                  <a:lnTo>
                    <a:pt x="1477176" y="690760"/>
                  </a:lnTo>
                  <a:lnTo>
                    <a:pt x="1478749" y="739375"/>
                  </a:lnTo>
                  <a:lnTo>
                    <a:pt x="1477176" y="787989"/>
                  </a:lnTo>
                  <a:lnTo>
                    <a:pt x="1472523" y="835763"/>
                  </a:lnTo>
                  <a:lnTo>
                    <a:pt x="1464887" y="882601"/>
                  </a:lnTo>
                  <a:lnTo>
                    <a:pt x="1454365" y="928403"/>
                  </a:lnTo>
                  <a:lnTo>
                    <a:pt x="1441055" y="973074"/>
                  </a:lnTo>
                  <a:lnTo>
                    <a:pt x="1425054" y="1016516"/>
                  </a:lnTo>
                  <a:lnTo>
                    <a:pt x="1406460" y="1058631"/>
                  </a:lnTo>
                  <a:lnTo>
                    <a:pt x="1385370" y="1099321"/>
                  </a:lnTo>
                  <a:lnTo>
                    <a:pt x="1361882" y="1138490"/>
                  </a:lnTo>
                  <a:lnTo>
                    <a:pt x="1336092" y="1176040"/>
                  </a:lnTo>
                  <a:lnTo>
                    <a:pt x="1308099" y="1211873"/>
                  </a:lnTo>
                  <a:lnTo>
                    <a:pt x="1278000" y="1245893"/>
                  </a:lnTo>
                  <a:lnTo>
                    <a:pt x="1245892" y="1278001"/>
                  </a:lnTo>
                  <a:lnTo>
                    <a:pt x="1211872" y="1308100"/>
                  </a:lnTo>
                  <a:lnTo>
                    <a:pt x="1176039" y="1336093"/>
                  </a:lnTo>
                  <a:lnTo>
                    <a:pt x="1138489" y="1361883"/>
                  </a:lnTo>
                  <a:lnTo>
                    <a:pt x="1099321" y="1385371"/>
                  </a:lnTo>
                  <a:lnTo>
                    <a:pt x="1058630" y="1406461"/>
                  </a:lnTo>
                  <a:lnTo>
                    <a:pt x="1016515" y="1425055"/>
                  </a:lnTo>
                  <a:lnTo>
                    <a:pt x="973074" y="1441056"/>
                  </a:lnTo>
                  <a:lnTo>
                    <a:pt x="928403" y="1454366"/>
                  </a:lnTo>
                  <a:lnTo>
                    <a:pt x="882600" y="1464888"/>
                  </a:lnTo>
                  <a:lnTo>
                    <a:pt x="835763" y="1472524"/>
                  </a:lnTo>
                  <a:lnTo>
                    <a:pt x="787988" y="1477177"/>
                  </a:lnTo>
                  <a:lnTo>
                    <a:pt x="739390" y="1478749"/>
                  </a:lnTo>
                  <a:close/>
                </a:path>
              </a:pathLst>
            </a:custGeom>
            <a:solidFill>
              <a:srgbClr val="21408B"/>
            </a:solidFill>
          </p:spPr>
          <p:txBody>
            <a:bodyPr wrap="square" lIns="0" tIns="0" rIns="0" bIns="0" rtlCol="0"/>
            <a:lstStyle/>
            <a:p>
              <a:endParaRPr/>
            </a:p>
          </p:txBody>
        </p:sp>
        <p:sp>
          <p:nvSpPr>
            <p:cNvPr id="30" name="object 30"/>
            <p:cNvSpPr/>
            <p:nvPr/>
          </p:nvSpPr>
          <p:spPr>
            <a:xfrm>
              <a:off x="11724862" y="3673885"/>
              <a:ext cx="733425" cy="518795"/>
            </a:xfrm>
            <a:custGeom>
              <a:avLst/>
              <a:gdLst/>
              <a:ahLst/>
              <a:cxnLst/>
              <a:rect l="l" t="t" r="r" b="b"/>
              <a:pathLst>
                <a:path w="733425" h="518795">
                  <a:moveTo>
                    <a:pt x="435340" y="240169"/>
                  </a:moveTo>
                  <a:lnTo>
                    <a:pt x="183954" y="240169"/>
                  </a:lnTo>
                  <a:lnTo>
                    <a:pt x="320360" y="184707"/>
                  </a:lnTo>
                  <a:lnTo>
                    <a:pt x="322242" y="182715"/>
                  </a:lnTo>
                  <a:lnTo>
                    <a:pt x="324025" y="176940"/>
                  </a:lnTo>
                  <a:lnTo>
                    <a:pt x="323232" y="174351"/>
                  </a:lnTo>
                  <a:lnTo>
                    <a:pt x="320657" y="172161"/>
                  </a:lnTo>
                  <a:lnTo>
                    <a:pt x="189600" y="32460"/>
                  </a:lnTo>
                  <a:lnTo>
                    <a:pt x="187718" y="29871"/>
                  </a:lnTo>
                  <a:lnTo>
                    <a:pt x="187124" y="27282"/>
                  </a:lnTo>
                  <a:lnTo>
                    <a:pt x="187619" y="24494"/>
                  </a:lnTo>
                  <a:lnTo>
                    <a:pt x="188213" y="21806"/>
                  </a:lnTo>
                  <a:lnTo>
                    <a:pt x="189898" y="19814"/>
                  </a:lnTo>
                  <a:lnTo>
                    <a:pt x="238536" y="0"/>
                  </a:lnTo>
                  <a:lnTo>
                    <a:pt x="245569" y="896"/>
                  </a:lnTo>
                  <a:lnTo>
                    <a:pt x="252503" y="5576"/>
                  </a:lnTo>
                  <a:lnTo>
                    <a:pt x="439331" y="125262"/>
                  </a:lnTo>
                  <a:lnTo>
                    <a:pt x="445472" y="130241"/>
                  </a:lnTo>
                  <a:lnTo>
                    <a:pt x="452506" y="131137"/>
                  </a:lnTo>
                  <a:lnTo>
                    <a:pt x="645434" y="131137"/>
                  </a:lnTo>
                  <a:lnTo>
                    <a:pt x="644744" y="133738"/>
                  </a:lnTo>
                  <a:lnTo>
                    <a:pt x="615558" y="167082"/>
                  </a:lnTo>
                  <a:lnTo>
                    <a:pt x="608576" y="169870"/>
                  </a:lnTo>
                  <a:lnTo>
                    <a:pt x="608426" y="169870"/>
                  </a:lnTo>
                  <a:lnTo>
                    <a:pt x="435340" y="240169"/>
                  </a:lnTo>
                  <a:close/>
                </a:path>
                <a:path w="733425" h="518795">
                  <a:moveTo>
                    <a:pt x="645434" y="131137"/>
                  </a:moveTo>
                  <a:lnTo>
                    <a:pt x="452506" y="131137"/>
                  </a:lnTo>
                  <a:lnTo>
                    <a:pt x="580392" y="79259"/>
                  </a:lnTo>
                  <a:lnTo>
                    <a:pt x="587623" y="77567"/>
                  </a:lnTo>
                  <a:lnTo>
                    <a:pt x="594954" y="77069"/>
                  </a:lnTo>
                  <a:lnTo>
                    <a:pt x="603770" y="77268"/>
                  </a:lnTo>
                  <a:lnTo>
                    <a:pt x="636856" y="91208"/>
                  </a:lnTo>
                  <a:lnTo>
                    <a:pt x="638144" y="92303"/>
                  </a:lnTo>
                  <a:lnTo>
                    <a:pt x="639234" y="93399"/>
                  </a:lnTo>
                  <a:lnTo>
                    <a:pt x="639927" y="94295"/>
                  </a:lnTo>
                  <a:lnTo>
                    <a:pt x="640719" y="95191"/>
                  </a:lnTo>
                  <a:lnTo>
                    <a:pt x="641215" y="96087"/>
                  </a:lnTo>
                  <a:lnTo>
                    <a:pt x="641512" y="96784"/>
                  </a:lnTo>
                  <a:lnTo>
                    <a:pt x="643394" y="99373"/>
                  </a:lnTo>
                  <a:lnTo>
                    <a:pt x="644781" y="101663"/>
                  </a:lnTo>
                  <a:lnTo>
                    <a:pt x="645573" y="103854"/>
                  </a:lnTo>
                  <a:lnTo>
                    <a:pt x="646465" y="105945"/>
                  </a:lnTo>
                  <a:lnTo>
                    <a:pt x="646960" y="108235"/>
                  </a:lnTo>
                  <a:lnTo>
                    <a:pt x="647059" y="110724"/>
                  </a:lnTo>
                  <a:lnTo>
                    <a:pt x="647819" y="122152"/>
                  </a:lnTo>
                  <a:lnTo>
                    <a:pt x="645434" y="131137"/>
                  </a:lnTo>
                  <a:close/>
                </a:path>
                <a:path w="733425" h="518795">
                  <a:moveTo>
                    <a:pt x="608327" y="169970"/>
                  </a:moveTo>
                  <a:lnTo>
                    <a:pt x="608576" y="169870"/>
                  </a:lnTo>
                  <a:lnTo>
                    <a:pt x="608327" y="169970"/>
                  </a:lnTo>
                  <a:close/>
                </a:path>
                <a:path w="733425" h="518795">
                  <a:moveTo>
                    <a:pt x="226661" y="316765"/>
                  </a:moveTo>
                  <a:lnTo>
                    <a:pt x="181180" y="311662"/>
                  </a:lnTo>
                  <a:lnTo>
                    <a:pt x="138659" y="293005"/>
                  </a:lnTo>
                  <a:lnTo>
                    <a:pt x="102527" y="263668"/>
                  </a:lnTo>
                  <a:lnTo>
                    <a:pt x="74294" y="233597"/>
                  </a:lnTo>
                  <a:lnTo>
                    <a:pt x="71818" y="228419"/>
                  </a:lnTo>
                  <a:lnTo>
                    <a:pt x="72313" y="225631"/>
                  </a:lnTo>
                  <a:lnTo>
                    <a:pt x="72908" y="222943"/>
                  </a:lnTo>
                  <a:lnTo>
                    <a:pt x="74592" y="220951"/>
                  </a:lnTo>
                  <a:lnTo>
                    <a:pt x="77464" y="219756"/>
                  </a:lnTo>
                  <a:lnTo>
                    <a:pt x="111145" y="206115"/>
                  </a:lnTo>
                  <a:lnTo>
                    <a:pt x="118376" y="206513"/>
                  </a:lnTo>
                  <a:lnTo>
                    <a:pt x="124914" y="210496"/>
                  </a:lnTo>
                  <a:lnTo>
                    <a:pt x="170086" y="235788"/>
                  </a:lnTo>
                  <a:lnTo>
                    <a:pt x="176723" y="239771"/>
                  </a:lnTo>
                  <a:lnTo>
                    <a:pt x="183954" y="240169"/>
                  </a:lnTo>
                  <a:lnTo>
                    <a:pt x="435340" y="240169"/>
                  </a:lnTo>
                  <a:lnTo>
                    <a:pt x="271325" y="306783"/>
                  </a:lnTo>
                  <a:lnTo>
                    <a:pt x="249341" y="313650"/>
                  </a:lnTo>
                  <a:lnTo>
                    <a:pt x="226661" y="316765"/>
                  </a:lnTo>
                  <a:close/>
                </a:path>
                <a:path w="733425" h="518795">
                  <a:moveTo>
                    <a:pt x="713132" y="518674"/>
                  </a:moveTo>
                  <a:lnTo>
                    <a:pt x="19811" y="518674"/>
                  </a:lnTo>
                  <a:lnTo>
                    <a:pt x="12077" y="517102"/>
                  </a:lnTo>
                  <a:lnTo>
                    <a:pt x="5782" y="512824"/>
                  </a:lnTo>
                  <a:lnTo>
                    <a:pt x="1549" y="506492"/>
                  </a:lnTo>
                  <a:lnTo>
                    <a:pt x="0" y="498759"/>
                  </a:lnTo>
                  <a:lnTo>
                    <a:pt x="1563" y="491027"/>
                  </a:lnTo>
                  <a:lnTo>
                    <a:pt x="5819" y="484694"/>
                  </a:lnTo>
                  <a:lnTo>
                    <a:pt x="12119" y="480416"/>
                  </a:lnTo>
                  <a:lnTo>
                    <a:pt x="19811" y="478845"/>
                  </a:lnTo>
                  <a:lnTo>
                    <a:pt x="713132" y="478845"/>
                  </a:lnTo>
                  <a:lnTo>
                    <a:pt x="720867" y="480416"/>
                  </a:lnTo>
                  <a:lnTo>
                    <a:pt x="727162" y="484694"/>
                  </a:lnTo>
                  <a:lnTo>
                    <a:pt x="731395" y="491027"/>
                  </a:lnTo>
                  <a:lnTo>
                    <a:pt x="732944" y="498759"/>
                  </a:lnTo>
                  <a:lnTo>
                    <a:pt x="731381" y="506492"/>
                  </a:lnTo>
                  <a:lnTo>
                    <a:pt x="727125" y="512824"/>
                  </a:lnTo>
                  <a:lnTo>
                    <a:pt x="720825" y="517102"/>
                  </a:lnTo>
                  <a:lnTo>
                    <a:pt x="713132" y="518674"/>
                  </a:lnTo>
                  <a:close/>
                </a:path>
              </a:pathLst>
            </a:custGeom>
            <a:solidFill>
              <a:srgbClr val="FFFFFF"/>
            </a:solidFill>
          </p:spPr>
          <p:txBody>
            <a:bodyPr wrap="square" lIns="0" tIns="0" rIns="0" bIns="0" rtlCol="0"/>
            <a:lstStyle/>
            <a:p>
              <a:endParaRPr/>
            </a:p>
          </p:txBody>
        </p:sp>
      </p:grpSp>
      <p:sp>
        <p:nvSpPr>
          <p:cNvPr id="31" name="object 31"/>
          <p:cNvSpPr txBox="1"/>
          <p:nvPr/>
        </p:nvSpPr>
        <p:spPr>
          <a:xfrm>
            <a:off x="4184829" y="1761935"/>
            <a:ext cx="9918700" cy="476250"/>
          </a:xfrm>
          <a:prstGeom prst="rect">
            <a:avLst/>
          </a:prstGeom>
        </p:spPr>
        <p:txBody>
          <a:bodyPr vert="horz" wrap="square" lIns="0" tIns="13335" rIns="0" bIns="0" rtlCol="0">
            <a:spAutoFit/>
          </a:bodyPr>
          <a:lstStyle/>
          <a:p>
            <a:pPr marL="12700">
              <a:lnSpc>
                <a:spcPct val="100000"/>
              </a:lnSpc>
              <a:spcBef>
                <a:spcPts val="105"/>
              </a:spcBef>
            </a:pPr>
            <a:r>
              <a:rPr sz="2950" b="1" dirty="0">
                <a:solidFill>
                  <a:srgbClr val="E3112B"/>
                </a:solidFill>
                <a:latin typeface="Roboto"/>
                <a:cs typeface="Roboto"/>
              </a:rPr>
              <a:t>Vuelos</a:t>
            </a:r>
            <a:r>
              <a:rPr sz="2950" b="1" spc="-35" dirty="0">
                <a:solidFill>
                  <a:srgbClr val="E3112B"/>
                </a:solidFill>
                <a:latin typeface="Roboto"/>
                <a:cs typeface="Roboto"/>
              </a:rPr>
              <a:t> </a:t>
            </a:r>
            <a:r>
              <a:rPr sz="2950" b="1" dirty="0">
                <a:solidFill>
                  <a:srgbClr val="E3112B"/>
                </a:solidFill>
                <a:latin typeface="Roboto"/>
                <a:cs typeface="Roboto"/>
              </a:rPr>
              <a:t>internacionales</a:t>
            </a:r>
            <a:r>
              <a:rPr sz="2950" b="1" spc="-30" dirty="0">
                <a:solidFill>
                  <a:srgbClr val="E3112B"/>
                </a:solidFill>
                <a:latin typeface="Roboto"/>
                <a:cs typeface="Roboto"/>
              </a:rPr>
              <a:t> </a:t>
            </a:r>
            <a:r>
              <a:rPr sz="2950" b="1" dirty="0">
                <a:solidFill>
                  <a:srgbClr val="E3112B"/>
                </a:solidFill>
                <a:latin typeface="Roboto"/>
                <a:cs typeface="Roboto"/>
              </a:rPr>
              <a:t>directos</a:t>
            </a:r>
            <a:r>
              <a:rPr sz="2950" b="1" spc="-30" dirty="0">
                <a:solidFill>
                  <a:srgbClr val="E3112B"/>
                </a:solidFill>
                <a:latin typeface="Roboto"/>
                <a:cs typeface="Roboto"/>
              </a:rPr>
              <a:t> </a:t>
            </a:r>
            <a:r>
              <a:rPr sz="2950" b="1" dirty="0">
                <a:solidFill>
                  <a:srgbClr val="E3112B"/>
                </a:solidFill>
                <a:latin typeface="Roboto"/>
                <a:cs typeface="Roboto"/>
              </a:rPr>
              <a:t>a</a:t>
            </a:r>
            <a:r>
              <a:rPr sz="2950" b="1" spc="-30" dirty="0">
                <a:solidFill>
                  <a:srgbClr val="E3112B"/>
                </a:solidFill>
                <a:latin typeface="Roboto"/>
                <a:cs typeface="Roboto"/>
              </a:rPr>
              <a:t> </a:t>
            </a:r>
            <a:r>
              <a:rPr sz="2950" b="1" dirty="0">
                <a:solidFill>
                  <a:srgbClr val="E3112B"/>
                </a:solidFill>
                <a:latin typeface="Roboto"/>
                <a:cs typeface="Roboto"/>
              </a:rPr>
              <a:t>Santiago</a:t>
            </a:r>
            <a:r>
              <a:rPr sz="2950" b="1" spc="-30" dirty="0">
                <a:solidFill>
                  <a:srgbClr val="E3112B"/>
                </a:solidFill>
                <a:latin typeface="Roboto"/>
                <a:cs typeface="Roboto"/>
              </a:rPr>
              <a:t> </a:t>
            </a:r>
            <a:r>
              <a:rPr sz="2950" b="1" dirty="0">
                <a:solidFill>
                  <a:srgbClr val="E3112B"/>
                </a:solidFill>
                <a:latin typeface="Roboto"/>
                <a:cs typeface="Roboto"/>
              </a:rPr>
              <a:t>de</a:t>
            </a:r>
            <a:r>
              <a:rPr sz="2950" b="1" spc="-35" dirty="0">
                <a:solidFill>
                  <a:srgbClr val="E3112B"/>
                </a:solidFill>
                <a:latin typeface="Roboto"/>
                <a:cs typeface="Roboto"/>
              </a:rPr>
              <a:t> </a:t>
            </a:r>
            <a:r>
              <a:rPr sz="2950" b="1" dirty="0">
                <a:solidFill>
                  <a:srgbClr val="E3112B"/>
                </a:solidFill>
                <a:latin typeface="Roboto"/>
                <a:cs typeface="Roboto"/>
              </a:rPr>
              <a:t>Chile</a:t>
            </a:r>
            <a:r>
              <a:rPr sz="2950" b="1" spc="-30" dirty="0">
                <a:solidFill>
                  <a:srgbClr val="E3112B"/>
                </a:solidFill>
                <a:latin typeface="Roboto"/>
                <a:cs typeface="Roboto"/>
              </a:rPr>
              <a:t> </a:t>
            </a:r>
            <a:r>
              <a:rPr sz="2950" b="1" spc="-10" dirty="0">
                <a:solidFill>
                  <a:srgbClr val="E3112B"/>
                </a:solidFill>
                <a:latin typeface="Roboto"/>
                <a:cs typeface="Roboto"/>
              </a:rPr>
              <a:t>(2022)</a:t>
            </a:r>
            <a:endParaRPr sz="2950">
              <a:latin typeface="Roboto"/>
              <a:cs typeface="Roboto"/>
            </a:endParaRPr>
          </a:p>
        </p:txBody>
      </p:sp>
      <p:sp>
        <p:nvSpPr>
          <p:cNvPr id="32" name="object 32"/>
          <p:cNvSpPr txBox="1"/>
          <p:nvPr/>
        </p:nvSpPr>
        <p:spPr>
          <a:xfrm>
            <a:off x="2139867" y="7371847"/>
            <a:ext cx="1054735" cy="474980"/>
          </a:xfrm>
          <a:prstGeom prst="rect">
            <a:avLst/>
          </a:prstGeom>
        </p:spPr>
        <p:txBody>
          <a:bodyPr vert="horz" wrap="square" lIns="0" tIns="12065" rIns="0" bIns="0" rtlCol="0">
            <a:spAutoFit/>
          </a:bodyPr>
          <a:lstStyle/>
          <a:p>
            <a:pPr marL="12700">
              <a:lnSpc>
                <a:spcPct val="100000"/>
              </a:lnSpc>
              <a:spcBef>
                <a:spcPts val="95"/>
              </a:spcBef>
            </a:pPr>
            <a:r>
              <a:rPr sz="2950" b="1" spc="-10" dirty="0">
                <a:solidFill>
                  <a:srgbClr val="737373"/>
                </a:solidFill>
                <a:latin typeface="Roboto"/>
                <a:cs typeface="Roboto"/>
              </a:rPr>
              <a:t>75.7%</a:t>
            </a:r>
            <a:endParaRPr sz="2950">
              <a:latin typeface="Roboto"/>
              <a:cs typeface="Roboto"/>
            </a:endParaRPr>
          </a:p>
        </p:txBody>
      </p:sp>
      <p:sp>
        <p:nvSpPr>
          <p:cNvPr id="33" name="object 33"/>
          <p:cNvSpPr txBox="1"/>
          <p:nvPr/>
        </p:nvSpPr>
        <p:spPr>
          <a:xfrm>
            <a:off x="6364205" y="6327394"/>
            <a:ext cx="1054735" cy="474980"/>
          </a:xfrm>
          <a:prstGeom prst="rect">
            <a:avLst/>
          </a:prstGeom>
        </p:spPr>
        <p:txBody>
          <a:bodyPr vert="horz" wrap="square" lIns="0" tIns="12065" rIns="0" bIns="0" rtlCol="0">
            <a:spAutoFit/>
          </a:bodyPr>
          <a:lstStyle/>
          <a:p>
            <a:pPr marL="12700">
              <a:lnSpc>
                <a:spcPct val="100000"/>
              </a:lnSpc>
              <a:spcBef>
                <a:spcPts val="95"/>
              </a:spcBef>
            </a:pPr>
            <a:r>
              <a:rPr sz="2950" b="1" spc="-10" dirty="0">
                <a:solidFill>
                  <a:srgbClr val="737373"/>
                </a:solidFill>
                <a:latin typeface="Roboto"/>
                <a:cs typeface="Roboto"/>
              </a:rPr>
              <a:t>43.8%</a:t>
            </a:r>
            <a:endParaRPr sz="2950">
              <a:latin typeface="Roboto"/>
              <a:cs typeface="Roboto"/>
            </a:endParaRPr>
          </a:p>
        </p:txBody>
      </p:sp>
      <p:sp>
        <p:nvSpPr>
          <p:cNvPr id="34" name="object 34"/>
          <p:cNvSpPr txBox="1"/>
          <p:nvPr/>
        </p:nvSpPr>
        <p:spPr>
          <a:xfrm>
            <a:off x="6546513" y="8344237"/>
            <a:ext cx="731520" cy="474980"/>
          </a:xfrm>
          <a:prstGeom prst="rect">
            <a:avLst/>
          </a:prstGeom>
        </p:spPr>
        <p:txBody>
          <a:bodyPr vert="horz" wrap="square" lIns="0" tIns="12065" rIns="0" bIns="0" rtlCol="0">
            <a:spAutoFit/>
          </a:bodyPr>
          <a:lstStyle/>
          <a:p>
            <a:pPr marL="12700">
              <a:lnSpc>
                <a:spcPct val="100000"/>
              </a:lnSpc>
              <a:spcBef>
                <a:spcPts val="95"/>
              </a:spcBef>
            </a:pPr>
            <a:r>
              <a:rPr sz="2950" b="1" spc="-25" dirty="0">
                <a:solidFill>
                  <a:srgbClr val="737373"/>
                </a:solidFill>
                <a:latin typeface="Roboto"/>
                <a:cs typeface="Roboto"/>
              </a:rPr>
              <a:t>85%</a:t>
            </a:r>
            <a:endParaRPr sz="2950">
              <a:latin typeface="Roboto"/>
              <a:cs typeface="Roboto"/>
            </a:endParaRPr>
          </a:p>
        </p:txBody>
      </p:sp>
      <p:grpSp>
        <p:nvGrpSpPr>
          <p:cNvPr id="35" name="object 35"/>
          <p:cNvGrpSpPr/>
          <p:nvPr/>
        </p:nvGrpSpPr>
        <p:grpSpPr>
          <a:xfrm>
            <a:off x="1696603" y="2655773"/>
            <a:ext cx="7374255" cy="2677795"/>
            <a:chOff x="1696603" y="2655773"/>
            <a:chExt cx="7374255" cy="2677795"/>
          </a:xfrm>
        </p:grpSpPr>
        <p:sp>
          <p:nvSpPr>
            <p:cNvPr id="36" name="object 36"/>
            <p:cNvSpPr/>
            <p:nvPr/>
          </p:nvSpPr>
          <p:spPr>
            <a:xfrm>
              <a:off x="1696643" y="2655785"/>
              <a:ext cx="7374255" cy="2405380"/>
            </a:xfrm>
            <a:custGeom>
              <a:avLst/>
              <a:gdLst/>
              <a:ahLst/>
              <a:cxnLst/>
              <a:rect l="l" t="t" r="r" b="b"/>
              <a:pathLst>
                <a:path w="7374255" h="2405379">
                  <a:moveTo>
                    <a:pt x="2404757" y="0"/>
                  </a:moveTo>
                  <a:lnTo>
                    <a:pt x="0" y="0"/>
                  </a:lnTo>
                  <a:lnTo>
                    <a:pt x="0" y="2404757"/>
                  </a:lnTo>
                  <a:lnTo>
                    <a:pt x="2404757" y="2404757"/>
                  </a:lnTo>
                  <a:lnTo>
                    <a:pt x="2404757" y="0"/>
                  </a:lnTo>
                  <a:close/>
                </a:path>
                <a:path w="7374255" h="2405379">
                  <a:moveTo>
                    <a:pt x="4889297" y="0"/>
                  </a:moveTo>
                  <a:lnTo>
                    <a:pt x="2484539" y="0"/>
                  </a:lnTo>
                  <a:lnTo>
                    <a:pt x="2484539" y="2404757"/>
                  </a:lnTo>
                  <a:lnTo>
                    <a:pt x="4889297" y="2404757"/>
                  </a:lnTo>
                  <a:lnTo>
                    <a:pt x="4889297" y="0"/>
                  </a:lnTo>
                  <a:close/>
                </a:path>
                <a:path w="7374255" h="2405379">
                  <a:moveTo>
                    <a:pt x="7373836" y="0"/>
                  </a:moveTo>
                  <a:lnTo>
                    <a:pt x="4969078" y="0"/>
                  </a:lnTo>
                  <a:lnTo>
                    <a:pt x="4969078" y="2404757"/>
                  </a:lnTo>
                  <a:lnTo>
                    <a:pt x="7373836" y="2404757"/>
                  </a:lnTo>
                  <a:lnTo>
                    <a:pt x="7373836" y="0"/>
                  </a:lnTo>
                  <a:close/>
                </a:path>
              </a:pathLst>
            </a:custGeom>
            <a:solidFill>
              <a:srgbClr val="21408B"/>
            </a:solidFill>
          </p:spPr>
          <p:txBody>
            <a:bodyPr wrap="square" lIns="0" tIns="0" rIns="0" bIns="0" rtlCol="0"/>
            <a:lstStyle/>
            <a:p>
              <a:endParaRPr/>
            </a:p>
          </p:txBody>
        </p:sp>
        <p:sp>
          <p:nvSpPr>
            <p:cNvPr id="37" name="object 37"/>
            <p:cNvSpPr/>
            <p:nvPr/>
          </p:nvSpPr>
          <p:spPr>
            <a:xfrm>
              <a:off x="2649677" y="2851619"/>
              <a:ext cx="5393055" cy="537210"/>
            </a:xfrm>
            <a:custGeom>
              <a:avLst/>
              <a:gdLst/>
              <a:ahLst/>
              <a:cxnLst/>
              <a:rect l="l" t="t" r="r" b="b"/>
              <a:pathLst>
                <a:path w="5393055" h="537210">
                  <a:moveTo>
                    <a:pt x="499618" y="246380"/>
                  </a:moveTo>
                  <a:lnTo>
                    <a:pt x="499376" y="238760"/>
                  </a:lnTo>
                  <a:lnTo>
                    <a:pt x="499338" y="237490"/>
                  </a:lnTo>
                  <a:lnTo>
                    <a:pt x="498792" y="219710"/>
                  </a:lnTo>
                  <a:lnTo>
                    <a:pt x="487959" y="170180"/>
                  </a:lnTo>
                  <a:lnTo>
                    <a:pt x="480441" y="149453"/>
                  </a:lnTo>
                  <a:lnTo>
                    <a:pt x="480441" y="231140"/>
                  </a:lnTo>
                  <a:lnTo>
                    <a:pt x="480377" y="233680"/>
                  </a:lnTo>
                  <a:lnTo>
                    <a:pt x="480339" y="265430"/>
                  </a:lnTo>
                  <a:lnTo>
                    <a:pt x="479044" y="280670"/>
                  </a:lnTo>
                  <a:lnTo>
                    <a:pt x="470255" y="320040"/>
                  </a:lnTo>
                  <a:lnTo>
                    <a:pt x="455815" y="355600"/>
                  </a:lnTo>
                  <a:lnTo>
                    <a:pt x="448195" y="365760"/>
                  </a:lnTo>
                  <a:lnTo>
                    <a:pt x="444042" y="365760"/>
                  </a:lnTo>
                  <a:lnTo>
                    <a:pt x="435902" y="367030"/>
                  </a:lnTo>
                  <a:lnTo>
                    <a:pt x="433044" y="367030"/>
                  </a:lnTo>
                  <a:lnTo>
                    <a:pt x="433044" y="389890"/>
                  </a:lnTo>
                  <a:lnTo>
                    <a:pt x="427291" y="400050"/>
                  </a:lnTo>
                  <a:lnTo>
                    <a:pt x="410019" y="417830"/>
                  </a:lnTo>
                  <a:lnTo>
                    <a:pt x="388531" y="436880"/>
                  </a:lnTo>
                  <a:lnTo>
                    <a:pt x="370090" y="449580"/>
                  </a:lnTo>
                  <a:lnTo>
                    <a:pt x="365467" y="450850"/>
                  </a:lnTo>
                  <a:lnTo>
                    <a:pt x="357606" y="455930"/>
                  </a:lnTo>
                  <a:lnTo>
                    <a:pt x="352628" y="458470"/>
                  </a:lnTo>
                  <a:lnTo>
                    <a:pt x="344614" y="463550"/>
                  </a:lnTo>
                  <a:lnTo>
                    <a:pt x="338188" y="466090"/>
                  </a:lnTo>
                  <a:lnTo>
                    <a:pt x="338188" y="463550"/>
                  </a:lnTo>
                  <a:lnTo>
                    <a:pt x="344373" y="454660"/>
                  </a:lnTo>
                  <a:lnTo>
                    <a:pt x="351942" y="445770"/>
                  </a:lnTo>
                  <a:lnTo>
                    <a:pt x="358000" y="436880"/>
                  </a:lnTo>
                  <a:lnTo>
                    <a:pt x="364337" y="427990"/>
                  </a:lnTo>
                  <a:lnTo>
                    <a:pt x="370192" y="417830"/>
                  </a:lnTo>
                  <a:lnTo>
                    <a:pt x="374815" y="410210"/>
                  </a:lnTo>
                  <a:lnTo>
                    <a:pt x="409524" y="387350"/>
                  </a:lnTo>
                  <a:lnTo>
                    <a:pt x="425234" y="388620"/>
                  </a:lnTo>
                  <a:lnTo>
                    <a:pt x="433044" y="389890"/>
                  </a:lnTo>
                  <a:lnTo>
                    <a:pt x="433044" y="367030"/>
                  </a:lnTo>
                  <a:lnTo>
                    <a:pt x="395617" y="367030"/>
                  </a:lnTo>
                  <a:lnTo>
                    <a:pt x="395617" y="359410"/>
                  </a:lnTo>
                  <a:lnTo>
                    <a:pt x="396709" y="354330"/>
                  </a:lnTo>
                  <a:lnTo>
                    <a:pt x="398043" y="350520"/>
                  </a:lnTo>
                  <a:lnTo>
                    <a:pt x="401193" y="340360"/>
                  </a:lnTo>
                  <a:lnTo>
                    <a:pt x="404533" y="322580"/>
                  </a:lnTo>
                  <a:lnTo>
                    <a:pt x="407517" y="303530"/>
                  </a:lnTo>
                  <a:lnTo>
                    <a:pt x="409600" y="283210"/>
                  </a:lnTo>
                  <a:lnTo>
                    <a:pt x="410984" y="266700"/>
                  </a:lnTo>
                  <a:lnTo>
                    <a:pt x="412038" y="260350"/>
                  </a:lnTo>
                  <a:lnTo>
                    <a:pt x="414286" y="259080"/>
                  </a:lnTo>
                  <a:lnTo>
                    <a:pt x="425259" y="257810"/>
                  </a:lnTo>
                  <a:lnTo>
                    <a:pt x="446405" y="256540"/>
                  </a:lnTo>
                  <a:lnTo>
                    <a:pt x="467652" y="256540"/>
                  </a:lnTo>
                  <a:lnTo>
                    <a:pt x="478929" y="257810"/>
                  </a:lnTo>
                  <a:lnTo>
                    <a:pt x="480339" y="265430"/>
                  </a:lnTo>
                  <a:lnTo>
                    <a:pt x="480339" y="233705"/>
                  </a:lnTo>
                  <a:lnTo>
                    <a:pt x="477837" y="234950"/>
                  </a:lnTo>
                  <a:lnTo>
                    <a:pt x="466293" y="237490"/>
                  </a:lnTo>
                  <a:lnTo>
                    <a:pt x="423557" y="237490"/>
                  </a:lnTo>
                  <a:lnTo>
                    <a:pt x="412546" y="234950"/>
                  </a:lnTo>
                  <a:lnTo>
                    <a:pt x="410870" y="233680"/>
                  </a:lnTo>
                  <a:lnTo>
                    <a:pt x="409740" y="226060"/>
                  </a:lnTo>
                  <a:lnTo>
                    <a:pt x="408990" y="213360"/>
                  </a:lnTo>
                  <a:lnTo>
                    <a:pt x="408419" y="204470"/>
                  </a:lnTo>
                  <a:lnTo>
                    <a:pt x="407695" y="196850"/>
                  </a:lnTo>
                  <a:lnTo>
                    <a:pt x="406882" y="190500"/>
                  </a:lnTo>
                  <a:lnTo>
                    <a:pt x="406095" y="186690"/>
                  </a:lnTo>
                  <a:lnTo>
                    <a:pt x="405104" y="184150"/>
                  </a:lnTo>
                  <a:lnTo>
                    <a:pt x="403174" y="173990"/>
                  </a:lnTo>
                  <a:lnTo>
                    <a:pt x="400405" y="158750"/>
                  </a:lnTo>
                  <a:lnTo>
                    <a:pt x="397954" y="148590"/>
                  </a:lnTo>
                  <a:lnTo>
                    <a:pt x="394131" y="140970"/>
                  </a:lnTo>
                  <a:lnTo>
                    <a:pt x="393890" y="138430"/>
                  </a:lnTo>
                  <a:lnTo>
                    <a:pt x="395351" y="137160"/>
                  </a:lnTo>
                  <a:lnTo>
                    <a:pt x="404266" y="135890"/>
                  </a:lnTo>
                  <a:lnTo>
                    <a:pt x="421868" y="134620"/>
                  </a:lnTo>
                  <a:lnTo>
                    <a:pt x="439572" y="134620"/>
                  </a:lnTo>
                  <a:lnTo>
                    <a:pt x="465620" y="167640"/>
                  </a:lnTo>
                  <a:lnTo>
                    <a:pt x="478459" y="217170"/>
                  </a:lnTo>
                  <a:lnTo>
                    <a:pt x="480441" y="231140"/>
                  </a:lnTo>
                  <a:lnTo>
                    <a:pt x="480441" y="149453"/>
                  </a:lnTo>
                  <a:lnTo>
                    <a:pt x="462661" y="116840"/>
                  </a:lnTo>
                  <a:lnTo>
                    <a:pt x="461835" y="115570"/>
                  </a:lnTo>
                  <a:lnTo>
                    <a:pt x="457682" y="109220"/>
                  </a:lnTo>
                  <a:lnTo>
                    <a:pt x="444741" y="91440"/>
                  </a:lnTo>
                  <a:lnTo>
                    <a:pt x="434632" y="80022"/>
                  </a:lnTo>
                  <a:lnTo>
                    <a:pt x="434632" y="114300"/>
                  </a:lnTo>
                  <a:lnTo>
                    <a:pt x="427799" y="114300"/>
                  </a:lnTo>
                  <a:lnTo>
                    <a:pt x="413245" y="115570"/>
                  </a:lnTo>
                  <a:lnTo>
                    <a:pt x="397891" y="114300"/>
                  </a:lnTo>
                  <a:lnTo>
                    <a:pt x="390055" y="114300"/>
                  </a:lnTo>
                  <a:lnTo>
                    <a:pt x="390055" y="275590"/>
                  </a:lnTo>
                  <a:lnTo>
                    <a:pt x="386270" y="307340"/>
                  </a:lnTo>
                  <a:lnTo>
                    <a:pt x="379463" y="340360"/>
                  </a:lnTo>
                  <a:lnTo>
                    <a:pt x="371881" y="363220"/>
                  </a:lnTo>
                  <a:lnTo>
                    <a:pt x="369430" y="367030"/>
                  </a:lnTo>
                  <a:lnTo>
                    <a:pt x="360629" y="367030"/>
                  </a:lnTo>
                  <a:lnTo>
                    <a:pt x="360629" y="391160"/>
                  </a:lnTo>
                  <a:lnTo>
                    <a:pt x="341414" y="425450"/>
                  </a:lnTo>
                  <a:lnTo>
                    <a:pt x="308279" y="459740"/>
                  </a:lnTo>
                  <a:lnTo>
                    <a:pt x="270687" y="478790"/>
                  </a:lnTo>
                  <a:lnTo>
                    <a:pt x="262191" y="480060"/>
                  </a:lnTo>
                  <a:lnTo>
                    <a:pt x="257517" y="478790"/>
                  </a:lnTo>
                  <a:lnTo>
                    <a:pt x="256413" y="464820"/>
                  </a:lnTo>
                  <a:lnTo>
                    <a:pt x="256387" y="431800"/>
                  </a:lnTo>
                  <a:lnTo>
                    <a:pt x="257060" y="405130"/>
                  </a:lnTo>
                  <a:lnTo>
                    <a:pt x="258457" y="389890"/>
                  </a:lnTo>
                  <a:lnTo>
                    <a:pt x="275564" y="388620"/>
                  </a:lnTo>
                  <a:lnTo>
                    <a:pt x="310045" y="387350"/>
                  </a:lnTo>
                  <a:lnTo>
                    <a:pt x="344157" y="388620"/>
                  </a:lnTo>
                  <a:lnTo>
                    <a:pt x="360108" y="389890"/>
                  </a:lnTo>
                  <a:lnTo>
                    <a:pt x="360629" y="391160"/>
                  </a:lnTo>
                  <a:lnTo>
                    <a:pt x="360629" y="367030"/>
                  </a:lnTo>
                  <a:lnTo>
                    <a:pt x="258191" y="367030"/>
                  </a:lnTo>
                  <a:lnTo>
                    <a:pt x="257035" y="361950"/>
                  </a:lnTo>
                  <a:lnTo>
                    <a:pt x="256743" y="350520"/>
                  </a:lnTo>
                  <a:lnTo>
                    <a:pt x="256692" y="337820"/>
                  </a:lnTo>
                  <a:lnTo>
                    <a:pt x="257111" y="311150"/>
                  </a:lnTo>
                  <a:lnTo>
                    <a:pt x="257225" y="307340"/>
                  </a:lnTo>
                  <a:lnTo>
                    <a:pt x="258267" y="275590"/>
                  </a:lnTo>
                  <a:lnTo>
                    <a:pt x="259549" y="260350"/>
                  </a:lnTo>
                  <a:lnTo>
                    <a:pt x="280009" y="259080"/>
                  </a:lnTo>
                  <a:lnTo>
                    <a:pt x="388569" y="259080"/>
                  </a:lnTo>
                  <a:lnTo>
                    <a:pt x="390055" y="275590"/>
                  </a:lnTo>
                  <a:lnTo>
                    <a:pt x="390055" y="114300"/>
                  </a:lnTo>
                  <a:lnTo>
                    <a:pt x="389255" y="114300"/>
                  </a:lnTo>
                  <a:lnTo>
                    <a:pt x="389255" y="222250"/>
                  </a:lnTo>
                  <a:lnTo>
                    <a:pt x="388251" y="234950"/>
                  </a:lnTo>
                  <a:lnTo>
                    <a:pt x="367106" y="237490"/>
                  </a:lnTo>
                  <a:lnTo>
                    <a:pt x="279311" y="237490"/>
                  </a:lnTo>
                  <a:lnTo>
                    <a:pt x="258635" y="234950"/>
                  </a:lnTo>
                  <a:lnTo>
                    <a:pt x="258165" y="229870"/>
                  </a:lnTo>
                  <a:lnTo>
                    <a:pt x="257975" y="222250"/>
                  </a:lnTo>
                  <a:lnTo>
                    <a:pt x="257911" y="201930"/>
                  </a:lnTo>
                  <a:lnTo>
                    <a:pt x="258140" y="184150"/>
                  </a:lnTo>
                  <a:lnTo>
                    <a:pt x="258991" y="137160"/>
                  </a:lnTo>
                  <a:lnTo>
                    <a:pt x="372008" y="137160"/>
                  </a:lnTo>
                  <a:lnTo>
                    <a:pt x="375259" y="146050"/>
                  </a:lnTo>
                  <a:lnTo>
                    <a:pt x="381469" y="168910"/>
                  </a:lnTo>
                  <a:lnTo>
                    <a:pt x="386562" y="196850"/>
                  </a:lnTo>
                  <a:lnTo>
                    <a:pt x="389255" y="222250"/>
                  </a:lnTo>
                  <a:lnTo>
                    <a:pt x="389255" y="114300"/>
                  </a:lnTo>
                  <a:lnTo>
                    <a:pt x="387223" y="114300"/>
                  </a:lnTo>
                  <a:lnTo>
                    <a:pt x="381342" y="104140"/>
                  </a:lnTo>
                  <a:lnTo>
                    <a:pt x="375602" y="93980"/>
                  </a:lnTo>
                  <a:lnTo>
                    <a:pt x="370751" y="85090"/>
                  </a:lnTo>
                  <a:lnTo>
                    <a:pt x="365277" y="74930"/>
                  </a:lnTo>
                  <a:lnTo>
                    <a:pt x="361530" y="69684"/>
                  </a:lnTo>
                  <a:lnTo>
                    <a:pt x="361530" y="114300"/>
                  </a:lnTo>
                  <a:lnTo>
                    <a:pt x="346392" y="114300"/>
                  </a:lnTo>
                  <a:lnTo>
                    <a:pt x="330517" y="115570"/>
                  </a:lnTo>
                  <a:lnTo>
                    <a:pt x="286740" y="115570"/>
                  </a:lnTo>
                  <a:lnTo>
                    <a:pt x="271348" y="114300"/>
                  </a:lnTo>
                  <a:lnTo>
                    <a:pt x="263131" y="114300"/>
                  </a:lnTo>
                  <a:lnTo>
                    <a:pt x="260032" y="113030"/>
                  </a:lnTo>
                  <a:lnTo>
                    <a:pt x="259168" y="109220"/>
                  </a:lnTo>
                  <a:lnTo>
                    <a:pt x="258889" y="104140"/>
                  </a:lnTo>
                  <a:lnTo>
                    <a:pt x="258800" y="86360"/>
                  </a:lnTo>
                  <a:lnTo>
                    <a:pt x="259219" y="66040"/>
                  </a:lnTo>
                  <a:lnTo>
                    <a:pt x="261874" y="22860"/>
                  </a:lnTo>
                  <a:lnTo>
                    <a:pt x="263740" y="21590"/>
                  </a:lnTo>
                  <a:lnTo>
                    <a:pt x="272516" y="21590"/>
                  </a:lnTo>
                  <a:lnTo>
                    <a:pt x="279666" y="25400"/>
                  </a:lnTo>
                  <a:lnTo>
                    <a:pt x="289941" y="29210"/>
                  </a:lnTo>
                  <a:lnTo>
                    <a:pt x="326745" y="58420"/>
                  </a:lnTo>
                  <a:lnTo>
                    <a:pt x="354037" y="96520"/>
                  </a:lnTo>
                  <a:lnTo>
                    <a:pt x="361530" y="114300"/>
                  </a:lnTo>
                  <a:lnTo>
                    <a:pt x="361530" y="69684"/>
                  </a:lnTo>
                  <a:lnTo>
                    <a:pt x="359841" y="67310"/>
                  </a:lnTo>
                  <a:lnTo>
                    <a:pt x="355117" y="60960"/>
                  </a:lnTo>
                  <a:lnTo>
                    <a:pt x="347865" y="50800"/>
                  </a:lnTo>
                  <a:lnTo>
                    <a:pt x="342544" y="43180"/>
                  </a:lnTo>
                  <a:lnTo>
                    <a:pt x="339610" y="38100"/>
                  </a:lnTo>
                  <a:lnTo>
                    <a:pt x="339547" y="36830"/>
                  </a:lnTo>
                  <a:lnTo>
                    <a:pt x="340233" y="36830"/>
                  </a:lnTo>
                  <a:lnTo>
                    <a:pt x="382168" y="59690"/>
                  </a:lnTo>
                  <a:lnTo>
                    <a:pt x="391134" y="67310"/>
                  </a:lnTo>
                  <a:lnTo>
                    <a:pt x="402437" y="76200"/>
                  </a:lnTo>
                  <a:lnTo>
                    <a:pt x="423976" y="99060"/>
                  </a:lnTo>
                  <a:lnTo>
                    <a:pt x="432028" y="109220"/>
                  </a:lnTo>
                  <a:lnTo>
                    <a:pt x="434632" y="114300"/>
                  </a:lnTo>
                  <a:lnTo>
                    <a:pt x="434632" y="80022"/>
                  </a:lnTo>
                  <a:lnTo>
                    <a:pt x="431253" y="76200"/>
                  </a:lnTo>
                  <a:lnTo>
                    <a:pt x="420471" y="64770"/>
                  </a:lnTo>
                  <a:lnTo>
                    <a:pt x="415886" y="60960"/>
                  </a:lnTo>
                  <a:lnTo>
                    <a:pt x="407365" y="54610"/>
                  </a:lnTo>
                  <a:lnTo>
                    <a:pt x="395668" y="44450"/>
                  </a:lnTo>
                  <a:lnTo>
                    <a:pt x="390410" y="40640"/>
                  </a:lnTo>
                  <a:lnTo>
                    <a:pt x="389267" y="40640"/>
                  </a:lnTo>
                  <a:lnTo>
                    <a:pt x="384657" y="38100"/>
                  </a:lnTo>
                  <a:lnTo>
                    <a:pt x="382968" y="36830"/>
                  </a:lnTo>
                  <a:lnTo>
                    <a:pt x="379590" y="34290"/>
                  </a:lnTo>
                  <a:lnTo>
                    <a:pt x="366344" y="26670"/>
                  </a:lnTo>
                  <a:lnTo>
                    <a:pt x="356133" y="21590"/>
                  </a:lnTo>
                  <a:lnTo>
                    <a:pt x="353568" y="20320"/>
                  </a:lnTo>
                  <a:lnTo>
                    <a:pt x="341731" y="15240"/>
                  </a:lnTo>
                  <a:lnTo>
                    <a:pt x="331216" y="12700"/>
                  </a:lnTo>
                  <a:lnTo>
                    <a:pt x="324040" y="10160"/>
                  </a:lnTo>
                  <a:lnTo>
                    <a:pt x="315023" y="7620"/>
                  </a:lnTo>
                  <a:lnTo>
                    <a:pt x="311188" y="6350"/>
                  </a:lnTo>
                  <a:lnTo>
                    <a:pt x="300367" y="3810"/>
                  </a:lnTo>
                  <a:lnTo>
                    <a:pt x="285584" y="1270"/>
                  </a:lnTo>
                  <a:lnTo>
                    <a:pt x="268160" y="0"/>
                  </a:lnTo>
                  <a:lnTo>
                    <a:pt x="238975" y="0"/>
                  </a:lnTo>
                  <a:lnTo>
                    <a:pt x="238975" y="22860"/>
                  </a:lnTo>
                  <a:lnTo>
                    <a:pt x="238874" y="88900"/>
                  </a:lnTo>
                  <a:lnTo>
                    <a:pt x="238493" y="102870"/>
                  </a:lnTo>
                  <a:lnTo>
                    <a:pt x="237782" y="110490"/>
                  </a:lnTo>
                  <a:lnTo>
                    <a:pt x="237363" y="111429"/>
                  </a:lnTo>
                  <a:lnTo>
                    <a:pt x="237363" y="152400"/>
                  </a:lnTo>
                  <a:lnTo>
                    <a:pt x="237261" y="186690"/>
                  </a:lnTo>
                  <a:lnTo>
                    <a:pt x="237159" y="193040"/>
                  </a:lnTo>
                  <a:lnTo>
                    <a:pt x="236829" y="210870"/>
                  </a:lnTo>
                  <a:lnTo>
                    <a:pt x="236829" y="311150"/>
                  </a:lnTo>
                  <a:lnTo>
                    <a:pt x="236715" y="344170"/>
                  </a:lnTo>
                  <a:lnTo>
                    <a:pt x="236689" y="346710"/>
                  </a:lnTo>
                  <a:lnTo>
                    <a:pt x="236232" y="358140"/>
                  </a:lnTo>
                  <a:lnTo>
                    <a:pt x="235597" y="364248"/>
                  </a:lnTo>
                  <a:lnTo>
                    <a:pt x="235597" y="402590"/>
                  </a:lnTo>
                  <a:lnTo>
                    <a:pt x="235496" y="435610"/>
                  </a:lnTo>
                  <a:lnTo>
                    <a:pt x="234632" y="477520"/>
                  </a:lnTo>
                  <a:lnTo>
                    <a:pt x="226796" y="478790"/>
                  </a:lnTo>
                  <a:lnTo>
                    <a:pt x="207175" y="472440"/>
                  </a:lnTo>
                  <a:lnTo>
                    <a:pt x="187960" y="459740"/>
                  </a:lnTo>
                  <a:lnTo>
                    <a:pt x="184111" y="457200"/>
                  </a:lnTo>
                  <a:lnTo>
                    <a:pt x="161734" y="434340"/>
                  </a:lnTo>
                  <a:lnTo>
                    <a:pt x="153466" y="421817"/>
                  </a:lnTo>
                  <a:lnTo>
                    <a:pt x="153466" y="455930"/>
                  </a:lnTo>
                  <a:lnTo>
                    <a:pt x="153238" y="459740"/>
                  </a:lnTo>
                  <a:lnTo>
                    <a:pt x="144106" y="455930"/>
                  </a:lnTo>
                  <a:lnTo>
                    <a:pt x="129451" y="448310"/>
                  </a:lnTo>
                  <a:lnTo>
                    <a:pt x="112649" y="436880"/>
                  </a:lnTo>
                  <a:lnTo>
                    <a:pt x="100076" y="426720"/>
                  </a:lnTo>
                  <a:lnTo>
                    <a:pt x="73444" y="398780"/>
                  </a:lnTo>
                  <a:lnTo>
                    <a:pt x="68414" y="392430"/>
                  </a:lnTo>
                  <a:lnTo>
                    <a:pt x="68414" y="389890"/>
                  </a:lnTo>
                  <a:lnTo>
                    <a:pt x="102819" y="389890"/>
                  </a:lnTo>
                  <a:lnTo>
                    <a:pt x="110566" y="392430"/>
                  </a:lnTo>
                  <a:lnTo>
                    <a:pt x="115900" y="397510"/>
                  </a:lnTo>
                  <a:lnTo>
                    <a:pt x="122415" y="410210"/>
                  </a:lnTo>
                  <a:lnTo>
                    <a:pt x="126136" y="416560"/>
                  </a:lnTo>
                  <a:lnTo>
                    <a:pt x="130784" y="424180"/>
                  </a:lnTo>
                  <a:lnTo>
                    <a:pt x="135750" y="431800"/>
                  </a:lnTo>
                  <a:lnTo>
                    <a:pt x="140462" y="439420"/>
                  </a:lnTo>
                  <a:lnTo>
                    <a:pt x="152158" y="454660"/>
                  </a:lnTo>
                  <a:lnTo>
                    <a:pt x="153466" y="455930"/>
                  </a:lnTo>
                  <a:lnTo>
                    <a:pt x="153466" y="421817"/>
                  </a:lnTo>
                  <a:lnTo>
                    <a:pt x="144132" y="407670"/>
                  </a:lnTo>
                  <a:lnTo>
                    <a:pt x="141528" y="402590"/>
                  </a:lnTo>
                  <a:lnTo>
                    <a:pt x="138684" y="397510"/>
                  </a:lnTo>
                  <a:lnTo>
                    <a:pt x="136982" y="396240"/>
                  </a:lnTo>
                  <a:lnTo>
                    <a:pt x="136283" y="394970"/>
                  </a:lnTo>
                  <a:lnTo>
                    <a:pt x="136283" y="392430"/>
                  </a:lnTo>
                  <a:lnTo>
                    <a:pt x="137096" y="391160"/>
                  </a:lnTo>
                  <a:lnTo>
                    <a:pt x="141617" y="389890"/>
                  </a:lnTo>
                  <a:lnTo>
                    <a:pt x="204266" y="389890"/>
                  </a:lnTo>
                  <a:lnTo>
                    <a:pt x="215785" y="388620"/>
                  </a:lnTo>
                  <a:lnTo>
                    <a:pt x="222872" y="388620"/>
                  </a:lnTo>
                  <a:lnTo>
                    <a:pt x="232092" y="387350"/>
                  </a:lnTo>
                  <a:lnTo>
                    <a:pt x="233565" y="387350"/>
                  </a:lnTo>
                  <a:lnTo>
                    <a:pt x="234873" y="391160"/>
                  </a:lnTo>
                  <a:lnTo>
                    <a:pt x="235381" y="394970"/>
                  </a:lnTo>
                  <a:lnTo>
                    <a:pt x="235597" y="402590"/>
                  </a:lnTo>
                  <a:lnTo>
                    <a:pt x="235597" y="364248"/>
                  </a:lnTo>
                  <a:lnTo>
                    <a:pt x="235572" y="364490"/>
                  </a:lnTo>
                  <a:lnTo>
                    <a:pt x="233845" y="368300"/>
                  </a:lnTo>
                  <a:lnTo>
                    <a:pt x="132918" y="368300"/>
                  </a:lnTo>
                  <a:lnTo>
                    <a:pt x="111645" y="311150"/>
                  </a:lnTo>
                  <a:lnTo>
                    <a:pt x="106616" y="266700"/>
                  </a:lnTo>
                  <a:lnTo>
                    <a:pt x="106578" y="261620"/>
                  </a:lnTo>
                  <a:lnTo>
                    <a:pt x="108623" y="260350"/>
                  </a:lnTo>
                  <a:lnTo>
                    <a:pt x="114503" y="259080"/>
                  </a:lnTo>
                  <a:lnTo>
                    <a:pt x="236372" y="259080"/>
                  </a:lnTo>
                  <a:lnTo>
                    <a:pt x="236829" y="311150"/>
                  </a:lnTo>
                  <a:lnTo>
                    <a:pt x="236829" y="210870"/>
                  </a:lnTo>
                  <a:lnTo>
                    <a:pt x="236359" y="236220"/>
                  </a:lnTo>
                  <a:lnTo>
                    <a:pt x="172351" y="237490"/>
                  </a:lnTo>
                  <a:lnTo>
                    <a:pt x="119773" y="237490"/>
                  </a:lnTo>
                  <a:lnTo>
                    <a:pt x="110236" y="236220"/>
                  </a:lnTo>
                  <a:lnTo>
                    <a:pt x="107378" y="234950"/>
                  </a:lnTo>
                  <a:lnTo>
                    <a:pt x="107315" y="226060"/>
                  </a:lnTo>
                  <a:lnTo>
                    <a:pt x="108648" y="210820"/>
                  </a:lnTo>
                  <a:lnTo>
                    <a:pt x="117678" y="160020"/>
                  </a:lnTo>
                  <a:lnTo>
                    <a:pt x="126593" y="137160"/>
                  </a:lnTo>
                  <a:lnTo>
                    <a:pt x="143560" y="137160"/>
                  </a:lnTo>
                  <a:lnTo>
                    <a:pt x="160921" y="135890"/>
                  </a:lnTo>
                  <a:lnTo>
                    <a:pt x="207327" y="135890"/>
                  </a:lnTo>
                  <a:lnTo>
                    <a:pt x="224002" y="137160"/>
                  </a:lnTo>
                  <a:lnTo>
                    <a:pt x="233248" y="137160"/>
                  </a:lnTo>
                  <a:lnTo>
                    <a:pt x="236588" y="138430"/>
                  </a:lnTo>
                  <a:lnTo>
                    <a:pt x="237109" y="143510"/>
                  </a:lnTo>
                  <a:lnTo>
                    <a:pt x="237363" y="152400"/>
                  </a:lnTo>
                  <a:lnTo>
                    <a:pt x="237363" y="111429"/>
                  </a:lnTo>
                  <a:lnTo>
                    <a:pt x="236639" y="113030"/>
                  </a:lnTo>
                  <a:lnTo>
                    <a:pt x="220230" y="114300"/>
                  </a:lnTo>
                  <a:lnTo>
                    <a:pt x="186448" y="115570"/>
                  </a:lnTo>
                  <a:lnTo>
                    <a:pt x="135712" y="115570"/>
                  </a:lnTo>
                  <a:lnTo>
                    <a:pt x="159143" y="71120"/>
                  </a:lnTo>
                  <a:lnTo>
                    <a:pt x="187782" y="41910"/>
                  </a:lnTo>
                  <a:lnTo>
                    <a:pt x="195910" y="35560"/>
                  </a:lnTo>
                  <a:lnTo>
                    <a:pt x="208470" y="29210"/>
                  </a:lnTo>
                  <a:lnTo>
                    <a:pt x="218338" y="24130"/>
                  </a:lnTo>
                  <a:lnTo>
                    <a:pt x="225247" y="21590"/>
                  </a:lnTo>
                  <a:lnTo>
                    <a:pt x="234619" y="21590"/>
                  </a:lnTo>
                  <a:lnTo>
                    <a:pt x="238975" y="22860"/>
                  </a:lnTo>
                  <a:lnTo>
                    <a:pt x="238975" y="0"/>
                  </a:lnTo>
                  <a:lnTo>
                    <a:pt x="227901" y="0"/>
                  </a:lnTo>
                  <a:lnTo>
                    <a:pt x="209918" y="1270"/>
                  </a:lnTo>
                  <a:lnTo>
                    <a:pt x="189484" y="6350"/>
                  </a:lnTo>
                  <a:lnTo>
                    <a:pt x="160655" y="15240"/>
                  </a:lnTo>
                  <a:lnTo>
                    <a:pt x="154965" y="17119"/>
                  </a:lnTo>
                  <a:lnTo>
                    <a:pt x="154965" y="41910"/>
                  </a:lnTo>
                  <a:lnTo>
                    <a:pt x="150139" y="50800"/>
                  </a:lnTo>
                  <a:lnTo>
                    <a:pt x="142875" y="59690"/>
                  </a:lnTo>
                  <a:lnTo>
                    <a:pt x="137198" y="67310"/>
                  </a:lnTo>
                  <a:lnTo>
                    <a:pt x="131140" y="76200"/>
                  </a:lnTo>
                  <a:lnTo>
                    <a:pt x="125450" y="86360"/>
                  </a:lnTo>
                  <a:lnTo>
                    <a:pt x="120840" y="93980"/>
                  </a:lnTo>
                  <a:lnTo>
                    <a:pt x="115735" y="104140"/>
                  </a:lnTo>
                  <a:lnTo>
                    <a:pt x="110312" y="113030"/>
                  </a:lnTo>
                  <a:lnTo>
                    <a:pt x="108788" y="114300"/>
                  </a:lnTo>
                  <a:lnTo>
                    <a:pt x="103073" y="116052"/>
                  </a:lnTo>
                  <a:lnTo>
                    <a:pt x="103073" y="365760"/>
                  </a:lnTo>
                  <a:lnTo>
                    <a:pt x="102438" y="367030"/>
                  </a:lnTo>
                  <a:lnTo>
                    <a:pt x="101701" y="368300"/>
                  </a:lnTo>
                  <a:lnTo>
                    <a:pt x="62179" y="368300"/>
                  </a:lnTo>
                  <a:lnTo>
                    <a:pt x="31978" y="325120"/>
                  </a:lnTo>
                  <a:lnTo>
                    <a:pt x="20980" y="271780"/>
                  </a:lnTo>
                  <a:lnTo>
                    <a:pt x="23215" y="260350"/>
                  </a:lnTo>
                  <a:lnTo>
                    <a:pt x="26416" y="259080"/>
                  </a:lnTo>
                  <a:lnTo>
                    <a:pt x="76441" y="259080"/>
                  </a:lnTo>
                  <a:lnTo>
                    <a:pt x="81610" y="260350"/>
                  </a:lnTo>
                  <a:lnTo>
                    <a:pt x="83896" y="260350"/>
                  </a:lnTo>
                  <a:lnTo>
                    <a:pt x="84988" y="262890"/>
                  </a:lnTo>
                  <a:lnTo>
                    <a:pt x="86347" y="270510"/>
                  </a:lnTo>
                  <a:lnTo>
                    <a:pt x="86918" y="280670"/>
                  </a:lnTo>
                  <a:lnTo>
                    <a:pt x="88938" y="298450"/>
                  </a:lnTo>
                  <a:lnTo>
                    <a:pt x="92659" y="321310"/>
                  </a:lnTo>
                  <a:lnTo>
                    <a:pt x="96989" y="342900"/>
                  </a:lnTo>
                  <a:lnTo>
                    <a:pt x="100876" y="358140"/>
                  </a:lnTo>
                  <a:lnTo>
                    <a:pt x="102374" y="361950"/>
                  </a:lnTo>
                  <a:lnTo>
                    <a:pt x="103073" y="365760"/>
                  </a:lnTo>
                  <a:lnTo>
                    <a:pt x="103073" y="116052"/>
                  </a:lnTo>
                  <a:lnTo>
                    <a:pt x="102400" y="116255"/>
                  </a:lnTo>
                  <a:lnTo>
                    <a:pt x="102400" y="139700"/>
                  </a:lnTo>
                  <a:lnTo>
                    <a:pt x="97421" y="156210"/>
                  </a:lnTo>
                  <a:lnTo>
                    <a:pt x="92964" y="177800"/>
                  </a:lnTo>
                  <a:lnTo>
                    <a:pt x="89154" y="201930"/>
                  </a:lnTo>
                  <a:lnTo>
                    <a:pt x="87261" y="219710"/>
                  </a:lnTo>
                  <a:lnTo>
                    <a:pt x="86995" y="227330"/>
                  </a:lnTo>
                  <a:lnTo>
                    <a:pt x="85839" y="233680"/>
                  </a:lnTo>
                  <a:lnTo>
                    <a:pt x="84696" y="236220"/>
                  </a:lnTo>
                  <a:lnTo>
                    <a:pt x="82613" y="237490"/>
                  </a:lnTo>
                  <a:lnTo>
                    <a:pt x="77939" y="238760"/>
                  </a:lnTo>
                  <a:lnTo>
                    <a:pt x="25425" y="238760"/>
                  </a:lnTo>
                  <a:lnTo>
                    <a:pt x="23202" y="236220"/>
                  </a:lnTo>
                  <a:lnTo>
                    <a:pt x="21869" y="231140"/>
                  </a:lnTo>
                  <a:lnTo>
                    <a:pt x="21945" y="219710"/>
                  </a:lnTo>
                  <a:lnTo>
                    <a:pt x="36779" y="162560"/>
                  </a:lnTo>
                  <a:lnTo>
                    <a:pt x="63906" y="135890"/>
                  </a:lnTo>
                  <a:lnTo>
                    <a:pt x="91833" y="135890"/>
                  </a:lnTo>
                  <a:lnTo>
                    <a:pt x="99783" y="137160"/>
                  </a:lnTo>
                  <a:lnTo>
                    <a:pt x="102400" y="139700"/>
                  </a:lnTo>
                  <a:lnTo>
                    <a:pt x="102400" y="116255"/>
                  </a:lnTo>
                  <a:lnTo>
                    <a:pt x="100457" y="116840"/>
                  </a:lnTo>
                  <a:lnTo>
                    <a:pt x="72301" y="116840"/>
                  </a:lnTo>
                  <a:lnTo>
                    <a:pt x="65595" y="114300"/>
                  </a:lnTo>
                  <a:lnTo>
                    <a:pt x="69024" y="107950"/>
                  </a:lnTo>
                  <a:lnTo>
                    <a:pt x="109537" y="67310"/>
                  </a:lnTo>
                  <a:lnTo>
                    <a:pt x="148234" y="43180"/>
                  </a:lnTo>
                  <a:lnTo>
                    <a:pt x="154101" y="41910"/>
                  </a:lnTo>
                  <a:lnTo>
                    <a:pt x="154965" y="41910"/>
                  </a:lnTo>
                  <a:lnTo>
                    <a:pt x="154965" y="17119"/>
                  </a:lnTo>
                  <a:lnTo>
                    <a:pt x="152920" y="17780"/>
                  </a:lnTo>
                  <a:lnTo>
                    <a:pt x="141274" y="24130"/>
                  </a:lnTo>
                  <a:lnTo>
                    <a:pt x="127584" y="30480"/>
                  </a:lnTo>
                  <a:lnTo>
                    <a:pt x="113665" y="39370"/>
                  </a:lnTo>
                  <a:lnTo>
                    <a:pt x="110312" y="40640"/>
                  </a:lnTo>
                  <a:lnTo>
                    <a:pt x="103263" y="45720"/>
                  </a:lnTo>
                  <a:lnTo>
                    <a:pt x="92760" y="54610"/>
                  </a:lnTo>
                  <a:lnTo>
                    <a:pt x="86499" y="59690"/>
                  </a:lnTo>
                  <a:lnTo>
                    <a:pt x="84099" y="62230"/>
                  </a:lnTo>
                  <a:lnTo>
                    <a:pt x="60401" y="86360"/>
                  </a:lnTo>
                  <a:lnTo>
                    <a:pt x="55232" y="92710"/>
                  </a:lnTo>
                  <a:lnTo>
                    <a:pt x="19024" y="152400"/>
                  </a:lnTo>
                  <a:lnTo>
                    <a:pt x="1778" y="217170"/>
                  </a:lnTo>
                  <a:lnTo>
                    <a:pt x="0" y="243840"/>
                  </a:lnTo>
                  <a:lnTo>
                    <a:pt x="673" y="271780"/>
                  </a:lnTo>
                  <a:lnTo>
                    <a:pt x="3695" y="297180"/>
                  </a:lnTo>
                  <a:lnTo>
                    <a:pt x="8940" y="318770"/>
                  </a:lnTo>
                  <a:lnTo>
                    <a:pt x="11772" y="327660"/>
                  </a:lnTo>
                  <a:lnTo>
                    <a:pt x="14617" y="337820"/>
                  </a:lnTo>
                  <a:lnTo>
                    <a:pt x="31153" y="373380"/>
                  </a:lnTo>
                  <a:lnTo>
                    <a:pt x="56616" y="411480"/>
                  </a:lnTo>
                  <a:lnTo>
                    <a:pt x="88963" y="443230"/>
                  </a:lnTo>
                  <a:lnTo>
                    <a:pt x="123228" y="468630"/>
                  </a:lnTo>
                  <a:lnTo>
                    <a:pt x="130886" y="472440"/>
                  </a:lnTo>
                  <a:lnTo>
                    <a:pt x="140335" y="477520"/>
                  </a:lnTo>
                  <a:lnTo>
                    <a:pt x="144233" y="480060"/>
                  </a:lnTo>
                  <a:lnTo>
                    <a:pt x="155765" y="485140"/>
                  </a:lnTo>
                  <a:lnTo>
                    <a:pt x="191325" y="495300"/>
                  </a:lnTo>
                  <a:lnTo>
                    <a:pt x="202120" y="497840"/>
                  </a:lnTo>
                  <a:lnTo>
                    <a:pt x="204673" y="497840"/>
                  </a:lnTo>
                  <a:lnTo>
                    <a:pt x="208343" y="499110"/>
                  </a:lnTo>
                  <a:lnTo>
                    <a:pt x="210261" y="500380"/>
                  </a:lnTo>
                  <a:lnTo>
                    <a:pt x="253301" y="500380"/>
                  </a:lnTo>
                  <a:lnTo>
                    <a:pt x="302501" y="497840"/>
                  </a:lnTo>
                  <a:lnTo>
                    <a:pt x="354469" y="480060"/>
                  </a:lnTo>
                  <a:lnTo>
                    <a:pt x="380669" y="466090"/>
                  </a:lnTo>
                  <a:lnTo>
                    <a:pt x="387210" y="462280"/>
                  </a:lnTo>
                  <a:lnTo>
                    <a:pt x="395592" y="457200"/>
                  </a:lnTo>
                  <a:lnTo>
                    <a:pt x="404139" y="449580"/>
                  </a:lnTo>
                  <a:lnTo>
                    <a:pt x="438797" y="416560"/>
                  </a:lnTo>
                  <a:lnTo>
                    <a:pt x="460413" y="387350"/>
                  </a:lnTo>
                  <a:lnTo>
                    <a:pt x="466051" y="379730"/>
                  </a:lnTo>
                  <a:lnTo>
                    <a:pt x="471411" y="368300"/>
                  </a:lnTo>
                  <a:lnTo>
                    <a:pt x="472008" y="367030"/>
                  </a:lnTo>
                  <a:lnTo>
                    <a:pt x="485711" y="337820"/>
                  </a:lnTo>
                  <a:lnTo>
                    <a:pt x="497636" y="293370"/>
                  </a:lnTo>
                  <a:lnTo>
                    <a:pt x="499249" y="274320"/>
                  </a:lnTo>
                  <a:lnTo>
                    <a:pt x="499478" y="256540"/>
                  </a:lnTo>
                  <a:lnTo>
                    <a:pt x="499618" y="246380"/>
                  </a:lnTo>
                  <a:close/>
                </a:path>
                <a:path w="5393055" h="537210">
                  <a:moveTo>
                    <a:pt x="2869387" y="200215"/>
                  </a:moveTo>
                  <a:lnTo>
                    <a:pt x="2862389" y="156933"/>
                  </a:lnTo>
                  <a:lnTo>
                    <a:pt x="2842907" y="119316"/>
                  </a:lnTo>
                  <a:lnTo>
                    <a:pt x="2813227" y="89623"/>
                  </a:lnTo>
                  <a:lnTo>
                    <a:pt x="2775610" y="70142"/>
                  </a:lnTo>
                  <a:lnTo>
                    <a:pt x="2732328" y="63144"/>
                  </a:lnTo>
                  <a:lnTo>
                    <a:pt x="2689060" y="70142"/>
                  </a:lnTo>
                  <a:lnTo>
                    <a:pt x="2651442" y="89623"/>
                  </a:lnTo>
                  <a:lnTo>
                    <a:pt x="2621750" y="119316"/>
                  </a:lnTo>
                  <a:lnTo>
                    <a:pt x="2602268" y="156933"/>
                  </a:lnTo>
                  <a:lnTo>
                    <a:pt x="2595270" y="200215"/>
                  </a:lnTo>
                  <a:lnTo>
                    <a:pt x="2602268" y="243484"/>
                  </a:lnTo>
                  <a:lnTo>
                    <a:pt x="2621750" y="281101"/>
                  </a:lnTo>
                  <a:lnTo>
                    <a:pt x="2651442" y="310794"/>
                  </a:lnTo>
                  <a:lnTo>
                    <a:pt x="2689060" y="330276"/>
                  </a:lnTo>
                  <a:lnTo>
                    <a:pt x="2732328" y="337273"/>
                  </a:lnTo>
                  <a:lnTo>
                    <a:pt x="2775610" y="330276"/>
                  </a:lnTo>
                  <a:lnTo>
                    <a:pt x="2813227" y="310794"/>
                  </a:lnTo>
                  <a:lnTo>
                    <a:pt x="2842907" y="281101"/>
                  </a:lnTo>
                  <a:lnTo>
                    <a:pt x="2862389" y="243484"/>
                  </a:lnTo>
                  <a:lnTo>
                    <a:pt x="2869387" y="200215"/>
                  </a:lnTo>
                  <a:close/>
                </a:path>
                <a:path w="5393055" h="537210">
                  <a:moveTo>
                    <a:pt x="2969145" y="486740"/>
                  </a:moveTo>
                  <a:lnTo>
                    <a:pt x="2958973" y="436473"/>
                  </a:lnTo>
                  <a:lnTo>
                    <a:pt x="2931236" y="395389"/>
                  </a:lnTo>
                  <a:lnTo>
                    <a:pt x="2890151" y="367652"/>
                  </a:lnTo>
                  <a:lnTo>
                    <a:pt x="2839885" y="357479"/>
                  </a:lnTo>
                  <a:lnTo>
                    <a:pt x="2624785" y="357479"/>
                  </a:lnTo>
                  <a:lnTo>
                    <a:pt x="2574518" y="367652"/>
                  </a:lnTo>
                  <a:lnTo>
                    <a:pt x="2533421" y="395389"/>
                  </a:lnTo>
                  <a:lnTo>
                    <a:pt x="2505697" y="436473"/>
                  </a:lnTo>
                  <a:lnTo>
                    <a:pt x="2495524" y="486740"/>
                  </a:lnTo>
                  <a:lnTo>
                    <a:pt x="2495524" y="533730"/>
                  </a:lnTo>
                  <a:lnTo>
                    <a:pt x="2498890" y="537095"/>
                  </a:lnTo>
                  <a:lnTo>
                    <a:pt x="2965780" y="537095"/>
                  </a:lnTo>
                  <a:lnTo>
                    <a:pt x="2969145" y="533730"/>
                  </a:lnTo>
                  <a:lnTo>
                    <a:pt x="2969145" y="486740"/>
                  </a:lnTo>
                  <a:close/>
                </a:path>
                <a:path w="5393055" h="537210">
                  <a:moveTo>
                    <a:pt x="5026101" y="398119"/>
                  </a:moveTo>
                  <a:lnTo>
                    <a:pt x="5025974" y="397751"/>
                  </a:lnTo>
                  <a:lnTo>
                    <a:pt x="5021783" y="393636"/>
                  </a:lnTo>
                  <a:lnTo>
                    <a:pt x="5018976" y="392595"/>
                  </a:lnTo>
                  <a:lnTo>
                    <a:pt x="5013401" y="392595"/>
                  </a:lnTo>
                  <a:lnTo>
                    <a:pt x="5010632" y="393623"/>
                  </a:lnTo>
                  <a:lnTo>
                    <a:pt x="5006378" y="397789"/>
                  </a:lnTo>
                  <a:lnTo>
                    <a:pt x="5005324" y="400532"/>
                  </a:lnTo>
                  <a:lnTo>
                    <a:pt x="5005324" y="406019"/>
                  </a:lnTo>
                  <a:lnTo>
                    <a:pt x="5006378" y="408762"/>
                  </a:lnTo>
                  <a:lnTo>
                    <a:pt x="5021275" y="423418"/>
                  </a:lnTo>
                  <a:lnTo>
                    <a:pt x="5024145" y="422389"/>
                  </a:lnTo>
                  <a:lnTo>
                    <a:pt x="5026088" y="400532"/>
                  </a:lnTo>
                  <a:lnTo>
                    <a:pt x="5026101" y="398119"/>
                  </a:lnTo>
                  <a:close/>
                </a:path>
                <a:path w="5393055" h="537210">
                  <a:moveTo>
                    <a:pt x="5034280" y="308190"/>
                  </a:moveTo>
                  <a:lnTo>
                    <a:pt x="5033975" y="307378"/>
                  </a:lnTo>
                  <a:lnTo>
                    <a:pt x="5029822" y="303288"/>
                  </a:lnTo>
                  <a:lnTo>
                    <a:pt x="5027015" y="302247"/>
                  </a:lnTo>
                  <a:lnTo>
                    <a:pt x="5021415" y="302247"/>
                  </a:lnTo>
                  <a:lnTo>
                    <a:pt x="5018633" y="303288"/>
                  </a:lnTo>
                  <a:lnTo>
                    <a:pt x="5014404" y="307416"/>
                  </a:lnTo>
                  <a:lnTo>
                    <a:pt x="5013350" y="310172"/>
                  </a:lnTo>
                  <a:lnTo>
                    <a:pt x="5013350" y="315556"/>
                  </a:lnTo>
                  <a:lnTo>
                    <a:pt x="5014315" y="318173"/>
                  </a:lnTo>
                  <a:lnTo>
                    <a:pt x="5016195" y="320205"/>
                  </a:lnTo>
                  <a:lnTo>
                    <a:pt x="5029301" y="333082"/>
                  </a:lnTo>
                  <a:lnTo>
                    <a:pt x="5032159" y="332041"/>
                  </a:lnTo>
                  <a:lnTo>
                    <a:pt x="5034280" y="308190"/>
                  </a:lnTo>
                  <a:close/>
                </a:path>
                <a:path w="5393055" h="537210">
                  <a:moveTo>
                    <a:pt x="5148529" y="357085"/>
                  </a:moveTo>
                  <a:lnTo>
                    <a:pt x="5147729" y="352209"/>
                  </a:lnTo>
                  <a:lnTo>
                    <a:pt x="5125745" y="331025"/>
                  </a:lnTo>
                  <a:lnTo>
                    <a:pt x="5056924" y="262877"/>
                  </a:lnTo>
                  <a:lnTo>
                    <a:pt x="5054054" y="263906"/>
                  </a:lnTo>
                  <a:lnTo>
                    <a:pt x="5035080" y="477151"/>
                  </a:lnTo>
                  <a:lnTo>
                    <a:pt x="5035372" y="477926"/>
                  </a:lnTo>
                  <a:lnTo>
                    <a:pt x="5066627" y="509193"/>
                  </a:lnTo>
                  <a:lnTo>
                    <a:pt x="5068887" y="508863"/>
                  </a:lnTo>
                  <a:lnTo>
                    <a:pt x="5148529" y="357085"/>
                  </a:lnTo>
                  <a:close/>
                </a:path>
                <a:path w="5393055" h="537210">
                  <a:moveTo>
                    <a:pt x="5207254" y="158115"/>
                  </a:moveTo>
                  <a:lnTo>
                    <a:pt x="5192369" y="143471"/>
                  </a:lnTo>
                  <a:lnTo>
                    <a:pt x="5189575" y="142417"/>
                  </a:lnTo>
                  <a:lnTo>
                    <a:pt x="5183975" y="142417"/>
                  </a:lnTo>
                  <a:lnTo>
                    <a:pt x="5175923" y="155867"/>
                  </a:lnTo>
                  <a:lnTo>
                    <a:pt x="5176977" y="158623"/>
                  </a:lnTo>
                  <a:lnTo>
                    <a:pt x="5181130" y="162712"/>
                  </a:lnTo>
                  <a:lnTo>
                    <a:pt x="5181943" y="163004"/>
                  </a:lnTo>
                  <a:lnTo>
                    <a:pt x="5206225" y="160921"/>
                  </a:lnTo>
                  <a:lnTo>
                    <a:pt x="5207254" y="158115"/>
                  </a:lnTo>
                  <a:close/>
                </a:path>
                <a:path w="5393055" h="537210">
                  <a:moveTo>
                    <a:pt x="5271884" y="451421"/>
                  </a:moveTo>
                  <a:lnTo>
                    <a:pt x="5271020" y="450049"/>
                  </a:lnTo>
                  <a:lnTo>
                    <a:pt x="5265661" y="448475"/>
                  </a:lnTo>
                  <a:lnTo>
                    <a:pt x="5261800" y="447128"/>
                  </a:lnTo>
                  <a:lnTo>
                    <a:pt x="5252237" y="443230"/>
                  </a:lnTo>
                  <a:lnTo>
                    <a:pt x="5246687" y="440448"/>
                  </a:lnTo>
                  <a:lnTo>
                    <a:pt x="5239397" y="436143"/>
                  </a:lnTo>
                  <a:lnTo>
                    <a:pt x="5236997" y="437515"/>
                  </a:lnTo>
                  <a:lnTo>
                    <a:pt x="5238445" y="494525"/>
                  </a:lnTo>
                  <a:lnTo>
                    <a:pt x="5238724" y="495185"/>
                  </a:lnTo>
                  <a:lnTo>
                    <a:pt x="5256758" y="512914"/>
                  </a:lnTo>
                  <a:lnTo>
                    <a:pt x="5259463" y="512127"/>
                  </a:lnTo>
                  <a:lnTo>
                    <a:pt x="5271884" y="451421"/>
                  </a:lnTo>
                  <a:close/>
                </a:path>
                <a:path w="5393055" h="537210">
                  <a:moveTo>
                    <a:pt x="5299138" y="150202"/>
                  </a:moveTo>
                  <a:lnTo>
                    <a:pt x="5284267" y="135559"/>
                  </a:lnTo>
                  <a:lnTo>
                    <a:pt x="5281460" y="134505"/>
                  </a:lnTo>
                  <a:lnTo>
                    <a:pt x="5275885" y="134505"/>
                  </a:lnTo>
                  <a:lnTo>
                    <a:pt x="5273078" y="135547"/>
                  </a:lnTo>
                  <a:lnTo>
                    <a:pt x="5268849" y="139700"/>
                  </a:lnTo>
                  <a:lnTo>
                    <a:pt x="5267820" y="142417"/>
                  </a:lnTo>
                  <a:lnTo>
                    <a:pt x="5267807" y="147942"/>
                  </a:lnTo>
                  <a:lnTo>
                    <a:pt x="5268861" y="150685"/>
                  </a:lnTo>
                  <a:lnTo>
                    <a:pt x="5270957" y="152768"/>
                  </a:lnTo>
                  <a:lnTo>
                    <a:pt x="5273027" y="154813"/>
                  </a:lnTo>
                  <a:lnTo>
                    <a:pt x="5273840" y="155105"/>
                  </a:lnTo>
                  <a:lnTo>
                    <a:pt x="5298110" y="153022"/>
                  </a:lnTo>
                  <a:lnTo>
                    <a:pt x="5299138" y="150202"/>
                  </a:lnTo>
                  <a:close/>
                </a:path>
                <a:path w="5393055" h="537210">
                  <a:moveTo>
                    <a:pt x="5315559" y="422389"/>
                  </a:moveTo>
                  <a:lnTo>
                    <a:pt x="5301818" y="375996"/>
                  </a:lnTo>
                  <a:lnTo>
                    <a:pt x="5274157" y="341668"/>
                  </a:lnTo>
                  <a:lnTo>
                    <a:pt x="5063718" y="134734"/>
                  </a:lnTo>
                  <a:lnTo>
                    <a:pt x="5027079" y="104394"/>
                  </a:lnTo>
                  <a:lnTo>
                    <a:pt x="4990363" y="89992"/>
                  </a:lnTo>
                  <a:lnTo>
                    <a:pt x="4976838" y="88506"/>
                  </a:lnTo>
                  <a:lnTo>
                    <a:pt x="4962029" y="88671"/>
                  </a:lnTo>
                  <a:lnTo>
                    <a:pt x="4960645" y="88760"/>
                  </a:lnTo>
                  <a:lnTo>
                    <a:pt x="4959540" y="89852"/>
                  </a:lnTo>
                  <a:lnTo>
                    <a:pt x="4959426" y="93027"/>
                  </a:lnTo>
                  <a:lnTo>
                    <a:pt x="4959286" y="105765"/>
                  </a:lnTo>
                  <a:lnTo>
                    <a:pt x="4960798" y="119062"/>
                  </a:lnTo>
                  <a:lnTo>
                    <a:pt x="4975403" y="155105"/>
                  </a:lnTo>
                  <a:lnTo>
                    <a:pt x="5006302" y="191185"/>
                  </a:lnTo>
                  <a:lnTo>
                    <a:pt x="5216753" y="398119"/>
                  </a:lnTo>
                  <a:lnTo>
                    <a:pt x="5251666" y="425297"/>
                  </a:lnTo>
                  <a:lnTo>
                    <a:pt x="5289943" y="438086"/>
                  </a:lnTo>
                  <a:lnTo>
                    <a:pt x="5304929" y="439000"/>
                  </a:lnTo>
                  <a:lnTo>
                    <a:pt x="5312880" y="438746"/>
                  </a:lnTo>
                  <a:lnTo>
                    <a:pt x="5314264" y="438658"/>
                  </a:lnTo>
                  <a:lnTo>
                    <a:pt x="5315382" y="437553"/>
                  </a:lnTo>
                  <a:lnTo>
                    <a:pt x="5315470" y="436194"/>
                  </a:lnTo>
                  <a:lnTo>
                    <a:pt x="5315559" y="422389"/>
                  </a:lnTo>
                  <a:close/>
                </a:path>
                <a:path w="5393055" h="537210">
                  <a:moveTo>
                    <a:pt x="5386375" y="194805"/>
                  </a:moveTo>
                  <a:lnTo>
                    <a:pt x="5354599" y="164071"/>
                  </a:lnTo>
                  <a:lnTo>
                    <a:pt x="5353786" y="163791"/>
                  </a:lnTo>
                  <a:lnTo>
                    <a:pt x="5138293" y="182321"/>
                  </a:lnTo>
                  <a:lnTo>
                    <a:pt x="5137251" y="185140"/>
                  </a:lnTo>
                  <a:lnTo>
                    <a:pt x="5215496" y="263194"/>
                  </a:lnTo>
                  <a:lnTo>
                    <a:pt x="5227675" y="274231"/>
                  </a:lnTo>
                  <a:lnTo>
                    <a:pt x="5232590" y="274878"/>
                  </a:lnTo>
                  <a:lnTo>
                    <a:pt x="5386044" y="197027"/>
                  </a:lnTo>
                  <a:lnTo>
                    <a:pt x="5386375" y="194805"/>
                  </a:lnTo>
                  <a:close/>
                </a:path>
                <a:path w="5393055" h="537210">
                  <a:moveTo>
                    <a:pt x="5392839" y="379120"/>
                  </a:moveTo>
                  <a:lnTo>
                    <a:pt x="5374805" y="361403"/>
                  </a:lnTo>
                  <a:lnTo>
                    <a:pt x="5374119" y="361111"/>
                  </a:lnTo>
                  <a:lnTo>
                    <a:pt x="5312981" y="359613"/>
                  </a:lnTo>
                  <a:lnTo>
                    <a:pt x="5311610" y="362013"/>
                  </a:lnTo>
                  <a:lnTo>
                    <a:pt x="5316537" y="369798"/>
                  </a:lnTo>
                  <a:lnTo>
                    <a:pt x="5319750" y="375894"/>
                  </a:lnTo>
                  <a:lnTo>
                    <a:pt x="5323814" y="385521"/>
                  </a:lnTo>
                  <a:lnTo>
                    <a:pt x="5325046" y="388861"/>
                  </a:lnTo>
                  <a:lnTo>
                    <a:pt x="5326558" y="393623"/>
                  </a:lnTo>
                  <a:lnTo>
                    <a:pt x="5327942" y="394449"/>
                  </a:lnTo>
                  <a:lnTo>
                    <a:pt x="5392026" y="381774"/>
                  </a:lnTo>
                  <a:lnTo>
                    <a:pt x="5392839" y="379120"/>
                  </a:lnTo>
                  <a:close/>
                </a:path>
              </a:pathLst>
            </a:custGeom>
            <a:solidFill>
              <a:srgbClr val="FFFFFF"/>
            </a:solidFill>
          </p:spPr>
          <p:txBody>
            <a:bodyPr wrap="square" lIns="0" tIns="0" rIns="0" bIns="0" rtlCol="0"/>
            <a:lstStyle/>
            <a:p>
              <a:endParaRPr/>
            </a:p>
          </p:txBody>
        </p:sp>
        <p:sp>
          <p:nvSpPr>
            <p:cNvPr id="38" name="object 38"/>
            <p:cNvSpPr/>
            <p:nvPr/>
          </p:nvSpPr>
          <p:spPr>
            <a:xfrm>
              <a:off x="1696593" y="4476431"/>
              <a:ext cx="7374255" cy="857250"/>
            </a:xfrm>
            <a:custGeom>
              <a:avLst/>
              <a:gdLst/>
              <a:ahLst/>
              <a:cxnLst/>
              <a:rect l="l" t="t" r="r" b="b"/>
              <a:pathLst>
                <a:path w="7374255" h="857250">
                  <a:moveTo>
                    <a:pt x="2407158" y="438365"/>
                  </a:moveTo>
                  <a:lnTo>
                    <a:pt x="1210017" y="0"/>
                  </a:lnTo>
                  <a:lnTo>
                    <a:pt x="1197140" y="0"/>
                  </a:lnTo>
                  <a:lnTo>
                    <a:pt x="0" y="438365"/>
                  </a:lnTo>
                  <a:lnTo>
                    <a:pt x="0" y="856970"/>
                  </a:lnTo>
                  <a:lnTo>
                    <a:pt x="2407158" y="856970"/>
                  </a:lnTo>
                  <a:lnTo>
                    <a:pt x="2407158" y="438365"/>
                  </a:lnTo>
                  <a:close/>
                </a:path>
                <a:path w="7374255" h="857250">
                  <a:moveTo>
                    <a:pt x="4889297" y="438365"/>
                  </a:moveTo>
                  <a:lnTo>
                    <a:pt x="3692169" y="0"/>
                  </a:lnTo>
                  <a:lnTo>
                    <a:pt x="3679279" y="0"/>
                  </a:lnTo>
                  <a:lnTo>
                    <a:pt x="2482151" y="438365"/>
                  </a:lnTo>
                  <a:lnTo>
                    <a:pt x="2482151" y="856970"/>
                  </a:lnTo>
                  <a:lnTo>
                    <a:pt x="4889297" y="856970"/>
                  </a:lnTo>
                  <a:lnTo>
                    <a:pt x="4889297" y="438365"/>
                  </a:lnTo>
                  <a:close/>
                </a:path>
                <a:path w="7374255" h="857250">
                  <a:moveTo>
                    <a:pt x="7373836" y="438365"/>
                  </a:moveTo>
                  <a:lnTo>
                    <a:pt x="6176708" y="0"/>
                  </a:lnTo>
                  <a:lnTo>
                    <a:pt x="6163818" y="0"/>
                  </a:lnTo>
                  <a:lnTo>
                    <a:pt x="4966690" y="438365"/>
                  </a:lnTo>
                  <a:lnTo>
                    <a:pt x="4966690" y="856970"/>
                  </a:lnTo>
                  <a:lnTo>
                    <a:pt x="7373836" y="856970"/>
                  </a:lnTo>
                  <a:lnTo>
                    <a:pt x="7373836" y="438365"/>
                  </a:lnTo>
                  <a:close/>
                </a:path>
              </a:pathLst>
            </a:custGeom>
            <a:solidFill>
              <a:srgbClr val="0090AE"/>
            </a:solidFill>
          </p:spPr>
          <p:txBody>
            <a:bodyPr wrap="square" lIns="0" tIns="0" rIns="0" bIns="0" rtlCol="0"/>
            <a:lstStyle/>
            <a:p>
              <a:endParaRPr/>
            </a:p>
          </p:txBody>
        </p:sp>
      </p:grpSp>
      <p:sp>
        <p:nvSpPr>
          <p:cNvPr id="39" name="object 39"/>
          <p:cNvSpPr txBox="1"/>
          <p:nvPr/>
        </p:nvSpPr>
        <p:spPr>
          <a:xfrm>
            <a:off x="4847969" y="4717616"/>
            <a:ext cx="1062355" cy="422275"/>
          </a:xfrm>
          <a:prstGeom prst="rect">
            <a:avLst/>
          </a:prstGeom>
        </p:spPr>
        <p:txBody>
          <a:bodyPr vert="horz" wrap="square" lIns="0" tIns="12700" rIns="0" bIns="0" rtlCol="0">
            <a:spAutoFit/>
          </a:bodyPr>
          <a:lstStyle/>
          <a:p>
            <a:pPr marL="12700">
              <a:lnSpc>
                <a:spcPct val="100000"/>
              </a:lnSpc>
              <a:spcBef>
                <a:spcPts val="100"/>
              </a:spcBef>
            </a:pPr>
            <a:r>
              <a:rPr sz="2600" b="1" spc="-25" dirty="0">
                <a:solidFill>
                  <a:srgbClr val="FFFFFF"/>
                </a:solidFill>
                <a:latin typeface="Roboto"/>
                <a:cs typeface="Roboto"/>
              </a:rPr>
              <a:t>-</a:t>
            </a:r>
            <a:r>
              <a:rPr sz="2600" b="1" spc="-10" dirty="0">
                <a:solidFill>
                  <a:srgbClr val="FFFFFF"/>
                </a:solidFill>
                <a:latin typeface="Roboto"/>
                <a:cs typeface="Roboto"/>
              </a:rPr>
              <a:t>18.6%</a:t>
            </a:r>
            <a:endParaRPr sz="2600">
              <a:latin typeface="Roboto"/>
              <a:cs typeface="Roboto"/>
            </a:endParaRPr>
          </a:p>
        </p:txBody>
      </p:sp>
      <p:sp>
        <p:nvSpPr>
          <p:cNvPr id="40" name="object 40"/>
          <p:cNvSpPr txBox="1"/>
          <p:nvPr/>
        </p:nvSpPr>
        <p:spPr>
          <a:xfrm>
            <a:off x="2555572" y="4560313"/>
            <a:ext cx="498475" cy="615950"/>
          </a:xfrm>
          <a:prstGeom prst="rect">
            <a:avLst/>
          </a:prstGeom>
        </p:spPr>
        <p:txBody>
          <a:bodyPr vert="horz" wrap="square" lIns="0" tIns="15240" rIns="0" bIns="0" rtlCol="0">
            <a:spAutoFit/>
          </a:bodyPr>
          <a:lstStyle/>
          <a:p>
            <a:pPr marL="12700">
              <a:lnSpc>
                <a:spcPct val="100000"/>
              </a:lnSpc>
              <a:spcBef>
                <a:spcPts val="120"/>
              </a:spcBef>
            </a:pPr>
            <a:r>
              <a:rPr sz="3850" b="1" spc="-30" dirty="0">
                <a:solidFill>
                  <a:srgbClr val="FFFFFF"/>
                </a:solidFill>
                <a:latin typeface="Roboto"/>
                <a:cs typeface="Roboto"/>
              </a:rPr>
              <a:t>-</a:t>
            </a:r>
            <a:r>
              <a:rPr sz="3850" b="1" spc="-60" dirty="0">
                <a:solidFill>
                  <a:srgbClr val="FFFFFF"/>
                </a:solidFill>
                <a:latin typeface="Roboto"/>
                <a:cs typeface="Roboto"/>
              </a:rPr>
              <a:t>1</a:t>
            </a:r>
            <a:endParaRPr sz="3850">
              <a:latin typeface="Roboto"/>
              <a:cs typeface="Roboto"/>
            </a:endParaRPr>
          </a:p>
        </p:txBody>
      </p:sp>
      <p:sp>
        <p:nvSpPr>
          <p:cNvPr id="41" name="object 41"/>
          <p:cNvSpPr txBox="1"/>
          <p:nvPr/>
        </p:nvSpPr>
        <p:spPr>
          <a:xfrm>
            <a:off x="7522254" y="4560313"/>
            <a:ext cx="498475" cy="615950"/>
          </a:xfrm>
          <a:prstGeom prst="rect">
            <a:avLst/>
          </a:prstGeom>
        </p:spPr>
        <p:txBody>
          <a:bodyPr vert="horz" wrap="square" lIns="0" tIns="15240" rIns="0" bIns="0" rtlCol="0">
            <a:spAutoFit/>
          </a:bodyPr>
          <a:lstStyle/>
          <a:p>
            <a:pPr marL="12700">
              <a:lnSpc>
                <a:spcPct val="100000"/>
              </a:lnSpc>
              <a:spcBef>
                <a:spcPts val="120"/>
              </a:spcBef>
            </a:pPr>
            <a:r>
              <a:rPr sz="3850" b="1" spc="-30" dirty="0">
                <a:solidFill>
                  <a:srgbClr val="FFFFFF"/>
                </a:solidFill>
                <a:latin typeface="Roboto"/>
                <a:cs typeface="Roboto"/>
              </a:rPr>
              <a:t>-</a:t>
            </a:r>
            <a:r>
              <a:rPr sz="3850" b="1" spc="-60" dirty="0">
                <a:solidFill>
                  <a:srgbClr val="FFFFFF"/>
                </a:solidFill>
                <a:latin typeface="Roboto"/>
                <a:cs typeface="Roboto"/>
              </a:rPr>
              <a:t>1</a:t>
            </a:r>
            <a:endParaRPr sz="3850">
              <a:latin typeface="Roboto"/>
              <a:cs typeface="Roboto"/>
            </a:endParaRPr>
          </a:p>
        </p:txBody>
      </p:sp>
      <p:sp>
        <p:nvSpPr>
          <p:cNvPr id="42" name="object 42"/>
          <p:cNvSpPr txBox="1"/>
          <p:nvPr/>
        </p:nvSpPr>
        <p:spPr>
          <a:xfrm>
            <a:off x="2049384" y="3147120"/>
            <a:ext cx="1678305" cy="1163320"/>
          </a:xfrm>
          <a:prstGeom prst="rect">
            <a:avLst/>
          </a:prstGeom>
        </p:spPr>
        <p:txBody>
          <a:bodyPr vert="horz" wrap="square" lIns="0" tIns="274320" rIns="0" bIns="0" rtlCol="0">
            <a:spAutoFit/>
          </a:bodyPr>
          <a:lstStyle/>
          <a:p>
            <a:pPr marR="29209" algn="ctr">
              <a:lnSpc>
                <a:spcPct val="100000"/>
              </a:lnSpc>
              <a:spcBef>
                <a:spcPts val="2160"/>
              </a:spcBef>
            </a:pPr>
            <a:r>
              <a:rPr sz="3450" b="1" spc="-25" dirty="0">
                <a:solidFill>
                  <a:srgbClr val="FFFFFF"/>
                </a:solidFill>
                <a:latin typeface="Roboto"/>
                <a:cs typeface="Roboto"/>
              </a:rPr>
              <a:t>18</a:t>
            </a:r>
            <a:endParaRPr sz="3450">
              <a:latin typeface="Roboto"/>
              <a:cs typeface="Roboto"/>
            </a:endParaRPr>
          </a:p>
          <a:p>
            <a:pPr algn="ctr">
              <a:lnSpc>
                <a:spcPct val="100000"/>
              </a:lnSpc>
              <a:spcBef>
                <a:spcPts val="900"/>
              </a:spcBef>
            </a:pPr>
            <a:r>
              <a:rPr sz="1550" spc="-10" dirty="0">
                <a:solidFill>
                  <a:srgbClr val="FFFFFF"/>
                </a:solidFill>
                <a:latin typeface="Roboto"/>
                <a:cs typeface="Roboto"/>
              </a:rPr>
              <a:t>Países</a:t>
            </a:r>
            <a:r>
              <a:rPr sz="1550" spc="-90" dirty="0">
                <a:solidFill>
                  <a:srgbClr val="FFFFFF"/>
                </a:solidFill>
                <a:latin typeface="Roboto"/>
                <a:cs typeface="Roboto"/>
              </a:rPr>
              <a:t> </a:t>
            </a:r>
            <a:r>
              <a:rPr sz="1550" spc="-10" dirty="0">
                <a:solidFill>
                  <a:srgbClr val="FFFFFF"/>
                </a:solidFill>
                <a:latin typeface="Roboto"/>
                <a:cs typeface="Roboto"/>
              </a:rPr>
              <a:t>conectados</a:t>
            </a:r>
            <a:endParaRPr sz="1550">
              <a:latin typeface="Roboto"/>
              <a:cs typeface="Roboto"/>
            </a:endParaRPr>
          </a:p>
        </p:txBody>
      </p:sp>
      <p:sp>
        <p:nvSpPr>
          <p:cNvPr id="43" name="object 43"/>
          <p:cNvSpPr txBox="1"/>
          <p:nvPr/>
        </p:nvSpPr>
        <p:spPr>
          <a:xfrm>
            <a:off x="4350192" y="3290913"/>
            <a:ext cx="2008505" cy="1005840"/>
          </a:xfrm>
          <a:prstGeom prst="rect">
            <a:avLst/>
          </a:prstGeom>
        </p:spPr>
        <p:txBody>
          <a:bodyPr vert="horz" wrap="square" lIns="0" tIns="165100" rIns="0" bIns="0" rtlCol="0">
            <a:spAutoFit/>
          </a:bodyPr>
          <a:lstStyle/>
          <a:p>
            <a:pPr algn="ctr">
              <a:lnSpc>
                <a:spcPct val="100000"/>
              </a:lnSpc>
              <a:spcBef>
                <a:spcPts val="1300"/>
              </a:spcBef>
            </a:pPr>
            <a:r>
              <a:rPr sz="3450" b="1" spc="-10" dirty="0">
                <a:solidFill>
                  <a:srgbClr val="FFFFFF"/>
                </a:solidFill>
                <a:latin typeface="Roboto"/>
                <a:cs typeface="Roboto"/>
              </a:rPr>
              <a:t>4,904,377</a:t>
            </a:r>
            <a:endParaRPr sz="3450">
              <a:latin typeface="Roboto"/>
              <a:cs typeface="Roboto"/>
            </a:endParaRPr>
          </a:p>
          <a:p>
            <a:pPr marL="24130" algn="ctr">
              <a:lnSpc>
                <a:spcPct val="100000"/>
              </a:lnSpc>
              <a:spcBef>
                <a:spcPts val="520"/>
              </a:spcBef>
            </a:pPr>
            <a:r>
              <a:rPr sz="1550" spc="-10" dirty="0">
                <a:solidFill>
                  <a:srgbClr val="FFFFFF"/>
                </a:solidFill>
                <a:latin typeface="Roboto"/>
                <a:cs typeface="Roboto"/>
              </a:rPr>
              <a:t>Asientos</a:t>
            </a:r>
            <a:endParaRPr sz="1550">
              <a:latin typeface="Roboto"/>
              <a:cs typeface="Roboto"/>
            </a:endParaRPr>
          </a:p>
        </p:txBody>
      </p:sp>
      <p:sp>
        <p:nvSpPr>
          <p:cNvPr id="44" name="object 44"/>
          <p:cNvSpPr txBox="1"/>
          <p:nvPr/>
        </p:nvSpPr>
        <p:spPr>
          <a:xfrm>
            <a:off x="7371850" y="3177854"/>
            <a:ext cx="949325" cy="1118870"/>
          </a:xfrm>
          <a:prstGeom prst="rect">
            <a:avLst/>
          </a:prstGeom>
        </p:spPr>
        <p:txBody>
          <a:bodyPr vert="horz" wrap="square" lIns="0" tIns="243204" rIns="0" bIns="0" rtlCol="0">
            <a:spAutoFit/>
          </a:bodyPr>
          <a:lstStyle/>
          <a:p>
            <a:pPr marR="6350" algn="ctr">
              <a:lnSpc>
                <a:spcPct val="100000"/>
              </a:lnSpc>
              <a:spcBef>
                <a:spcPts val="1914"/>
              </a:spcBef>
            </a:pPr>
            <a:r>
              <a:rPr sz="3450" b="1" spc="-25" dirty="0">
                <a:solidFill>
                  <a:srgbClr val="FFFFFF"/>
                </a:solidFill>
                <a:latin typeface="Roboto"/>
                <a:cs typeface="Roboto"/>
              </a:rPr>
              <a:t>17</a:t>
            </a:r>
            <a:endParaRPr sz="3450">
              <a:latin typeface="Roboto"/>
              <a:cs typeface="Roboto"/>
            </a:endParaRPr>
          </a:p>
          <a:p>
            <a:pPr algn="ctr">
              <a:lnSpc>
                <a:spcPct val="100000"/>
              </a:lnSpc>
              <a:spcBef>
                <a:spcPts val="795"/>
              </a:spcBef>
            </a:pPr>
            <a:r>
              <a:rPr sz="1550" spc="-10" dirty="0">
                <a:solidFill>
                  <a:srgbClr val="FFFFFF"/>
                </a:solidFill>
                <a:latin typeface="Roboto"/>
                <a:cs typeface="Roboto"/>
              </a:rPr>
              <a:t>Aerolíneas</a:t>
            </a:r>
            <a:endParaRPr sz="1550">
              <a:latin typeface="Roboto"/>
              <a:cs typeface="Roboto"/>
            </a:endParaRPr>
          </a:p>
        </p:txBody>
      </p:sp>
      <p:grpSp>
        <p:nvGrpSpPr>
          <p:cNvPr id="45" name="object 45"/>
          <p:cNvGrpSpPr/>
          <p:nvPr/>
        </p:nvGrpSpPr>
        <p:grpSpPr>
          <a:xfrm>
            <a:off x="13151498" y="237491"/>
            <a:ext cx="4907915" cy="7764145"/>
            <a:chOff x="13151498" y="237491"/>
            <a:chExt cx="4907915" cy="7764145"/>
          </a:xfrm>
        </p:grpSpPr>
        <p:pic>
          <p:nvPicPr>
            <p:cNvPr id="46" name="object 46"/>
            <p:cNvPicPr/>
            <p:nvPr/>
          </p:nvPicPr>
          <p:blipFill>
            <a:blip r:embed="rId5" cstate="print"/>
            <a:stretch>
              <a:fillRect/>
            </a:stretch>
          </p:blipFill>
          <p:spPr>
            <a:xfrm>
              <a:off x="13151498" y="3805557"/>
              <a:ext cx="85725" cy="85724"/>
            </a:xfrm>
            <a:prstGeom prst="rect">
              <a:avLst/>
            </a:prstGeom>
          </p:spPr>
        </p:pic>
        <p:pic>
          <p:nvPicPr>
            <p:cNvPr id="47" name="object 47"/>
            <p:cNvPicPr/>
            <p:nvPr/>
          </p:nvPicPr>
          <p:blipFill>
            <a:blip r:embed="rId5" cstate="print"/>
            <a:stretch>
              <a:fillRect/>
            </a:stretch>
          </p:blipFill>
          <p:spPr>
            <a:xfrm>
              <a:off x="13151498" y="5503969"/>
              <a:ext cx="85725" cy="85724"/>
            </a:xfrm>
            <a:prstGeom prst="rect">
              <a:avLst/>
            </a:prstGeom>
          </p:spPr>
        </p:pic>
        <p:pic>
          <p:nvPicPr>
            <p:cNvPr id="48" name="object 48"/>
            <p:cNvPicPr/>
            <p:nvPr/>
          </p:nvPicPr>
          <p:blipFill>
            <a:blip r:embed="rId5" cstate="print"/>
            <a:stretch>
              <a:fillRect/>
            </a:stretch>
          </p:blipFill>
          <p:spPr>
            <a:xfrm>
              <a:off x="13151498" y="6389794"/>
              <a:ext cx="85725" cy="85724"/>
            </a:xfrm>
            <a:prstGeom prst="rect">
              <a:avLst/>
            </a:prstGeom>
          </p:spPr>
        </p:pic>
        <p:pic>
          <p:nvPicPr>
            <p:cNvPr id="49" name="object 49"/>
            <p:cNvPicPr/>
            <p:nvPr/>
          </p:nvPicPr>
          <p:blipFill>
            <a:blip r:embed="rId5" cstate="print"/>
            <a:stretch>
              <a:fillRect/>
            </a:stretch>
          </p:blipFill>
          <p:spPr>
            <a:xfrm>
              <a:off x="13151498" y="7915597"/>
              <a:ext cx="85725" cy="85724"/>
            </a:xfrm>
            <a:prstGeom prst="rect">
              <a:avLst/>
            </a:prstGeom>
          </p:spPr>
        </p:pic>
        <p:pic>
          <p:nvPicPr>
            <p:cNvPr id="50" name="object 50"/>
            <p:cNvPicPr/>
            <p:nvPr/>
          </p:nvPicPr>
          <p:blipFill>
            <a:blip r:embed="rId6" cstate="print"/>
            <a:stretch>
              <a:fillRect/>
            </a:stretch>
          </p:blipFill>
          <p:spPr>
            <a:xfrm>
              <a:off x="17316450" y="237491"/>
              <a:ext cx="742949" cy="819149"/>
            </a:xfrm>
            <a:prstGeom prst="rect">
              <a:avLst/>
            </a:prstGeom>
          </p:spPr>
        </p:pic>
      </p:grpSp>
      <p:sp>
        <p:nvSpPr>
          <p:cNvPr id="51" name="object 51"/>
          <p:cNvSpPr txBox="1"/>
          <p:nvPr/>
        </p:nvSpPr>
        <p:spPr>
          <a:xfrm>
            <a:off x="13372011" y="3645029"/>
            <a:ext cx="3178810" cy="647065"/>
          </a:xfrm>
          <a:prstGeom prst="rect">
            <a:avLst/>
          </a:prstGeom>
        </p:spPr>
        <p:txBody>
          <a:bodyPr vert="horz" wrap="square" lIns="0" tIns="47625" rIns="0" bIns="0" rtlCol="0">
            <a:spAutoFit/>
          </a:bodyPr>
          <a:lstStyle/>
          <a:p>
            <a:pPr marL="12700" marR="5080">
              <a:lnSpc>
                <a:spcPts val="2330"/>
              </a:lnSpc>
              <a:spcBef>
                <a:spcPts val="375"/>
              </a:spcBef>
            </a:pPr>
            <a:r>
              <a:rPr sz="2100" dirty="0">
                <a:solidFill>
                  <a:srgbClr val="737373"/>
                </a:solidFill>
                <a:latin typeface="Roboto"/>
                <a:cs typeface="Roboto"/>
              </a:rPr>
              <a:t>Aún</a:t>
            </a:r>
            <a:r>
              <a:rPr sz="2100" spc="-15" dirty="0">
                <a:solidFill>
                  <a:srgbClr val="737373"/>
                </a:solidFill>
                <a:latin typeface="Roboto"/>
                <a:cs typeface="Roboto"/>
              </a:rPr>
              <a:t> </a:t>
            </a:r>
            <a:r>
              <a:rPr sz="2100" dirty="0">
                <a:solidFill>
                  <a:srgbClr val="737373"/>
                </a:solidFill>
                <a:latin typeface="Roboto"/>
                <a:cs typeface="Roboto"/>
              </a:rPr>
              <a:t>no</a:t>
            </a:r>
            <a:r>
              <a:rPr sz="2100" spc="-15" dirty="0">
                <a:solidFill>
                  <a:srgbClr val="737373"/>
                </a:solidFill>
                <a:latin typeface="Roboto"/>
                <a:cs typeface="Roboto"/>
              </a:rPr>
              <a:t> </a:t>
            </a:r>
            <a:r>
              <a:rPr sz="2100" dirty="0">
                <a:solidFill>
                  <a:srgbClr val="737373"/>
                </a:solidFill>
                <a:latin typeface="Roboto"/>
                <a:cs typeface="Roboto"/>
              </a:rPr>
              <a:t>se</a:t>
            </a:r>
            <a:r>
              <a:rPr sz="2100" spc="-15" dirty="0">
                <a:solidFill>
                  <a:srgbClr val="737373"/>
                </a:solidFill>
                <a:latin typeface="Roboto"/>
                <a:cs typeface="Roboto"/>
              </a:rPr>
              <a:t> </a:t>
            </a:r>
            <a:r>
              <a:rPr sz="2100" dirty="0">
                <a:solidFill>
                  <a:srgbClr val="737373"/>
                </a:solidFill>
                <a:latin typeface="Roboto"/>
                <a:cs typeface="Roboto"/>
              </a:rPr>
              <a:t>han</a:t>
            </a:r>
            <a:r>
              <a:rPr sz="2100" spc="-15" dirty="0">
                <a:solidFill>
                  <a:srgbClr val="737373"/>
                </a:solidFill>
                <a:latin typeface="Roboto"/>
                <a:cs typeface="Roboto"/>
              </a:rPr>
              <a:t> </a:t>
            </a:r>
            <a:r>
              <a:rPr sz="2100" spc="-10" dirty="0">
                <a:solidFill>
                  <a:srgbClr val="737373"/>
                </a:solidFill>
                <a:latin typeface="Roboto"/>
                <a:cs typeface="Roboto"/>
              </a:rPr>
              <a:t>recuperado </a:t>
            </a:r>
            <a:r>
              <a:rPr sz="2100" dirty="0">
                <a:solidFill>
                  <a:srgbClr val="737373"/>
                </a:solidFill>
                <a:latin typeface="Roboto"/>
                <a:cs typeface="Roboto"/>
              </a:rPr>
              <a:t>los</a:t>
            </a:r>
            <a:r>
              <a:rPr sz="2100" spc="-15" dirty="0">
                <a:solidFill>
                  <a:srgbClr val="737373"/>
                </a:solidFill>
                <a:latin typeface="Roboto"/>
                <a:cs typeface="Roboto"/>
              </a:rPr>
              <a:t> </a:t>
            </a:r>
            <a:r>
              <a:rPr sz="2100" dirty="0">
                <a:solidFill>
                  <a:srgbClr val="737373"/>
                </a:solidFill>
                <a:latin typeface="Roboto"/>
                <a:cs typeface="Roboto"/>
              </a:rPr>
              <a:t>niveles</a:t>
            </a:r>
            <a:r>
              <a:rPr sz="2100" spc="-10" dirty="0">
                <a:solidFill>
                  <a:srgbClr val="737373"/>
                </a:solidFill>
                <a:latin typeface="Roboto"/>
                <a:cs typeface="Roboto"/>
              </a:rPr>
              <a:t> </a:t>
            </a:r>
            <a:r>
              <a:rPr sz="2100" dirty="0">
                <a:solidFill>
                  <a:srgbClr val="737373"/>
                </a:solidFill>
                <a:latin typeface="Roboto"/>
                <a:cs typeface="Roboto"/>
              </a:rPr>
              <a:t>pre-</a:t>
            </a:r>
            <a:r>
              <a:rPr sz="2100" spc="-10" dirty="0">
                <a:solidFill>
                  <a:srgbClr val="737373"/>
                </a:solidFill>
                <a:latin typeface="Roboto"/>
                <a:cs typeface="Roboto"/>
              </a:rPr>
              <a:t>pandemia</a:t>
            </a:r>
            <a:endParaRPr sz="2100">
              <a:latin typeface="Roboto"/>
              <a:cs typeface="Roboto"/>
            </a:endParaRPr>
          </a:p>
        </p:txBody>
      </p:sp>
      <p:sp>
        <p:nvSpPr>
          <p:cNvPr id="59" name="object 59"/>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60" name="object 60"/>
          <p:cNvSpPr txBox="1"/>
          <p:nvPr/>
        </p:nvSpPr>
        <p:spPr>
          <a:xfrm>
            <a:off x="17811802" y="9932973"/>
            <a:ext cx="228600"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03</a:t>
            </a:r>
            <a:endParaRPr sz="900">
              <a:latin typeface="Arial"/>
              <a:cs typeface="Arial"/>
            </a:endParaRPr>
          </a:p>
        </p:txBody>
      </p:sp>
      <p:sp>
        <p:nvSpPr>
          <p:cNvPr id="52" name="object 52"/>
          <p:cNvSpPr txBox="1"/>
          <p:nvPr/>
        </p:nvSpPr>
        <p:spPr>
          <a:xfrm>
            <a:off x="13372011" y="5343442"/>
            <a:ext cx="2928620" cy="647065"/>
          </a:xfrm>
          <a:prstGeom prst="rect">
            <a:avLst/>
          </a:prstGeom>
        </p:spPr>
        <p:txBody>
          <a:bodyPr vert="horz" wrap="square" lIns="0" tIns="47625" rIns="0" bIns="0" rtlCol="0">
            <a:spAutoFit/>
          </a:bodyPr>
          <a:lstStyle/>
          <a:p>
            <a:pPr marL="79375" marR="5080" indent="-67310">
              <a:lnSpc>
                <a:spcPts val="2330"/>
              </a:lnSpc>
              <a:spcBef>
                <a:spcPts val="375"/>
              </a:spcBef>
            </a:pPr>
            <a:r>
              <a:rPr sz="2100" dirty="0">
                <a:solidFill>
                  <a:srgbClr val="737373"/>
                </a:solidFill>
                <a:latin typeface="Roboto"/>
                <a:cs typeface="Roboto"/>
              </a:rPr>
              <a:t>Load</a:t>
            </a:r>
            <a:r>
              <a:rPr sz="2100" spc="10" dirty="0">
                <a:solidFill>
                  <a:srgbClr val="737373"/>
                </a:solidFill>
                <a:latin typeface="Roboto"/>
                <a:cs typeface="Roboto"/>
              </a:rPr>
              <a:t> </a:t>
            </a:r>
            <a:r>
              <a:rPr sz="2100" dirty="0">
                <a:solidFill>
                  <a:srgbClr val="737373"/>
                </a:solidFill>
                <a:latin typeface="Roboto"/>
                <a:cs typeface="Roboto"/>
              </a:rPr>
              <a:t>factors</a:t>
            </a:r>
            <a:r>
              <a:rPr sz="2100" spc="10" dirty="0">
                <a:solidFill>
                  <a:srgbClr val="737373"/>
                </a:solidFill>
                <a:latin typeface="Roboto"/>
                <a:cs typeface="Roboto"/>
              </a:rPr>
              <a:t> </a:t>
            </a:r>
            <a:r>
              <a:rPr sz="2100" spc="-10" dirty="0">
                <a:solidFill>
                  <a:srgbClr val="737373"/>
                </a:solidFill>
                <a:latin typeface="Roboto"/>
                <a:cs typeface="Roboto"/>
              </a:rPr>
              <a:t>saludables "long-</a:t>
            </a:r>
            <a:r>
              <a:rPr sz="2100" spc="-20" dirty="0">
                <a:solidFill>
                  <a:srgbClr val="737373"/>
                </a:solidFill>
                <a:latin typeface="Roboto"/>
                <a:cs typeface="Roboto"/>
              </a:rPr>
              <a:t>haul"</a:t>
            </a:r>
            <a:endParaRPr sz="2100">
              <a:latin typeface="Roboto"/>
              <a:cs typeface="Roboto"/>
            </a:endParaRPr>
          </a:p>
        </p:txBody>
      </p:sp>
      <p:sp>
        <p:nvSpPr>
          <p:cNvPr id="53" name="object 53"/>
          <p:cNvSpPr txBox="1"/>
          <p:nvPr/>
        </p:nvSpPr>
        <p:spPr>
          <a:xfrm>
            <a:off x="13372011" y="6229267"/>
            <a:ext cx="3495040" cy="647065"/>
          </a:xfrm>
          <a:prstGeom prst="rect">
            <a:avLst/>
          </a:prstGeom>
        </p:spPr>
        <p:txBody>
          <a:bodyPr vert="horz" wrap="square" lIns="0" tIns="47625" rIns="0" bIns="0" rtlCol="0">
            <a:spAutoFit/>
          </a:bodyPr>
          <a:lstStyle/>
          <a:p>
            <a:pPr marL="12700" marR="5080">
              <a:lnSpc>
                <a:spcPts val="2330"/>
              </a:lnSpc>
              <a:spcBef>
                <a:spcPts val="375"/>
              </a:spcBef>
            </a:pPr>
            <a:r>
              <a:rPr sz="2100" dirty="0">
                <a:solidFill>
                  <a:srgbClr val="737373"/>
                </a:solidFill>
                <a:latin typeface="Roboto"/>
                <a:cs typeface="Roboto"/>
              </a:rPr>
              <a:t>Oportunidades</a:t>
            </a:r>
            <a:r>
              <a:rPr sz="2100" spc="-5" dirty="0">
                <a:solidFill>
                  <a:srgbClr val="737373"/>
                </a:solidFill>
                <a:latin typeface="Roboto"/>
                <a:cs typeface="Roboto"/>
              </a:rPr>
              <a:t> </a:t>
            </a:r>
            <a:r>
              <a:rPr sz="2100" dirty="0">
                <a:solidFill>
                  <a:srgbClr val="737373"/>
                </a:solidFill>
                <a:latin typeface="Roboto"/>
                <a:cs typeface="Roboto"/>
              </a:rPr>
              <a:t>de</a:t>
            </a:r>
            <a:r>
              <a:rPr sz="2100" spc="-5" dirty="0">
                <a:solidFill>
                  <a:srgbClr val="737373"/>
                </a:solidFill>
                <a:latin typeface="Roboto"/>
                <a:cs typeface="Roboto"/>
              </a:rPr>
              <a:t> </a:t>
            </a:r>
            <a:r>
              <a:rPr sz="2100" spc="-10" dirty="0">
                <a:solidFill>
                  <a:srgbClr val="737373"/>
                </a:solidFill>
                <a:latin typeface="Roboto"/>
                <a:cs typeface="Roboto"/>
              </a:rPr>
              <a:t>ocupación </a:t>
            </a:r>
            <a:r>
              <a:rPr sz="2100" dirty="0">
                <a:solidFill>
                  <a:srgbClr val="737373"/>
                </a:solidFill>
                <a:latin typeface="Roboto"/>
                <a:cs typeface="Roboto"/>
              </a:rPr>
              <a:t>en</a:t>
            </a:r>
            <a:r>
              <a:rPr sz="2100" spc="-10" dirty="0">
                <a:solidFill>
                  <a:srgbClr val="737373"/>
                </a:solidFill>
                <a:latin typeface="Roboto"/>
                <a:cs typeface="Roboto"/>
              </a:rPr>
              <a:t> </a:t>
            </a:r>
            <a:r>
              <a:rPr sz="2100" dirty="0">
                <a:solidFill>
                  <a:srgbClr val="737373"/>
                </a:solidFill>
                <a:latin typeface="Roboto"/>
                <a:cs typeface="Roboto"/>
              </a:rPr>
              <a:t>"low</a:t>
            </a:r>
            <a:r>
              <a:rPr sz="2100" spc="-5" dirty="0">
                <a:solidFill>
                  <a:srgbClr val="737373"/>
                </a:solidFill>
                <a:latin typeface="Roboto"/>
                <a:cs typeface="Roboto"/>
              </a:rPr>
              <a:t> </a:t>
            </a:r>
            <a:r>
              <a:rPr sz="2100" dirty="0">
                <a:solidFill>
                  <a:srgbClr val="737373"/>
                </a:solidFill>
                <a:latin typeface="Roboto"/>
                <a:cs typeface="Roboto"/>
              </a:rPr>
              <a:t>cost"</a:t>
            </a:r>
            <a:r>
              <a:rPr sz="2100" spc="-5" dirty="0">
                <a:solidFill>
                  <a:srgbClr val="737373"/>
                </a:solidFill>
                <a:latin typeface="Roboto"/>
                <a:cs typeface="Roboto"/>
              </a:rPr>
              <a:t> </a:t>
            </a:r>
            <a:r>
              <a:rPr sz="2100" spc="-10" dirty="0">
                <a:solidFill>
                  <a:srgbClr val="737373"/>
                </a:solidFill>
                <a:latin typeface="Roboto"/>
                <a:cs typeface="Roboto"/>
              </a:rPr>
              <a:t>regionales</a:t>
            </a:r>
            <a:endParaRPr sz="2100">
              <a:latin typeface="Roboto"/>
              <a:cs typeface="Roboto"/>
            </a:endParaRPr>
          </a:p>
        </p:txBody>
      </p:sp>
      <p:sp>
        <p:nvSpPr>
          <p:cNvPr id="54" name="object 54"/>
          <p:cNvSpPr txBox="1"/>
          <p:nvPr/>
        </p:nvSpPr>
        <p:spPr>
          <a:xfrm>
            <a:off x="13372011" y="7755070"/>
            <a:ext cx="3484245" cy="647065"/>
          </a:xfrm>
          <a:prstGeom prst="rect">
            <a:avLst/>
          </a:prstGeom>
        </p:spPr>
        <p:txBody>
          <a:bodyPr vert="horz" wrap="square" lIns="0" tIns="47625" rIns="0" bIns="0" rtlCol="0">
            <a:spAutoFit/>
          </a:bodyPr>
          <a:lstStyle/>
          <a:p>
            <a:pPr marL="12700" marR="5080">
              <a:lnSpc>
                <a:spcPts val="2330"/>
              </a:lnSpc>
              <a:spcBef>
                <a:spcPts val="375"/>
              </a:spcBef>
            </a:pPr>
            <a:r>
              <a:rPr sz="2100" dirty="0">
                <a:solidFill>
                  <a:srgbClr val="737373"/>
                </a:solidFill>
                <a:latin typeface="Roboto"/>
                <a:cs typeface="Roboto"/>
              </a:rPr>
              <a:t>Alta</a:t>
            </a:r>
            <a:r>
              <a:rPr sz="2100" spc="-35" dirty="0">
                <a:solidFill>
                  <a:srgbClr val="737373"/>
                </a:solidFill>
                <a:latin typeface="Roboto"/>
                <a:cs typeface="Roboto"/>
              </a:rPr>
              <a:t> </a:t>
            </a:r>
            <a:r>
              <a:rPr sz="2100" dirty="0">
                <a:solidFill>
                  <a:srgbClr val="737373"/>
                </a:solidFill>
                <a:latin typeface="Roboto"/>
                <a:cs typeface="Roboto"/>
              </a:rPr>
              <a:t>conectividad</a:t>
            </a:r>
            <a:r>
              <a:rPr sz="2100" spc="-35" dirty="0">
                <a:solidFill>
                  <a:srgbClr val="737373"/>
                </a:solidFill>
                <a:latin typeface="Roboto"/>
                <a:cs typeface="Roboto"/>
              </a:rPr>
              <a:t> </a:t>
            </a:r>
            <a:r>
              <a:rPr sz="2100" dirty="0">
                <a:solidFill>
                  <a:srgbClr val="737373"/>
                </a:solidFill>
                <a:latin typeface="Roboto"/>
                <a:cs typeface="Roboto"/>
              </a:rPr>
              <a:t>con</a:t>
            </a:r>
            <a:r>
              <a:rPr sz="2100" spc="-35" dirty="0">
                <a:solidFill>
                  <a:srgbClr val="737373"/>
                </a:solidFill>
                <a:latin typeface="Roboto"/>
                <a:cs typeface="Roboto"/>
              </a:rPr>
              <a:t> </a:t>
            </a:r>
            <a:r>
              <a:rPr sz="2100" spc="-10" dirty="0">
                <a:solidFill>
                  <a:srgbClr val="737373"/>
                </a:solidFill>
                <a:latin typeface="Roboto"/>
                <a:cs typeface="Roboto"/>
              </a:rPr>
              <a:t>países vecinos</a:t>
            </a:r>
            <a:endParaRPr sz="2100">
              <a:latin typeface="Roboto"/>
              <a:cs typeface="Roboto"/>
            </a:endParaRPr>
          </a:p>
        </p:txBody>
      </p:sp>
      <p:sp>
        <p:nvSpPr>
          <p:cNvPr id="55" name="object 55"/>
          <p:cNvSpPr txBox="1"/>
          <p:nvPr/>
        </p:nvSpPr>
        <p:spPr>
          <a:xfrm>
            <a:off x="1683950" y="8885482"/>
            <a:ext cx="1868170" cy="295910"/>
          </a:xfrm>
          <a:prstGeom prst="rect">
            <a:avLst/>
          </a:prstGeom>
        </p:spPr>
        <p:txBody>
          <a:bodyPr vert="horz" wrap="square" lIns="0" tIns="15240" rIns="0" bIns="0" rtlCol="0">
            <a:spAutoFit/>
          </a:bodyPr>
          <a:lstStyle/>
          <a:p>
            <a:pPr marL="12700">
              <a:lnSpc>
                <a:spcPct val="100000"/>
              </a:lnSpc>
              <a:spcBef>
                <a:spcPts val="120"/>
              </a:spcBef>
            </a:pPr>
            <a:r>
              <a:rPr sz="1750" b="1" dirty="0">
                <a:solidFill>
                  <a:srgbClr val="FFFFFF"/>
                </a:solidFill>
                <a:latin typeface="Roboto"/>
                <a:cs typeface="Roboto"/>
              </a:rPr>
              <a:t>Load</a:t>
            </a:r>
            <a:r>
              <a:rPr sz="1750" b="1" spc="35" dirty="0">
                <a:solidFill>
                  <a:srgbClr val="FFFFFF"/>
                </a:solidFill>
                <a:latin typeface="Roboto"/>
                <a:cs typeface="Roboto"/>
              </a:rPr>
              <a:t> </a:t>
            </a:r>
            <a:r>
              <a:rPr sz="1750" b="1" dirty="0">
                <a:solidFill>
                  <a:srgbClr val="FFFFFF"/>
                </a:solidFill>
                <a:latin typeface="Roboto"/>
                <a:cs typeface="Roboto"/>
              </a:rPr>
              <a:t>factor</a:t>
            </a:r>
            <a:r>
              <a:rPr sz="1750" b="1" spc="35" dirty="0">
                <a:solidFill>
                  <a:srgbClr val="FFFFFF"/>
                </a:solidFill>
                <a:latin typeface="Roboto"/>
                <a:cs typeface="Roboto"/>
              </a:rPr>
              <a:t> </a:t>
            </a:r>
            <a:r>
              <a:rPr sz="1750" b="1" spc="-10" dirty="0">
                <a:solidFill>
                  <a:srgbClr val="FFFFFF"/>
                </a:solidFill>
                <a:latin typeface="Roboto"/>
                <a:cs typeface="Roboto"/>
              </a:rPr>
              <a:t>medio</a:t>
            </a:r>
            <a:endParaRPr sz="1750">
              <a:latin typeface="Roboto"/>
              <a:cs typeface="Roboto"/>
            </a:endParaRPr>
          </a:p>
        </p:txBody>
      </p:sp>
      <p:sp>
        <p:nvSpPr>
          <p:cNvPr id="56" name="object 56"/>
          <p:cNvSpPr txBox="1"/>
          <p:nvPr/>
        </p:nvSpPr>
        <p:spPr>
          <a:xfrm>
            <a:off x="8193138" y="6448572"/>
            <a:ext cx="1769745" cy="295910"/>
          </a:xfrm>
          <a:prstGeom prst="rect">
            <a:avLst/>
          </a:prstGeom>
        </p:spPr>
        <p:txBody>
          <a:bodyPr vert="horz" wrap="square" lIns="0" tIns="15240" rIns="0" bIns="0" rtlCol="0">
            <a:spAutoFit/>
          </a:bodyPr>
          <a:lstStyle/>
          <a:p>
            <a:pPr marL="12700">
              <a:lnSpc>
                <a:spcPct val="100000"/>
              </a:lnSpc>
              <a:spcBef>
                <a:spcPts val="120"/>
              </a:spcBef>
            </a:pPr>
            <a:r>
              <a:rPr sz="1750" b="1" dirty="0">
                <a:solidFill>
                  <a:srgbClr val="FFFFFF"/>
                </a:solidFill>
                <a:latin typeface="Roboto"/>
                <a:cs typeface="Roboto"/>
              </a:rPr>
              <a:t>Low</a:t>
            </a:r>
            <a:r>
              <a:rPr sz="1750" b="1" spc="10" dirty="0">
                <a:solidFill>
                  <a:srgbClr val="FFFFFF"/>
                </a:solidFill>
                <a:latin typeface="Roboto"/>
                <a:cs typeface="Roboto"/>
              </a:rPr>
              <a:t> </a:t>
            </a:r>
            <a:r>
              <a:rPr sz="1750" b="1" dirty="0">
                <a:solidFill>
                  <a:srgbClr val="FFFFFF"/>
                </a:solidFill>
                <a:latin typeface="Roboto"/>
                <a:cs typeface="Roboto"/>
              </a:rPr>
              <a:t>cost</a:t>
            </a:r>
            <a:r>
              <a:rPr sz="1750" b="1" spc="15" dirty="0">
                <a:solidFill>
                  <a:srgbClr val="FFFFFF"/>
                </a:solidFill>
                <a:latin typeface="Roboto"/>
                <a:cs typeface="Roboto"/>
              </a:rPr>
              <a:t> </a:t>
            </a:r>
            <a:r>
              <a:rPr sz="1750" b="1" spc="-10" dirty="0">
                <a:solidFill>
                  <a:srgbClr val="FFFFFF"/>
                </a:solidFill>
                <a:latin typeface="Roboto"/>
                <a:cs typeface="Roboto"/>
              </a:rPr>
              <a:t>carriers</a:t>
            </a:r>
            <a:endParaRPr sz="1750">
              <a:latin typeface="Roboto"/>
              <a:cs typeface="Roboto"/>
            </a:endParaRPr>
          </a:p>
        </p:txBody>
      </p:sp>
      <p:sp>
        <p:nvSpPr>
          <p:cNvPr id="57" name="object 57"/>
          <p:cNvSpPr txBox="1"/>
          <p:nvPr/>
        </p:nvSpPr>
        <p:spPr>
          <a:xfrm>
            <a:off x="8136408" y="8338659"/>
            <a:ext cx="2019300" cy="295910"/>
          </a:xfrm>
          <a:prstGeom prst="rect">
            <a:avLst/>
          </a:prstGeom>
        </p:spPr>
        <p:txBody>
          <a:bodyPr vert="horz" wrap="square" lIns="0" tIns="15240" rIns="0" bIns="0" rtlCol="0">
            <a:spAutoFit/>
          </a:bodyPr>
          <a:lstStyle/>
          <a:p>
            <a:pPr marL="12700">
              <a:lnSpc>
                <a:spcPct val="100000"/>
              </a:lnSpc>
              <a:spcBef>
                <a:spcPts val="120"/>
              </a:spcBef>
            </a:pPr>
            <a:r>
              <a:rPr sz="1750" b="1" dirty="0">
                <a:solidFill>
                  <a:srgbClr val="FFFFFF"/>
                </a:solidFill>
                <a:latin typeface="Roboto"/>
                <a:cs typeface="Roboto"/>
              </a:rPr>
              <a:t>Full</a:t>
            </a:r>
            <a:r>
              <a:rPr sz="1750" b="1" spc="10" dirty="0">
                <a:solidFill>
                  <a:srgbClr val="FFFFFF"/>
                </a:solidFill>
                <a:latin typeface="Roboto"/>
                <a:cs typeface="Roboto"/>
              </a:rPr>
              <a:t> </a:t>
            </a:r>
            <a:r>
              <a:rPr sz="1750" b="1" dirty="0">
                <a:solidFill>
                  <a:srgbClr val="FFFFFF"/>
                </a:solidFill>
                <a:latin typeface="Roboto"/>
                <a:cs typeface="Roboto"/>
              </a:rPr>
              <a:t>service</a:t>
            </a:r>
            <a:r>
              <a:rPr sz="1750" b="1" spc="15" dirty="0">
                <a:solidFill>
                  <a:srgbClr val="FFFFFF"/>
                </a:solidFill>
                <a:latin typeface="Roboto"/>
                <a:cs typeface="Roboto"/>
              </a:rPr>
              <a:t> </a:t>
            </a:r>
            <a:r>
              <a:rPr sz="1750" b="1" spc="-10" dirty="0">
                <a:solidFill>
                  <a:srgbClr val="FFFFFF"/>
                </a:solidFill>
                <a:latin typeface="Roboto"/>
                <a:cs typeface="Roboto"/>
              </a:rPr>
              <a:t>carriers</a:t>
            </a:r>
            <a:endParaRPr sz="1750">
              <a:latin typeface="Roboto"/>
              <a:cs typeface="Roboto"/>
            </a:endParaRPr>
          </a:p>
        </p:txBody>
      </p:sp>
      <p:sp>
        <p:nvSpPr>
          <p:cNvPr id="58" name="object 58"/>
          <p:cNvSpPr txBox="1"/>
          <p:nvPr/>
        </p:nvSpPr>
        <p:spPr>
          <a:xfrm>
            <a:off x="637985" y="384149"/>
            <a:ext cx="4992370"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2.</a:t>
            </a:r>
            <a:r>
              <a:rPr sz="3000" spc="-70" dirty="0">
                <a:solidFill>
                  <a:srgbClr val="FFFFFF"/>
                </a:solidFill>
                <a:latin typeface="Roboto"/>
                <a:cs typeface="Roboto"/>
              </a:rPr>
              <a:t> </a:t>
            </a:r>
            <a:r>
              <a:rPr sz="3000" spc="-30" dirty="0">
                <a:solidFill>
                  <a:srgbClr val="FFFFFF"/>
                </a:solidFill>
                <a:latin typeface="Roboto"/>
                <a:cs typeface="Roboto"/>
              </a:rPr>
              <a:t>Situación</a:t>
            </a:r>
            <a:r>
              <a:rPr sz="3000" spc="-70" dirty="0">
                <a:solidFill>
                  <a:srgbClr val="FFFFFF"/>
                </a:solidFill>
                <a:latin typeface="Roboto"/>
                <a:cs typeface="Roboto"/>
              </a:rPr>
              <a:t> </a:t>
            </a:r>
            <a:r>
              <a:rPr sz="3000" dirty="0">
                <a:solidFill>
                  <a:srgbClr val="FFFFFF"/>
                </a:solidFill>
                <a:latin typeface="Roboto"/>
                <a:cs typeface="Roboto"/>
              </a:rPr>
              <a:t>de</a:t>
            </a:r>
            <a:r>
              <a:rPr sz="3000" spc="-65" dirty="0">
                <a:solidFill>
                  <a:srgbClr val="FFFFFF"/>
                </a:solidFill>
                <a:latin typeface="Roboto"/>
                <a:cs typeface="Roboto"/>
              </a:rPr>
              <a:t> </a:t>
            </a:r>
            <a:r>
              <a:rPr sz="3000" spc="-20" dirty="0">
                <a:solidFill>
                  <a:srgbClr val="FFFFFF"/>
                </a:solidFill>
                <a:latin typeface="Roboto"/>
                <a:cs typeface="Roboto"/>
              </a:rPr>
              <a:t>conectividad</a:t>
            </a:r>
            <a:endParaRPr sz="3000">
              <a:latin typeface="Roboto"/>
              <a:cs typeface="Roboto"/>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77464"/>
            <a:ext cx="18121630" cy="9765030"/>
            <a:chOff x="166956" y="177464"/>
            <a:chExt cx="18121630" cy="9765030"/>
          </a:xfrm>
        </p:grpSpPr>
        <p:sp>
          <p:nvSpPr>
            <p:cNvPr id="3" name="object 3"/>
            <p:cNvSpPr/>
            <p:nvPr/>
          </p:nvSpPr>
          <p:spPr>
            <a:xfrm>
              <a:off x="166956" y="1113694"/>
              <a:ext cx="11116945" cy="8675370"/>
            </a:xfrm>
            <a:custGeom>
              <a:avLst/>
              <a:gdLst/>
              <a:ahLst/>
              <a:cxnLst/>
              <a:rect l="l" t="t" r="r" b="b"/>
              <a:pathLst>
                <a:path w="11116945" h="8675370">
                  <a:moveTo>
                    <a:pt x="0" y="8675017"/>
                  </a:moveTo>
                  <a:lnTo>
                    <a:pt x="11116653" y="8675017"/>
                  </a:lnTo>
                  <a:lnTo>
                    <a:pt x="11116653"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1283610" y="177464"/>
              <a:ext cx="7004684" cy="9765030"/>
            </a:xfrm>
            <a:custGeom>
              <a:avLst/>
              <a:gdLst/>
              <a:ahLst/>
              <a:cxnLst/>
              <a:rect l="l" t="t" r="r" b="b"/>
              <a:pathLst>
                <a:path w="7004684" h="9765030">
                  <a:moveTo>
                    <a:pt x="0" y="9764613"/>
                  </a:moveTo>
                  <a:lnTo>
                    <a:pt x="0" y="0"/>
                  </a:lnTo>
                  <a:lnTo>
                    <a:pt x="7004389" y="0"/>
                  </a:lnTo>
                  <a:lnTo>
                    <a:pt x="7004389" y="9764613"/>
                  </a:lnTo>
                  <a:lnTo>
                    <a:pt x="0" y="9764613"/>
                  </a:lnTo>
                  <a:close/>
                </a:path>
              </a:pathLst>
            </a:custGeom>
            <a:solidFill>
              <a:srgbClr val="FFFFFF"/>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pic>
          <p:nvPicPr>
            <p:cNvPr id="6" name="object 6"/>
            <p:cNvPicPr/>
            <p:nvPr/>
          </p:nvPicPr>
          <p:blipFill>
            <a:blip r:embed="rId2" cstate="print"/>
            <a:stretch>
              <a:fillRect/>
            </a:stretch>
          </p:blipFill>
          <p:spPr>
            <a:xfrm>
              <a:off x="11647059" y="6456731"/>
              <a:ext cx="1568395" cy="1568395"/>
            </a:xfrm>
            <a:prstGeom prst="rect">
              <a:avLst/>
            </a:prstGeom>
          </p:spPr>
        </p:pic>
        <p:sp>
          <p:nvSpPr>
            <p:cNvPr id="7" name="object 7"/>
            <p:cNvSpPr/>
            <p:nvPr/>
          </p:nvSpPr>
          <p:spPr>
            <a:xfrm>
              <a:off x="11808004" y="6548619"/>
              <a:ext cx="1343025" cy="1343025"/>
            </a:xfrm>
            <a:custGeom>
              <a:avLst/>
              <a:gdLst/>
              <a:ahLst/>
              <a:cxnLst/>
              <a:rect l="l" t="t" r="r" b="b"/>
              <a:pathLst>
                <a:path w="1343025" h="1343025">
                  <a:moveTo>
                    <a:pt x="671475" y="1342951"/>
                  </a:moveTo>
                  <a:lnTo>
                    <a:pt x="623521" y="1341265"/>
                  </a:lnTo>
                  <a:lnTo>
                    <a:pt x="576477" y="1336282"/>
                  </a:lnTo>
                  <a:lnTo>
                    <a:pt x="530457" y="1328118"/>
                  </a:lnTo>
                  <a:lnTo>
                    <a:pt x="485574" y="1316884"/>
                  </a:lnTo>
                  <a:lnTo>
                    <a:pt x="441941" y="1302695"/>
                  </a:lnTo>
                  <a:lnTo>
                    <a:pt x="399674" y="1285665"/>
                  </a:lnTo>
                  <a:lnTo>
                    <a:pt x="358884" y="1265906"/>
                  </a:lnTo>
                  <a:lnTo>
                    <a:pt x="319686" y="1243533"/>
                  </a:lnTo>
                  <a:lnTo>
                    <a:pt x="282194" y="1218660"/>
                  </a:lnTo>
                  <a:lnTo>
                    <a:pt x="246521" y="1191399"/>
                  </a:lnTo>
                  <a:lnTo>
                    <a:pt x="212780" y="1161864"/>
                  </a:lnTo>
                  <a:lnTo>
                    <a:pt x="181086" y="1130170"/>
                  </a:lnTo>
                  <a:lnTo>
                    <a:pt x="151551" y="1096429"/>
                  </a:lnTo>
                  <a:lnTo>
                    <a:pt x="124290" y="1060756"/>
                  </a:lnTo>
                  <a:lnTo>
                    <a:pt x="99416" y="1023264"/>
                  </a:lnTo>
                  <a:lnTo>
                    <a:pt x="77043" y="984066"/>
                  </a:lnTo>
                  <a:lnTo>
                    <a:pt x="57285" y="943277"/>
                  </a:lnTo>
                  <a:lnTo>
                    <a:pt x="40254" y="901009"/>
                  </a:lnTo>
                  <a:lnTo>
                    <a:pt x="26065" y="857377"/>
                  </a:lnTo>
                  <a:lnTo>
                    <a:pt x="14832" y="812494"/>
                  </a:lnTo>
                  <a:lnTo>
                    <a:pt x="6667" y="766474"/>
                  </a:lnTo>
                  <a:lnTo>
                    <a:pt x="1685" y="719430"/>
                  </a:lnTo>
                  <a:lnTo>
                    <a:pt x="0" y="671485"/>
                  </a:lnTo>
                  <a:lnTo>
                    <a:pt x="1685" y="623522"/>
                  </a:lnTo>
                  <a:lnTo>
                    <a:pt x="6667" y="576477"/>
                  </a:lnTo>
                  <a:lnTo>
                    <a:pt x="14832" y="530457"/>
                  </a:lnTo>
                  <a:lnTo>
                    <a:pt x="26065" y="485574"/>
                  </a:lnTo>
                  <a:lnTo>
                    <a:pt x="40254" y="441942"/>
                  </a:lnTo>
                  <a:lnTo>
                    <a:pt x="57285" y="399674"/>
                  </a:lnTo>
                  <a:lnTo>
                    <a:pt x="77043" y="358884"/>
                  </a:lnTo>
                  <a:lnTo>
                    <a:pt x="99416" y="319687"/>
                  </a:lnTo>
                  <a:lnTo>
                    <a:pt x="124290" y="282194"/>
                  </a:lnTo>
                  <a:lnTo>
                    <a:pt x="151551" y="246521"/>
                  </a:lnTo>
                  <a:lnTo>
                    <a:pt x="181086" y="212780"/>
                  </a:lnTo>
                  <a:lnTo>
                    <a:pt x="212780" y="181086"/>
                  </a:lnTo>
                  <a:lnTo>
                    <a:pt x="246521" y="151551"/>
                  </a:lnTo>
                  <a:lnTo>
                    <a:pt x="282194" y="124291"/>
                  </a:lnTo>
                  <a:lnTo>
                    <a:pt x="319686" y="99417"/>
                  </a:lnTo>
                  <a:lnTo>
                    <a:pt x="358884" y="77044"/>
                  </a:lnTo>
                  <a:lnTo>
                    <a:pt x="399674" y="57285"/>
                  </a:lnTo>
                  <a:lnTo>
                    <a:pt x="441941" y="40255"/>
                  </a:lnTo>
                  <a:lnTo>
                    <a:pt x="485574" y="26066"/>
                  </a:lnTo>
                  <a:lnTo>
                    <a:pt x="530457" y="14832"/>
                  </a:lnTo>
                  <a:lnTo>
                    <a:pt x="576477" y="6668"/>
                  </a:lnTo>
                  <a:lnTo>
                    <a:pt x="623521" y="1685"/>
                  </a:lnTo>
                  <a:lnTo>
                    <a:pt x="671474" y="0"/>
                  </a:lnTo>
                  <a:lnTo>
                    <a:pt x="719429" y="1685"/>
                  </a:lnTo>
                  <a:lnTo>
                    <a:pt x="766473" y="6668"/>
                  </a:lnTo>
                  <a:lnTo>
                    <a:pt x="812494" y="14832"/>
                  </a:lnTo>
                  <a:lnTo>
                    <a:pt x="857377" y="26066"/>
                  </a:lnTo>
                  <a:lnTo>
                    <a:pt x="901009" y="40255"/>
                  </a:lnTo>
                  <a:lnTo>
                    <a:pt x="943276" y="57285"/>
                  </a:lnTo>
                  <a:lnTo>
                    <a:pt x="984066" y="77044"/>
                  </a:lnTo>
                  <a:lnTo>
                    <a:pt x="1023264" y="99417"/>
                  </a:lnTo>
                  <a:lnTo>
                    <a:pt x="1060756" y="124291"/>
                  </a:lnTo>
                  <a:lnTo>
                    <a:pt x="1096429" y="151551"/>
                  </a:lnTo>
                  <a:lnTo>
                    <a:pt x="1130170" y="181086"/>
                  </a:lnTo>
                  <a:lnTo>
                    <a:pt x="1161864" y="212780"/>
                  </a:lnTo>
                  <a:lnTo>
                    <a:pt x="1191399" y="246521"/>
                  </a:lnTo>
                  <a:lnTo>
                    <a:pt x="1218660" y="282194"/>
                  </a:lnTo>
                  <a:lnTo>
                    <a:pt x="1243533" y="319687"/>
                  </a:lnTo>
                  <a:lnTo>
                    <a:pt x="1265906" y="358884"/>
                  </a:lnTo>
                  <a:lnTo>
                    <a:pt x="1285665" y="399674"/>
                  </a:lnTo>
                  <a:lnTo>
                    <a:pt x="1302695" y="441942"/>
                  </a:lnTo>
                  <a:lnTo>
                    <a:pt x="1316884" y="485574"/>
                  </a:lnTo>
                  <a:lnTo>
                    <a:pt x="1328118" y="530457"/>
                  </a:lnTo>
                  <a:lnTo>
                    <a:pt x="1336282" y="576477"/>
                  </a:lnTo>
                  <a:lnTo>
                    <a:pt x="1341265" y="623522"/>
                  </a:lnTo>
                  <a:lnTo>
                    <a:pt x="1342950" y="671466"/>
                  </a:lnTo>
                  <a:lnTo>
                    <a:pt x="1341265" y="719430"/>
                  </a:lnTo>
                  <a:lnTo>
                    <a:pt x="1336282" y="766474"/>
                  </a:lnTo>
                  <a:lnTo>
                    <a:pt x="1328118" y="812494"/>
                  </a:lnTo>
                  <a:lnTo>
                    <a:pt x="1316884" y="857377"/>
                  </a:lnTo>
                  <a:lnTo>
                    <a:pt x="1302695" y="901009"/>
                  </a:lnTo>
                  <a:lnTo>
                    <a:pt x="1285665" y="943277"/>
                  </a:lnTo>
                  <a:lnTo>
                    <a:pt x="1265906" y="984066"/>
                  </a:lnTo>
                  <a:lnTo>
                    <a:pt x="1243533" y="1023264"/>
                  </a:lnTo>
                  <a:lnTo>
                    <a:pt x="1218660" y="1060756"/>
                  </a:lnTo>
                  <a:lnTo>
                    <a:pt x="1191399" y="1096429"/>
                  </a:lnTo>
                  <a:lnTo>
                    <a:pt x="1161864" y="1130170"/>
                  </a:lnTo>
                  <a:lnTo>
                    <a:pt x="1130170" y="1161864"/>
                  </a:lnTo>
                  <a:lnTo>
                    <a:pt x="1096429" y="1191399"/>
                  </a:lnTo>
                  <a:lnTo>
                    <a:pt x="1060756" y="1218660"/>
                  </a:lnTo>
                  <a:lnTo>
                    <a:pt x="1023264" y="1243533"/>
                  </a:lnTo>
                  <a:lnTo>
                    <a:pt x="984066" y="1265906"/>
                  </a:lnTo>
                  <a:lnTo>
                    <a:pt x="943276" y="1285665"/>
                  </a:lnTo>
                  <a:lnTo>
                    <a:pt x="901009" y="1302695"/>
                  </a:lnTo>
                  <a:lnTo>
                    <a:pt x="857377" y="1316884"/>
                  </a:lnTo>
                  <a:lnTo>
                    <a:pt x="812494" y="1328118"/>
                  </a:lnTo>
                  <a:lnTo>
                    <a:pt x="766473" y="1336282"/>
                  </a:lnTo>
                  <a:lnTo>
                    <a:pt x="719429" y="1341265"/>
                  </a:lnTo>
                  <a:lnTo>
                    <a:pt x="671475" y="1342951"/>
                  </a:lnTo>
                  <a:close/>
                </a:path>
              </a:pathLst>
            </a:custGeom>
            <a:solidFill>
              <a:srgbClr val="FFFFFF"/>
            </a:solidFill>
          </p:spPr>
          <p:txBody>
            <a:bodyPr wrap="square" lIns="0" tIns="0" rIns="0" bIns="0" rtlCol="0"/>
            <a:lstStyle/>
            <a:p>
              <a:endParaRPr/>
            </a:p>
          </p:txBody>
        </p:sp>
        <p:sp>
          <p:nvSpPr>
            <p:cNvPr id="8" name="object 8"/>
            <p:cNvSpPr/>
            <p:nvPr/>
          </p:nvSpPr>
          <p:spPr>
            <a:xfrm>
              <a:off x="12046245" y="6833864"/>
              <a:ext cx="861060" cy="624840"/>
            </a:xfrm>
            <a:custGeom>
              <a:avLst/>
              <a:gdLst/>
              <a:ahLst/>
              <a:cxnLst/>
              <a:rect l="l" t="t" r="r" b="b"/>
              <a:pathLst>
                <a:path w="861059" h="624840">
                  <a:moveTo>
                    <a:pt x="765198" y="624795"/>
                  </a:moveTo>
                  <a:lnTo>
                    <a:pt x="95649" y="624795"/>
                  </a:lnTo>
                  <a:lnTo>
                    <a:pt x="58419" y="617240"/>
                  </a:lnTo>
                  <a:lnTo>
                    <a:pt x="28016" y="596640"/>
                  </a:lnTo>
                  <a:lnTo>
                    <a:pt x="7517" y="566086"/>
                  </a:lnTo>
                  <a:lnTo>
                    <a:pt x="0" y="528672"/>
                  </a:lnTo>
                  <a:lnTo>
                    <a:pt x="0" y="96122"/>
                  </a:lnTo>
                  <a:lnTo>
                    <a:pt x="7517" y="58708"/>
                  </a:lnTo>
                  <a:lnTo>
                    <a:pt x="28016" y="28154"/>
                  </a:lnTo>
                  <a:lnTo>
                    <a:pt x="58419" y="7554"/>
                  </a:lnTo>
                  <a:lnTo>
                    <a:pt x="95649" y="0"/>
                  </a:lnTo>
                  <a:lnTo>
                    <a:pt x="765198" y="0"/>
                  </a:lnTo>
                  <a:lnTo>
                    <a:pt x="802428" y="7554"/>
                  </a:lnTo>
                  <a:lnTo>
                    <a:pt x="832831" y="28154"/>
                  </a:lnTo>
                  <a:lnTo>
                    <a:pt x="853331" y="58708"/>
                  </a:lnTo>
                  <a:lnTo>
                    <a:pt x="860848" y="96122"/>
                  </a:lnTo>
                  <a:lnTo>
                    <a:pt x="860848" y="528672"/>
                  </a:lnTo>
                  <a:lnTo>
                    <a:pt x="853331" y="566086"/>
                  </a:lnTo>
                  <a:lnTo>
                    <a:pt x="832831" y="596640"/>
                  </a:lnTo>
                  <a:lnTo>
                    <a:pt x="802428" y="617240"/>
                  </a:lnTo>
                  <a:lnTo>
                    <a:pt x="765198" y="624795"/>
                  </a:lnTo>
                  <a:close/>
                </a:path>
              </a:pathLst>
            </a:custGeom>
            <a:solidFill>
              <a:srgbClr val="009A3A"/>
            </a:solidFill>
          </p:spPr>
          <p:txBody>
            <a:bodyPr wrap="square" lIns="0" tIns="0" rIns="0" bIns="0" rtlCol="0"/>
            <a:lstStyle/>
            <a:p>
              <a:endParaRPr/>
            </a:p>
          </p:txBody>
        </p:sp>
        <p:sp>
          <p:nvSpPr>
            <p:cNvPr id="9" name="object 9"/>
            <p:cNvSpPr/>
            <p:nvPr/>
          </p:nvSpPr>
          <p:spPr>
            <a:xfrm>
              <a:off x="12124486" y="6878921"/>
              <a:ext cx="704850" cy="534670"/>
            </a:xfrm>
            <a:custGeom>
              <a:avLst/>
              <a:gdLst/>
              <a:ahLst/>
              <a:cxnLst/>
              <a:rect l="l" t="t" r="r" b="b"/>
              <a:pathLst>
                <a:path w="704850" h="534670">
                  <a:moveTo>
                    <a:pt x="352182" y="534656"/>
                  </a:moveTo>
                  <a:lnTo>
                    <a:pt x="0" y="267340"/>
                  </a:lnTo>
                  <a:lnTo>
                    <a:pt x="352182" y="0"/>
                  </a:lnTo>
                  <a:lnTo>
                    <a:pt x="704365" y="267340"/>
                  </a:lnTo>
                  <a:lnTo>
                    <a:pt x="352182" y="534656"/>
                  </a:lnTo>
                  <a:close/>
                </a:path>
              </a:pathLst>
            </a:custGeom>
            <a:solidFill>
              <a:srgbClr val="FEDE00"/>
            </a:solidFill>
          </p:spPr>
          <p:txBody>
            <a:bodyPr wrap="square" lIns="0" tIns="0" rIns="0" bIns="0" rtlCol="0"/>
            <a:lstStyle/>
            <a:p>
              <a:endParaRPr/>
            </a:p>
          </p:txBody>
        </p:sp>
        <p:sp>
          <p:nvSpPr>
            <p:cNvPr id="10" name="object 10"/>
            <p:cNvSpPr/>
            <p:nvPr/>
          </p:nvSpPr>
          <p:spPr>
            <a:xfrm>
              <a:off x="12321669" y="6989246"/>
              <a:ext cx="309245" cy="310515"/>
            </a:xfrm>
            <a:custGeom>
              <a:avLst/>
              <a:gdLst/>
              <a:ahLst/>
              <a:cxnLst/>
              <a:rect l="l" t="t" r="r" b="b"/>
              <a:pathLst>
                <a:path w="309245" h="310515">
                  <a:moveTo>
                    <a:pt x="154426" y="310378"/>
                  </a:moveTo>
                  <a:lnTo>
                    <a:pt x="109598" y="303698"/>
                  </a:lnTo>
                  <a:lnTo>
                    <a:pt x="68631" y="284224"/>
                  </a:lnTo>
                  <a:lnTo>
                    <a:pt x="35051" y="253641"/>
                  </a:lnTo>
                  <a:lnTo>
                    <a:pt x="11754" y="214577"/>
                  </a:lnTo>
                  <a:lnTo>
                    <a:pt x="741" y="170400"/>
                  </a:lnTo>
                  <a:lnTo>
                    <a:pt x="0" y="155189"/>
                  </a:lnTo>
                  <a:lnTo>
                    <a:pt x="741" y="139978"/>
                  </a:lnTo>
                  <a:lnTo>
                    <a:pt x="11755" y="95801"/>
                  </a:lnTo>
                  <a:lnTo>
                    <a:pt x="35051" y="56737"/>
                  </a:lnTo>
                  <a:lnTo>
                    <a:pt x="68631" y="26154"/>
                  </a:lnTo>
                  <a:lnTo>
                    <a:pt x="109598" y="6680"/>
                  </a:lnTo>
                  <a:lnTo>
                    <a:pt x="154426" y="0"/>
                  </a:lnTo>
                  <a:lnTo>
                    <a:pt x="169563" y="745"/>
                  </a:lnTo>
                  <a:lnTo>
                    <a:pt x="213523" y="11813"/>
                  </a:lnTo>
                  <a:lnTo>
                    <a:pt x="252394" y="35224"/>
                  </a:lnTo>
                  <a:lnTo>
                    <a:pt x="282827" y="68970"/>
                  </a:lnTo>
                  <a:lnTo>
                    <a:pt x="302205" y="110139"/>
                  </a:lnTo>
                  <a:lnTo>
                    <a:pt x="308853" y="155189"/>
                  </a:lnTo>
                  <a:lnTo>
                    <a:pt x="308111" y="170400"/>
                  </a:lnTo>
                  <a:lnTo>
                    <a:pt x="297098" y="214577"/>
                  </a:lnTo>
                  <a:lnTo>
                    <a:pt x="273801" y="253641"/>
                  </a:lnTo>
                  <a:lnTo>
                    <a:pt x="240221" y="284224"/>
                  </a:lnTo>
                  <a:lnTo>
                    <a:pt x="199254" y="303698"/>
                  </a:lnTo>
                  <a:lnTo>
                    <a:pt x="154426" y="310378"/>
                  </a:lnTo>
                  <a:close/>
                </a:path>
              </a:pathLst>
            </a:custGeom>
            <a:solidFill>
              <a:srgbClr val="002675"/>
            </a:solidFill>
          </p:spPr>
          <p:txBody>
            <a:bodyPr wrap="square" lIns="0" tIns="0" rIns="0" bIns="0" rtlCol="0"/>
            <a:lstStyle/>
            <a:p>
              <a:endParaRPr/>
            </a:p>
          </p:txBody>
        </p:sp>
        <p:sp>
          <p:nvSpPr>
            <p:cNvPr id="11" name="object 11"/>
            <p:cNvSpPr/>
            <p:nvPr/>
          </p:nvSpPr>
          <p:spPr>
            <a:xfrm>
              <a:off x="12323749" y="7071455"/>
              <a:ext cx="302260" cy="159385"/>
            </a:xfrm>
            <a:custGeom>
              <a:avLst/>
              <a:gdLst/>
              <a:ahLst/>
              <a:cxnLst/>
              <a:rect l="l" t="t" r="r" b="b"/>
              <a:pathLst>
                <a:path w="302259" h="159384">
                  <a:moveTo>
                    <a:pt x="280827" y="159034"/>
                  </a:moveTo>
                  <a:lnTo>
                    <a:pt x="247338" y="127809"/>
                  </a:lnTo>
                  <a:lnTo>
                    <a:pt x="204518" y="99978"/>
                  </a:lnTo>
                  <a:lnTo>
                    <a:pt x="155371" y="76843"/>
                  </a:lnTo>
                  <a:lnTo>
                    <a:pt x="102899" y="59704"/>
                  </a:lnTo>
                  <a:lnTo>
                    <a:pt x="50108" y="49860"/>
                  </a:lnTo>
                  <a:lnTo>
                    <a:pt x="0" y="48613"/>
                  </a:lnTo>
                  <a:lnTo>
                    <a:pt x="2544" y="35817"/>
                  </a:lnTo>
                  <a:lnTo>
                    <a:pt x="6079" y="23414"/>
                  </a:lnTo>
                  <a:lnTo>
                    <a:pt x="10592" y="11458"/>
                  </a:lnTo>
                  <a:lnTo>
                    <a:pt x="16069" y="0"/>
                  </a:lnTo>
                  <a:lnTo>
                    <a:pt x="66003" y="3393"/>
                  </a:lnTo>
                  <a:lnTo>
                    <a:pt x="117837" y="13579"/>
                  </a:lnTo>
                  <a:lnTo>
                    <a:pt x="169461" y="29990"/>
                  </a:lnTo>
                  <a:lnTo>
                    <a:pt x="218761" y="52055"/>
                  </a:lnTo>
                  <a:lnTo>
                    <a:pt x="263626" y="79207"/>
                  </a:lnTo>
                  <a:lnTo>
                    <a:pt x="301942" y="110877"/>
                  </a:lnTo>
                  <a:lnTo>
                    <a:pt x="298149" y="123700"/>
                  </a:lnTo>
                  <a:lnTo>
                    <a:pt x="293349" y="136037"/>
                  </a:lnTo>
                  <a:lnTo>
                    <a:pt x="287567" y="147833"/>
                  </a:lnTo>
                  <a:lnTo>
                    <a:pt x="280827" y="159034"/>
                  </a:lnTo>
                  <a:close/>
                </a:path>
              </a:pathLst>
            </a:custGeom>
            <a:solidFill>
              <a:srgbClr val="CBE8D4"/>
            </a:solidFill>
          </p:spPr>
          <p:txBody>
            <a:bodyPr wrap="square" lIns="0" tIns="0" rIns="0" bIns="0" rtlCol="0"/>
            <a:lstStyle/>
            <a:p>
              <a:endParaRPr/>
            </a:p>
          </p:txBody>
        </p:sp>
        <p:sp>
          <p:nvSpPr>
            <p:cNvPr id="12" name="object 12"/>
            <p:cNvSpPr/>
            <p:nvPr/>
          </p:nvSpPr>
          <p:spPr>
            <a:xfrm>
              <a:off x="12333194" y="7151860"/>
              <a:ext cx="48260" cy="72390"/>
            </a:xfrm>
            <a:custGeom>
              <a:avLst/>
              <a:gdLst/>
              <a:ahLst/>
              <a:cxnLst/>
              <a:rect l="l" t="t" r="r" b="b"/>
              <a:pathLst>
                <a:path w="48259" h="72390">
                  <a:moveTo>
                    <a:pt x="23912" y="24030"/>
                  </a:moveTo>
                  <a:lnTo>
                    <a:pt x="0" y="24030"/>
                  </a:lnTo>
                  <a:lnTo>
                    <a:pt x="0" y="0"/>
                  </a:lnTo>
                  <a:lnTo>
                    <a:pt x="23912" y="0"/>
                  </a:lnTo>
                  <a:lnTo>
                    <a:pt x="23912" y="24030"/>
                  </a:lnTo>
                  <a:close/>
                </a:path>
                <a:path w="48259" h="72390">
                  <a:moveTo>
                    <a:pt x="47824" y="72091"/>
                  </a:moveTo>
                  <a:lnTo>
                    <a:pt x="23912" y="72091"/>
                  </a:lnTo>
                  <a:lnTo>
                    <a:pt x="23912" y="48061"/>
                  </a:lnTo>
                  <a:lnTo>
                    <a:pt x="47824" y="48061"/>
                  </a:lnTo>
                  <a:lnTo>
                    <a:pt x="47824" y="72091"/>
                  </a:lnTo>
                  <a:close/>
                </a:path>
              </a:pathLst>
            </a:custGeom>
            <a:solidFill>
              <a:srgbClr val="87C8F9"/>
            </a:solidFill>
          </p:spPr>
          <p:txBody>
            <a:bodyPr wrap="square" lIns="0" tIns="0" rIns="0" bIns="0" rtlCol="0"/>
            <a:lstStyle/>
            <a:p>
              <a:endParaRPr/>
            </a:p>
          </p:txBody>
        </p:sp>
        <p:sp>
          <p:nvSpPr>
            <p:cNvPr id="13" name="object 13"/>
            <p:cNvSpPr/>
            <p:nvPr/>
          </p:nvSpPr>
          <p:spPr>
            <a:xfrm>
              <a:off x="12404928" y="7103808"/>
              <a:ext cx="167640" cy="168275"/>
            </a:xfrm>
            <a:custGeom>
              <a:avLst/>
              <a:gdLst/>
              <a:ahLst/>
              <a:cxnLst/>
              <a:rect l="l" t="t" r="r" b="b"/>
              <a:pathLst>
                <a:path w="167640" h="168275">
                  <a:moveTo>
                    <a:pt x="23914" y="48056"/>
                  </a:moveTo>
                  <a:lnTo>
                    <a:pt x="0" y="48056"/>
                  </a:lnTo>
                  <a:lnTo>
                    <a:pt x="0" y="72085"/>
                  </a:lnTo>
                  <a:lnTo>
                    <a:pt x="23914" y="72085"/>
                  </a:lnTo>
                  <a:lnTo>
                    <a:pt x="23914" y="48056"/>
                  </a:lnTo>
                  <a:close/>
                </a:path>
                <a:path w="167640" h="168275">
                  <a:moveTo>
                    <a:pt x="71729" y="72085"/>
                  </a:moveTo>
                  <a:lnTo>
                    <a:pt x="47828" y="72085"/>
                  </a:lnTo>
                  <a:lnTo>
                    <a:pt x="47828" y="96126"/>
                  </a:lnTo>
                  <a:lnTo>
                    <a:pt x="71729" y="96126"/>
                  </a:lnTo>
                  <a:lnTo>
                    <a:pt x="71729" y="72085"/>
                  </a:lnTo>
                  <a:close/>
                </a:path>
                <a:path w="167640" h="168275">
                  <a:moveTo>
                    <a:pt x="95643" y="144183"/>
                  </a:moveTo>
                  <a:lnTo>
                    <a:pt x="71729" y="144183"/>
                  </a:lnTo>
                  <a:lnTo>
                    <a:pt x="71729" y="168211"/>
                  </a:lnTo>
                  <a:lnTo>
                    <a:pt x="95643" y="168211"/>
                  </a:lnTo>
                  <a:lnTo>
                    <a:pt x="95643" y="144183"/>
                  </a:lnTo>
                  <a:close/>
                </a:path>
                <a:path w="167640" h="168275">
                  <a:moveTo>
                    <a:pt x="167386" y="120154"/>
                  </a:moveTo>
                  <a:lnTo>
                    <a:pt x="143471" y="120154"/>
                  </a:lnTo>
                  <a:lnTo>
                    <a:pt x="143471" y="144183"/>
                  </a:lnTo>
                  <a:lnTo>
                    <a:pt x="167386" y="144183"/>
                  </a:lnTo>
                  <a:lnTo>
                    <a:pt x="167386" y="120154"/>
                  </a:lnTo>
                  <a:close/>
                </a:path>
                <a:path w="167640" h="168275">
                  <a:moveTo>
                    <a:pt x="167386" y="0"/>
                  </a:moveTo>
                  <a:lnTo>
                    <a:pt x="143471" y="0"/>
                  </a:lnTo>
                  <a:lnTo>
                    <a:pt x="143471" y="24028"/>
                  </a:lnTo>
                  <a:lnTo>
                    <a:pt x="167386" y="24028"/>
                  </a:lnTo>
                  <a:lnTo>
                    <a:pt x="167386" y="0"/>
                  </a:lnTo>
                  <a:close/>
                </a:path>
              </a:pathLst>
            </a:custGeom>
            <a:solidFill>
              <a:srgbClr val="54ABED"/>
            </a:solidFill>
          </p:spPr>
          <p:txBody>
            <a:bodyPr wrap="square" lIns="0" tIns="0" rIns="0" bIns="0" rtlCol="0"/>
            <a:lstStyle/>
            <a:p>
              <a:endParaRPr/>
            </a:p>
          </p:txBody>
        </p:sp>
        <p:sp>
          <p:nvSpPr>
            <p:cNvPr id="14" name="object 14"/>
            <p:cNvSpPr/>
            <p:nvPr/>
          </p:nvSpPr>
          <p:spPr>
            <a:xfrm>
              <a:off x="12500582" y="7199922"/>
              <a:ext cx="24130" cy="24130"/>
            </a:xfrm>
            <a:custGeom>
              <a:avLst/>
              <a:gdLst/>
              <a:ahLst/>
              <a:cxnLst/>
              <a:rect l="l" t="t" r="r" b="b"/>
              <a:pathLst>
                <a:path w="24129" h="24129">
                  <a:moveTo>
                    <a:pt x="23912" y="24030"/>
                  </a:moveTo>
                  <a:lnTo>
                    <a:pt x="0" y="24030"/>
                  </a:lnTo>
                  <a:lnTo>
                    <a:pt x="0" y="0"/>
                  </a:lnTo>
                  <a:lnTo>
                    <a:pt x="23912" y="0"/>
                  </a:lnTo>
                  <a:lnTo>
                    <a:pt x="23912" y="24030"/>
                  </a:lnTo>
                  <a:close/>
                </a:path>
              </a:pathLst>
            </a:custGeom>
            <a:solidFill>
              <a:srgbClr val="3B87C2"/>
            </a:solidFill>
          </p:spPr>
          <p:txBody>
            <a:bodyPr wrap="square" lIns="0" tIns="0" rIns="0" bIns="0" rtlCol="0"/>
            <a:lstStyle/>
            <a:p>
              <a:endParaRPr/>
            </a:p>
          </p:txBody>
        </p:sp>
      </p:grpSp>
      <p:sp>
        <p:nvSpPr>
          <p:cNvPr id="15" name="object 15"/>
          <p:cNvSpPr txBox="1"/>
          <p:nvPr/>
        </p:nvSpPr>
        <p:spPr>
          <a:xfrm>
            <a:off x="12228538" y="7491675"/>
            <a:ext cx="454025" cy="224790"/>
          </a:xfrm>
          <a:prstGeom prst="rect">
            <a:avLst/>
          </a:prstGeom>
        </p:spPr>
        <p:txBody>
          <a:bodyPr vert="horz" wrap="square" lIns="0" tIns="13335" rIns="0" bIns="0" rtlCol="0">
            <a:spAutoFit/>
          </a:bodyPr>
          <a:lstStyle/>
          <a:p>
            <a:pPr marL="12700">
              <a:lnSpc>
                <a:spcPct val="100000"/>
              </a:lnSpc>
              <a:spcBef>
                <a:spcPts val="105"/>
              </a:spcBef>
            </a:pPr>
            <a:r>
              <a:rPr sz="1300" b="1" spc="-10" dirty="0">
                <a:solidFill>
                  <a:srgbClr val="737373"/>
                </a:solidFill>
                <a:latin typeface="Roboto"/>
                <a:cs typeface="Roboto"/>
              </a:rPr>
              <a:t>Brasil</a:t>
            </a:r>
            <a:endParaRPr sz="1300">
              <a:latin typeface="Roboto"/>
              <a:cs typeface="Roboto"/>
            </a:endParaRPr>
          </a:p>
        </p:txBody>
      </p:sp>
      <p:grpSp>
        <p:nvGrpSpPr>
          <p:cNvPr id="16" name="object 16"/>
          <p:cNvGrpSpPr/>
          <p:nvPr/>
        </p:nvGrpSpPr>
        <p:grpSpPr>
          <a:xfrm>
            <a:off x="11647059" y="8053261"/>
            <a:ext cx="1568450" cy="1568450"/>
            <a:chOff x="11647059" y="8053261"/>
            <a:chExt cx="1568450" cy="1568450"/>
          </a:xfrm>
        </p:grpSpPr>
        <p:pic>
          <p:nvPicPr>
            <p:cNvPr id="17" name="object 17"/>
            <p:cNvPicPr/>
            <p:nvPr/>
          </p:nvPicPr>
          <p:blipFill>
            <a:blip r:embed="rId3" cstate="print"/>
            <a:stretch>
              <a:fillRect/>
            </a:stretch>
          </p:blipFill>
          <p:spPr>
            <a:xfrm>
              <a:off x="11647059" y="8053261"/>
              <a:ext cx="1568395" cy="1568395"/>
            </a:xfrm>
            <a:prstGeom prst="rect">
              <a:avLst/>
            </a:prstGeom>
          </p:spPr>
        </p:pic>
        <p:sp>
          <p:nvSpPr>
            <p:cNvPr id="18" name="object 18"/>
            <p:cNvSpPr/>
            <p:nvPr/>
          </p:nvSpPr>
          <p:spPr>
            <a:xfrm>
              <a:off x="11808004" y="8145147"/>
              <a:ext cx="1343025" cy="1343025"/>
            </a:xfrm>
            <a:custGeom>
              <a:avLst/>
              <a:gdLst/>
              <a:ahLst/>
              <a:cxnLst/>
              <a:rect l="l" t="t" r="r" b="b"/>
              <a:pathLst>
                <a:path w="1343025" h="1343025">
                  <a:moveTo>
                    <a:pt x="671485" y="1342951"/>
                  </a:moveTo>
                  <a:lnTo>
                    <a:pt x="623521" y="1341265"/>
                  </a:lnTo>
                  <a:lnTo>
                    <a:pt x="576477" y="1336283"/>
                  </a:lnTo>
                  <a:lnTo>
                    <a:pt x="530457" y="1328118"/>
                  </a:lnTo>
                  <a:lnTo>
                    <a:pt x="485574" y="1316885"/>
                  </a:lnTo>
                  <a:lnTo>
                    <a:pt x="441941" y="1302696"/>
                  </a:lnTo>
                  <a:lnTo>
                    <a:pt x="399674" y="1285665"/>
                  </a:lnTo>
                  <a:lnTo>
                    <a:pt x="358884" y="1265907"/>
                  </a:lnTo>
                  <a:lnTo>
                    <a:pt x="319686" y="1243534"/>
                  </a:lnTo>
                  <a:lnTo>
                    <a:pt x="282194" y="1218660"/>
                  </a:lnTo>
                  <a:lnTo>
                    <a:pt x="246521" y="1191399"/>
                  </a:lnTo>
                  <a:lnTo>
                    <a:pt x="212780" y="1161865"/>
                  </a:lnTo>
                  <a:lnTo>
                    <a:pt x="181086" y="1130170"/>
                  </a:lnTo>
                  <a:lnTo>
                    <a:pt x="151551" y="1096430"/>
                  </a:lnTo>
                  <a:lnTo>
                    <a:pt x="124290" y="1060756"/>
                  </a:lnTo>
                  <a:lnTo>
                    <a:pt x="99416" y="1023264"/>
                  </a:lnTo>
                  <a:lnTo>
                    <a:pt x="77043" y="984066"/>
                  </a:lnTo>
                  <a:lnTo>
                    <a:pt x="57285" y="943277"/>
                  </a:lnTo>
                  <a:lnTo>
                    <a:pt x="40254" y="901009"/>
                  </a:lnTo>
                  <a:lnTo>
                    <a:pt x="26065" y="857377"/>
                  </a:lnTo>
                  <a:lnTo>
                    <a:pt x="14832" y="812494"/>
                  </a:lnTo>
                  <a:lnTo>
                    <a:pt x="6667" y="766474"/>
                  </a:lnTo>
                  <a:lnTo>
                    <a:pt x="1685" y="719430"/>
                  </a:lnTo>
                  <a:lnTo>
                    <a:pt x="0" y="671466"/>
                  </a:lnTo>
                  <a:lnTo>
                    <a:pt x="1685" y="623522"/>
                  </a:lnTo>
                  <a:lnTo>
                    <a:pt x="6667" y="576477"/>
                  </a:lnTo>
                  <a:lnTo>
                    <a:pt x="14832" y="530457"/>
                  </a:lnTo>
                  <a:lnTo>
                    <a:pt x="26065" y="485574"/>
                  </a:lnTo>
                  <a:lnTo>
                    <a:pt x="40254" y="441942"/>
                  </a:lnTo>
                  <a:lnTo>
                    <a:pt x="57285" y="399674"/>
                  </a:lnTo>
                  <a:lnTo>
                    <a:pt x="77043" y="358884"/>
                  </a:lnTo>
                  <a:lnTo>
                    <a:pt x="99416" y="319687"/>
                  </a:lnTo>
                  <a:lnTo>
                    <a:pt x="124290" y="282194"/>
                  </a:lnTo>
                  <a:lnTo>
                    <a:pt x="151551" y="246521"/>
                  </a:lnTo>
                  <a:lnTo>
                    <a:pt x="181086" y="212780"/>
                  </a:lnTo>
                  <a:lnTo>
                    <a:pt x="212780" y="181086"/>
                  </a:lnTo>
                  <a:lnTo>
                    <a:pt x="246521" y="151551"/>
                  </a:lnTo>
                  <a:lnTo>
                    <a:pt x="282194" y="124291"/>
                  </a:lnTo>
                  <a:lnTo>
                    <a:pt x="319686" y="99417"/>
                  </a:lnTo>
                  <a:lnTo>
                    <a:pt x="358884" y="77044"/>
                  </a:lnTo>
                  <a:lnTo>
                    <a:pt x="399674" y="57285"/>
                  </a:lnTo>
                  <a:lnTo>
                    <a:pt x="441941" y="40255"/>
                  </a:lnTo>
                  <a:lnTo>
                    <a:pt x="485574" y="26066"/>
                  </a:lnTo>
                  <a:lnTo>
                    <a:pt x="530457" y="14832"/>
                  </a:lnTo>
                  <a:lnTo>
                    <a:pt x="576477" y="6668"/>
                  </a:lnTo>
                  <a:lnTo>
                    <a:pt x="623521" y="1685"/>
                  </a:lnTo>
                  <a:lnTo>
                    <a:pt x="671475" y="0"/>
                  </a:lnTo>
                  <a:lnTo>
                    <a:pt x="719429" y="1685"/>
                  </a:lnTo>
                  <a:lnTo>
                    <a:pt x="766473" y="6668"/>
                  </a:lnTo>
                  <a:lnTo>
                    <a:pt x="812494" y="14832"/>
                  </a:lnTo>
                  <a:lnTo>
                    <a:pt x="857377" y="26066"/>
                  </a:lnTo>
                  <a:lnTo>
                    <a:pt x="901009" y="40255"/>
                  </a:lnTo>
                  <a:lnTo>
                    <a:pt x="943276" y="57285"/>
                  </a:lnTo>
                  <a:lnTo>
                    <a:pt x="984066" y="77044"/>
                  </a:lnTo>
                  <a:lnTo>
                    <a:pt x="1023264" y="99417"/>
                  </a:lnTo>
                  <a:lnTo>
                    <a:pt x="1060756" y="124291"/>
                  </a:lnTo>
                  <a:lnTo>
                    <a:pt x="1096429" y="151551"/>
                  </a:lnTo>
                  <a:lnTo>
                    <a:pt x="1130170" y="181086"/>
                  </a:lnTo>
                  <a:lnTo>
                    <a:pt x="1161864" y="212780"/>
                  </a:lnTo>
                  <a:lnTo>
                    <a:pt x="1191399" y="246521"/>
                  </a:lnTo>
                  <a:lnTo>
                    <a:pt x="1218660" y="282194"/>
                  </a:lnTo>
                  <a:lnTo>
                    <a:pt x="1243533" y="319687"/>
                  </a:lnTo>
                  <a:lnTo>
                    <a:pt x="1265906" y="358884"/>
                  </a:lnTo>
                  <a:lnTo>
                    <a:pt x="1285665" y="399674"/>
                  </a:lnTo>
                  <a:lnTo>
                    <a:pt x="1302695" y="441942"/>
                  </a:lnTo>
                  <a:lnTo>
                    <a:pt x="1316884" y="485574"/>
                  </a:lnTo>
                  <a:lnTo>
                    <a:pt x="1328118" y="530457"/>
                  </a:lnTo>
                  <a:lnTo>
                    <a:pt x="1336282" y="576477"/>
                  </a:lnTo>
                  <a:lnTo>
                    <a:pt x="1341265" y="623522"/>
                  </a:lnTo>
                  <a:lnTo>
                    <a:pt x="1342950" y="671476"/>
                  </a:lnTo>
                  <a:lnTo>
                    <a:pt x="1341265" y="719430"/>
                  </a:lnTo>
                  <a:lnTo>
                    <a:pt x="1336282" y="766474"/>
                  </a:lnTo>
                  <a:lnTo>
                    <a:pt x="1328118" y="812494"/>
                  </a:lnTo>
                  <a:lnTo>
                    <a:pt x="1316884" y="857377"/>
                  </a:lnTo>
                  <a:lnTo>
                    <a:pt x="1302695" y="901009"/>
                  </a:lnTo>
                  <a:lnTo>
                    <a:pt x="1285665" y="943277"/>
                  </a:lnTo>
                  <a:lnTo>
                    <a:pt x="1265906" y="984066"/>
                  </a:lnTo>
                  <a:lnTo>
                    <a:pt x="1243533" y="1023264"/>
                  </a:lnTo>
                  <a:lnTo>
                    <a:pt x="1218660" y="1060756"/>
                  </a:lnTo>
                  <a:lnTo>
                    <a:pt x="1191399" y="1096430"/>
                  </a:lnTo>
                  <a:lnTo>
                    <a:pt x="1161864" y="1130170"/>
                  </a:lnTo>
                  <a:lnTo>
                    <a:pt x="1130170" y="1161865"/>
                  </a:lnTo>
                  <a:lnTo>
                    <a:pt x="1096429" y="1191399"/>
                  </a:lnTo>
                  <a:lnTo>
                    <a:pt x="1060756" y="1218660"/>
                  </a:lnTo>
                  <a:lnTo>
                    <a:pt x="1023264" y="1243534"/>
                  </a:lnTo>
                  <a:lnTo>
                    <a:pt x="984066" y="1265907"/>
                  </a:lnTo>
                  <a:lnTo>
                    <a:pt x="943276" y="1285665"/>
                  </a:lnTo>
                  <a:lnTo>
                    <a:pt x="901009" y="1302696"/>
                  </a:lnTo>
                  <a:lnTo>
                    <a:pt x="857377" y="1316885"/>
                  </a:lnTo>
                  <a:lnTo>
                    <a:pt x="812494" y="1328118"/>
                  </a:lnTo>
                  <a:lnTo>
                    <a:pt x="766473" y="1336283"/>
                  </a:lnTo>
                  <a:lnTo>
                    <a:pt x="719429" y="1341265"/>
                  </a:lnTo>
                  <a:lnTo>
                    <a:pt x="671485" y="1342951"/>
                  </a:lnTo>
                  <a:close/>
                </a:path>
              </a:pathLst>
            </a:custGeom>
            <a:solidFill>
              <a:srgbClr val="FFFFFF"/>
            </a:solidFill>
          </p:spPr>
          <p:txBody>
            <a:bodyPr wrap="square" lIns="0" tIns="0" rIns="0" bIns="0" rtlCol="0"/>
            <a:lstStyle/>
            <a:p>
              <a:endParaRPr/>
            </a:p>
          </p:txBody>
        </p:sp>
        <p:sp>
          <p:nvSpPr>
            <p:cNvPr id="19" name="object 19"/>
            <p:cNvSpPr/>
            <p:nvPr/>
          </p:nvSpPr>
          <p:spPr>
            <a:xfrm>
              <a:off x="12063428" y="8439434"/>
              <a:ext cx="837565" cy="601345"/>
            </a:xfrm>
            <a:custGeom>
              <a:avLst/>
              <a:gdLst/>
              <a:ahLst/>
              <a:cxnLst/>
              <a:rect l="l" t="t" r="r" b="b"/>
              <a:pathLst>
                <a:path w="837565" h="601345">
                  <a:moveTo>
                    <a:pt x="744234" y="601199"/>
                  </a:moveTo>
                  <a:lnTo>
                    <a:pt x="93029" y="601199"/>
                  </a:lnTo>
                  <a:lnTo>
                    <a:pt x="56819" y="593930"/>
                  </a:lnTo>
                  <a:lnTo>
                    <a:pt x="27248" y="574107"/>
                  </a:lnTo>
                  <a:lnTo>
                    <a:pt x="7311" y="544708"/>
                  </a:lnTo>
                  <a:lnTo>
                    <a:pt x="0" y="508707"/>
                  </a:lnTo>
                  <a:lnTo>
                    <a:pt x="0" y="92492"/>
                  </a:lnTo>
                  <a:lnTo>
                    <a:pt x="1038" y="78630"/>
                  </a:lnTo>
                  <a:lnTo>
                    <a:pt x="4052" y="65412"/>
                  </a:lnTo>
                  <a:lnTo>
                    <a:pt x="8889" y="52987"/>
                  </a:lnTo>
                  <a:lnTo>
                    <a:pt x="15396" y="41505"/>
                  </a:lnTo>
                  <a:lnTo>
                    <a:pt x="78888" y="41598"/>
                  </a:lnTo>
                  <a:lnTo>
                    <a:pt x="78981" y="1040"/>
                  </a:lnTo>
                  <a:lnTo>
                    <a:pt x="88261" y="0"/>
                  </a:lnTo>
                  <a:lnTo>
                    <a:pt x="744234" y="0"/>
                  </a:lnTo>
                  <a:lnTo>
                    <a:pt x="780444" y="7268"/>
                  </a:lnTo>
                  <a:lnTo>
                    <a:pt x="810014" y="27091"/>
                  </a:lnTo>
                  <a:lnTo>
                    <a:pt x="829952" y="56491"/>
                  </a:lnTo>
                  <a:lnTo>
                    <a:pt x="837263" y="92492"/>
                  </a:lnTo>
                  <a:lnTo>
                    <a:pt x="837263" y="508707"/>
                  </a:lnTo>
                  <a:lnTo>
                    <a:pt x="829952" y="544708"/>
                  </a:lnTo>
                  <a:lnTo>
                    <a:pt x="810014" y="574107"/>
                  </a:lnTo>
                  <a:lnTo>
                    <a:pt x="780444" y="593930"/>
                  </a:lnTo>
                  <a:lnTo>
                    <a:pt x="744234" y="601199"/>
                  </a:lnTo>
                  <a:close/>
                </a:path>
              </a:pathLst>
            </a:custGeom>
            <a:solidFill>
              <a:srgbClr val="00247D"/>
            </a:solidFill>
          </p:spPr>
          <p:txBody>
            <a:bodyPr wrap="square" lIns="0" tIns="0" rIns="0" bIns="0" rtlCol="0"/>
            <a:lstStyle/>
            <a:p>
              <a:endParaRPr/>
            </a:p>
          </p:txBody>
        </p:sp>
        <p:sp>
          <p:nvSpPr>
            <p:cNvPr id="20" name="object 20"/>
            <p:cNvSpPr/>
            <p:nvPr/>
          </p:nvSpPr>
          <p:spPr>
            <a:xfrm>
              <a:off x="12208879" y="8480986"/>
              <a:ext cx="662940" cy="497840"/>
            </a:xfrm>
            <a:custGeom>
              <a:avLst/>
              <a:gdLst/>
              <a:ahLst/>
              <a:cxnLst/>
              <a:rect l="l" t="t" r="r" b="b"/>
              <a:pathLst>
                <a:path w="662940" h="497840">
                  <a:moveTo>
                    <a:pt x="78098" y="382663"/>
                  </a:moveTo>
                  <a:lnTo>
                    <a:pt x="49654" y="382663"/>
                  </a:lnTo>
                  <a:lnTo>
                    <a:pt x="63864" y="346845"/>
                  </a:lnTo>
                  <a:lnTo>
                    <a:pt x="78098" y="382663"/>
                  </a:lnTo>
                  <a:close/>
                </a:path>
                <a:path w="662940" h="497840">
                  <a:moveTo>
                    <a:pt x="35444" y="470669"/>
                  </a:moveTo>
                  <a:lnTo>
                    <a:pt x="38258" y="432285"/>
                  </a:lnTo>
                  <a:lnTo>
                    <a:pt x="0" y="426481"/>
                  </a:lnTo>
                  <a:lnTo>
                    <a:pt x="31932" y="404746"/>
                  </a:lnTo>
                  <a:lnTo>
                    <a:pt x="12651" y="371379"/>
                  </a:lnTo>
                  <a:lnTo>
                    <a:pt x="49654" y="382663"/>
                  </a:lnTo>
                  <a:lnTo>
                    <a:pt x="108572" y="382663"/>
                  </a:lnTo>
                  <a:lnTo>
                    <a:pt x="95796" y="404746"/>
                  </a:lnTo>
                  <a:lnTo>
                    <a:pt x="127752" y="426481"/>
                  </a:lnTo>
                  <a:lnTo>
                    <a:pt x="89494" y="432285"/>
                  </a:lnTo>
                  <a:lnTo>
                    <a:pt x="90394" y="444563"/>
                  </a:lnTo>
                  <a:lnTo>
                    <a:pt x="63864" y="444563"/>
                  </a:lnTo>
                  <a:lnTo>
                    <a:pt x="35444" y="470669"/>
                  </a:lnTo>
                  <a:close/>
                </a:path>
                <a:path w="662940" h="497840">
                  <a:moveTo>
                    <a:pt x="108572" y="382663"/>
                  </a:moveTo>
                  <a:lnTo>
                    <a:pt x="78098" y="382663"/>
                  </a:lnTo>
                  <a:lnTo>
                    <a:pt x="115100" y="371379"/>
                  </a:lnTo>
                  <a:lnTo>
                    <a:pt x="108572" y="382663"/>
                  </a:lnTo>
                  <a:close/>
                </a:path>
                <a:path w="662940" h="497840">
                  <a:moveTo>
                    <a:pt x="92308" y="470669"/>
                  </a:moveTo>
                  <a:lnTo>
                    <a:pt x="63864" y="444563"/>
                  </a:lnTo>
                  <a:lnTo>
                    <a:pt x="90394" y="444563"/>
                  </a:lnTo>
                  <a:lnTo>
                    <a:pt x="92308" y="470669"/>
                  </a:lnTo>
                  <a:close/>
                </a:path>
                <a:path w="662940" h="497840">
                  <a:moveTo>
                    <a:pt x="513917" y="23423"/>
                  </a:moveTo>
                  <a:lnTo>
                    <a:pt x="495287" y="23423"/>
                  </a:lnTo>
                  <a:lnTo>
                    <a:pt x="504590" y="0"/>
                  </a:lnTo>
                  <a:lnTo>
                    <a:pt x="513917" y="23423"/>
                  </a:lnTo>
                  <a:close/>
                </a:path>
                <a:path w="662940" h="497840">
                  <a:moveTo>
                    <a:pt x="486008" y="81000"/>
                  </a:moveTo>
                  <a:lnTo>
                    <a:pt x="487845" y="55888"/>
                  </a:lnTo>
                  <a:lnTo>
                    <a:pt x="462797" y="52096"/>
                  </a:lnTo>
                  <a:lnTo>
                    <a:pt x="483705" y="37875"/>
                  </a:lnTo>
                  <a:lnTo>
                    <a:pt x="471100" y="16047"/>
                  </a:lnTo>
                  <a:lnTo>
                    <a:pt x="495287" y="23423"/>
                  </a:lnTo>
                  <a:lnTo>
                    <a:pt x="533860" y="23423"/>
                  </a:lnTo>
                  <a:lnTo>
                    <a:pt x="525499" y="37875"/>
                  </a:lnTo>
                  <a:lnTo>
                    <a:pt x="546384" y="52096"/>
                  </a:lnTo>
                  <a:lnTo>
                    <a:pt x="521359" y="55888"/>
                  </a:lnTo>
                  <a:lnTo>
                    <a:pt x="521948" y="63935"/>
                  </a:lnTo>
                  <a:lnTo>
                    <a:pt x="504590" y="63935"/>
                  </a:lnTo>
                  <a:lnTo>
                    <a:pt x="486008" y="81000"/>
                  </a:lnTo>
                  <a:close/>
                </a:path>
                <a:path w="662940" h="497840">
                  <a:moveTo>
                    <a:pt x="533860" y="23423"/>
                  </a:moveTo>
                  <a:lnTo>
                    <a:pt x="513917" y="23423"/>
                  </a:lnTo>
                  <a:lnTo>
                    <a:pt x="538127" y="16047"/>
                  </a:lnTo>
                  <a:lnTo>
                    <a:pt x="533860" y="23423"/>
                  </a:lnTo>
                  <a:close/>
                </a:path>
                <a:path w="662940" h="497840">
                  <a:moveTo>
                    <a:pt x="523196" y="81000"/>
                  </a:moveTo>
                  <a:lnTo>
                    <a:pt x="504590" y="63935"/>
                  </a:lnTo>
                  <a:lnTo>
                    <a:pt x="521948" y="63935"/>
                  </a:lnTo>
                  <a:lnTo>
                    <a:pt x="523196" y="81000"/>
                  </a:lnTo>
                  <a:close/>
                </a:path>
                <a:path w="662940" h="497840">
                  <a:moveTo>
                    <a:pt x="420887" y="162161"/>
                  </a:moveTo>
                  <a:lnTo>
                    <a:pt x="402258" y="162161"/>
                  </a:lnTo>
                  <a:lnTo>
                    <a:pt x="411561" y="138738"/>
                  </a:lnTo>
                  <a:lnTo>
                    <a:pt x="420887" y="162161"/>
                  </a:lnTo>
                  <a:close/>
                </a:path>
                <a:path w="662940" h="497840">
                  <a:moveTo>
                    <a:pt x="392978" y="219761"/>
                  </a:moveTo>
                  <a:lnTo>
                    <a:pt x="394816" y="194649"/>
                  </a:lnTo>
                  <a:lnTo>
                    <a:pt x="369768" y="190857"/>
                  </a:lnTo>
                  <a:lnTo>
                    <a:pt x="390676" y="176613"/>
                  </a:lnTo>
                  <a:lnTo>
                    <a:pt x="378071" y="154785"/>
                  </a:lnTo>
                  <a:lnTo>
                    <a:pt x="402258" y="162161"/>
                  </a:lnTo>
                  <a:lnTo>
                    <a:pt x="420887" y="162162"/>
                  </a:lnTo>
                  <a:lnTo>
                    <a:pt x="440831" y="162162"/>
                  </a:lnTo>
                  <a:lnTo>
                    <a:pt x="432469" y="176613"/>
                  </a:lnTo>
                  <a:lnTo>
                    <a:pt x="453354" y="190857"/>
                  </a:lnTo>
                  <a:lnTo>
                    <a:pt x="428330" y="194649"/>
                  </a:lnTo>
                  <a:lnTo>
                    <a:pt x="428917" y="202673"/>
                  </a:lnTo>
                  <a:lnTo>
                    <a:pt x="411561" y="202673"/>
                  </a:lnTo>
                  <a:lnTo>
                    <a:pt x="392978" y="219761"/>
                  </a:lnTo>
                  <a:close/>
                </a:path>
                <a:path w="662940" h="497840">
                  <a:moveTo>
                    <a:pt x="440831" y="162162"/>
                  </a:moveTo>
                  <a:lnTo>
                    <a:pt x="420887" y="162162"/>
                  </a:lnTo>
                  <a:lnTo>
                    <a:pt x="445098" y="154785"/>
                  </a:lnTo>
                  <a:lnTo>
                    <a:pt x="440831" y="162162"/>
                  </a:lnTo>
                  <a:close/>
                </a:path>
                <a:path w="662940" h="497840">
                  <a:moveTo>
                    <a:pt x="430167" y="219761"/>
                  </a:moveTo>
                  <a:lnTo>
                    <a:pt x="411561" y="202673"/>
                  </a:lnTo>
                  <a:lnTo>
                    <a:pt x="428917" y="202673"/>
                  </a:lnTo>
                  <a:lnTo>
                    <a:pt x="430167" y="219761"/>
                  </a:lnTo>
                  <a:close/>
                </a:path>
                <a:path w="662940" h="497840">
                  <a:moveTo>
                    <a:pt x="630203" y="115915"/>
                  </a:moveTo>
                  <a:lnTo>
                    <a:pt x="611574" y="115915"/>
                  </a:lnTo>
                  <a:lnTo>
                    <a:pt x="620877" y="92492"/>
                  </a:lnTo>
                  <a:lnTo>
                    <a:pt x="630203" y="115915"/>
                  </a:lnTo>
                  <a:close/>
                </a:path>
                <a:path w="662940" h="497840">
                  <a:moveTo>
                    <a:pt x="602294" y="173515"/>
                  </a:moveTo>
                  <a:lnTo>
                    <a:pt x="604132" y="148403"/>
                  </a:lnTo>
                  <a:lnTo>
                    <a:pt x="579083" y="144611"/>
                  </a:lnTo>
                  <a:lnTo>
                    <a:pt x="599992" y="130367"/>
                  </a:lnTo>
                  <a:lnTo>
                    <a:pt x="587386" y="108539"/>
                  </a:lnTo>
                  <a:lnTo>
                    <a:pt x="611574" y="115915"/>
                  </a:lnTo>
                  <a:lnTo>
                    <a:pt x="630203" y="115915"/>
                  </a:lnTo>
                  <a:lnTo>
                    <a:pt x="650146" y="115915"/>
                  </a:lnTo>
                  <a:lnTo>
                    <a:pt x="641785" y="130367"/>
                  </a:lnTo>
                  <a:lnTo>
                    <a:pt x="662670" y="144611"/>
                  </a:lnTo>
                  <a:lnTo>
                    <a:pt x="637645" y="148403"/>
                  </a:lnTo>
                  <a:lnTo>
                    <a:pt x="638232" y="156427"/>
                  </a:lnTo>
                  <a:lnTo>
                    <a:pt x="620877" y="156427"/>
                  </a:lnTo>
                  <a:lnTo>
                    <a:pt x="602294" y="173515"/>
                  </a:lnTo>
                  <a:close/>
                </a:path>
                <a:path w="662940" h="497840">
                  <a:moveTo>
                    <a:pt x="650146" y="115915"/>
                  </a:moveTo>
                  <a:lnTo>
                    <a:pt x="630203" y="115915"/>
                  </a:lnTo>
                  <a:lnTo>
                    <a:pt x="654414" y="108539"/>
                  </a:lnTo>
                  <a:lnTo>
                    <a:pt x="650146" y="115915"/>
                  </a:lnTo>
                  <a:close/>
                </a:path>
                <a:path w="662940" h="497840">
                  <a:moveTo>
                    <a:pt x="639483" y="173515"/>
                  </a:moveTo>
                  <a:lnTo>
                    <a:pt x="620877" y="156427"/>
                  </a:lnTo>
                  <a:lnTo>
                    <a:pt x="638232" y="156427"/>
                  </a:lnTo>
                  <a:lnTo>
                    <a:pt x="639483" y="173515"/>
                  </a:lnTo>
                  <a:close/>
                </a:path>
                <a:path w="662940" h="497840">
                  <a:moveTo>
                    <a:pt x="513917" y="439638"/>
                  </a:moveTo>
                  <a:lnTo>
                    <a:pt x="495287" y="439638"/>
                  </a:lnTo>
                  <a:lnTo>
                    <a:pt x="504590" y="416215"/>
                  </a:lnTo>
                  <a:lnTo>
                    <a:pt x="513917" y="439638"/>
                  </a:lnTo>
                  <a:close/>
                </a:path>
                <a:path w="662940" h="497840">
                  <a:moveTo>
                    <a:pt x="486008" y="497238"/>
                  </a:moveTo>
                  <a:lnTo>
                    <a:pt x="487845" y="472126"/>
                  </a:lnTo>
                  <a:lnTo>
                    <a:pt x="462797" y="468334"/>
                  </a:lnTo>
                  <a:lnTo>
                    <a:pt x="483705" y="454090"/>
                  </a:lnTo>
                  <a:lnTo>
                    <a:pt x="471100" y="432262"/>
                  </a:lnTo>
                  <a:lnTo>
                    <a:pt x="495287" y="439638"/>
                  </a:lnTo>
                  <a:lnTo>
                    <a:pt x="533860" y="439638"/>
                  </a:lnTo>
                  <a:lnTo>
                    <a:pt x="525499" y="454090"/>
                  </a:lnTo>
                  <a:lnTo>
                    <a:pt x="546384" y="468334"/>
                  </a:lnTo>
                  <a:lnTo>
                    <a:pt x="521359" y="472126"/>
                  </a:lnTo>
                  <a:lnTo>
                    <a:pt x="521946" y="480150"/>
                  </a:lnTo>
                  <a:lnTo>
                    <a:pt x="504590" y="480150"/>
                  </a:lnTo>
                  <a:lnTo>
                    <a:pt x="486008" y="497238"/>
                  </a:lnTo>
                  <a:close/>
                </a:path>
                <a:path w="662940" h="497840">
                  <a:moveTo>
                    <a:pt x="533860" y="439638"/>
                  </a:moveTo>
                  <a:lnTo>
                    <a:pt x="513917" y="439638"/>
                  </a:lnTo>
                  <a:lnTo>
                    <a:pt x="538127" y="432262"/>
                  </a:lnTo>
                  <a:lnTo>
                    <a:pt x="533860" y="439638"/>
                  </a:lnTo>
                  <a:close/>
                </a:path>
                <a:path w="662940" h="497840">
                  <a:moveTo>
                    <a:pt x="523196" y="497238"/>
                  </a:moveTo>
                  <a:lnTo>
                    <a:pt x="504590" y="480150"/>
                  </a:lnTo>
                  <a:lnTo>
                    <a:pt x="521946" y="480150"/>
                  </a:lnTo>
                  <a:lnTo>
                    <a:pt x="523196" y="497238"/>
                  </a:lnTo>
                  <a:close/>
                </a:path>
                <a:path w="662940" h="497840">
                  <a:moveTo>
                    <a:pt x="561850" y="254631"/>
                  </a:moveTo>
                  <a:lnTo>
                    <a:pt x="564455" y="239485"/>
                  </a:lnTo>
                  <a:lnTo>
                    <a:pt x="553407" y="228779"/>
                  </a:lnTo>
                  <a:lnTo>
                    <a:pt x="568687" y="226582"/>
                  </a:lnTo>
                  <a:lnTo>
                    <a:pt x="575525" y="212801"/>
                  </a:lnTo>
                  <a:lnTo>
                    <a:pt x="582363" y="226582"/>
                  </a:lnTo>
                  <a:lnTo>
                    <a:pt x="597643" y="228779"/>
                  </a:lnTo>
                  <a:lnTo>
                    <a:pt x="586596" y="239485"/>
                  </a:lnTo>
                  <a:lnTo>
                    <a:pt x="587972" y="247486"/>
                  </a:lnTo>
                  <a:lnTo>
                    <a:pt x="575525" y="247486"/>
                  </a:lnTo>
                  <a:lnTo>
                    <a:pt x="561850" y="254631"/>
                  </a:lnTo>
                  <a:close/>
                </a:path>
                <a:path w="662940" h="497840">
                  <a:moveTo>
                    <a:pt x="589200" y="254631"/>
                  </a:moveTo>
                  <a:lnTo>
                    <a:pt x="575525" y="247486"/>
                  </a:lnTo>
                  <a:lnTo>
                    <a:pt x="587972" y="247486"/>
                  </a:lnTo>
                  <a:lnTo>
                    <a:pt x="589200" y="254631"/>
                  </a:lnTo>
                  <a:close/>
                </a:path>
              </a:pathLst>
            </a:custGeom>
            <a:solidFill>
              <a:srgbClr val="FFFFFF"/>
            </a:solidFill>
          </p:spPr>
          <p:txBody>
            <a:bodyPr wrap="square" lIns="0" tIns="0" rIns="0" bIns="0" rtlCol="0"/>
            <a:lstStyle/>
            <a:p>
              <a:endParaRPr/>
            </a:p>
          </p:txBody>
        </p:sp>
        <p:sp>
          <p:nvSpPr>
            <p:cNvPr id="21" name="object 21"/>
            <p:cNvSpPr/>
            <p:nvPr/>
          </p:nvSpPr>
          <p:spPr>
            <a:xfrm>
              <a:off x="12063428" y="8439434"/>
              <a:ext cx="441959" cy="300990"/>
            </a:xfrm>
            <a:custGeom>
              <a:avLst/>
              <a:gdLst/>
              <a:ahLst/>
              <a:cxnLst/>
              <a:rect l="l" t="t" r="r" b="b"/>
              <a:pathLst>
                <a:path w="441959" h="300990">
                  <a:moveTo>
                    <a:pt x="441889" y="41598"/>
                  </a:moveTo>
                  <a:lnTo>
                    <a:pt x="78888" y="41598"/>
                  </a:lnTo>
                  <a:lnTo>
                    <a:pt x="78981" y="1040"/>
                  </a:lnTo>
                  <a:lnTo>
                    <a:pt x="85586" y="0"/>
                  </a:lnTo>
                  <a:lnTo>
                    <a:pt x="441889" y="0"/>
                  </a:lnTo>
                  <a:lnTo>
                    <a:pt x="441889" y="41598"/>
                  </a:lnTo>
                  <a:close/>
                </a:path>
                <a:path w="441959" h="300990">
                  <a:moveTo>
                    <a:pt x="441889" y="300599"/>
                  </a:moveTo>
                  <a:lnTo>
                    <a:pt x="0" y="300599"/>
                  </a:lnTo>
                  <a:lnTo>
                    <a:pt x="0" y="92492"/>
                  </a:lnTo>
                  <a:lnTo>
                    <a:pt x="12442" y="46246"/>
                  </a:lnTo>
                  <a:lnTo>
                    <a:pt x="15396" y="41505"/>
                  </a:lnTo>
                  <a:lnTo>
                    <a:pt x="441889" y="41598"/>
                  </a:lnTo>
                  <a:lnTo>
                    <a:pt x="441889" y="300599"/>
                  </a:lnTo>
                  <a:close/>
                </a:path>
              </a:pathLst>
            </a:custGeom>
            <a:solidFill>
              <a:srgbClr val="00247D"/>
            </a:solidFill>
          </p:spPr>
          <p:txBody>
            <a:bodyPr wrap="square" lIns="0" tIns="0" rIns="0" bIns="0" rtlCol="0"/>
            <a:lstStyle/>
            <a:p>
              <a:endParaRPr/>
            </a:p>
          </p:txBody>
        </p:sp>
        <p:sp>
          <p:nvSpPr>
            <p:cNvPr id="22" name="object 22"/>
            <p:cNvSpPr/>
            <p:nvPr/>
          </p:nvSpPr>
          <p:spPr>
            <a:xfrm>
              <a:off x="12063428" y="8439434"/>
              <a:ext cx="441959" cy="300990"/>
            </a:xfrm>
            <a:custGeom>
              <a:avLst/>
              <a:gdLst/>
              <a:ahLst/>
              <a:cxnLst/>
              <a:rect l="l" t="t" r="r" b="b"/>
              <a:pathLst>
                <a:path w="441959" h="300990">
                  <a:moveTo>
                    <a:pt x="441889" y="300599"/>
                  </a:moveTo>
                  <a:lnTo>
                    <a:pt x="387652" y="300599"/>
                  </a:lnTo>
                  <a:lnTo>
                    <a:pt x="279087" y="225010"/>
                  </a:lnTo>
                  <a:lnTo>
                    <a:pt x="279087" y="300599"/>
                  </a:lnTo>
                  <a:lnTo>
                    <a:pt x="162801" y="300599"/>
                  </a:lnTo>
                  <a:lnTo>
                    <a:pt x="162801" y="241219"/>
                  </a:lnTo>
                  <a:lnTo>
                    <a:pt x="77493" y="300599"/>
                  </a:lnTo>
                  <a:lnTo>
                    <a:pt x="0" y="300599"/>
                  </a:lnTo>
                  <a:lnTo>
                    <a:pt x="0" y="272065"/>
                  </a:lnTo>
                  <a:lnTo>
                    <a:pt x="90354" y="208107"/>
                  </a:lnTo>
                  <a:lnTo>
                    <a:pt x="0" y="208107"/>
                  </a:lnTo>
                  <a:lnTo>
                    <a:pt x="0" y="92492"/>
                  </a:lnTo>
                  <a:lnTo>
                    <a:pt x="88680" y="92492"/>
                  </a:lnTo>
                  <a:lnTo>
                    <a:pt x="15396" y="41505"/>
                  </a:lnTo>
                  <a:lnTo>
                    <a:pt x="17582" y="38222"/>
                  </a:lnTo>
                  <a:lnTo>
                    <a:pt x="22489" y="32164"/>
                  </a:lnTo>
                  <a:lnTo>
                    <a:pt x="109076" y="92492"/>
                  </a:lnTo>
                  <a:lnTo>
                    <a:pt x="149451" y="92492"/>
                  </a:lnTo>
                  <a:lnTo>
                    <a:pt x="40095" y="16417"/>
                  </a:lnTo>
                  <a:lnTo>
                    <a:pt x="48892" y="11003"/>
                  </a:lnTo>
                  <a:lnTo>
                    <a:pt x="58387" y="6595"/>
                  </a:lnTo>
                  <a:lnTo>
                    <a:pt x="68457" y="3254"/>
                  </a:lnTo>
                  <a:lnTo>
                    <a:pt x="78981" y="1040"/>
                  </a:lnTo>
                  <a:lnTo>
                    <a:pt x="162801" y="59403"/>
                  </a:lnTo>
                  <a:lnTo>
                    <a:pt x="162801" y="0"/>
                  </a:lnTo>
                  <a:lnTo>
                    <a:pt x="279087" y="0"/>
                  </a:lnTo>
                  <a:lnTo>
                    <a:pt x="279087" y="75589"/>
                  </a:lnTo>
                  <a:lnTo>
                    <a:pt x="387676" y="0"/>
                  </a:lnTo>
                  <a:lnTo>
                    <a:pt x="441889" y="0"/>
                  </a:lnTo>
                  <a:lnTo>
                    <a:pt x="441889" y="46916"/>
                  </a:lnTo>
                  <a:lnTo>
                    <a:pt x="376442" y="92492"/>
                  </a:lnTo>
                  <a:lnTo>
                    <a:pt x="441889" y="92492"/>
                  </a:lnTo>
                  <a:lnTo>
                    <a:pt x="441889" y="208107"/>
                  </a:lnTo>
                  <a:lnTo>
                    <a:pt x="376419" y="208107"/>
                  </a:lnTo>
                  <a:lnTo>
                    <a:pt x="441889" y="253683"/>
                  </a:lnTo>
                  <a:lnTo>
                    <a:pt x="441889" y="300599"/>
                  </a:lnTo>
                  <a:close/>
                </a:path>
              </a:pathLst>
            </a:custGeom>
            <a:solidFill>
              <a:srgbClr val="EDEDED"/>
            </a:solidFill>
          </p:spPr>
          <p:txBody>
            <a:bodyPr wrap="square" lIns="0" tIns="0" rIns="0" bIns="0" rtlCol="0"/>
            <a:lstStyle/>
            <a:p>
              <a:endParaRPr/>
            </a:p>
          </p:txBody>
        </p:sp>
        <p:sp>
          <p:nvSpPr>
            <p:cNvPr id="23" name="object 23"/>
            <p:cNvSpPr/>
            <p:nvPr/>
          </p:nvSpPr>
          <p:spPr>
            <a:xfrm>
              <a:off x="12063426" y="8439060"/>
              <a:ext cx="441959" cy="301625"/>
            </a:xfrm>
            <a:custGeom>
              <a:avLst/>
              <a:gdLst/>
              <a:ahLst/>
              <a:cxnLst/>
              <a:rect l="l" t="t" r="r" b="b"/>
              <a:pathLst>
                <a:path w="441959" h="301625">
                  <a:moveTo>
                    <a:pt x="149428" y="92875"/>
                  </a:moveTo>
                  <a:lnTo>
                    <a:pt x="40093" y="16802"/>
                  </a:lnTo>
                  <a:lnTo>
                    <a:pt x="33553" y="21310"/>
                  </a:lnTo>
                  <a:lnTo>
                    <a:pt x="27673" y="26581"/>
                  </a:lnTo>
                  <a:lnTo>
                    <a:pt x="22491" y="32550"/>
                  </a:lnTo>
                  <a:lnTo>
                    <a:pt x="109067" y="92875"/>
                  </a:lnTo>
                  <a:lnTo>
                    <a:pt x="149428" y="92875"/>
                  </a:lnTo>
                  <a:close/>
                </a:path>
                <a:path w="441959" h="301625">
                  <a:moveTo>
                    <a:pt x="162801" y="208483"/>
                  </a:moveTo>
                  <a:lnTo>
                    <a:pt x="149707" y="208483"/>
                  </a:lnTo>
                  <a:lnTo>
                    <a:pt x="17068" y="300977"/>
                  </a:lnTo>
                  <a:lnTo>
                    <a:pt x="57238" y="300977"/>
                  </a:lnTo>
                  <a:lnTo>
                    <a:pt x="162801" y="227495"/>
                  </a:lnTo>
                  <a:lnTo>
                    <a:pt x="162801" y="208483"/>
                  </a:lnTo>
                  <a:close/>
                </a:path>
                <a:path w="441959" h="301625">
                  <a:moveTo>
                    <a:pt x="441883" y="268185"/>
                  </a:moveTo>
                  <a:lnTo>
                    <a:pt x="356133" y="208483"/>
                  </a:lnTo>
                  <a:lnTo>
                    <a:pt x="315595" y="208483"/>
                  </a:lnTo>
                  <a:lnTo>
                    <a:pt x="441883" y="296405"/>
                  </a:lnTo>
                  <a:lnTo>
                    <a:pt x="441883" y="268185"/>
                  </a:lnTo>
                  <a:close/>
                </a:path>
                <a:path w="441959" h="301625">
                  <a:moveTo>
                    <a:pt x="441883" y="116497"/>
                  </a:moveTo>
                  <a:lnTo>
                    <a:pt x="255828" y="116497"/>
                  </a:lnTo>
                  <a:lnTo>
                    <a:pt x="255828" y="0"/>
                  </a:lnTo>
                  <a:lnTo>
                    <a:pt x="186055" y="0"/>
                  </a:lnTo>
                  <a:lnTo>
                    <a:pt x="186055" y="116497"/>
                  </a:lnTo>
                  <a:lnTo>
                    <a:pt x="0" y="116497"/>
                  </a:lnTo>
                  <a:lnTo>
                    <a:pt x="0" y="184886"/>
                  </a:lnTo>
                  <a:lnTo>
                    <a:pt x="186055" y="184886"/>
                  </a:lnTo>
                  <a:lnTo>
                    <a:pt x="186055" y="301383"/>
                  </a:lnTo>
                  <a:lnTo>
                    <a:pt x="255828" y="301383"/>
                  </a:lnTo>
                  <a:lnTo>
                    <a:pt x="255828" y="184886"/>
                  </a:lnTo>
                  <a:lnTo>
                    <a:pt x="441883" y="184886"/>
                  </a:lnTo>
                  <a:lnTo>
                    <a:pt x="441883" y="116497"/>
                  </a:lnTo>
                  <a:close/>
                </a:path>
                <a:path w="441959" h="301625">
                  <a:moveTo>
                    <a:pt x="441883" y="381"/>
                  </a:moveTo>
                  <a:lnTo>
                    <a:pt x="407911" y="381"/>
                  </a:lnTo>
                  <a:lnTo>
                    <a:pt x="279082" y="90081"/>
                  </a:lnTo>
                  <a:lnTo>
                    <a:pt x="279082" y="92875"/>
                  </a:lnTo>
                  <a:lnTo>
                    <a:pt x="315620" y="92875"/>
                  </a:lnTo>
                  <a:lnTo>
                    <a:pt x="441883" y="4953"/>
                  </a:lnTo>
                  <a:lnTo>
                    <a:pt x="441883" y="381"/>
                  </a:lnTo>
                  <a:close/>
                </a:path>
              </a:pathLst>
            </a:custGeom>
            <a:solidFill>
              <a:srgbClr val="CF1B2A"/>
            </a:solidFill>
          </p:spPr>
          <p:txBody>
            <a:bodyPr wrap="square" lIns="0" tIns="0" rIns="0" bIns="0" rtlCol="0"/>
            <a:lstStyle/>
            <a:p>
              <a:endParaRPr/>
            </a:p>
          </p:txBody>
        </p:sp>
      </p:grpSp>
      <p:sp>
        <p:nvSpPr>
          <p:cNvPr id="24" name="object 24"/>
          <p:cNvSpPr txBox="1"/>
          <p:nvPr/>
        </p:nvSpPr>
        <p:spPr>
          <a:xfrm>
            <a:off x="12167379" y="9005146"/>
            <a:ext cx="624205" cy="404495"/>
          </a:xfrm>
          <a:prstGeom prst="rect">
            <a:avLst/>
          </a:prstGeom>
        </p:spPr>
        <p:txBody>
          <a:bodyPr vert="horz" wrap="square" lIns="0" tIns="34290" rIns="0" bIns="0" rtlCol="0">
            <a:spAutoFit/>
          </a:bodyPr>
          <a:lstStyle/>
          <a:p>
            <a:pPr marL="12700" marR="5080" indent="62865">
              <a:lnSpc>
                <a:spcPts val="1420"/>
              </a:lnSpc>
              <a:spcBef>
                <a:spcPts val="270"/>
              </a:spcBef>
            </a:pPr>
            <a:r>
              <a:rPr sz="1300" b="1" spc="-10" dirty="0">
                <a:solidFill>
                  <a:srgbClr val="737373"/>
                </a:solidFill>
                <a:latin typeface="Roboto"/>
                <a:cs typeface="Roboto"/>
              </a:rPr>
              <a:t>Nueva Zelanda</a:t>
            </a:r>
            <a:endParaRPr sz="1300">
              <a:latin typeface="Roboto"/>
              <a:cs typeface="Roboto"/>
            </a:endParaRPr>
          </a:p>
        </p:txBody>
      </p:sp>
      <p:grpSp>
        <p:nvGrpSpPr>
          <p:cNvPr id="25" name="object 25"/>
          <p:cNvGrpSpPr/>
          <p:nvPr/>
        </p:nvGrpSpPr>
        <p:grpSpPr>
          <a:xfrm>
            <a:off x="11785358" y="4826062"/>
            <a:ext cx="6019800" cy="3199130"/>
            <a:chOff x="11785358" y="4826062"/>
            <a:chExt cx="6019800" cy="3199130"/>
          </a:xfrm>
        </p:grpSpPr>
        <p:pic>
          <p:nvPicPr>
            <p:cNvPr id="26" name="object 26"/>
            <p:cNvPicPr/>
            <p:nvPr/>
          </p:nvPicPr>
          <p:blipFill>
            <a:blip r:embed="rId4" cstate="print"/>
            <a:stretch>
              <a:fillRect/>
            </a:stretch>
          </p:blipFill>
          <p:spPr>
            <a:xfrm>
              <a:off x="11785358" y="4826062"/>
              <a:ext cx="6019799" cy="1876424"/>
            </a:xfrm>
            <a:prstGeom prst="rect">
              <a:avLst/>
            </a:prstGeom>
          </p:spPr>
        </p:pic>
        <p:sp>
          <p:nvSpPr>
            <p:cNvPr id="27" name="object 27"/>
            <p:cNvSpPr/>
            <p:nvPr/>
          </p:nvSpPr>
          <p:spPr>
            <a:xfrm>
              <a:off x="12087165" y="5089252"/>
              <a:ext cx="5186680" cy="1194435"/>
            </a:xfrm>
            <a:custGeom>
              <a:avLst/>
              <a:gdLst/>
              <a:ahLst/>
              <a:cxnLst/>
              <a:rect l="l" t="t" r="r" b="b"/>
              <a:pathLst>
                <a:path w="5186680" h="1194435">
                  <a:moveTo>
                    <a:pt x="4563504" y="1194426"/>
                  </a:moveTo>
                  <a:lnTo>
                    <a:pt x="623170" y="1194426"/>
                  </a:lnTo>
                  <a:lnTo>
                    <a:pt x="574468" y="1192629"/>
                  </a:lnTo>
                  <a:lnTo>
                    <a:pt x="526792" y="1187327"/>
                  </a:lnTo>
                  <a:lnTo>
                    <a:pt x="480280" y="1178653"/>
                  </a:lnTo>
                  <a:lnTo>
                    <a:pt x="435070" y="1166739"/>
                  </a:lnTo>
                  <a:lnTo>
                    <a:pt x="391300" y="1151719"/>
                  </a:lnTo>
                  <a:lnTo>
                    <a:pt x="349110" y="1133724"/>
                  </a:lnTo>
                  <a:lnTo>
                    <a:pt x="308638" y="1112889"/>
                  </a:lnTo>
                  <a:lnTo>
                    <a:pt x="270022" y="1089344"/>
                  </a:lnTo>
                  <a:lnTo>
                    <a:pt x="233402" y="1063225"/>
                  </a:lnTo>
                  <a:lnTo>
                    <a:pt x="198914" y="1034662"/>
                  </a:lnTo>
                  <a:lnTo>
                    <a:pt x="166699" y="1003789"/>
                  </a:lnTo>
                  <a:lnTo>
                    <a:pt x="136894" y="970739"/>
                  </a:lnTo>
                  <a:lnTo>
                    <a:pt x="109639" y="935644"/>
                  </a:lnTo>
                  <a:lnTo>
                    <a:pt x="85071" y="898637"/>
                  </a:lnTo>
                  <a:lnTo>
                    <a:pt x="63329" y="859852"/>
                  </a:lnTo>
                  <a:lnTo>
                    <a:pt x="44552" y="819420"/>
                  </a:lnTo>
                  <a:lnTo>
                    <a:pt x="28879" y="777474"/>
                  </a:lnTo>
                  <a:lnTo>
                    <a:pt x="16447" y="734148"/>
                  </a:lnTo>
                  <a:lnTo>
                    <a:pt x="7396" y="689574"/>
                  </a:lnTo>
                  <a:lnTo>
                    <a:pt x="1863" y="643884"/>
                  </a:lnTo>
                  <a:lnTo>
                    <a:pt x="0" y="597492"/>
                  </a:lnTo>
                  <a:lnTo>
                    <a:pt x="0" y="596933"/>
                  </a:lnTo>
                  <a:lnTo>
                    <a:pt x="1863" y="550541"/>
                  </a:lnTo>
                  <a:lnTo>
                    <a:pt x="7396" y="504851"/>
                  </a:lnTo>
                  <a:lnTo>
                    <a:pt x="16447" y="460277"/>
                  </a:lnTo>
                  <a:lnTo>
                    <a:pt x="28879" y="416951"/>
                  </a:lnTo>
                  <a:lnTo>
                    <a:pt x="44552" y="375005"/>
                  </a:lnTo>
                  <a:lnTo>
                    <a:pt x="63329" y="334573"/>
                  </a:lnTo>
                  <a:lnTo>
                    <a:pt x="85071" y="295788"/>
                  </a:lnTo>
                  <a:lnTo>
                    <a:pt x="109639" y="258781"/>
                  </a:lnTo>
                  <a:lnTo>
                    <a:pt x="136894" y="223686"/>
                  </a:lnTo>
                  <a:lnTo>
                    <a:pt x="166699" y="190636"/>
                  </a:lnTo>
                  <a:lnTo>
                    <a:pt x="198914" y="159763"/>
                  </a:lnTo>
                  <a:lnTo>
                    <a:pt x="233402" y="131200"/>
                  </a:lnTo>
                  <a:lnTo>
                    <a:pt x="270022" y="105081"/>
                  </a:lnTo>
                  <a:lnTo>
                    <a:pt x="308638" y="81537"/>
                  </a:lnTo>
                  <a:lnTo>
                    <a:pt x="349110" y="60701"/>
                  </a:lnTo>
                  <a:lnTo>
                    <a:pt x="391300" y="42706"/>
                  </a:lnTo>
                  <a:lnTo>
                    <a:pt x="435070" y="27686"/>
                  </a:lnTo>
                  <a:lnTo>
                    <a:pt x="480280" y="15772"/>
                  </a:lnTo>
                  <a:lnTo>
                    <a:pt x="526792" y="7098"/>
                  </a:lnTo>
                  <a:lnTo>
                    <a:pt x="574468" y="1796"/>
                  </a:lnTo>
                  <a:lnTo>
                    <a:pt x="623170" y="0"/>
                  </a:lnTo>
                  <a:lnTo>
                    <a:pt x="4563504" y="0"/>
                  </a:lnTo>
                  <a:lnTo>
                    <a:pt x="4612206" y="1796"/>
                  </a:lnTo>
                  <a:lnTo>
                    <a:pt x="4659882" y="7098"/>
                  </a:lnTo>
                  <a:lnTo>
                    <a:pt x="4706394" y="15772"/>
                  </a:lnTo>
                  <a:lnTo>
                    <a:pt x="4751604" y="27686"/>
                  </a:lnTo>
                  <a:lnTo>
                    <a:pt x="4795374" y="42706"/>
                  </a:lnTo>
                  <a:lnTo>
                    <a:pt x="4837564" y="60701"/>
                  </a:lnTo>
                  <a:lnTo>
                    <a:pt x="4878036" y="81537"/>
                  </a:lnTo>
                  <a:lnTo>
                    <a:pt x="4916652" y="105081"/>
                  </a:lnTo>
                  <a:lnTo>
                    <a:pt x="4953273" y="131200"/>
                  </a:lnTo>
                  <a:lnTo>
                    <a:pt x="4987760" y="159763"/>
                  </a:lnTo>
                  <a:lnTo>
                    <a:pt x="5019975" y="190636"/>
                  </a:lnTo>
                  <a:lnTo>
                    <a:pt x="5049780" y="223686"/>
                  </a:lnTo>
                  <a:lnTo>
                    <a:pt x="5077036" y="258781"/>
                  </a:lnTo>
                  <a:lnTo>
                    <a:pt x="5101604" y="295788"/>
                  </a:lnTo>
                  <a:lnTo>
                    <a:pt x="5123345" y="334573"/>
                  </a:lnTo>
                  <a:lnTo>
                    <a:pt x="5142122" y="375005"/>
                  </a:lnTo>
                  <a:lnTo>
                    <a:pt x="5157796" y="416951"/>
                  </a:lnTo>
                  <a:lnTo>
                    <a:pt x="5170227" y="460277"/>
                  </a:lnTo>
                  <a:lnTo>
                    <a:pt x="5179279" y="504851"/>
                  </a:lnTo>
                  <a:lnTo>
                    <a:pt x="5184811" y="550541"/>
                  </a:lnTo>
                  <a:lnTo>
                    <a:pt x="5186675" y="596933"/>
                  </a:lnTo>
                  <a:lnTo>
                    <a:pt x="5186675" y="597492"/>
                  </a:lnTo>
                  <a:lnTo>
                    <a:pt x="5184811" y="643884"/>
                  </a:lnTo>
                  <a:lnTo>
                    <a:pt x="5179279" y="689574"/>
                  </a:lnTo>
                  <a:lnTo>
                    <a:pt x="5170227" y="734148"/>
                  </a:lnTo>
                  <a:lnTo>
                    <a:pt x="5157796" y="777474"/>
                  </a:lnTo>
                  <a:lnTo>
                    <a:pt x="5142122" y="819420"/>
                  </a:lnTo>
                  <a:lnTo>
                    <a:pt x="5123345" y="859852"/>
                  </a:lnTo>
                  <a:lnTo>
                    <a:pt x="5101604" y="898637"/>
                  </a:lnTo>
                  <a:lnTo>
                    <a:pt x="5077036" y="935644"/>
                  </a:lnTo>
                  <a:lnTo>
                    <a:pt x="5049780" y="970739"/>
                  </a:lnTo>
                  <a:lnTo>
                    <a:pt x="5019975" y="1003789"/>
                  </a:lnTo>
                  <a:lnTo>
                    <a:pt x="4987760" y="1034662"/>
                  </a:lnTo>
                  <a:lnTo>
                    <a:pt x="4953273" y="1063225"/>
                  </a:lnTo>
                  <a:lnTo>
                    <a:pt x="4916652" y="1089344"/>
                  </a:lnTo>
                  <a:lnTo>
                    <a:pt x="4878036" y="1112889"/>
                  </a:lnTo>
                  <a:lnTo>
                    <a:pt x="4837564" y="1133724"/>
                  </a:lnTo>
                  <a:lnTo>
                    <a:pt x="4795374" y="1151719"/>
                  </a:lnTo>
                  <a:lnTo>
                    <a:pt x="4751604" y="1166739"/>
                  </a:lnTo>
                  <a:lnTo>
                    <a:pt x="4706394" y="1178653"/>
                  </a:lnTo>
                  <a:lnTo>
                    <a:pt x="4659882" y="1187327"/>
                  </a:lnTo>
                  <a:lnTo>
                    <a:pt x="4612206" y="1192629"/>
                  </a:lnTo>
                  <a:lnTo>
                    <a:pt x="4563504" y="1194426"/>
                  </a:lnTo>
                  <a:close/>
                </a:path>
              </a:pathLst>
            </a:custGeom>
            <a:solidFill>
              <a:srgbClr val="FFFFFF"/>
            </a:solidFill>
          </p:spPr>
          <p:txBody>
            <a:bodyPr wrap="square" lIns="0" tIns="0" rIns="0" bIns="0" rtlCol="0"/>
            <a:lstStyle/>
            <a:p>
              <a:endParaRPr/>
            </a:p>
          </p:txBody>
        </p:sp>
        <p:pic>
          <p:nvPicPr>
            <p:cNvPr id="28" name="object 28"/>
            <p:cNvPicPr/>
            <p:nvPr/>
          </p:nvPicPr>
          <p:blipFill>
            <a:blip r:embed="rId5" cstate="print"/>
            <a:stretch>
              <a:fillRect/>
            </a:stretch>
          </p:blipFill>
          <p:spPr>
            <a:xfrm>
              <a:off x="13343698" y="6456731"/>
              <a:ext cx="1568395" cy="1568395"/>
            </a:xfrm>
            <a:prstGeom prst="rect">
              <a:avLst/>
            </a:prstGeom>
          </p:spPr>
        </p:pic>
        <p:sp>
          <p:nvSpPr>
            <p:cNvPr id="29" name="object 29"/>
            <p:cNvSpPr/>
            <p:nvPr/>
          </p:nvSpPr>
          <p:spPr>
            <a:xfrm>
              <a:off x="13458631" y="6570390"/>
              <a:ext cx="1343025" cy="1343025"/>
            </a:xfrm>
            <a:custGeom>
              <a:avLst/>
              <a:gdLst/>
              <a:ahLst/>
              <a:cxnLst/>
              <a:rect l="l" t="t" r="r" b="b"/>
              <a:pathLst>
                <a:path w="1343025" h="1343025">
                  <a:moveTo>
                    <a:pt x="671223" y="1342447"/>
                  </a:moveTo>
                  <a:lnTo>
                    <a:pt x="623287" y="1340762"/>
                  </a:lnTo>
                  <a:lnTo>
                    <a:pt x="576260" y="1335781"/>
                  </a:lnTo>
                  <a:lnTo>
                    <a:pt x="530257" y="1327620"/>
                  </a:lnTo>
                  <a:lnTo>
                    <a:pt x="485391" y="1316390"/>
                  </a:lnTo>
                  <a:lnTo>
                    <a:pt x="441775" y="1302207"/>
                  </a:lnTo>
                  <a:lnTo>
                    <a:pt x="399523" y="1285183"/>
                  </a:lnTo>
                  <a:lnTo>
                    <a:pt x="358749" y="1265432"/>
                  </a:lnTo>
                  <a:lnTo>
                    <a:pt x="319566" y="1243067"/>
                  </a:lnTo>
                  <a:lnTo>
                    <a:pt x="282088" y="1218203"/>
                  </a:lnTo>
                  <a:lnTo>
                    <a:pt x="246428" y="1190952"/>
                  </a:lnTo>
                  <a:lnTo>
                    <a:pt x="212700" y="1161429"/>
                  </a:lnTo>
                  <a:lnTo>
                    <a:pt x="181018" y="1129746"/>
                  </a:lnTo>
                  <a:lnTo>
                    <a:pt x="151494" y="1096018"/>
                  </a:lnTo>
                  <a:lnTo>
                    <a:pt x="124243" y="1060358"/>
                  </a:lnTo>
                  <a:lnTo>
                    <a:pt x="99379" y="1022880"/>
                  </a:lnTo>
                  <a:lnTo>
                    <a:pt x="77014" y="983697"/>
                  </a:lnTo>
                  <a:lnTo>
                    <a:pt x="57263" y="942923"/>
                  </a:lnTo>
                  <a:lnTo>
                    <a:pt x="40239" y="900671"/>
                  </a:lnTo>
                  <a:lnTo>
                    <a:pt x="26056" y="857055"/>
                  </a:lnTo>
                  <a:lnTo>
                    <a:pt x="14826" y="812189"/>
                  </a:lnTo>
                  <a:lnTo>
                    <a:pt x="6665" y="766186"/>
                  </a:lnTo>
                  <a:lnTo>
                    <a:pt x="1684" y="719159"/>
                  </a:lnTo>
                  <a:lnTo>
                    <a:pt x="0" y="671219"/>
                  </a:lnTo>
                  <a:lnTo>
                    <a:pt x="1684" y="623287"/>
                  </a:lnTo>
                  <a:lnTo>
                    <a:pt x="6665" y="576261"/>
                  </a:lnTo>
                  <a:lnTo>
                    <a:pt x="14826" y="530258"/>
                  </a:lnTo>
                  <a:lnTo>
                    <a:pt x="26056" y="485392"/>
                  </a:lnTo>
                  <a:lnTo>
                    <a:pt x="40239" y="441776"/>
                  </a:lnTo>
                  <a:lnTo>
                    <a:pt x="57263" y="399524"/>
                  </a:lnTo>
                  <a:lnTo>
                    <a:pt x="77014" y="358750"/>
                  </a:lnTo>
                  <a:lnTo>
                    <a:pt x="99379" y="319567"/>
                  </a:lnTo>
                  <a:lnTo>
                    <a:pt x="124243" y="282089"/>
                  </a:lnTo>
                  <a:lnTo>
                    <a:pt x="151494" y="246429"/>
                  </a:lnTo>
                  <a:lnTo>
                    <a:pt x="181018" y="212701"/>
                  </a:lnTo>
                  <a:lnTo>
                    <a:pt x="212700" y="181018"/>
                  </a:lnTo>
                  <a:lnTo>
                    <a:pt x="246428" y="151495"/>
                  </a:lnTo>
                  <a:lnTo>
                    <a:pt x="282088" y="124244"/>
                  </a:lnTo>
                  <a:lnTo>
                    <a:pt x="319566" y="99380"/>
                  </a:lnTo>
                  <a:lnTo>
                    <a:pt x="358749" y="77015"/>
                  </a:lnTo>
                  <a:lnTo>
                    <a:pt x="399523" y="57264"/>
                  </a:lnTo>
                  <a:lnTo>
                    <a:pt x="441775" y="40240"/>
                  </a:lnTo>
                  <a:lnTo>
                    <a:pt x="485391" y="26056"/>
                  </a:lnTo>
                  <a:lnTo>
                    <a:pt x="530257" y="14827"/>
                  </a:lnTo>
                  <a:lnTo>
                    <a:pt x="576260" y="6665"/>
                  </a:lnTo>
                  <a:lnTo>
                    <a:pt x="623287" y="1685"/>
                  </a:lnTo>
                  <a:lnTo>
                    <a:pt x="671223" y="0"/>
                  </a:lnTo>
                  <a:lnTo>
                    <a:pt x="719159" y="1685"/>
                  </a:lnTo>
                  <a:lnTo>
                    <a:pt x="766185" y="6665"/>
                  </a:lnTo>
                  <a:lnTo>
                    <a:pt x="812189" y="14827"/>
                  </a:lnTo>
                  <a:lnTo>
                    <a:pt x="857055" y="26056"/>
                  </a:lnTo>
                  <a:lnTo>
                    <a:pt x="900671" y="40240"/>
                  </a:lnTo>
                  <a:lnTo>
                    <a:pt x="942923" y="57264"/>
                  </a:lnTo>
                  <a:lnTo>
                    <a:pt x="983697" y="77015"/>
                  </a:lnTo>
                  <a:lnTo>
                    <a:pt x="1022880" y="99380"/>
                  </a:lnTo>
                  <a:lnTo>
                    <a:pt x="1060358" y="124244"/>
                  </a:lnTo>
                  <a:lnTo>
                    <a:pt x="1096018" y="151495"/>
                  </a:lnTo>
                  <a:lnTo>
                    <a:pt x="1129746" y="181018"/>
                  </a:lnTo>
                  <a:lnTo>
                    <a:pt x="1161428" y="212701"/>
                  </a:lnTo>
                  <a:lnTo>
                    <a:pt x="1190952" y="246429"/>
                  </a:lnTo>
                  <a:lnTo>
                    <a:pt x="1218202" y="282089"/>
                  </a:lnTo>
                  <a:lnTo>
                    <a:pt x="1243067" y="319567"/>
                  </a:lnTo>
                  <a:lnTo>
                    <a:pt x="1265431" y="358750"/>
                  </a:lnTo>
                  <a:lnTo>
                    <a:pt x="1285183" y="399524"/>
                  </a:lnTo>
                  <a:lnTo>
                    <a:pt x="1302207" y="441776"/>
                  </a:lnTo>
                  <a:lnTo>
                    <a:pt x="1316390" y="485392"/>
                  </a:lnTo>
                  <a:lnTo>
                    <a:pt x="1327620" y="530258"/>
                  </a:lnTo>
                  <a:lnTo>
                    <a:pt x="1335781" y="576261"/>
                  </a:lnTo>
                  <a:lnTo>
                    <a:pt x="1340762" y="623287"/>
                  </a:lnTo>
                  <a:lnTo>
                    <a:pt x="1342446" y="671227"/>
                  </a:lnTo>
                  <a:lnTo>
                    <a:pt x="1340762" y="719159"/>
                  </a:lnTo>
                  <a:lnTo>
                    <a:pt x="1335781" y="766186"/>
                  </a:lnTo>
                  <a:lnTo>
                    <a:pt x="1327620" y="812189"/>
                  </a:lnTo>
                  <a:lnTo>
                    <a:pt x="1316390" y="857055"/>
                  </a:lnTo>
                  <a:lnTo>
                    <a:pt x="1302207" y="900671"/>
                  </a:lnTo>
                  <a:lnTo>
                    <a:pt x="1285183" y="942923"/>
                  </a:lnTo>
                  <a:lnTo>
                    <a:pt x="1265431" y="983697"/>
                  </a:lnTo>
                  <a:lnTo>
                    <a:pt x="1243067" y="1022880"/>
                  </a:lnTo>
                  <a:lnTo>
                    <a:pt x="1218202" y="1060358"/>
                  </a:lnTo>
                  <a:lnTo>
                    <a:pt x="1190952" y="1096018"/>
                  </a:lnTo>
                  <a:lnTo>
                    <a:pt x="1161428" y="1129746"/>
                  </a:lnTo>
                  <a:lnTo>
                    <a:pt x="1129746" y="1161429"/>
                  </a:lnTo>
                  <a:lnTo>
                    <a:pt x="1096018" y="1190952"/>
                  </a:lnTo>
                  <a:lnTo>
                    <a:pt x="1060358" y="1218203"/>
                  </a:lnTo>
                  <a:lnTo>
                    <a:pt x="1022880" y="1243067"/>
                  </a:lnTo>
                  <a:lnTo>
                    <a:pt x="983697" y="1265432"/>
                  </a:lnTo>
                  <a:lnTo>
                    <a:pt x="942923" y="1285183"/>
                  </a:lnTo>
                  <a:lnTo>
                    <a:pt x="900671" y="1302207"/>
                  </a:lnTo>
                  <a:lnTo>
                    <a:pt x="857055" y="1316390"/>
                  </a:lnTo>
                  <a:lnTo>
                    <a:pt x="812189" y="1327620"/>
                  </a:lnTo>
                  <a:lnTo>
                    <a:pt x="766185" y="1335781"/>
                  </a:lnTo>
                  <a:lnTo>
                    <a:pt x="719159" y="1340762"/>
                  </a:lnTo>
                  <a:lnTo>
                    <a:pt x="671223" y="1342447"/>
                  </a:lnTo>
                  <a:close/>
                </a:path>
              </a:pathLst>
            </a:custGeom>
            <a:solidFill>
              <a:srgbClr val="FFFFFF"/>
            </a:solidFill>
          </p:spPr>
          <p:txBody>
            <a:bodyPr wrap="square" lIns="0" tIns="0" rIns="0" bIns="0" rtlCol="0"/>
            <a:lstStyle/>
            <a:p>
              <a:endParaRPr/>
            </a:p>
          </p:txBody>
        </p:sp>
        <p:sp>
          <p:nvSpPr>
            <p:cNvPr id="30" name="object 30"/>
            <p:cNvSpPr/>
            <p:nvPr/>
          </p:nvSpPr>
          <p:spPr>
            <a:xfrm>
              <a:off x="13696784" y="6828842"/>
              <a:ext cx="861060" cy="624840"/>
            </a:xfrm>
            <a:custGeom>
              <a:avLst/>
              <a:gdLst/>
              <a:ahLst/>
              <a:cxnLst/>
              <a:rect l="l" t="t" r="r" b="b"/>
              <a:pathLst>
                <a:path w="861059" h="624840">
                  <a:moveTo>
                    <a:pt x="765198" y="624713"/>
                  </a:moveTo>
                  <a:lnTo>
                    <a:pt x="95649" y="624713"/>
                  </a:lnTo>
                  <a:lnTo>
                    <a:pt x="58420" y="617159"/>
                  </a:lnTo>
                  <a:lnTo>
                    <a:pt x="28016" y="596562"/>
                  </a:lnTo>
                  <a:lnTo>
                    <a:pt x="7517" y="566012"/>
                  </a:lnTo>
                  <a:lnTo>
                    <a:pt x="0" y="528603"/>
                  </a:lnTo>
                  <a:lnTo>
                    <a:pt x="0" y="96109"/>
                  </a:lnTo>
                  <a:lnTo>
                    <a:pt x="7517" y="58700"/>
                  </a:lnTo>
                  <a:lnTo>
                    <a:pt x="28016" y="28151"/>
                  </a:lnTo>
                  <a:lnTo>
                    <a:pt x="58420" y="7553"/>
                  </a:lnTo>
                  <a:lnTo>
                    <a:pt x="95649" y="0"/>
                  </a:lnTo>
                  <a:lnTo>
                    <a:pt x="765198" y="0"/>
                  </a:lnTo>
                  <a:lnTo>
                    <a:pt x="802428" y="7553"/>
                  </a:lnTo>
                  <a:lnTo>
                    <a:pt x="832832" y="28151"/>
                  </a:lnTo>
                  <a:lnTo>
                    <a:pt x="853331" y="58700"/>
                  </a:lnTo>
                  <a:lnTo>
                    <a:pt x="860848" y="96109"/>
                  </a:lnTo>
                  <a:lnTo>
                    <a:pt x="860848" y="528603"/>
                  </a:lnTo>
                  <a:lnTo>
                    <a:pt x="853331" y="566012"/>
                  </a:lnTo>
                  <a:lnTo>
                    <a:pt x="832832" y="596562"/>
                  </a:lnTo>
                  <a:lnTo>
                    <a:pt x="802428" y="617159"/>
                  </a:lnTo>
                  <a:lnTo>
                    <a:pt x="765198" y="624713"/>
                  </a:lnTo>
                  <a:close/>
                </a:path>
              </a:pathLst>
            </a:custGeom>
            <a:solidFill>
              <a:srgbClr val="74AADA"/>
            </a:solidFill>
          </p:spPr>
          <p:txBody>
            <a:bodyPr wrap="square" lIns="0" tIns="0" rIns="0" bIns="0" rtlCol="0"/>
            <a:lstStyle/>
            <a:p>
              <a:endParaRPr/>
            </a:p>
          </p:txBody>
        </p:sp>
        <p:sp>
          <p:nvSpPr>
            <p:cNvPr id="31" name="object 31"/>
            <p:cNvSpPr/>
            <p:nvPr/>
          </p:nvSpPr>
          <p:spPr>
            <a:xfrm>
              <a:off x="13696784" y="7021061"/>
              <a:ext cx="861060" cy="240665"/>
            </a:xfrm>
            <a:custGeom>
              <a:avLst/>
              <a:gdLst/>
              <a:ahLst/>
              <a:cxnLst/>
              <a:rect l="l" t="t" r="r" b="b"/>
              <a:pathLst>
                <a:path w="861059" h="240665">
                  <a:moveTo>
                    <a:pt x="860848" y="240274"/>
                  </a:moveTo>
                  <a:lnTo>
                    <a:pt x="0" y="240274"/>
                  </a:lnTo>
                  <a:lnTo>
                    <a:pt x="0" y="0"/>
                  </a:lnTo>
                  <a:lnTo>
                    <a:pt x="860848" y="0"/>
                  </a:lnTo>
                  <a:lnTo>
                    <a:pt x="860848" y="240274"/>
                  </a:lnTo>
                  <a:close/>
                </a:path>
              </a:pathLst>
            </a:custGeom>
            <a:solidFill>
              <a:srgbClr val="EDEDED"/>
            </a:solidFill>
          </p:spPr>
          <p:txBody>
            <a:bodyPr wrap="square" lIns="0" tIns="0" rIns="0" bIns="0" rtlCol="0"/>
            <a:lstStyle/>
            <a:p>
              <a:endParaRPr/>
            </a:p>
          </p:txBody>
        </p:sp>
        <p:pic>
          <p:nvPicPr>
            <p:cNvPr id="32" name="object 32"/>
            <p:cNvPicPr/>
            <p:nvPr/>
          </p:nvPicPr>
          <p:blipFill>
            <a:blip r:embed="rId6" cstate="print"/>
            <a:stretch>
              <a:fillRect/>
            </a:stretch>
          </p:blipFill>
          <p:spPr>
            <a:xfrm>
              <a:off x="14007646" y="7021061"/>
              <a:ext cx="239124" cy="240274"/>
            </a:xfrm>
            <a:prstGeom prst="rect">
              <a:avLst/>
            </a:prstGeom>
          </p:spPr>
        </p:pic>
      </p:grpSp>
      <p:sp>
        <p:nvSpPr>
          <p:cNvPr id="33" name="object 33"/>
          <p:cNvSpPr txBox="1"/>
          <p:nvPr/>
        </p:nvSpPr>
        <p:spPr>
          <a:xfrm>
            <a:off x="13732144" y="7488587"/>
            <a:ext cx="756285" cy="224790"/>
          </a:xfrm>
          <a:prstGeom prst="rect">
            <a:avLst/>
          </a:prstGeom>
        </p:spPr>
        <p:txBody>
          <a:bodyPr vert="horz" wrap="square" lIns="0" tIns="13335" rIns="0" bIns="0" rtlCol="0">
            <a:spAutoFit/>
          </a:bodyPr>
          <a:lstStyle/>
          <a:p>
            <a:pPr marL="12700">
              <a:lnSpc>
                <a:spcPct val="100000"/>
              </a:lnSpc>
              <a:spcBef>
                <a:spcPts val="105"/>
              </a:spcBef>
            </a:pPr>
            <a:r>
              <a:rPr sz="1300" b="1" spc="-10" dirty="0">
                <a:solidFill>
                  <a:srgbClr val="737373"/>
                </a:solidFill>
                <a:latin typeface="Roboto"/>
                <a:cs typeface="Roboto"/>
              </a:rPr>
              <a:t>Argentina</a:t>
            </a:r>
            <a:endParaRPr sz="1300">
              <a:latin typeface="Roboto"/>
              <a:cs typeface="Roboto"/>
            </a:endParaRPr>
          </a:p>
        </p:txBody>
      </p:sp>
      <p:grpSp>
        <p:nvGrpSpPr>
          <p:cNvPr id="34" name="object 34"/>
          <p:cNvGrpSpPr/>
          <p:nvPr/>
        </p:nvGrpSpPr>
        <p:grpSpPr>
          <a:xfrm>
            <a:off x="13343698" y="8053261"/>
            <a:ext cx="1568450" cy="1568450"/>
            <a:chOff x="13343698" y="8053261"/>
            <a:chExt cx="1568450" cy="1568450"/>
          </a:xfrm>
        </p:grpSpPr>
        <p:pic>
          <p:nvPicPr>
            <p:cNvPr id="35" name="object 35"/>
            <p:cNvPicPr/>
            <p:nvPr/>
          </p:nvPicPr>
          <p:blipFill>
            <a:blip r:embed="rId5" cstate="print"/>
            <a:stretch>
              <a:fillRect/>
            </a:stretch>
          </p:blipFill>
          <p:spPr>
            <a:xfrm>
              <a:off x="13343698" y="8053261"/>
              <a:ext cx="1568395" cy="1568395"/>
            </a:xfrm>
            <a:prstGeom prst="rect">
              <a:avLst/>
            </a:prstGeom>
          </p:spPr>
        </p:pic>
        <p:sp>
          <p:nvSpPr>
            <p:cNvPr id="36" name="object 36"/>
            <p:cNvSpPr/>
            <p:nvPr/>
          </p:nvSpPr>
          <p:spPr>
            <a:xfrm>
              <a:off x="13458631" y="8166919"/>
              <a:ext cx="1343025" cy="1343025"/>
            </a:xfrm>
            <a:custGeom>
              <a:avLst/>
              <a:gdLst/>
              <a:ahLst/>
              <a:cxnLst/>
              <a:rect l="l" t="t" r="r" b="b"/>
              <a:pathLst>
                <a:path w="1343025" h="1343025">
                  <a:moveTo>
                    <a:pt x="671223" y="1342447"/>
                  </a:moveTo>
                  <a:lnTo>
                    <a:pt x="623287" y="1340762"/>
                  </a:lnTo>
                  <a:lnTo>
                    <a:pt x="576260" y="1335781"/>
                  </a:lnTo>
                  <a:lnTo>
                    <a:pt x="530257" y="1327620"/>
                  </a:lnTo>
                  <a:lnTo>
                    <a:pt x="485391" y="1316390"/>
                  </a:lnTo>
                  <a:lnTo>
                    <a:pt x="441775" y="1302207"/>
                  </a:lnTo>
                  <a:lnTo>
                    <a:pt x="399523" y="1285183"/>
                  </a:lnTo>
                  <a:lnTo>
                    <a:pt x="358749" y="1265432"/>
                  </a:lnTo>
                  <a:lnTo>
                    <a:pt x="319566" y="1243067"/>
                  </a:lnTo>
                  <a:lnTo>
                    <a:pt x="282088" y="1218203"/>
                  </a:lnTo>
                  <a:lnTo>
                    <a:pt x="246428" y="1190952"/>
                  </a:lnTo>
                  <a:lnTo>
                    <a:pt x="212700" y="1161429"/>
                  </a:lnTo>
                  <a:lnTo>
                    <a:pt x="181018" y="1129746"/>
                  </a:lnTo>
                  <a:lnTo>
                    <a:pt x="151494" y="1096018"/>
                  </a:lnTo>
                  <a:lnTo>
                    <a:pt x="124243" y="1060358"/>
                  </a:lnTo>
                  <a:lnTo>
                    <a:pt x="99379" y="1022880"/>
                  </a:lnTo>
                  <a:lnTo>
                    <a:pt x="77014" y="983697"/>
                  </a:lnTo>
                  <a:lnTo>
                    <a:pt x="57263" y="942923"/>
                  </a:lnTo>
                  <a:lnTo>
                    <a:pt x="40239" y="900671"/>
                  </a:lnTo>
                  <a:lnTo>
                    <a:pt x="26056" y="857055"/>
                  </a:lnTo>
                  <a:lnTo>
                    <a:pt x="14826" y="812189"/>
                  </a:lnTo>
                  <a:lnTo>
                    <a:pt x="6665" y="766186"/>
                  </a:lnTo>
                  <a:lnTo>
                    <a:pt x="1684" y="719159"/>
                  </a:lnTo>
                  <a:lnTo>
                    <a:pt x="0" y="671219"/>
                  </a:lnTo>
                  <a:lnTo>
                    <a:pt x="1684" y="623287"/>
                  </a:lnTo>
                  <a:lnTo>
                    <a:pt x="6665" y="576261"/>
                  </a:lnTo>
                  <a:lnTo>
                    <a:pt x="14826" y="530258"/>
                  </a:lnTo>
                  <a:lnTo>
                    <a:pt x="26056" y="485392"/>
                  </a:lnTo>
                  <a:lnTo>
                    <a:pt x="40239" y="441776"/>
                  </a:lnTo>
                  <a:lnTo>
                    <a:pt x="57263" y="399524"/>
                  </a:lnTo>
                  <a:lnTo>
                    <a:pt x="77014" y="358750"/>
                  </a:lnTo>
                  <a:lnTo>
                    <a:pt x="99379" y="319567"/>
                  </a:lnTo>
                  <a:lnTo>
                    <a:pt x="124243" y="282089"/>
                  </a:lnTo>
                  <a:lnTo>
                    <a:pt x="151494" y="246429"/>
                  </a:lnTo>
                  <a:lnTo>
                    <a:pt x="181018" y="212701"/>
                  </a:lnTo>
                  <a:lnTo>
                    <a:pt x="212700" y="181018"/>
                  </a:lnTo>
                  <a:lnTo>
                    <a:pt x="246428" y="151495"/>
                  </a:lnTo>
                  <a:lnTo>
                    <a:pt x="282088" y="124244"/>
                  </a:lnTo>
                  <a:lnTo>
                    <a:pt x="319566" y="99380"/>
                  </a:lnTo>
                  <a:lnTo>
                    <a:pt x="358749" y="77015"/>
                  </a:lnTo>
                  <a:lnTo>
                    <a:pt x="399523" y="57264"/>
                  </a:lnTo>
                  <a:lnTo>
                    <a:pt x="441775" y="40240"/>
                  </a:lnTo>
                  <a:lnTo>
                    <a:pt x="485391" y="26056"/>
                  </a:lnTo>
                  <a:lnTo>
                    <a:pt x="530257" y="14827"/>
                  </a:lnTo>
                  <a:lnTo>
                    <a:pt x="576260" y="6665"/>
                  </a:lnTo>
                  <a:lnTo>
                    <a:pt x="623287" y="1685"/>
                  </a:lnTo>
                  <a:lnTo>
                    <a:pt x="671223" y="0"/>
                  </a:lnTo>
                  <a:lnTo>
                    <a:pt x="719159" y="1685"/>
                  </a:lnTo>
                  <a:lnTo>
                    <a:pt x="766185" y="6665"/>
                  </a:lnTo>
                  <a:lnTo>
                    <a:pt x="812189" y="14827"/>
                  </a:lnTo>
                  <a:lnTo>
                    <a:pt x="857055" y="26056"/>
                  </a:lnTo>
                  <a:lnTo>
                    <a:pt x="900671" y="40240"/>
                  </a:lnTo>
                  <a:lnTo>
                    <a:pt x="942923" y="57264"/>
                  </a:lnTo>
                  <a:lnTo>
                    <a:pt x="983697" y="77015"/>
                  </a:lnTo>
                  <a:lnTo>
                    <a:pt x="1022880" y="99380"/>
                  </a:lnTo>
                  <a:lnTo>
                    <a:pt x="1060358" y="124244"/>
                  </a:lnTo>
                  <a:lnTo>
                    <a:pt x="1096018" y="151495"/>
                  </a:lnTo>
                  <a:lnTo>
                    <a:pt x="1129746" y="181018"/>
                  </a:lnTo>
                  <a:lnTo>
                    <a:pt x="1161428" y="212701"/>
                  </a:lnTo>
                  <a:lnTo>
                    <a:pt x="1190952" y="246429"/>
                  </a:lnTo>
                  <a:lnTo>
                    <a:pt x="1218202" y="282089"/>
                  </a:lnTo>
                  <a:lnTo>
                    <a:pt x="1243067" y="319567"/>
                  </a:lnTo>
                  <a:lnTo>
                    <a:pt x="1265431" y="358750"/>
                  </a:lnTo>
                  <a:lnTo>
                    <a:pt x="1285183" y="399524"/>
                  </a:lnTo>
                  <a:lnTo>
                    <a:pt x="1302207" y="441776"/>
                  </a:lnTo>
                  <a:lnTo>
                    <a:pt x="1316390" y="485392"/>
                  </a:lnTo>
                  <a:lnTo>
                    <a:pt x="1327620" y="530258"/>
                  </a:lnTo>
                  <a:lnTo>
                    <a:pt x="1335781" y="576261"/>
                  </a:lnTo>
                  <a:lnTo>
                    <a:pt x="1340762" y="623287"/>
                  </a:lnTo>
                  <a:lnTo>
                    <a:pt x="1342446" y="671227"/>
                  </a:lnTo>
                  <a:lnTo>
                    <a:pt x="1340762" y="719159"/>
                  </a:lnTo>
                  <a:lnTo>
                    <a:pt x="1335781" y="766186"/>
                  </a:lnTo>
                  <a:lnTo>
                    <a:pt x="1327620" y="812189"/>
                  </a:lnTo>
                  <a:lnTo>
                    <a:pt x="1316390" y="857055"/>
                  </a:lnTo>
                  <a:lnTo>
                    <a:pt x="1302207" y="900671"/>
                  </a:lnTo>
                  <a:lnTo>
                    <a:pt x="1285183" y="942923"/>
                  </a:lnTo>
                  <a:lnTo>
                    <a:pt x="1265431" y="983697"/>
                  </a:lnTo>
                  <a:lnTo>
                    <a:pt x="1243067" y="1022880"/>
                  </a:lnTo>
                  <a:lnTo>
                    <a:pt x="1218202" y="1060358"/>
                  </a:lnTo>
                  <a:lnTo>
                    <a:pt x="1190952" y="1096018"/>
                  </a:lnTo>
                  <a:lnTo>
                    <a:pt x="1161428" y="1129746"/>
                  </a:lnTo>
                  <a:lnTo>
                    <a:pt x="1129746" y="1161429"/>
                  </a:lnTo>
                  <a:lnTo>
                    <a:pt x="1096018" y="1190952"/>
                  </a:lnTo>
                  <a:lnTo>
                    <a:pt x="1060358" y="1218203"/>
                  </a:lnTo>
                  <a:lnTo>
                    <a:pt x="1022880" y="1243067"/>
                  </a:lnTo>
                  <a:lnTo>
                    <a:pt x="983697" y="1265432"/>
                  </a:lnTo>
                  <a:lnTo>
                    <a:pt x="942923" y="1285183"/>
                  </a:lnTo>
                  <a:lnTo>
                    <a:pt x="900671" y="1302207"/>
                  </a:lnTo>
                  <a:lnTo>
                    <a:pt x="857055" y="1316390"/>
                  </a:lnTo>
                  <a:lnTo>
                    <a:pt x="812189" y="1327620"/>
                  </a:lnTo>
                  <a:lnTo>
                    <a:pt x="766185" y="1335781"/>
                  </a:lnTo>
                  <a:lnTo>
                    <a:pt x="719159" y="1340762"/>
                  </a:lnTo>
                  <a:lnTo>
                    <a:pt x="671223" y="1342447"/>
                  </a:lnTo>
                  <a:close/>
                </a:path>
              </a:pathLst>
            </a:custGeom>
            <a:solidFill>
              <a:srgbClr val="FFFFFF"/>
            </a:solidFill>
          </p:spPr>
          <p:txBody>
            <a:bodyPr wrap="square" lIns="0" tIns="0" rIns="0" bIns="0" rtlCol="0"/>
            <a:lstStyle/>
            <a:p>
              <a:endParaRPr/>
            </a:p>
          </p:txBody>
        </p:sp>
        <p:pic>
          <p:nvPicPr>
            <p:cNvPr id="37" name="object 37"/>
            <p:cNvPicPr/>
            <p:nvPr/>
          </p:nvPicPr>
          <p:blipFill>
            <a:blip r:embed="rId7" cstate="print"/>
            <a:stretch>
              <a:fillRect/>
            </a:stretch>
          </p:blipFill>
          <p:spPr>
            <a:xfrm>
              <a:off x="13526445" y="8241142"/>
              <a:ext cx="1285376" cy="860848"/>
            </a:xfrm>
            <a:prstGeom prst="rect">
              <a:avLst/>
            </a:prstGeom>
          </p:spPr>
        </p:pic>
      </p:grpSp>
      <p:sp>
        <p:nvSpPr>
          <p:cNvPr id="38" name="object 38"/>
          <p:cNvSpPr txBox="1"/>
          <p:nvPr/>
        </p:nvSpPr>
        <p:spPr>
          <a:xfrm>
            <a:off x="13700681" y="9085115"/>
            <a:ext cx="824230" cy="224790"/>
          </a:xfrm>
          <a:prstGeom prst="rect">
            <a:avLst/>
          </a:prstGeom>
        </p:spPr>
        <p:txBody>
          <a:bodyPr vert="horz" wrap="square" lIns="0" tIns="13335" rIns="0" bIns="0" rtlCol="0">
            <a:spAutoFit/>
          </a:bodyPr>
          <a:lstStyle/>
          <a:p>
            <a:pPr marL="12700">
              <a:lnSpc>
                <a:spcPct val="100000"/>
              </a:lnSpc>
              <a:spcBef>
                <a:spcPts val="105"/>
              </a:spcBef>
            </a:pPr>
            <a:r>
              <a:rPr sz="1300" b="1" dirty="0">
                <a:solidFill>
                  <a:srgbClr val="737373"/>
                </a:solidFill>
                <a:latin typeface="Roboto"/>
                <a:cs typeface="Roboto"/>
              </a:rPr>
              <a:t>Costa</a:t>
            </a:r>
            <a:r>
              <a:rPr sz="1300" b="1" spc="-20" dirty="0">
                <a:solidFill>
                  <a:srgbClr val="737373"/>
                </a:solidFill>
                <a:latin typeface="Roboto"/>
                <a:cs typeface="Roboto"/>
              </a:rPr>
              <a:t> Rica</a:t>
            </a:r>
            <a:endParaRPr sz="1300">
              <a:latin typeface="Roboto"/>
              <a:cs typeface="Roboto"/>
            </a:endParaRPr>
          </a:p>
        </p:txBody>
      </p:sp>
      <p:grpSp>
        <p:nvGrpSpPr>
          <p:cNvPr id="39" name="object 39"/>
          <p:cNvGrpSpPr/>
          <p:nvPr/>
        </p:nvGrpSpPr>
        <p:grpSpPr>
          <a:xfrm>
            <a:off x="13895620" y="3270041"/>
            <a:ext cx="1568450" cy="1568450"/>
            <a:chOff x="13895620" y="3270041"/>
            <a:chExt cx="1568450" cy="1568450"/>
          </a:xfrm>
        </p:grpSpPr>
        <p:pic>
          <p:nvPicPr>
            <p:cNvPr id="40" name="object 40"/>
            <p:cNvPicPr/>
            <p:nvPr/>
          </p:nvPicPr>
          <p:blipFill>
            <a:blip r:embed="rId5" cstate="print"/>
            <a:stretch>
              <a:fillRect/>
            </a:stretch>
          </p:blipFill>
          <p:spPr>
            <a:xfrm>
              <a:off x="13895620" y="3270041"/>
              <a:ext cx="1568395" cy="1568395"/>
            </a:xfrm>
            <a:prstGeom prst="rect">
              <a:avLst/>
            </a:prstGeom>
          </p:spPr>
        </p:pic>
        <p:sp>
          <p:nvSpPr>
            <p:cNvPr id="41" name="object 41"/>
            <p:cNvSpPr/>
            <p:nvPr/>
          </p:nvSpPr>
          <p:spPr>
            <a:xfrm>
              <a:off x="14010554" y="3383700"/>
              <a:ext cx="1343025" cy="1343025"/>
            </a:xfrm>
            <a:custGeom>
              <a:avLst/>
              <a:gdLst/>
              <a:ahLst/>
              <a:cxnLst/>
              <a:rect l="l" t="t" r="r" b="b"/>
              <a:pathLst>
                <a:path w="1343025" h="1343025">
                  <a:moveTo>
                    <a:pt x="671223" y="1342447"/>
                  </a:moveTo>
                  <a:lnTo>
                    <a:pt x="623287" y="1340761"/>
                  </a:lnTo>
                  <a:lnTo>
                    <a:pt x="576260" y="1335781"/>
                  </a:lnTo>
                  <a:lnTo>
                    <a:pt x="530257" y="1327620"/>
                  </a:lnTo>
                  <a:lnTo>
                    <a:pt x="485391" y="1316390"/>
                  </a:lnTo>
                  <a:lnTo>
                    <a:pt x="441775" y="1302207"/>
                  </a:lnTo>
                  <a:lnTo>
                    <a:pt x="399523" y="1285183"/>
                  </a:lnTo>
                  <a:lnTo>
                    <a:pt x="358749" y="1265431"/>
                  </a:lnTo>
                  <a:lnTo>
                    <a:pt x="319566" y="1243067"/>
                  </a:lnTo>
                  <a:lnTo>
                    <a:pt x="282087" y="1218202"/>
                  </a:lnTo>
                  <a:lnTo>
                    <a:pt x="246428" y="1190952"/>
                  </a:lnTo>
                  <a:lnTo>
                    <a:pt x="212700" y="1161428"/>
                  </a:lnTo>
                  <a:lnTo>
                    <a:pt x="181017" y="1129746"/>
                  </a:lnTo>
                  <a:lnTo>
                    <a:pt x="151494" y="1096018"/>
                  </a:lnTo>
                  <a:lnTo>
                    <a:pt x="124243" y="1060358"/>
                  </a:lnTo>
                  <a:lnTo>
                    <a:pt x="99379" y="1022880"/>
                  </a:lnTo>
                  <a:lnTo>
                    <a:pt x="77014" y="983697"/>
                  </a:lnTo>
                  <a:lnTo>
                    <a:pt x="57263" y="942922"/>
                  </a:lnTo>
                  <a:lnTo>
                    <a:pt x="40239" y="900671"/>
                  </a:lnTo>
                  <a:lnTo>
                    <a:pt x="26055" y="857055"/>
                  </a:lnTo>
                  <a:lnTo>
                    <a:pt x="14826" y="812188"/>
                  </a:lnTo>
                  <a:lnTo>
                    <a:pt x="6664" y="766185"/>
                  </a:lnTo>
                  <a:lnTo>
                    <a:pt x="1684" y="719159"/>
                  </a:lnTo>
                  <a:lnTo>
                    <a:pt x="0" y="671243"/>
                  </a:lnTo>
                  <a:lnTo>
                    <a:pt x="1684" y="623287"/>
                  </a:lnTo>
                  <a:lnTo>
                    <a:pt x="6664" y="576260"/>
                  </a:lnTo>
                  <a:lnTo>
                    <a:pt x="14826" y="530257"/>
                  </a:lnTo>
                  <a:lnTo>
                    <a:pt x="26055" y="485391"/>
                  </a:lnTo>
                  <a:lnTo>
                    <a:pt x="40239" y="441775"/>
                  </a:lnTo>
                  <a:lnTo>
                    <a:pt x="57263" y="399523"/>
                  </a:lnTo>
                  <a:lnTo>
                    <a:pt x="77014" y="358749"/>
                  </a:lnTo>
                  <a:lnTo>
                    <a:pt x="99379" y="319566"/>
                  </a:lnTo>
                  <a:lnTo>
                    <a:pt x="124243" y="282088"/>
                  </a:lnTo>
                  <a:lnTo>
                    <a:pt x="151494" y="246428"/>
                  </a:lnTo>
                  <a:lnTo>
                    <a:pt x="181017" y="212700"/>
                  </a:lnTo>
                  <a:lnTo>
                    <a:pt x="212700" y="181018"/>
                  </a:lnTo>
                  <a:lnTo>
                    <a:pt x="246428" y="151494"/>
                  </a:lnTo>
                  <a:lnTo>
                    <a:pt x="282087" y="124244"/>
                  </a:lnTo>
                  <a:lnTo>
                    <a:pt x="319566" y="99379"/>
                  </a:lnTo>
                  <a:lnTo>
                    <a:pt x="358749" y="77015"/>
                  </a:lnTo>
                  <a:lnTo>
                    <a:pt x="399523" y="57263"/>
                  </a:lnTo>
                  <a:lnTo>
                    <a:pt x="441775" y="40239"/>
                  </a:lnTo>
                  <a:lnTo>
                    <a:pt x="485391" y="26056"/>
                  </a:lnTo>
                  <a:lnTo>
                    <a:pt x="530257" y="14826"/>
                  </a:lnTo>
                  <a:lnTo>
                    <a:pt x="576260" y="6665"/>
                  </a:lnTo>
                  <a:lnTo>
                    <a:pt x="623287" y="1684"/>
                  </a:lnTo>
                  <a:lnTo>
                    <a:pt x="671213" y="0"/>
                  </a:lnTo>
                  <a:lnTo>
                    <a:pt x="719159" y="1684"/>
                  </a:lnTo>
                  <a:lnTo>
                    <a:pt x="766185" y="6665"/>
                  </a:lnTo>
                  <a:lnTo>
                    <a:pt x="812188" y="14826"/>
                  </a:lnTo>
                  <a:lnTo>
                    <a:pt x="857055" y="26056"/>
                  </a:lnTo>
                  <a:lnTo>
                    <a:pt x="900670" y="40239"/>
                  </a:lnTo>
                  <a:lnTo>
                    <a:pt x="942922" y="57263"/>
                  </a:lnTo>
                  <a:lnTo>
                    <a:pt x="983696" y="77015"/>
                  </a:lnTo>
                  <a:lnTo>
                    <a:pt x="1022879" y="99379"/>
                  </a:lnTo>
                  <a:lnTo>
                    <a:pt x="1060358" y="124244"/>
                  </a:lnTo>
                  <a:lnTo>
                    <a:pt x="1096018" y="151494"/>
                  </a:lnTo>
                  <a:lnTo>
                    <a:pt x="1129746" y="181018"/>
                  </a:lnTo>
                  <a:lnTo>
                    <a:pt x="1161428" y="212700"/>
                  </a:lnTo>
                  <a:lnTo>
                    <a:pt x="1190951" y="246428"/>
                  </a:lnTo>
                  <a:lnTo>
                    <a:pt x="1218202" y="282088"/>
                  </a:lnTo>
                  <a:lnTo>
                    <a:pt x="1243066" y="319566"/>
                  </a:lnTo>
                  <a:lnTo>
                    <a:pt x="1265431" y="358749"/>
                  </a:lnTo>
                  <a:lnTo>
                    <a:pt x="1285182" y="399523"/>
                  </a:lnTo>
                  <a:lnTo>
                    <a:pt x="1302206" y="441775"/>
                  </a:lnTo>
                  <a:lnTo>
                    <a:pt x="1316390" y="485391"/>
                  </a:lnTo>
                  <a:lnTo>
                    <a:pt x="1327619" y="530257"/>
                  </a:lnTo>
                  <a:lnTo>
                    <a:pt x="1335781" y="576260"/>
                  </a:lnTo>
                  <a:lnTo>
                    <a:pt x="1340761" y="623287"/>
                  </a:lnTo>
                  <a:lnTo>
                    <a:pt x="1342445" y="671202"/>
                  </a:lnTo>
                  <a:lnTo>
                    <a:pt x="1340761" y="719159"/>
                  </a:lnTo>
                  <a:lnTo>
                    <a:pt x="1335781" y="766185"/>
                  </a:lnTo>
                  <a:lnTo>
                    <a:pt x="1327619" y="812188"/>
                  </a:lnTo>
                  <a:lnTo>
                    <a:pt x="1316390" y="857055"/>
                  </a:lnTo>
                  <a:lnTo>
                    <a:pt x="1302206" y="900671"/>
                  </a:lnTo>
                  <a:lnTo>
                    <a:pt x="1285182" y="942922"/>
                  </a:lnTo>
                  <a:lnTo>
                    <a:pt x="1265431" y="983697"/>
                  </a:lnTo>
                  <a:lnTo>
                    <a:pt x="1243066" y="1022880"/>
                  </a:lnTo>
                  <a:lnTo>
                    <a:pt x="1218202" y="1060358"/>
                  </a:lnTo>
                  <a:lnTo>
                    <a:pt x="1190951" y="1096018"/>
                  </a:lnTo>
                  <a:lnTo>
                    <a:pt x="1161428" y="1129746"/>
                  </a:lnTo>
                  <a:lnTo>
                    <a:pt x="1129746" y="1161428"/>
                  </a:lnTo>
                  <a:lnTo>
                    <a:pt x="1096018" y="1190952"/>
                  </a:lnTo>
                  <a:lnTo>
                    <a:pt x="1060358" y="1218202"/>
                  </a:lnTo>
                  <a:lnTo>
                    <a:pt x="1022879" y="1243067"/>
                  </a:lnTo>
                  <a:lnTo>
                    <a:pt x="983696" y="1265431"/>
                  </a:lnTo>
                  <a:lnTo>
                    <a:pt x="942922" y="1285183"/>
                  </a:lnTo>
                  <a:lnTo>
                    <a:pt x="900670" y="1302207"/>
                  </a:lnTo>
                  <a:lnTo>
                    <a:pt x="857055" y="1316390"/>
                  </a:lnTo>
                  <a:lnTo>
                    <a:pt x="812188" y="1327620"/>
                  </a:lnTo>
                  <a:lnTo>
                    <a:pt x="766185" y="1335781"/>
                  </a:lnTo>
                  <a:lnTo>
                    <a:pt x="719159" y="1340761"/>
                  </a:lnTo>
                  <a:lnTo>
                    <a:pt x="671223" y="1342447"/>
                  </a:lnTo>
                  <a:close/>
                </a:path>
              </a:pathLst>
            </a:custGeom>
            <a:solidFill>
              <a:srgbClr val="FFFFFF"/>
            </a:solidFill>
          </p:spPr>
          <p:txBody>
            <a:bodyPr wrap="square" lIns="0" tIns="0" rIns="0" bIns="0" rtlCol="0"/>
            <a:lstStyle/>
            <a:p>
              <a:endParaRPr/>
            </a:p>
          </p:txBody>
        </p:sp>
        <p:sp>
          <p:nvSpPr>
            <p:cNvPr id="42" name="object 42"/>
            <p:cNvSpPr/>
            <p:nvPr/>
          </p:nvSpPr>
          <p:spPr>
            <a:xfrm>
              <a:off x="14248705" y="3642150"/>
              <a:ext cx="861060" cy="624840"/>
            </a:xfrm>
            <a:custGeom>
              <a:avLst/>
              <a:gdLst/>
              <a:ahLst/>
              <a:cxnLst/>
              <a:rect l="l" t="t" r="r" b="b"/>
              <a:pathLst>
                <a:path w="861059" h="624839">
                  <a:moveTo>
                    <a:pt x="765198" y="624713"/>
                  </a:moveTo>
                  <a:lnTo>
                    <a:pt x="95649" y="624713"/>
                  </a:lnTo>
                  <a:lnTo>
                    <a:pt x="58420" y="617159"/>
                  </a:lnTo>
                  <a:lnTo>
                    <a:pt x="28016" y="596562"/>
                  </a:lnTo>
                  <a:lnTo>
                    <a:pt x="7517" y="566012"/>
                  </a:lnTo>
                  <a:lnTo>
                    <a:pt x="0" y="528603"/>
                  </a:lnTo>
                  <a:lnTo>
                    <a:pt x="0" y="96109"/>
                  </a:lnTo>
                  <a:lnTo>
                    <a:pt x="7517" y="58700"/>
                  </a:lnTo>
                  <a:lnTo>
                    <a:pt x="28016" y="28151"/>
                  </a:lnTo>
                  <a:lnTo>
                    <a:pt x="58420" y="7553"/>
                  </a:lnTo>
                  <a:lnTo>
                    <a:pt x="95649" y="0"/>
                  </a:lnTo>
                  <a:lnTo>
                    <a:pt x="765198" y="0"/>
                  </a:lnTo>
                  <a:lnTo>
                    <a:pt x="802428" y="7553"/>
                  </a:lnTo>
                  <a:lnTo>
                    <a:pt x="832832" y="28151"/>
                  </a:lnTo>
                  <a:lnTo>
                    <a:pt x="853331" y="58700"/>
                  </a:lnTo>
                  <a:lnTo>
                    <a:pt x="860848" y="96109"/>
                  </a:lnTo>
                  <a:lnTo>
                    <a:pt x="860848" y="528603"/>
                  </a:lnTo>
                  <a:lnTo>
                    <a:pt x="853331" y="566012"/>
                  </a:lnTo>
                  <a:lnTo>
                    <a:pt x="832832" y="596562"/>
                  </a:lnTo>
                  <a:lnTo>
                    <a:pt x="802428" y="617159"/>
                  </a:lnTo>
                  <a:lnTo>
                    <a:pt x="765198" y="624713"/>
                  </a:lnTo>
                  <a:close/>
                </a:path>
              </a:pathLst>
            </a:custGeom>
            <a:solidFill>
              <a:srgbClr val="74AADA"/>
            </a:solidFill>
          </p:spPr>
          <p:txBody>
            <a:bodyPr wrap="square" lIns="0" tIns="0" rIns="0" bIns="0" rtlCol="0"/>
            <a:lstStyle/>
            <a:p>
              <a:endParaRPr/>
            </a:p>
          </p:txBody>
        </p:sp>
        <p:sp>
          <p:nvSpPr>
            <p:cNvPr id="43" name="object 43"/>
            <p:cNvSpPr/>
            <p:nvPr/>
          </p:nvSpPr>
          <p:spPr>
            <a:xfrm>
              <a:off x="14248705" y="3834370"/>
              <a:ext cx="861060" cy="240665"/>
            </a:xfrm>
            <a:custGeom>
              <a:avLst/>
              <a:gdLst/>
              <a:ahLst/>
              <a:cxnLst/>
              <a:rect l="l" t="t" r="r" b="b"/>
              <a:pathLst>
                <a:path w="861059" h="240664">
                  <a:moveTo>
                    <a:pt x="860848" y="240274"/>
                  </a:moveTo>
                  <a:lnTo>
                    <a:pt x="0" y="240274"/>
                  </a:lnTo>
                  <a:lnTo>
                    <a:pt x="0" y="0"/>
                  </a:lnTo>
                  <a:lnTo>
                    <a:pt x="860848" y="0"/>
                  </a:lnTo>
                  <a:lnTo>
                    <a:pt x="860848" y="240274"/>
                  </a:lnTo>
                  <a:close/>
                </a:path>
              </a:pathLst>
            </a:custGeom>
            <a:solidFill>
              <a:srgbClr val="EDEDED"/>
            </a:solidFill>
          </p:spPr>
          <p:txBody>
            <a:bodyPr wrap="square" lIns="0" tIns="0" rIns="0" bIns="0" rtlCol="0"/>
            <a:lstStyle/>
            <a:p>
              <a:endParaRPr/>
            </a:p>
          </p:txBody>
        </p:sp>
        <p:pic>
          <p:nvPicPr>
            <p:cNvPr id="44" name="object 44"/>
            <p:cNvPicPr/>
            <p:nvPr/>
          </p:nvPicPr>
          <p:blipFill>
            <a:blip r:embed="rId8" cstate="print"/>
            <a:stretch>
              <a:fillRect/>
            </a:stretch>
          </p:blipFill>
          <p:spPr>
            <a:xfrm>
              <a:off x="14559567" y="3834370"/>
              <a:ext cx="239124" cy="240274"/>
            </a:xfrm>
            <a:prstGeom prst="rect">
              <a:avLst/>
            </a:prstGeom>
          </p:spPr>
        </p:pic>
      </p:grpSp>
      <p:sp>
        <p:nvSpPr>
          <p:cNvPr id="45" name="object 45"/>
          <p:cNvSpPr txBox="1"/>
          <p:nvPr/>
        </p:nvSpPr>
        <p:spPr>
          <a:xfrm>
            <a:off x="14284066" y="4301897"/>
            <a:ext cx="756285" cy="224790"/>
          </a:xfrm>
          <a:prstGeom prst="rect">
            <a:avLst/>
          </a:prstGeom>
        </p:spPr>
        <p:txBody>
          <a:bodyPr vert="horz" wrap="square" lIns="0" tIns="13335" rIns="0" bIns="0" rtlCol="0">
            <a:spAutoFit/>
          </a:bodyPr>
          <a:lstStyle/>
          <a:p>
            <a:pPr marL="12700">
              <a:lnSpc>
                <a:spcPct val="100000"/>
              </a:lnSpc>
              <a:spcBef>
                <a:spcPts val="105"/>
              </a:spcBef>
            </a:pPr>
            <a:r>
              <a:rPr sz="1300" b="1" spc="-10" dirty="0">
                <a:solidFill>
                  <a:srgbClr val="737373"/>
                </a:solidFill>
                <a:latin typeface="Roboto"/>
                <a:cs typeface="Roboto"/>
              </a:rPr>
              <a:t>Argentina</a:t>
            </a:r>
            <a:endParaRPr sz="1300">
              <a:latin typeface="Roboto"/>
              <a:cs typeface="Roboto"/>
            </a:endParaRPr>
          </a:p>
        </p:txBody>
      </p:sp>
      <p:grpSp>
        <p:nvGrpSpPr>
          <p:cNvPr id="46" name="object 46"/>
          <p:cNvGrpSpPr/>
          <p:nvPr/>
        </p:nvGrpSpPr>
        <p:grpSpPr>
          <a:xfrm>
            <a:off x="12087156" y="5089252"/>
            <a:ext cx="4337685" cy="2936240"/>
            <a:chOff x="12087156" y="5089252"/>
            <a:chExt cx="4337685" cy="2936240"/>
          </a:xfrm>
        </p:grpSpPr>
        <p:sp>
          <p:nvSpPr>
            <p:cNvPr id="47" name="object 47"/>
            <p:cNvSpPr/>
            <p:nvPr/>
          </p:nvSpPr>
          <p:spPr>
            <a:xfrm>
              <a:off x="12087156" y="5089252"/>
              <a:ext cx="1194435" cy="1194435"/>
            </a:xfrm>
            <a:custGeom>
              <a:avLst/>
              <a:gdLst/>
              <a:ahLst/>
              <a:cxnLst/>
              <a:rect l="l" t="t" r="r" b="b"/>
              <a:pathLst>
                <a:path w="1194434" h="1194435">
                  <a:moveTo>
                    <a:pt x="597215" y="1194426"/>
                  </a:moveTo>
                  <a:lnTo>
                    <a:pt x="548231" y="1192446"/>
                  </a:lnTo>
                  <a:lnTo>
                    <a:pt x="500340" y="1186609"/>
                  </a:lnTo>
                  <a:lnTo>
                    <a:pt x="453694" y="1177069"/>
                  </a:lnTo>
                  <a:lnTo>
                    <a:pt x="408446" y="1163979"/>
                  </a:lnTo>
                  <a:lnTo>
                    <a:pt x="364749" y="1147494"/>
                  </a:lnTo>
                  <a:lnTo>
                    <a:pt x="322757" y="1127766"/>
                  </a:lnTo>
                  <a:lnTo>
                    <a:pt x="282625" y="1104950"/>
                  </a:lnTo>
                  <a:lnTo>
                    <a:pt x="244505" y="1079198"/>
                  </a:lnTo>
                  <a:lnTo>
                    <a:pt x="208551" y="1050666"/>
                  </a:lnTo>
                  <a:lnTo>
                    <a:pt x="174918" y="1019506"/>
                  </a:lnTo>
                  <a:lnTo>
                    <a:pt x="143758" y="985873"/>
                  </a:lnTo>
                  <a:lnTo>
                    <a:pt x="115225" y="949919"/>
                  </a:lnTo>
                  <a:lnTo>
                    <a:pt x="89474" y="911799"/>
                  </a:lnTo>
                  <a:lnTo>
                    <a:pt x="66658" y="871666"/>
                  </a:lnTo>
                  <a:lnTo>
                    <a:pt x="46930" y="829675"/>
                  </a:lnTo>
                  <a:lnTo>
                    <a:pt x="30444" y="785978"/>
                  </a:lnTo>
                  <a:lnTo>
                    <a:pt x="17354" y="740730"/>
                  </a:lnTo>
                  <a:lnTo>
                    <a:pt x="7814" y="694084"/>
                  </a:lnTo>
                  <a:lnTo>
                    <a:pt x="1977" y="646193"/>
                  </a:lnTo>
                  <a:lnTo>
                    <a:pt x="0" y="597169"/>
                  </a:lnTo>
                  <a:lnTo>
                    <a:pt x="1977" y="548232"/>
                  </a:lnTo>
                  <a:lnTo>
                    <a:pt x="7814" y="500341"/>
                  </a:lnTo>
                  <a:lnTo>
                    <a:pt x="17354" y="453695"/>
                  </a:lnTo>
                  <a:lnTo>
                    <a:pt x="30444" y="408447"/>
                  </a:lnTo>
                  <a:lnTo>
                    <a:pt x="46930" y="364750"/>
                  </a:lnTo>
                  <a:lnTo>
                    <a:pt x="66658" y="322759"/>
                  </a:lnTo>
                  <a:lnTo>
                    <a:pt x="89474" y="282626"/>
                  </a:lnTo>
                  <a:lnTo>
                    <a:pt x="115225" y="244506"/>
                  </a:lnTo>
                  <a:lnTo>
                    <a:pt x="143758" y="208553"/>
                  </a:lnTo>
                  <a:lnTo>
                    <a:pt x="174918" y="174919"/>
                  </a:lnTo>
                  <a:lnTo>
                    <a:pt x="208551" y="143759"/>
                  </a:lnTo>
                  <a:lnTo>
                    <a:pt x="244505" y="115227"/>
                  </a:lnTo>
                  <a:lnTo>
                    <a:pt x="282625" y="89476"/>
                  </a:lnTo>
                  <a:lnTo>
                    <a:pt x="322757" y="66659"/>
                  </a:lnTo>
                  <a:lnTo>
                    <a:pt x="364749" y="46931"/>
                  </a:lnTo>
                  <a:lnTo>
                    <a:pt x="408446" y="30446"/>
                  </a:lnTo>
                  <a:lnTo>
                    <a:pt x="453694" y="17356"/>
                  </a:lnTo>
                  <a:lnTo>
                    <a:pt x="500340" y="7816"/>
                  </a:lnTo>
                  <a:lnTo>
                    <a:pt x="548231" y="1979"/>
                  </a:lnTo>
                  <a:lnTo>
                    <a:pt x="597212" y="0"/>
                  </a:lnTo>
                  <a:lnTo>
                    <a:pt x="646192" y="1979"/>
                  </a:lnTo>
                  <a:lnTo>
                    <a:pt x="694083" y="7816"/>
                  </a:lnTo>
                  <a:lnTo>
                    <a:pt x="740729" y="17356"/>
                  </a:lnTo>
                  <a:lnTo>
                    <a:pt x="785977" y="30446"/>
                  </a:lnTo>
                  <a:lnTo>
                    <a:pt x="829674" y="46931"/>
                  </a:lnTo>
                  <a:lnTo>
                    <a:pt x="871665" y="66659"/>
                  </a:lnTo>
                  <a:lnTo>
                    <a:pt x="911798" y="89476"/>
                  </a:lnTo>
                  <a:lnTo>
                    <a:pt x="949918" y="115227"/>
                  </a:lnTo>
                  <a:lnTo>
                    <a:pt x="985871" y="143759"/>
                  </a:lnTo>
                  <a:lnTo>
                    <a:pt x="1019505" y="174919"/>
                  </a:lnTo>
                  <a:lnTo>
                    <a:pt x="1050665" y="208553"/>
                  </a:lnTo>
                  <a:lnTo>
                    <a:pt x="1079197" y="244506"/>
                  </a:lnTo>
                  <a:lnTo>
                    <a:pt x="1104948" y="282626"/>
                  </a:lnTo>
                  <a:lnTo>
                    <a:pt x="1127765" y="322759"/>
                  </a:lnTo>
                  <a:lnTo>
                    <a:pt x="1147493" y="364750"/>
                  </a:lnTo>
                  <a:lnTo>
                    <a:pt x="1163978" y="408447"/>
                  </a:lnTo>
                  <a:lnTo>
                    <a:pt x="1177068" y="453695"/>
                  </a:lnTo>
                  <a:lnTo>
                    <a:pt x="1186608" y="500341"/>
                  </a:lnTo>
                  <a:lnTo>
                    <a:pt x="1192445" y="548232"/>
                  </a:lnTo>
                  <a:lnTo>
                    <a:pt x="1194421" y="597212"/>
                  </a:lnTo>
                  <a:lnTo>
                    <a:pt x="1192445" y="646193"/>
                  </a:lnTo>
                  <a:lnTo>
                    <a:pt x="1186608" y="694084"/>
                  </a:lnTo>
                  <a:lnTo>
                    <a:pt x="1177068" y="740730"/>
                  </a:lnTo>
                  <a:lnTo>
                    <a:pt x="1163978" y="785978"/>
                  </a:lnTo>
                  <a:lnTo>
                    <a:pt x="1147493" y="829675"/>
                  </a:lnTo>
                  <a:lnTo>
                    <a:pt x="1127765" y="871666"/>
                  </a:lnTo>
                  <a:lnTo>
                    <a:pt x="1104948" y="911799"/>
                  </a:lnTo>
                  <a:lnTo>
                    <a:pt x="1079197" y="949919"/>
                  </a:lnTo>
                  <a:lnTo>
                    <a:pt x="1050665" y="985873"/>
                  </a:lnTo>
                  <a:lnTo>
                    <a:pt x="1019505" y="1019506"/>
                  </a:lnTo>
                  <a:lnTo>
                    <a:pt x="985871" y="1050666"/>
                  </a:lnTo>
                  <a:lnTo>
                    <a:pt x="949918" y="1079198"/>
                  </a:lnTo>
                  <a:lnTo>
                    <a:pt x="911798" y="1104950"/>
                  </a:lnTo>
                  <a:lnTo>
                    <a:pt x="871665" y="1127766"/>
                  </a:lnTo>
                  <a:lnTo>
                    <a:pt x="829674" y="1147494"/>
                  </a:lnTo>
                  <a:lnTo>
                    <a:pt x="785977" y="1163979"/>
                  </a:lnTo>
                  <a:lnTo>
                    <a:pt x="740729" y="1177069"/>
                  </a:lnTo>
                  <a:lnTo>
                    <a:pt x="694083" y="1186609"/>
                  </a:lnTo>
                  <a:lnTo>
                    <a:pt x="646192" y="1192446"/>
                  </a:lnTo>
                  <a:lnTo>
                    <a:pt x="597215" y="1194426"/>
                  </a:lnTo>
                  <a:close/>
                </a:path>
              </a:pathLst>
            </a:custGeom>
            <a:solidFill>
              <a:srgbClr val="F5A316"/>
            </a:solidFill>
          </p:spPr>
          <p:txBody>
            <a:bodyPr wrap="square" lIns="0" tIns="0" rIns="0" bIns="0" rtlCol="0"/>
            <a:lstStyle/>
            <a:p>
              <a:endParaRPr/>
            </a:p>
          </p:txBody>
        </p:sp>
        <p:sp>
          <p:nvSpPr>
            <p:cNvPr id="48" name="object 48"/>
            <p:cNvSpPr/>
            <p:nvPr/>
          </p:nvSpPr>
          <p:spPr>
            <a:xfrm>
              <a:off x="12426690" y="5850740"/>
              <a:ext cx="546100" cy="192405"/>
            </a:xfrm>
            <a:custGeom>
              <a:avLst/>
              <a:gdLst/>
              <a:ahLst/>
              <a:cxnLst/>
              <a:rect l="l" t="t" r="r" b="b"/>
              <a:pathLst>
                <a:path w="546100" h="192404">
                  <a:moveTo>
                    <a:pt x="503429" y="192354"/>
                  </a:moveTo>
                  <a:lnTo>
                    <a:pt x="20584" y="192354"/>
                  </a:lnTo>
                  <a:lnTo>
                    <a:pt x="8481" y="188978"/>
                  </a:lnTo>
                  <a:lnTo>
                    <a:pt x="1291" y="180471"/>
                  </a:lnTo>
                  <a:lnTo>
                    <a:pt x="0" y="169263"/>
                  </a:lnTo>
                  <a:lnTo>
                    <a:pt x="5593" y="157788"/>
                  </a:lnTo>
                  <a:lnTo>
                    <a:pt x="31095" y="128396"/>
                  </a:lnTo>
                  <a:lnTo>
                    <a:pt x="64076" y="112694"/>
                  </a:lnTo>
                  <a:lnTo>
                    <a:pt x="117542" y="112694"/>
                  </a:lnTo>
                  <a:lnTo>
                    <a:pt x="136302" y="112044"/>
                  </a:lnTo>
                  <a:lnTo>
                    <a:pt x="152977" y="109122"/>
                  </a:lnTo>
                  <a:lnTo>
                    <a:pt x="168512" y="102469"/>
                  </a:lnTo>
                  <a:lnTo>
                    <a:pt x="183857" y="90627"/>
                  </a:lnTo>
                  <a:lnTo>
                    <a:pt x="245133" y="41119"/>
                  </a:lnTo>
                  <a:lnTo>
                    <a:pt x="257395" y="32421"/>
                  </a:lnTo>
                  <a:lnTo>
                    <a:pt x="268186" y="27936"/>
                  </a:lnTo>
                  <a:lnTo>
                    <a:pt x="279220" y="27098"/>
                  </a:lnTo>
                  <a:lnTo>
                    <a:pt x="292216" y="29340"/>
                  </a:lnTo>
                  <a:lnTo>
                    <a:pt x="372021" y="48736"/>
                  </a:lnTo>
                  <a:lnTo>
                    <a:pt x="379955" y="51296"/>
                  </a:lnTo>
                  <a:lnTo>
                    <a:pt x="383738" y="54578"/>
                  </a:lnTo>
                  <a:lnTo>
                    <a:pt x="383280" y="59355"/>
                  </a:lnTo>
                  <a:lnTo>
                    <a:pt x="378487" y="66400"/>
                  </a:lnTo>
                  <a:lnTo>
                    <a:pt x="366248" y="81174"/>
                  </a:lnTo>
                  <a:lnTo>
                    <a:pt x="363452" y="87411"/>
                  </a:lnTo>
                  <a:lnTo>
                    <a:pt x="365410" y="92133"/>
                  </a:lnTo>
                  <a:lnTo>
                    <a:pt x="371884" y="93441"/>
                  </a:lnTo>
                  <a:lnTo>
                    <a:pt x="382635" y="89437"/>
                  </a:lnTo>
                  <a:lnTo>
                    <a:pt x="509906" y="5478"/>
                  </a:lnTo>
                  <a:lnTo>
                    <a:pt x="522482" y="0"/>
                  </a:lnTo>
                  <a:lnTo>
                    <a:pt x="534022" y="433"/>
                  </a:lnTo>
                  <a:lnTo>
                    <a:pt x="542461" y="7643"/>
                  </a:lnTo>
                  <a:lnTo>
                    <a:pt x="545732" y="22495"/>
                  </a:lnTo>
                  <a:lnTo>
                    <a:pt x="545732" y="153447"/>
                  </a:lnTo>
                  <a:lnTo>
                    <a:pt x="543168" y="169747"/>
                  </a:lnTo>
                  <a:lnTo>
                    <a:pt x="535370" y="181986"/>
                  </a:lnTo>
                  <a:lnTo>
                    <a:pt x="522177" y="189682"/>
                  </a:lnTo>
                  <a:lnTo>
                    <a:pt x="503429" y="192354"/>
                  </a:lnTo>
                  <a:close/>
                </a:path>
              </a:pathLst>
            </a:custGeom>
            <a:solidFill>
              <a:srgbClr val="FFFFFF"/>
            </a:solidFill>
          </p:spPr>
          <p:txBody>
            <a:bodyPr wrap="square" lIns="0" tIns="0" rIns="0" bIns="0" rtlCol="0"/>
            <a:lstStyle/>
            <a:p>
              <a:endParaRPr/>
            </a:p>
          </p:txBody>
        </p:sp>
        <p:pic>
          <p:nvPicPr>
            <p:cNvPr id="49" name="object 49"/>
            <p:cNvPicPr/>
            <p:nvPr/>
          </p:nvPicPr>
          <p:blipFill>
            <a:blip r:embed="rId9" cstate="print"/>
            <a:stretch>
              <a:fillRect/>
            </a:stretch>
          </p:blipFill>
          <p:spPr>
            <a:xfrm>
              <a:off x="12616142" y="5344514"/>
              <a:ext cx="128749" cy="129794"/>
            </a:xfrm>
            <a:prstGeom prst="rect">
              <a:avLst/>
            </a:prstGeom>
          </p:spPr>
        </p:pic>
        <p:sp>
          <p:nvSpPr>
            <p:cNvPr id="50" name="object 50"/>
            <p:cNvSpPr/>
            <p:nvPr/>
          </p:nvSpPr>
          <p:spPr>
            <a:xfrm>
              <a:off x="12551139" y="5499670"/>
              <a:ext cx="293370" cy="383540"/>
            </a:xfrm>
            <a:custGeom>
              <a:avLst/>
              <a:gdLst/>
              <a:ahLst/>
              <a:cxnLst/>
              <a:rect l="l" t="t" r="r" b="b"/>
              <a:pathLst>
                <a:path w="293370" h="383539">
                  <a:moveTo>
                    <a:pt x="272839" y="383086"/>
                  </a:moveTo>
                  <a:lnTo>
                    <a:pt x="258987" y="378050"/>
                  </a:lnTo>
                  <a:lnTo>
                    <a:pt x="252465" y="362944"/>
                  </a:lnTo>
                  <a:lnTo>
                    <a:pt x="252465" y="133894"/>
                  </a:lnTo>
                  <a:lnTo>
                    <a:pt x="175370" y="133894"/>
                  </a:lnTo>
                  <a:lnTo>
                    <a:pt x="167880" y="130535"/>
                  </a:lnTo>
                  <a:lnTo>
                    <a:pt x="123602" y="80359"/>
                  </a:lnTo>
                  <a:lnTo>
                    <a:pt x="95089" y="174116"/>
                  </a:lnTo>
                  <a:lnTo>
                    <a:pt x="160607" y="195474"/>
                  </a:lnTo>
                  <a:lnTo>
                    <a:pt x="200262" y="325184"/>
                  </a:lnTo>
                  <a:lnTo>
                    <a:pt x="193661" y="350830"/>
                  </a:lnTo>
                  <a:lnTo>
                    <a:pt x="171574" y="360751"/>
                  </a:lnTo>
                  <a:lnTo>
                    <a:pt x="147818" y="353964"/>
                  </a:lnTo>
                  <a:lnTo>
                    <a:pt x="136213" y="329483"/>
                  </a:lnTo>
                  <a:lnTo>
                    <a:pt x="120156" y="250302"/>
                  </a:lnTo>
                  <a:lnTo>
                    <a:pt x="20405" y="216883"/>
                  </a:lnTo>
                  <a:lnTo>
                    <a:pt x="8887" y="211065"/>
                  </a:lnTo>
                  <a:lnTo>
                    <a:pt x="2104" y="202596"/>
                  </a:lnTo>
                  <a:lnTo>
                    <a:pt x="0" y="191029"/>
                  </a:lnTo>
                  <a:lnTo>
                    <a:pt x="2518" y="175921"/>
                  </a:lnTo>
                  <a:lnTo>
                    <a:pt x="45472" y="23809"/>
                  </a:lnTo>
                  <a:lnTo>
                    <a:pt x="76333" y="375"/>
                  </a:lnTo>
                  <a:lnTo>
                    <a:pt x="112791" y="375"/>
                  </a:lnTo>
                  <a:lnTo>
                    <a:pt x="121139" y="0"/>
                  </a:lnTo>
                  <a:lnTo>
                    <a:pt x="129126" y="3641"/>
                  </a:lnTo>
                  <a:lnTo>
                    <a:pt x="195389" y="78679"/>
                  </a:lnTo>
                  <a:lnTo>
                    <a:pt x="252455" y="78679"/>
                  </a:lnTo>
                  <a:lnTo>
                    <a:pt x="252455" y="27503"/>
                  </a:lnTo>
                  <a:lnTo>
                    <a:pt x="253973" y="19509"/>
                  </a:lnTo>
                  <a:lnTo>
                    <a:pt x="258243" y="12937"/>
                  </a:lnTo>
                  <a:lnTo>
                    <a:pt x="264632" y="8455"/>
                  </a:lnTo>
                  <a:lnTo>
                    <a:pt x="272504" y="6729"/>
                  </a:lnTo>
                  <a:lnTo>
                    <a:pt x="280602" y="8294"/>
                  </a:lnTo>
                  <a:lnTo>
                    <a:pt x="287220" y="12742"/>
                  </a:lnTo>
                  <a:lnTo>
                    <a:pt x="291654" y="19377"/>
                  </a:lnTo>
                  <a:lnTo>
                    <a:pt x="293206" y="27503"/>
                  </a:lnTo>
                  <a:lnTo>
                    <a:pt x="293206" y="362944"/>
                  </a:lnTo>
                  <a:lnTo>
                    <a:pt x="286690" y="378050"/>
                  </a:lnTo>
                  <a:lnTo>
                    <a:pt x="272839" y="383086"/>
                  </a:lnTo>
                  <a:close/>
                </a:path>
              </a:pathLst>
            </a:custGeom>
            <a:solidFill>
              <a:srgbClr val="FFFFFF"/>
            </a:solidFill>
          </p:spPr>
          <p:txBody>
            <a:bodyPr wrap="square" lIns="0" tIns="0" rIns="0" bIns="0" rtlCol="0"/>
            <a:lstStyle/>
            <a:p>
              <a:endParaRPr/>
            </a:p>
          </p:txBody>
        </p:sp>
        <p:pic>
          <p:nvPicPr>
            <p:cNvPr id="51" name="object 51"/>
            <p:cNvPicPr/>
            <p:nvPr/>
          </p:nvPicPr>
          <p:blipFill>
            <a:blip r:embed="rId10" cstate="print"/>
            <a:stretch>
              <a:fillRect/>
            </a:stretch>
          </p:blipFill>
          <p:spPr>
            <a:xfrm>
              <a:off x="12510651" y="5732976"/>
              <a:ext cx="111317" cy="207156"/>
            </a:xfrm>
            <a:prstGeom prst="rect">
              <a:avLst/>
            </a:prstGeom>
          </p:spPr>
        </p:pic>
        <p:pic>
          <p:nvPicPr>
            <p:cNvPr id="52" name="object 52"/>
            <p:cNvPicPr/>
            <p:nvPr/>
          </p:nvPicPr>
          <p:blipFill>
            <a:blip r:embed="rId11" cstate="print"/>
            <a:stretch>
              <a:fillRect/>
            </a:stretch>
          </p:blipFill>
          <p:spPr>
            <a:xfrm>
              <a:off x="12448563" y="5466408"/>
              <a:ext cx="129236" cy="211577"/>
            </a:xfrm>
            <a:prstGeom prst="rect">
              <a:avLst/>
            </a:prstGeom>
          </p:spPr>
        </p:pic>
        <p:pic>
          <p:nvPicPr>
            <p:cNvPr id="53" name="object 53"/>
            <p:cNvPicPr/>
            <p:nvPr/>
          </p:nvPicPr>
          <p:blipFill>
            <a:blip r:embed="rId12" cstate="print"/>
            <a:stretch>
              <a:fillRect/>
            </a:stretch>
          </p:blipFill>
          <p:spPr>
            <a:xfrm>
              <a:off x="14855996" y="6456731"/>
              <a:ext cx="1568395" cy="1568395"/>
            </a:xfrm>
            <a:prstGeom prst="rect">
              <a:avLst/>
            </a:prstGeom>
          </p:spPr>
        </p:pic>
        <p:sp>
          <p:nvSpPr>
            <p:cNvPr id="54" name="object 54"/>
            <p:cNvSpPr/>
            <p:nvPr/>
          </p:nvSpPr>
          <p:spPr>
            <a:xfrm>
              <a:off x="14970931" y="6570390"/>
              <a:ext cx="1343025" cy="1343025"/>
            </a:xfrm>
            <a:custGeom>
              <a:avLst/>
              <a:gdLst/>
              <a:ahLst/>
              <a:cxnLst/>
              <a:rect l="l" t="t" r="r" b="b"/>
              <a:pathLst>
                <a:path w="1343025" h="1343025">
                  <a:moveTo>
                    <a:pt x="671222" y="1342447"/>
                  </a:moveTo>
                  <a:lnTo>
                    <a:pt x="623286" y="1340762"/>
                  </a:lnTo>
                  <a:lnTo>
                    <a:pt x="576259" y="1335781"/>
                  </a:lnTo>
                  <a:lnTo>
                    <a:pt x="530256" y="1327620"/>
                  </a:lnTo>
                  <a:lnTo>
                    <a:pt x="485390" y="1316390"/>
                  </a:lnTo>
                  <a:lnTo>
                    <a:pt x="441774" y="1302207"/>
                  </a:lnTo>
                  <a:lnTo>
                    <a:pt x="399522" y="1285183"/>
                  </a:lnTo>
                  <a:lnTo>
                    <a:pt x="358748" y="1265432"/>
                  </a:lnTo>
                  <a:lnTo>
                    <a:pt x="319565" y="1243067"/>
                  </a:lnTo>
                  <a:lnTo>
                    <a:pt x="282087" y="1218203"/>
                  </a:lnTo>
                  <a:lnTo>
                    <a:pt x="246427" y="1190952"/>
                  </a:lnTo>
                  <a:lnTo>
                    <a:pt x="212699" y="1161429"/>
                  </a:lnTo>
                  <a:lnTo>
                    <a:pt x="181017" y="1129746"/>
                  </a:lnTo>
                  <a:lnTo>
                    <a:pt x="151493" y="1096018"/>
                  </a:lnTo>
                  <a:lnTo>
                    <a:pt x="124243" y="1060358"/>
                  </a:lnTo>
                  <a:lnTo>
                    <a:pt x="99378" y="1022880"/>
                  </a:lnTo>
                  <a:lnTo>
                    <a:pt x="77014" y="983697"/>
                  </a:lnTo>
                  <a:lnTo>
                    <a:pt x="57262" y="942923"/>
                  </a:lnTo>
                  <a:lnTo>
                    <a:pt x="40238" y="900671"/>
                  </a:lnTo>
                  <a:lnTo>
                    <a:pt x="26055" y="857055"/>
                  </a:lnTo>
                  <a:lnTo>
                    <a:pt x="14825" y="812189"/>
                  </a:lnTo>
                  <a:lnTo>
                    <a:pt x="6664" y="766186"/>
                  </a:lnTo>
                  <a:lnTo>
                    <a:pt x="1684" y="719159"/>
                  </a:lnTo>
                  <a:lnTo>
                    <a:pt x="0" y="671189"/>
                  </a:lnTo>
                  <a:lnTo>
                    <a:pt x="1684" y="623287"/>
                  </a:lnTo>
                  <a:lnTo>
                    <a:pt x="6664" y="576261"/>
                  </a:lnTo>
                  <a:lnTo>
                    <a:pt x="14825" y="530258"/>
                  </a:lnTo>
                  <a:lnTo>
                    <a:pt x="26055" y="485392"/>
                  </a:lnTo>
                  <a:lnTo>
                    <a:pt x="40238" y="441776"/>
                  </a:lnTo>
                  <a:lnTo>
                    <a:pt x="57262" y="399524"/>
                  </a:lnTo>
                  <a:lnTo>
                    <a:pt x="77014" y="358750"/>
                  </a:lnTo>
                  <a:lnTo>
                    <a:pt x="99378" y="319567"/>
                  </a:lnTo>
                  <a:lnTo>
                    <a:pt x="124243" y="282089"/>
                  </a:lnTo>
                  <a:lnTo>
                    <a:pt x="151493" y="246429"/>
                  </a:lnTo>
                  <a:lnTo>
                    <a:pt x="181017" y="212701"/>
                  </a:lnTo>
                  <a:lnTo>
                    <a:pt x="212699" y="181018"/>
                  </a:lnTo>
                  <a:lnTo>
                    <a:pt x="246427" y="151495"/>
                  </a:lnTo>
                  <a:lnTo>
                    <a:pt x="282087" y="124244"/>
                  </a:lnTo>
                  <a:lnTo>
                    <a:pt x="319565" y="99380"/>
                  </a:lnTo>
                  <a:lnTo>
                    <a:pt x="358748" y="77015"/>
                  </a:lnTo>
                  <a:lnTo>
                    <a:pt x="399522" y="57264"/>
                  </a:lnTo>
                  <a:lnTo>
                    <a:pt x="441774" y="40240"/>
                  </a:lnTo>
                  <a:lnTo>
                    <a:pt x="485390" y="26056"/>
                  </a:lnTo>
                  <a:lnTo>
                    <a:pt x="530256" y="14827"/>
                  </a:lnTo>
                  <a:lnTo>
                    <a:pt x="576259" y="6665"/>
                  </a:lnTo>
                  <a:lnTo>
                    <a:pt x="623286" y="1685"/>
                  </a:lnTo>
                  <a:lnTo>
                    <a:pt x="671222" y="0"/>
                  </a:lnTo>
                  <a:lnTo>
                    <a:pt x="719158" y="1685"/>
                  </a:lnTo>
                  <a:lnTo>
                    <a:pt x="766184" y="6665"/>
                  </a:lnTo>
                  <a:lnTo>
                    <a:pt x="812188" y="14827"/>
                  </a:lnTo>
                  <a:lnTo>
                    <a:pt x="857054" y="26056"/>
                  </a:lnTo>
                  <a:lnTo>
                    <a:pt x="900670" y="40240"/>
                  </a:lnTo>
                  <a:lnTo>
                    <a:pt x="942922" y="57264"/>
                  </a:lnTo>
                  <a:lnTo>
                    <a:pt x="983696" y="77015"/>
                  </a:lnTo>
                  <a:lnTo>
                    <a:pt x="1022879" y="99380"/>
                  </a:lnTo>
                  <a:lnTo>
                    <a:pt x="1060357" y="124244"/>
                  </a:lnTo>
                  <a:lnTo>
                    <a:pt x="1096017" y="151495"/>
                  </a:lnTo>
                  <a:lnTo>
                    <a:pt x="1129745" y="181018"/>
                  </a:lnTo>
                  <a:lnTo>
                    <a:pt x="1161427" y="212701"/>
                  </a:lnTo>
                  <a:lnTo>
                    <a:pt x="1190951" y="246429"/>
                  </a:lnTo>
                  <a:lnTo>
                    <a:pt x="1218201" y="282089"/>
                  </a:lnTo>
                  <a:lnTo>
                    <a:pt x="1243066" y="319567"/>
                  </a:lnTo>
                  <a:lnTo>
                    <a:pt x="1265430" y="358750"/>
                  </a:lnTo>
                  <a:lnTo>
                    <a:pt x="1285182" y="399524"/>
                  </a:lnTo>
                  <a:lnTo>
                    <a:pt x="1302206" y="441776"/>
                  </a:lnTo>
                  <a:lnTo>
                    <a:pt x="1316389" y="485392"/>
                  </a:lnTo>
                  <a:lnTo>
                    <a:pt x="1327619" y="530258"/>
                  </a:lnTo>
                  <a:lnTo>
                    <a:pt x="1335780" y="576261"/>
                  </a:lnTo>
                  <a:lnTo>
                    <a:pt x="1340760" y="623287"/>
                  </a:lnTo>
                  <a:lnTo>
                    <a:pt x="1342443" y="671223"/>
                  </a:lnTo>
                  <a:lnTo>
                    <a:pt x="1340760" y="719159"/>
                  </a:lnTo>
                  <a:lnTo>
                    <a:pt x="1335780" y="766186"/>
                  </a:lnTo>
                  <a:lnTo>
                    <a:pt x="1327619" y="812189"/>
                  </a:lnTo>
                  <a:lnTo>
                    <a:pt x="1316389" y="857055"/>
                  </a:lnTo>
                  <a:lnTo>
                    <a:pt x="1302206" y="900671"/>
                  </a:lnTo>
                  <a:lnTo>
                    <a:pt x="1285182" y="942923"/>
                  </a:lnTo>
                  <a:lnTo>
                    <a:pt x="1265430" y="983697"/>
                  </a:lnTo>
                  <a:lnTo>
                    <a:pt x="1243066" y="1022880"/>
                  </a:lnTo>
                  <a:lnTo>
                    <a:pt x="1218201" y="1060358"/>
                  </a:lnTo>
                  <a:lnTo>
                    <a:pt x="1190951" y="1096018"/>
                  </a:lnTo>
                  <a:lnTo>
                    <a:pt x="1161427" y="1129746"/>
                  </a:lnTo>
                  <a:lnTo>
                    <a:pt x="1129745" y="1161429"/>
                  </a:lnTo>
                  <a:lnTo>
                    <a:pt x="1096017" y="1190952"/>
                  </a:lnTo>
                  <a:lnTo>
                    <a:pt x="1060357" y="1218203"/>
                  </a:lnTo>
                  <a:lnTo>
                    <a:pt x="1022879" y="1243067"/>
                  </a:lnTo>
                  <a:lnTo>
                    <a:pt x="983696" y="1265432"/>
                  </a:lnTo>
                  <a:lnTo>
                    <a:pt x="942922" y="1285183"/>
                  </a:lnTo>
                  <a:lnTo>
                    <a:pt x="900670" y="1302207"/>
                  </a:lnTo>
                  <a:lnTo>
                    <a:pt x="857054" y="1316390"/>
                  </a:lnTo>
                  <a:lnTo>
                    <a:pt x="812188" y="1327620"/>
                  </a:lnTo>
                  <a:lnTo>
                    <a:pt x="766184" y="1335781"/>
                  </a:lnTo>
                  <a:lnTo>
                    <a:pt x="719158" y="1340762"/>
                  </a:lnTo>
                  <a:lnTo>
                    <a:pt x="671222" y="1342447"/>
                  </a:lnTo>
                  <a:close/>
                </a:path>
              </a:pathLst>
            </a:custGeom>
            <a:solidFill>
              <a:srgbClr val="FFFFFF"/>
            </a:solidFill>
          </p:spPr>
          <p:txBody>
            <a:bodyPr wrap="square" lIns="0" tIns="0" rIns="0" bIns="0" rtlCol="0"/>
            <a:lstStyle/>
            <a:p>
              <a:endParaRPr/>
            </a:p>
          </p:txBody>
        </p:sp>
        <p:sp>
          <p:nvSpPr>
            <p:cNvPr id="55" name="object 55"/>
            <p:cNvSpPr/>
            <p:nvPr/>
          </p:nvSpPr>
          <p:spPr>
            <a:xfrm>
              <a:off x="15219228" y="6806476"/>
              <a:ext cx="287020" cy="624840"/>
            </a:xfrm>
            <a:custGeom>
              <a:avLst/>
              <a:gdLst/>
              <a:ahLst/>
              <a:cxnLst/>
              <a:rect l="l" t="t" r="r" b="b"/>
              <a:pathLst>
                <a:path w="287019" h="624840">
                  <a:moveTo>
                    <a:pt x="286949" y="624701"/>
                  </a:moveTo>
                  <a:lnTo>
                    <a:pt x="95649" y="624701"/>
                  </a:lnTo>
                  <a:lnTo>
                    <a:pt x="58420" y="617148"/>
                  </a:lnTo>
                  <a:lnTo>
                    <a:pt x="28016" y="596550"/>
                  </a:lnTo>
                  <a:lnTo>
                    <a:pt x="7517" y="566001"/>
                  </a:lnTo>
                  <a:lnTo>
                    <a:pt x="0" y="528593"/>
                  </a:lnTo>
                  <a:lnTo>
                    <a:pt x="0" y="96107"/>
                  </a:lnTo>
                  <a:lnTo>
                    <a:pt x="7517" y="58699"/>
                  </a:lnTo>
                  <a:lnTo>
                    <a:pt x="28016" y="28150"/>
                  </a:lnTo>
                  <a:lnTo>
                    <a:pt x="58420" y="7553"/>
                  </a:lnTo>
                  <a:lnTo>
                    <a:pt x="95649" y="0"/>
                  </a:lnTo>
                  <a:lnTo>
                    <a:pt x="286949" y="0"/>
                  </a:lnTo>
                  <a:lnTo>
                    <a:pt x="286949" y="624701"/>
                  </a:lnTo>
                  <a:close/>
                </a:path>
              </a:pathLst>
            </a:custGeom>
            <a:solidFill>
              <a:srgbClr val="D90F23"/>
            </a:solidFill>
          </p:spPr>
          <p:txBody>
            <a:bodyPr wrap="square" lIns="0" tIns="0" rIns="0" bIns="0" rtlCol="0"/>
            <a:lstStyle/>
            <a:p>
              <a:endParaRPr/>
            </a:p>
          </p:txBody>
        </p:sp>
        <p:sp>
          <p:nvSpPr>
            <p:cNvPr id="56" name="object 56"/>
            <p:cNvSpPr/>
            <p:nvPr/>
          </p:nvSpPr>
          <p:spPr>
            <a:xfrm>
              <a:off x="15506178" y="6806476"/>
              <a:ext cx="287020" cy="624840"/>
            </a:xfrm>
            <a:custGeom>
              <a:avLst/>
              <a:gdLst/>
              <a:ahLst/>
              <a:cxnLst/>
              <a:rect l="l" t="t" r="r" b="b"/>
              <a:pathLst>
                <a:path w="287019" h="624840">
                  <a:moveTo>
                    <a:pt x="286949" y="624701"/>
                  </a:moveTo>
                  <a:lnTo>
                    <a:pt x="0" y="624701"/>
                  </a:lnTo>
                  <a:lnTo>
                    <a:pt x="0" y="0"/>
                  </a:lnTo>
                  <a:lnTo>
                    <a:pt x="286949" y="0"/>
                  </a:lnTo>
                  <a:lnTo>
                    <a:pt x="286949" y="624701"/>
                  </a:lnTo>
                  <a:close/>
                </a:path>
              </a:pathLst>
            </a:custGeom>
            <a:solidFill>
              <a:srgbClr val="EDEDED"/>
            </a:solidFill>
          </p:spPr>
          <p:txBody>
            <a:bodyPr wrap="square" lIns="0" tIns="0" rIns="0" bIns="0" rtlCol="0"/>
            <a:lstStyle/>
            <a:p>
              <a:endParaRPr/>
            </a:p>
          </p:txBody>
        </p:sp>
        <p:sp>
          <p:nvSpPr>
            <p:cNvPr id="57" name="object 57"/>
            <p:cNvSpPr/>
            <p:nvPr/>
          </p:nvSpPr>
          <p:spPr>
            <a:xfrm>
              <a:off x="15793127" y="6806476"/>
              <a:ext cx="287020" cy="624840"/>
            </a:xfrm>
            <a:custGeom>
              <a:avLst/>
              <a:gdLst/>
              <a:ahLst/>
              <a:cxnLst/>
              <a:rect l="l" t="t" r="r" b="b"/>
              <a:pathLst>
                <a:path w="287019" h="624840">
                  <a:moveTo>
                    <a:pt x="191299" y="624701"/>
                  </a:moveTo>
                  <a:lnTo>
                    <a:pt x="0" y="624701"/>
                  </a:lnTo>
                  <a:lnTo>
                    <a:pt x="0" y="0"/>
                  </a:lnTo>
                  <a:lnTo>
                    <a:pt x="191299" y="0"/>
                  </a:lnTo>
                  <a:lnTo>
                    <a:pt x="228529" y="7553"/>
                  </a:lnTo>
                  <a:lnTo>
                    <a:pt x="258933" y="28150"/>
                  </a:lnTo>
                  <a:lnTo>
                    <a:pt x="279432" y="58699"/>
                  </a:lnTo>
                  <a:lnTo>
                    <a:pt x="286949" y="96107"/>
                  </a:lnTo>
                  <a:lnTo>
                    <a:pt x="286949" y="528593"/>
                  </a:lnTo>
                  <a:lnTo>
                    <a:pt x="279432" y="566001"/>
                  </a:lnTo>
                  <a:lnTo>
                    <a:pt x="258933" y="596550"/>
                  </a:lnTo>
                  <a:lnTo>
                    <a:pt x="228529" y="617148"/>
                  </a:lnTo>
                  <a:lnTo>
                    <a:pt x="191299" y="624701"/>
                  </a:lnTo>
                  <a:close/>
                </a:path>
              </a:pathLst>
            </a:custGeom>
            <a:solidFill>
              <a:srgbClr val="D90F23"/>
            </a:solidFill>
          </p:spPr>
          <p:txBody>
            <a:bodyPr wrap="square" lIns="0" tIns="0" rIns="0" bIns="0" rtlCol="0"/>
            <a:lstStyle/>
            <a:p>
              <a:endParaRPr/>
            </a:p>
          </p:txBody>
        </p:sp>
      </p:grpSp>
      <p:sp>
        <p:nvSpPr>
          <p:cNvPr id="58" name="object 58"/>
          <p:cNvSpPr txBox="1"/>
          <p:nvPr/>
        </p:nvSpPr>
        <p:spPr>
          <a:xfrm>
            <a:off x="15454489" y="7487527"/>
            <a:ext cx="375285" cy="224790"/>
          </a:xfrm>
          <a:prstGeom prst="rect">
            <a:avLst/>
          </a:prstGeom>
        </p:spPr>
        <p:txBody>
          <a:bodyPr vert="horz" wrap="square" lIns="0" tIns="13335" rIns="0" bIns="0" rtlCol="0">
            <a:spAutoFit/>
          </a:bodyPr>
          <a:lstStyle/>
          <a:p>
            <a:pPr marL="12700">
              <a:lnSpc>
                <a:spcPct val="100000"/>
              </a:lnSpc>
              <a:spcBef>
                <a:spcPts val="105"/>
              </a:spcBef>
            </a:pPr>
            <a:r>
              <a:rPr sz="1300" b="1" spc="-20" dirty="0">
                <a:solidFill>
                  <a:srgbClr val="737373"/>
                </a:solidFill>
                <a:latin typeface="Roboto"/>
                <a:cs typeface="Roboto"/>
              </a:rPr>
              <a:t>Perú</a:t>
            </a:r>
            <a:endParaRPr sz="1300">
              <a:latin typeface="Roboto"/>
              <a:cs typeface="Roboto"/>
            </a:endParaRPr>
          </a:p>
        </p:txBody>
      </p:sp>
      <p:grpSp>
        <p:nvGrpSpPr>
          <p:cNvPr id="59" name="object 59"/>
          <p:cNvGrpSpPr/>
          <p:nvPr/>
        </p:nvGrpSpPr>
        <p:grpSpPr>
          <a:xfrm>
            <a:off x="14855995" y="8053261"/>
            <a:ext cx="1568450" cy="1568450"/>
            <a:chOff x="14855995" y="8053261"/>
            <a:chExt cx="1568450" cy="1568450"/>
          </a:xfrm>
        </p:grpSpPr>
        <p:pic>
          <p:nvPicPr>
            <p:cNvPr id="60" name="object 60"/>
            <p:cNvPicPr/>
            <p:nvPr/>
          </p:nvPicPr>
          <p:blipFill>
            <a:blip r:embed="rId12" cstate="print"/>
            <a:stretch>
              <a:fillRect/>
            </a:stretch>
          </p:blipFill>
          <p:spPr>
            <a:xfrm>
              <a:off x="14855995" y="8053261"/>
              <a:ext cx="1568395" cy="1568395"/>
            </a:xfrm>
            <a:prstGeom prst="rect">
              <a:avLst/>
            </a:prstGeom>
          </p:spPr>
        </p:pic>
        <p:pic>
          <p:nvPicPr>
            <p:cNvPr id="61" name="object 61"/>
            <p:cNvPicPr/>
            <p:nvPr/>
          </p:nvPicPr>
          <p:blipFill>
            <a:blip r:embed="rId13" cstate="print"/>
            <a:stretch>
              <a:fillRect/>
            </a:stretch>
          </p:blipFill>
          <p:spPr>
            <a:xfrm>
              <a:off x="14970930" y="8166919"/>
              <a:ext cx="1342443" cy="1342447"/>
            </a:xfrm>
            <a:prstGeom prst="rect">
              <a:avLst/>
            </a:prstGeom>
          </p:spPr>
        </p:pic>
      </p:grpSp>
      <p:sp>
        <p:nvSpPr>
          <p:cNvPr id="62" name="object 62"/>
          <p:cNvSpPr txBox="1"/>
          <p:nvPr/>
        </p:nvSpPr>
        <p:spPr>
          <a:xfrm>
            <a:off x="15365350" y="9085115"/>
            <a:ext cx="529590" cy="224790"/>
          </a:xfrm>
          <a:prstGeom prst="rect">
            <a:avLst/>
          </a:prstGeom>
        </p:spPr>
        <p:txBody>
          <a:bodyPr vert="horz" wrap="square" lIns="0" tIns="13335" rIns="0" bIns="0" rtlCol="0">
            <a:spAutoFit/>
          </a:bodyPr>
          <a:lstStyle/>
          <a:p>
            <a:pPr marL="12700">
              <a:lnSpc>
                <a:spcPct val="100000"/>
              </a:lnSpc>
              <a:spcBef>
                <a:spcPts val="105"/>
              </a:spcBef>
            </a:pPr>
            <a:r>
              <a:rPr sz="1300" b="1" spc="-10" dirty="0">
                <a:solidFill>
                  <a:srgbClr val="737373"/>
                </a:solidFill>
                <a:latin typeface="Roboto"/>
                <a:cs typeface="Roboto"/>
              </a:rPr>
              <a:t>Bolivia</a:t>
            </a:r>
            <a:endParaRPr sz="1300">
              <a:latin typeface="Roboto"/>
              <a:cs typeface="Roboto"/>
            </a:endParaRPr>
          </a:p>
        </p:txBody>
      </p:sp>
      <p:grpSp>
        <p:nvGrpSpPr>
          <p:cNvPr id="63" name="object 63"/>
          <p:cNvGrpSpPr/>
          <p:nvPr/>
        </p:nvGrpSpPr>
        <p:grpSpPr>
          <a:xfrm>
            <a:off x="16425760" y="6456731"/>
            <a:ext cx="1568450" cy="1568450"/>
            <a:chOff x="16425760" y="6456731"/>
            <a:chExt cx="1568450" cy="1568450"/>
          </a:xfrm>
        </p:grpSpPr>
        <p:pic>
          <p:nvPicPr>
            <p:cNvPr id="64" name="object 64"/>
            <p:cNvPicPr/>
            <p:nvPr/>
          </p:nvPicPr>
          <p:blipFill>
            <a:blip r:embed="rId5" cstate="print"/>
            <a:stretch>
              <a:fillRect/>
            </a:stretch>
          </p:blipFill>
          <p:spPr>
            <a:xfrm>
              <a:off x="16425760" y="6456731"/>
              <a:ext cx="1568395" cy="1568395"/>
            </a:xfrm>
            <a:prstGeom prst="rect">
              <a:avLst/>
            </a:prstGeom>
          </p:spPr>
        </p:pic>
        <p:sp>
          <p:nvSpPr>
            <p:cNvPr id="65" name="object 65"/>
            <p:cNvSpPr/>
            <p:nvPr/>
          </p:nvSpPr>
          <p:spPr>
            <a:xfrm>
              <a:off x="16540693" y="6570390"/>
              <a:ext cx="1343025" cy="1343025"/>
            </a:xfrm>
            <a:custGeom>
              <a:avLst/>
              <a:gdLst/>
              <a:ahLst/>
              <a:cxnLst/>
              <a:rect l="l" t="t" r="r" b="b"/>
              <a:pathLst>
                <a:path w="1343025" h="1343025">
                  <a:moveTo>
                    <a:pt x="671223" y="1342447"/>
                  </a:moveTo>
                  <a:lnTo>
                    <a:pt x="623287" y="1340762"/>
                  </a:lnTo>
                  <a:lnTo>
                    <a:pt x="576260" y="1335781"/>
                  </a:lnTo>
                  <a:lnTo>
                    <a:pt x="530257" y="1327620"/>
                  </a:lnTo>
                  <a:lnTo>
                    <a:pt x="485391" y="1316390"/>
                  </a:lnTo>
                  <a:lnTo>
                    <a:pt x="441775" y="1302207"/>
                  </a:lnTo>
                  <a:lnTo>
                    <a:pt x="399523" y="1285183"/>
                  </a:lnTo>
                  <a:lnTo>
                    <a:pt x="358749" y="1265432"/>
                  </a:lnTo>
                  <a:lnTo>
                    <a:pt x="319566" y="1243067"/>
                  </a:lnTo>
                  <a:lnTo>
                    <a:pt x="282088" y="1218203"/>
                  </a:lnTo>
                  <a:lnTo>
                    <a:pt x="246428" y="1190952"/>
                  </a:lnTo>
                  <a:lnTo>
                    <a:pt x="212700" y="1161429"/>
                  </a:lnTo>
                  <a:lnTo>
                    <a:pt x="181017" y="1129746"/>
                  </a:lnTo>
                  <a:lnTo>
                    <a:pt x="151494" y="1096018"/>
                  </a:lnTo>
                  <a:lnTo>
                    <a:pt x="124243" y="1060358"/>
                  </a:lnTo>
                  <a:lnTo>
                    <a:pt x="99379" y="1022880"/>
                  </a:lnTo>
                  <a:lnTo>
                    <a:pt x="77014" y="983697"/>
                  </a:lnTo>
                  <a:lnTo>
                    <a:pt x="57263" y="942923"/>
                  </a:lnTo>
                  <a:lnTo>
                    <a:pt x="40239" y="900671"/>
                  </a:lnTo>
                  <a:lnTo>
                    <a:pt x="26056" y="857055"/>
                  </a:lnTo>
                  <a:lnTo>
                    <a:pt x="14826" y="812189"/>
                  </a:lnTo>
                  <a:lnTo>
                    <a:pt x="6665" y="766186"/>
                  </a:lnTo>
                  <a:lnTo>
                    <a:pt x="1684" y="719159"/>
                  </a:lnTo>
                  <a:lnTo>
                    <a:pt x="0" y="671211"/>
                  </a:lnTo>
                  <a:lnTo>
                    <a:pt x="1684" y="623287"/>
                  </a:lnTo>
                  <a:lnTo>
                    <a:pt x="6665" y="576261"/>
                  </a:lnTo>
                  <a:lnTo>
                    <a:pt x="14826" y="530258"/>
                  </a:lnTo>
                  <a:lnTo>
                    <a:pt x="26056" y="485392"/>
                  </a:lnTo>
                  <a:lnTo>
                    <a:pt x="40239" y="441776"/>
                  </a:lnTo>
                  <a:lnTo>
                    <a:pt x="57263" y="399524"/>
                  </a:lnTo>
                  <a:lnTo>
                    <a:pt x="77014" y="358750"/>
                  </a:lnTo>
                  <a:lnTo>
                    <a:pt x="99379" y="319567"/>
                  </a:lnTo>
                  <a:lnTo>
                    <a:pt x="124243" y="282089"/>
                  </a:lnTo>
                  <a:lnTo>
                    <a:pt x="151494" y="246429"/>
                  </a:lnTo>
                  <a:lnTo>
                    <a:pt x="181017" y="212701"/>
                  </a:lnTo>
                  <a:lnTo>
                    <a:pt x="212700" y="181018"/>
                  </a:lnTo>
                  <a:lnTo>
                    <a:pt x="246428" y="151495"/>
                  </a:lnTo>
                  <a:lnTo>
                    <a:pt x="282088" y="124244"/>
                  </a:lnTo>
                  <a:lnTo>
                    <a:pt x="319566" y="99380"/>
                  </a:lnTo>
                  <a:lnTo>
                    <a:pt x="358749" y="77015"/>
                  </a:lnTo>
                  <a:lnTo>
                    <a:pt x="399523" y="57264"/>
                  </a:lnTo>
                  <a:lnTo>
                    <a:pt x="441775" y="40240"/>
                  </a:lnTo>
                  <a:lnTo>
                    <a:pt x="485391" y="26056"/>
                  </a:lnTo>
                  <a:lnTo>
                    <a:pt x="530257" y="14827"/>
                  </a:lnTo>
                  <a:lnTo>
                    <a:pt x="576260" y="6665"/>
                  </a:lnTo>
                  <a:lnTo>
                    <a:pt x="623287" y="1685"/>
                  </a:lnTo>
                  <a:lnTo>
                    <a:pt x="671223" y="0"/>
                  </a:lnTo>
                  <a:lnTo>
                    <a:pt x="719159" y="1685"/>
                  </a:lnTo>
                  <a:lnTo>
                    <a:pt x="766185" y="6665"/>
                  </a:lnTo>
                  <a:lnTo>
                    <a:pt x="812189" y="14827"/>
                  </a:lnTo>
                  <a:lnTo>
                    <a:pt x="857055" y="26056"/>
                  </a:lnTo>
                  <a:lnTo>
                    <a:pt x="900671" y="40240"/>
                  </a:lnTo>
                  <a:lnTo>
                    <a:pt x="942922" y="57264"/>
                  </a:lnTo>
                  <a:lnTo>
                    <a:pt x="983697" y="77015"/>
                  </a:lnTo>
                  <a:lnTo>
                    <a:pt x="1022880" y="99380"/>
                  </a:lnTo>
                  <a:lnTo>
                    <a:pt x="1060358" y="124244"/>
                  </a:lnTo>
                  <a:lnTo>
                    <a:pt x="1096018" y="151495"/>
                  </a:lnTo>
                  <a:lnTo>
                    <a:pt x="1129746" y="181018"/>
                  </a:lnTo>
                  <a:lnTo>
                    <a:pt x="1161428" y="212701"/>
                  </a:lnTo>
                  <a:lnTo>
                    <a:pt x="1190952" y="246429"/>
                  </a:lnTo>
                  <a:lnTo>
                    <a:pt x="1218202" y="282089"/>
                  </a:lnTo>
                  <a:lnTo>
                    <a:pt x="1243067" y="319567"/>
                  </a:lnTo>
                  <a:lnTo>
                    <a:pt x="1265431" y="358750"/>
                  </a:lnTo>
                  <a:lnTo>
                    <a:pt x="1285183" y="399524"/>
                  </a:lnTo>
                  <a:lnTo>
                    <a:pt x="1302207" y="441776"/>
                  </a:lnTo>
                  <a:lnTo>
                    <a:pt x="1316390" y="485392"/>
                  </a:lnTo>
                  <a:lnTo>
                    <a:pt x="1327620" y="530258"/>
                  </a:lnTo>
                  <a:lnTo>
                    <a:pt x="1335781" y="576261"/>
                  </a:lnTo>
                  <a:lnTo>
                    <a:pt x="1340761" y="623287"/>
                  </a:lnTo>
                  <a:lnTo>
                    <a:pt x="1342446" y="671223"/>
                  </a:lnTo>
                  <a:lnTo>
                    <a:pt x="1340761" y="719159"/>
                  </a:lnTo>
                  <a:lnTo>
                    <a:pt x="1335781" y="766186"/>
                  </a:lnTo>
                  <a:lnTo>
                    <a:pt x="1327620" y="812189"/>
                  </a:lnTo>
                  <a:lnTo>
                    <a:pt x="1316390" y="857055"/>
                  </a:lnTo>
                  <a:lnTo>
                    <a:pt x="1302207" y="900671"/>
                  </a:lnTo>
                  <a:lnTo>
                    <a:pt x="1285183" y="942923"/>
                  </a:lnTo>
                  <a:lnTo>
                    <a:pt x="1265431" y="983697"/>
                  </a:lnTo>
                  <a:lnTo>
                    <a:pt x="1243067" y="1022880"/>
                  </a:lnTo>
                  <a:lnTo>
                    <a:pt x="1218202" y="1060358"/>
                  </a:lnTo>
                  <a:lnTo>
                    <a:pt x="1190952" y="1096018"/>
                  </a:lnTo>
                  <a:lnTo>
                    <a:pt x="1161428" y="1129746"/>
                  </a:lnTo>
                  <a:lnTo>
                    <a:pt x="1129746" y="1161429"/>
                  </a:lnTo>
                  <a:lnTo>
                    <a:pt x="1096018" y="1190952"/>
                  </a:lnTo>
                  <a:lnTo>
                    <a:pt x="1060358" y="1218203"/>
                  </a:lnTo>
                  <a:lnTo>
                    <a:pt x="1022880" y="1243067"/>
                  </a:lnTo>
                  <a:lnTo>
                    <a:pt x="983697" y="1265432"/>
                  </a:lnTo>
                  <a:lnTo>
                    <a:pt x="942922" y="1285183"/>
                  </a:lnTo>
                  <a:lnTo>
                    <a:pt x="900671" y="1302207"/>
                  </a:lnTo>
                  <a:lnTo>
                    <a:pt x="857055" y="1316390"/>
                  </a:lnTo>
                  <a:lnTo>
                    <a:pt x="812189" y="1327620"/>
                  </a:lnTo>
                  <a:lnTo>
                    <a:pt x="766185" y="1335781"/>
                  </a:lnTo>
                  <a:lnTo>
                    <a:pt x="719159" y="1340762"/>
                  </a:lnTo>
                  <a:lnTo>
                    <a:pt x="671223" y="1342447"/>
                  </a:lnTo>
                  <a:close/>
                </a:path>
              </a:pathLst>
            </a:custGeom>
            <a:solidFill>
              <a:srgbClr val="FFFFFF"/>
            </a:solidFill>
          </p:spPr>
          <p:txBody>
            <a:bodyPr wrap="square" lIns="0" tIns="0" rIns="0" bIns="0" rtlCol="0"/>
            <a:lstStyle/>
            <a:p>
              <a:endParaRPr/>
            </a:p>
          </p:txBody>
        </p:sp>
        <p:sp>
          <p:nvSpPr>
            <p:cNvPr id="66" name="object 66"/>
            <p:cNvSpPr/>
            <p:nvPr/>
          </p:nvSpPr>
          <p:spPr>
            <a:xfrm>
              <a:off x="16826907" y="6864133"/>
              <a:ext cx="778510" cy="283210"/>
            </a:xfrm>
            <a:custGeom>
              <a:avLst/>
              <a:gdLst/>
              <a:ahLst/>
              <a:cxnLst/>
              <a:rect l="l" t="t" r="r" b="b"/>
              <a:pathLst>
                <a:path w="778509" h="283209">
                  <a:moveTo>
                    <a:pt x="778301" y="282895"/>
                  </a:moveTo>
                  <a:lnTo>
                    <a:pt x="0" y="282895"/>
                  </a:lnTo>
                  <a:lnTo>
                    <a:pt x="0" y="87044"/>
                  </a:lnTo>
                  <a:lnTo>
                    <a:pt x="6796" y="53164"/>
                  </a:lnTo>
                  <a:lnTo>
                    <a:pt x="25329" y="25495"/>
                  </a:lnTo>
                  <a:lnTo>
                    <a:pt x="52818" y="6840"/>
                  </a:lnTo>
                  <a:lnTo>
                    <a:pt x="86477" y="0"/>
                  </a:lnTo>
                  <a:lnTo>
                    <a:pt x="691823" y="0"/>
                  </a:lnTo>
                  <a:lnTo>
                    <a:pt x="725483" y="6840"/>
                  </a:lnTo>
                  <a:lnTo>
                    <a:pt x="752971" y="25495"/>
                  </a:lnTo>
                  <a:lnTo>
                    <a:pt x="771505" y="53164"/>
                  </a:lnTo>
                  <a:lnTo>
                    <a:pt x="778301" y="87044"/>
                  </a:lnTo>
                  <a:lnTo>
                    <a:pt x="778301" y="282895"/>
                  </a:lnTo>
                  <a:close/>
                </a:path>
              </a:pathLst>
            </a:custGeom>
            <a:solidFill>
              <a:srgbClr val="FAD016"/>
            </a:solidFill>
          </p:spPr>
          <p:txBody>
            <a:bodyPr wrap="square" lIns="0" tIns="0" rIns="0" bIns="0" rtlCol="0"/>
            <a:lstStyle/>
            <a:p>
              <a:endParaRPr/>
            </a:p>
          </p:txBody>
        </p:sp>
        <p:sp>
          <p:nvSpPr>
            <p:cNvPr id="67" name="object 67"/>
            <p:cNvSpPr/>
            <p:nvPr/>
          </p:nvSpPr>
          <p:spPr>
            <a:xfrm>
              <a:off x="16826907" y="7147028"/>
              <a:ext cx="778510" cy="152400"/>
            </a:xfrm>
            <a:custGeom>
              <a:avLst/>
              <a:gdLst/>
              <a:ahLst/>
              <a:cxnLst/>
              <a:rect l="l" t="t" r="r" b="b"/>
              <a:pathLst>
                <a:path w="778509" h="152400">
                  <a:moveTo>
                    <a:pt x="778301" y="152328"/>
                  </a:moveTo>
                  <a:lnTo>
                    <a:pt x="0" y="152328"/>
                  </a:lnTo>
                  <a:lnTo>
                    <a:pt x="0" y="0"/>
                  </a:lnTo>
                  <a:lnTo>
                    <a:pt x="778301" y="0"/>
                  </a:lnTo>
                  <a:lnTo>
                    <a:pt x="778301" y="152328"/>
                  </a:lnTo>
                  <a:close/>
                </a:path>
              </a:pathLst>
            </a:custGeom>
            <a:solidFill>
              <a:srgbClr val="21408B"/>
            </a:solidFill>
          </p:spPr>
          <p:txBody>
            <a:bodyPr wrap="square" lIns="0" tIns="0" rIns="0" bIns="0" rtlCol="0"/>
            <a:lstStyle/>
            <a:p>
              <a:endParaRPr/>
            </a:p>
          </p:txBody>
        </p:sp>
        <p:sp>
          <p:nvSpPr>
            <p:cNvPr id="68" name="object 68"/>
            <p:cNvSpPr/>
            <p:nvPr/>
          </p:nvSpPr>
          <p:spPr>
            <a:xfrm>
              <a:off x="16826907" y="7299357"/>
              <a:ext cx="778510" cy="130810"/>
            </a:xfrm>
            <a:custGeom>
              <a:avLst/>
              <a:gdLst/>
              <a:ahLst/>
              <a:cxnLst/>
              <a:rect l="l" t="t" r="r" b="b"/>
              <a:pathLst>
                <a:path w="778509" h="130809">
                  <a:moveTo>
                    <a:pt x="691823" y="130567"/>
                  </a:moveTo>
                  <a:lnTo>
                    <a:pt x="86477" y="130567"/>
                  </a:lnTo>
                  <a:lnTo>
                    <a:pt x="52818" y="123726"/>
                  </a:lnTo>
                  <a:lnTo>
                    <a:pt x="25329" y="105071"/>
                  </a:lnTo>
                  <a:lnTo>
                    <a:pt x="6796" y="77402"/>
                  </a:lnTo>
                  <a:lnTo>
                    <a:pt x="0" y="43522"/>
                  </a:lnTo>
                  <a:lnTo>
                    <a:pt x="0" y="0"/>
                  </a:lnTo>
                  <a:lnTo>
                    <a:pt x="778301" y="0"/>
                  </a:lnTo>
                  <a:lnTo>
                    <a:pt x="778301" y="43522"/>
                  </a:lnTo>
                  <a:lnTo>
                    <a:pt x="771505" y="77402"/>
                  </a:lnTo>
                  <a:lnTo>
                    <a:pt x="752971" y="105071"/>
                  </a:lnTo>
                  <a:lnTo>
                    <a:pt x="725483" y="123726"/>
                  </a:lnTo>
                  <a:lnTo>
                    <a:pt x="691823" y="130567"/>
                  </a:lnTo>
                  <a:close/>
                </a:path>
              </a:pathLst>
            </a:custGeom>
            <a:solidFill>
              <a:srgbClr val="CD2028"/>
            </a:solidFill>
          </p:spPr>
          <p:txBody>
            <a:bodyPr wrap="square" lIns="0" tIns="0" rIns="0" bIns="0" rtlCol="0"/>
            <a:lstStyle/>
            <a:p>
              <a:endParaRPr/>
            </a:p>
          </p:txBody>
        </p:sp>
      </p:grpSp>
      <p:sp>
        <p:nvSpPr>
          <p:cNvPr id="69" name="object 69"/>
          <p:cNvSpPr txBox="1"/>
          <p:nvPr/>
        </p:nvSpPr>
        <p:spPr>
          <a:xfrm>
            <a:off x="16814207" y="7488587"/>
            <a:ext cx="735330" cy="224790"/>
          </a:xfrm>
          <a:prstGeom prst="rect">
            <a:avLst/>
          </a:prstGeom>
        </p:spPr>
        <p:txBody>
          <a:bodyPr vert="horz" wrap="square" lIns="0" tIns="13335" rIns="0" bIns="0" rtlCol="0">
            <a:spAutoFit/>
          </a:bodyPr>
          <a:lstStyle/>
          <a:p>
            <a:pPr marL="12700">
              <a:lnSpc>
                <a:spcPct val="100000"/>
              </a:lnSpc>
              <a:spcBef>
                <a:spcPts val="105"/>
              </a:spcBef>
            </a:pPr>
            <a:r>
              <a:rPr sz="1300" b="1" spc="-10" dirty="0">
                <a:solidFill>
                  <a:srgbClr val="737373"/>
                </a:solidFill>
                <a:latin typeface="Roboto"/>
                <a:cs typeface="Roboto"/>
              </a:rPr>
              <a:t>Colombia</a:t>
            </a:r>
            <a:endParaRPr sz="1300">
              <a:latin typeface="Roboto"/>
              <a:cs typeface="Roboto"/>
            </a:endParaRPr>
          </a:p>
        </p:txBody>
      </p:sp>
      <p:grpSp>
        <p:nvGrpSpPr>
          <p:cNvPr id="70" name="object 70"/>
          <p:cNvGrpSpPr/>
          <p:nvPr/>
        </p:nvGrpSpPr>
        <p:grpSpPr>
          <a:xfrm>
            <a:off x="16425760" y="8053261"/>
            <a:ext cx="1568450" cy="1568450"/>
            <a:chOff x="16425760" y="8053261"/>
            <a:chExt cx="1568450" cy="1568450"/>
          </a:xfrm>
        </p:grpSpPr>
        <p:pic>
          <p:nvPicPr>
            <p:cNvPr id="71" name="object 71"/>
            <p:cNvPicPr/>
            <p:nvPr/>
          </p:nvPicPr>
          <p:blipFill>
            <a:blip r:embed="rId5" cstate="print"/>
            <a:stretch>
              <a:fillRect/>
            </a:stretch>
          </p:blipFill>
          <p:spPr>
            <a:xfrm>
              <a:off x="16425760" y="8053261"/>
              <a:ext cx="1568395" cy="1568395"/>
            </a:xfrm>
            <a:prstGeom prst="rect">
              <a:avLst/>
            </a:prstGeom>
          </p:spPr>
        </p:pic>
        <p:sp>
          <p:nvSpPr>
            <p:cNvPr id="72" name="object 72"/>
            <p:cNvSpPr/>
            <p:nvPr/>
          </p:nvSpPr>
          <p:spPr>
            <a:xfrm>
              <a:off x="16540693" y="8166919"/>
              <a:ext cx="1343025" cy="1343025"/>
            </a:xfrm>
            <a:custGeom>
              <a:avLst/>
              <a:gdLst/>
              <a:ahLst/>
              <a:cxnLst/>
              <a:rect l="l" t="t" r="r" b="b"/>
              <a:pathLst>
                <a:path w="1343025" h="1343025">
                  <a:moveTo>
                    <a:pt x="671223" y="1342447"/>
                  </a:moveTo>
                  <a:lnTo>
                    <a:pt x="623287" y="1340762"/>
                  </a:lnTo>
                  <a:lnTo>
                    <a:pt x="576260" y="1335781"/>
                  </a:lnTo>
                  <a:lnTo>
                    <a:pt x="530257" y="1327620"/>
                  </a:lnTo>
                  <a:lnTo>
                    <a:pt x="485391" y="1316390"/>
                  </a:lnTo>
                  <a:lnTo>
                    <a:pt x="441775" y="1302207"/>
                  </a:lnTo>
                  <a:lnTo>
                    <a:pt x="399523" y="1285183"/>
                  </a:lnTo>
                  <a:lnTo>
                    <a:pt x="358749" y="1265432"/>
                  </a:lnTo>
                  <a:lnTo>
                    <a:pt x="319566" y="1243067"/>
                  </a:lnTo>
                  <a:lnTo>
                    <a:pt x="282088" y="1218203"/>
                  </a:lnTo>
                  <a:lnTo>
                    <a:pt x="246428" y="1190952"/>
                  </a:lnTo>
                  <a:lnTo>
                    <a:pt x="212700" y="1161429"/>
                  </a:lnTo>
                  <a:lnTo>
                    <a:pt x="181017" y="1129746"/>
                  </a:lnTo>
                  <a:lnTo>
                    <a:pt x="151494" y="1096018"/>
                  </a:lnTo>
                  <a:lnTo>
                    <a:pt x="124243" y="1060358"/>
                  </a:lnTo>
                  <a:lnTo>
                    <a:pt x="99379" y="1022880"/>
                  </a:lnTo>
                  <a:lnTo>
                    <a:pt x="77014" y="983697"/>
                  </a:lnTo>
                  <a:lnTo>
                    <a:pt x="57263" y="942923"/>
                  </a:lnTo>
                  <a:lnTo>
                    <a:pt x="40239" y="900671"/>
                  </a:lnTo>
                  <a:lnTo>
                    <a:pt x="26056" y="857055"/>
                  </a:lnTo>
                  <a:lnTo>
                    <a:pt x="14826" y="812189"/>
                  </a:lnTo>
                  <a:lnTo>
                    <a:pt x="6665" y="766186"/>
                  </a:lnTo>
                  <a:lnTo>
                    <a:pt x="1684" y="719159"/>
                  </a:lnTo>
                  <a:lnTo>
                    <a:pt x="0" y="671211"/>
                  </a:lnTo>
                  <a:lnTo>
                    <a:pt x="1684" y="623287"/>
                  </a:lnTo>
                  <a:lnTo>
                    <a:pt x="6665" y="576261"/>
                  </a:lnTo>
                  <a:lnTo>
                    <a:pt x="14826" y="530258"/>
                  </a:lnTo>
                  <a:lnTo>
                    <a:pt x="26056" y="485392"/>
                  </a:lnTo>
                  <a:lnTo>
                    <a:pt x="40239" y="441776"/>
                  </a:lnTo>
                  <a:lnTo>
                    <a:pt x="57263" y="399524"/>
                  </a:lnTo>
                  <a:lnTo>
                    <a:pt x="77014" y="358750"/>
                  </a:lnTo>
                  <a:lnTo>
                    <a:pt x="99379" y="319567"/>
                  </a:lnTo>
                  <a:lnTo>
                    <a:pt x="124243" y="282089"/>
                  </a:lnTo>
                  <a:lnTo>
                    <a:pt x="151494" y="246429"/>
                  </a:lnTo>
                  <a:lnTo>
                    <a:pt x="181017" y="212701"/>
                  </a:lnTo>
                  <a:lnTo>
                    <a:pt x="212700" y="181018"/>
                  </a:lnTo>
                  <a:lnTo>
                    <a:pt x="246428" y="151495"/>
                  </a:lnTo>
                  <a:lnTo>
                    <a:pt x="282088" y="124244"/>
                  </a:lnTo>
                  <a:lnTo>
                    <a:pt x="319566" y="99380"/>
                  </a:lnTo>
                  <a:lnTo>
                    <a:pt x="358749" y="77015"/>
                  </a:lnTo>
                  <a:lnTo>
                    <a:pt x="399523" y="57264"/>
                  </a:lnTo>
                  <a:lnTo>
                    <a:pt x="441775" y="40240"/>
                  </a:lnTo>
                  <a:lnTo>
                    <a:pt x="485391" y="26056"/>
                  </a:lnTo>
                  <a:lnTo>
                    <a:pt x="530257" y="14827"/>
                  </a:lnTo>
                  <a:lnTo>
                    <a:pt x="576260" y="6665"/>
                  </a:lnTo>
                  <a:lnTo>
                    <a:pt x="623287" y="1685"/>
                  </a:lnTo>
                  <a:lnTo>
                    <a:pt x="671223" y="0"/>
                  </a:lnTo>
                  <a:lnTo>
                    <a:pt x="719159" y="1685"/>
                  </a:lnTo>
                  <a:lnTo>
                    <a:pt x="766185" y="6665"/>
                  </a:lnTo>
                  <a:lnTo>
                    <a:pt x="812189" y="14827"/>
                  </a:lnTo>
                  <a:lnTo>
                    <a:pt x="857055" y="26056"/>
                  </a:lnTo>
                  <a:lnTo>
                    <a:pt x="900671" y="40240"/>
                  </a:lnTo>
                  <a:lnTo>
                    <a:pt x="942922" y="57264"/>
                  </a:lnTo>
                  <a:lnTo>
                    <a:pt x="983697" y="77015"/>
                  </a:lnTo>
                  <a:lnTo>
                    <a:pt x="1022880" y="99380"/>
                  </a:lnTo>
                  <a:lnTo>
                    <a:pt x="1060358" y="124244"/>
                  </a:lnTo>
                  <a:lnTo>
                    <a:pt x="1096018" y="151495"/>
                  </a:lnTo>
                  <a:lnTo>
                    <a:pt x="1129746" y="181018"/>
                  </a:lnTo>
                  <a:lnTo>
                    <a:pt x="1161428" y="212701"/>
                  </a:lnTo>
                  <a:lnTo>
                    <a:pt x="1190952" y="246429"/>
                  </a:lnTo>
                  <a:lnTo>
                    <a:pt x="1218202" y="282089"/>
                  </a:lnTo>
                  <a:lnTo>
                    <a:pt x="1243067" y="319567"/>
                  </a:lnTo>
                  <a:lnTo>
                    <a:pt x="1265431" y="358750"/>
                  </a:lnTo>
                  <a:lnTo>
                    <a:pt x="1285183" y="399524"/>
                  </a:lnTo>
                  <a:lnTo>
                    <a:pt x="1302207" y="441776"/>
                  </a:lnTo>
                  <a:lnTo>
                    <a:pt x="1316390" y="485392"/>
                  </a:lnTo>
                  <a:lnTo>
                    <a:pt x="1327620" y="530258"/>
                  </a:lnTo>
                  <a:lnTo>
                    <a:pt x="1335781" y="576261"/>
                  </a:lnTo>
                  <a:lnTo>
                    <a:pt x="1340761" y="623287"/>
                  </a:lnTo>
                  <a:lnTo>
                    <a:pt x="1342446" y="671223"/>
                  </a:lnTo>
                  <a:lnTo>
                    <a:pt x="1340761" y="719159"/>
                  </a:lnTo>
                  <a:lnTo>
                    <a:pt x="1335781" y="766186"/>
                  </a:lnTo>
                  <a:lnTo>
                    <a:pt x="1327620" y="812189"/>
                  </a:lnTo>
                  <a:lnTo>
                    <a:pt x="1316390" y="857055"/>
                  </a:lnTo>
                  <a:lnTo>
                    <a:pt x="1302207" y="900671"/>
                  </a:lnTo>
                  <a:lnTo>
                    <a:pt x="1285183" y="942923"/>
                  </a:lnTo>
                  <a:lnTo>
                    <a:pt x="1265431" y="983697"/>
                  </a:lnTo>
                  <a:lnTo>
                    <a:pt x="1243067" y="1022880"/>
                  </a:lnTo>
                  <a:lnTo>
                    <a:pt x="1218202" y="1060358"/>
                  </a:lnTo>
                  <a:lnTo>
                    <a:pt x="1190952" y="1096018"/>
                  </a:lnTo>
                  <a:lnTo>
                    <a:pt x="1161428" y="1129746"/>
                  </a:lnTo>
                  <a:lnTo>
                    <a:pt x="1129746" y="1161429"/>
                  </a:lnTo>
                  <a:lnTo>
                    <a:pt x="1096018" y="1190952"/>
                  </a:lnTo>
                  <a:lnTo>
                    <a:pt x="1060358" y="1218203"/>
                  </a:lnTo>
                  <a:lnTo>
                    <a:pt x="1022880" y="1243067"/>
                  </a:lnTo>
                  <a:lnTo>
                    <a:pt x="983697" y="1265432"/>
                  </a:lnTo>
                  <a:lnTo>
                    <a:pt x="942922" y="1285183"/>
                  </a:lnTo>
                  <a:lnTo>
                    <a:pt x="900671" y="1302207"/>
                  </a:lnTo>
                  <a:lnTo>
                    <a:pt x="857055" y="1316390"/>
                  </a:lnTo>
                  <a:lnTo>
                    <a:pt x="812189" y="1327620"/>
                  </a:lnTo>
                  <a:lnTo>
                    <a:pt x="766185" y="1335781"/>
                  </a:lnTo>
                  <a:lnTo>
                    <a:pt x="719159" y="1340762"/>
                  </a:lnTo>
                  <a:lnTo>
                    <a:pt x="671223" y="1342447"/>
                  </a:lnTo>
                  <a:close/>
                </a:path>
              </a:pathLst>
            </a:custGeom>
            <a:solidFill>
              <a:srgbClr val="FFFFFF"/>
            </a:solidFill>
          </p:spPr>
          <p:txBody>
            <a:bodyPr wrap="square" lIns="0" tIns="0" rIns="0" bIns="0" rtlCol="0"/>
            <a:lstStyle/>
            <a:p>
              <a:endParaRPr/>
            </a:p>
          </p:txBody>
        </p:sp>
        <p:sp>
          <p:nvSpPr>
            <p:cNvPr id="73" name="object 73"/>
            <p:cNvSpPr/>
            <p:nvPr/>
          </p:nvSpPr>
          <p:spPr>
            <a:xfrm>
              <a:off x="16780078" y="8408198"/>
              <a:ext cx="872490" cy="636905"/>
            </a:xfrm>
            <a:custGeom>
              <a:avLst/>
              <a:gdLst/>
              <a:ahLst/>
              <a:cxnLst/>
              <a:rect l="l" t="t" r="r" b="b"/>
              <a:pathLst>
                <a:path w="872490" h="636904">
                  <a:moveTo>
                    <a:pt x="775128" y="636791"/>
                  </a:moveTo>
                  <a:lnTo>
                    <a:pt x="96891" y="636791"/>
                  </a:lnTo>
                  <a:lnTo>
                    <a:pt x="59178" y="629092"/>
                  </a:lnTo>
                  <a:lnTo>
                    <a:pt x="28379" y="608096"/>
                  </a:lnTo>
                  <a:lnTo>
                    <a:pt x="7614" y="576956"/>
                  </a:lnTo>
                  <a:lnTo>
                    <a:pt x="0" y="538823"/>
                  </a:lnTo>
                  <a:lnTo>
                    <a:pt x="0" y="97967"/>
                  </a:lnTo>
                  <a:lnTo>
                    <a:pt x="7614" y="59835"/>
                  </a:lnTo>
                  <a:lnTo>
                    <a:pt x="28379" y="28695"/>
                  </a:lnTo>
                  <a:lnTo>
                    <a:pt x="59178" y="7699"/>
                  </a:lnTo>
                  <a:lnTo>
                    <a:pt x="96891" y="0"/>
                  </a:lnTo>
                  <a:lnTo>
                    <a:pt x="775128" y="0"/>
                  </a:lnTo>
                  <a:lnTo>
                    <a:pt x="812841" y="7699"/>
                  </a:lnTo>
                  <a:lnTo>
                    <a:pt x="843639" y="28695"/>
                  </a:lnTo>
                  <a:lnTo>
                    <a:pt x="864404" y="59835"/>
                  </a:lnTo>
                  <a:lnTo>
                    <a:pt x="872019" y="97967"/>
                  </a:lnTo>
                  <a:lnTo>
                    <a:pt x="872019" y="538823"/>
                  </a:lnTo>
                  <a:lnTo>
                    <a:pt x="864404" y="576956"/>
                  </a:lnTo>
                  <a:lnTo>
                    <a:pt x="843639" y="608096"/>
                  </a:lnTo>
                  <a:lnTo>
                    <a:pt x="812841" y="629092"/>
                  </a:lnTo>
                  <a:lnTo>
                    <a:pt x="775128" y="636791"/>
                  </a:lnTo>
                  <a:close/>
                </a:path>
              </a:pathLst>
            </a:custGeom>
            <a:solidFill>
              <a:srgbClr val="EC1B23"/>
            </a:solidFill>
          </p:spPr>
          <p:txBody>
            <a:bodyPr wrap="square" lIns="0" tIns="0" rIns="0" bIns="0" rtlCol="0"/>
            <a:lstStyle/>
            <a:p>
              <a:endParaRPr/>
            </a:p>
          </p:txBody>
        </p:sp>
        <p:sp>
          <p:nvSpPr>
            <p:cNvPr id="74" name="object 74"/>
            <p:cNvSpPr/>
            <p:nvPr/>
          </p:nvSpPr>
          <p:spPr>
            <a:xfrm>
              <a:off x="16780078" y="8702102"/>
              <a:ext cx="872490" cy="171450"/>
            </a:xfrm>
            <a:custGeom>
              <a:avLst/>
              <a:gdLst/>
              <a:ahLst/>
              <a:cxnLst/>
              <a:rect l="l" t="t" r="r" b="b"/>
              <a:pathLst>
                <a:path w="872490" h="171450">
                  <a:moveTo>
                    <a:pt x="872019" y="171443"/>
                  </a:moveTo>
                  <a:lnTo>
                    <a:pt x="0" y="171443"/>
                  </a:lnTo>
                  <a:lnTo>
                    <a:pt x="0" y="0"/>
                  </a:lnTo>
                  <a:lnTo>
                    <a:pt x="872019" y="0"/>
                  </a:lnTo>
                  <a:lnTo>
                    <a:pt x="872019" y="171443"/>
                  </a:lnTo>
                  <a:close/>
                </a:path>
              </a:pathLst>
            </a:custGeom>
            <a:solidFill>
              <a:srgbClr val="034EA2"/>
            </a:solidFill>
          </p:spPr>
          <p:txBody>
            <a:bodyPr wrap="square" lIns="0" tIns="0" rIns="0" bIns="0" rtlCol="0"/>
            <a:lstStyle/>
            <a:p>
              <a:endParaRPr/>
            </a:p>
          </p:txBody>
        </p:sp>
        <p:sp>
          <p:nvSpPr>
            <p:cNvPr id="75" name="object 75"/>
            <p:cNvSpPr/>
            <p:nvPr/>
          </p:nvSpPr>
          <p:spPr>
            <a:xfrm>
              <a:off x="16780078" y="8408198"/>
              <a:ext cx="872490" cy="294005"/>
            </a:xfrm>
            <a:custGeom>
              <a:avLst/>
              <a:gdLst/>
              <a:ahLst/>
              <a:cxnLst/>
              <a:rect l="l" t="t" r="r" b="b"/>
              <a:pathLst>
                <a:path w="872490" h="294004">
                  <a:moveTo>
                    <a:pt x="872019" y="293903"/>
                  </a:moveTo>
                  <a:lnTo>
                    <a:pt x="0" y="293903"/>
                  </a:lnTo>
                  <a:lnTo>
                    <a:pt x="0" y="97967"/>
                  </a:lnTo>
                  <a:lnTo>
                    <a:pt x="7614" y="59835"/>
                  </a:lnTo>
                  <a:lnTo>
                    <a:pt x="28379" y="28695"/>
                  </a:lnTo>
                  <a:lnTo>
                    <a:pt x="59178" y="7699"/>
                  </a:lnTo>
                  <a:lnTo>
                    <a:pt x="96891" y="0"/>
                  </a:lnTo>
                  <a:lnTo>
                    <a:pt x="775128" y="0"/>
                  </a:lnTo>
                  <a:lnTo>
                    <a:pt x="812841" y="7699"/>
                  </a:lnTo>
                  <a:lnTo>
                    <a:pt x="843639" y="28695"/>
                  </a:lnTo>
                  <a:lnTo>
                    <a:pt x="864404" y="59835"/>
                  </a:lnTo>
                  <a:lnTo>
                    <a:pt x="872019" y="97967"/>
                  </a:lnTo>
                  <a:lnTo>
                    <a:pt x="872019" y="293903"/>
                  </a:lnTo>
                  <a:close/>
                </a:path>
              </a:pathLst>
            </a:custGeom>
            <a:solidFill>
              <a:srgbClr val="FFDD00"/>
            </a:solidFill>
          </p:spPr>
          <p:txBody>
            <a:bodyPr wrap="square" lIns="0" tIns="0" rIns="0" bIns="0" rtlCol="0"/>
            <a:lstStyle/>
            <a:p>
              <a:endParaRPr/>
            </a:p>
          </p:txBody>
        </p:sp>
        <p:pic>
          <p:nvPicPr>
            <p:cNvPr id="76" name="object 76"/>
            <p:cNvPicPr/>
            <p:nvPr/>
          </p:nvPicPr>
          <p:blipFill>
            <a:blip r:embed="rId14" cstate="print"/>
            <a:stretch>
              <a:fillRect/>
            </a:stretch>
          </p:blipFill>
          <p:spPr>
            <a:xfrm>
              <a:off x="17070751" y="8549446"/>
              <a:ext cx="290673" cy="324099"/>
            </a:xfrm>
            <a:prstGeom prst="rect">
              <a:avLst/>
            </a:prstGeom>
          </p:spPr>
        </p:pic>
      </p:grpSp>
      <p:sp>
        <p:nvSpPr>
          <p:cNvPr id="77" name="object 77"/>
          <p:cNvSpPr txBox="1"/>
          <p:nvPr/>
        </p:nvSpPr>
        <p:spPr>
          <a:xfrm>
            <a:off x="16894373" y="9085115"/>
            <a:ext cx="634365" cy="224790"/>
          </a:xfrm>
          <a:prstGeom prst="rect">
            <a:avLst/>
          </a:prstGeom>
        </p:spPr>
        <p:txBody>
          <a:bodyPr vert="horz" wrap="square" lIns="0" tIns="13335" rIns="0" bIns="0" rtlCol="0">
            <a:spAutoFit/>
          </a:bodyPr>
          <a:lstStyle/>
          <a:p>
            <a:pPr marL="12700">
              <a:lnSpc>
                <a:spcPct val="100000"/>
              </a:lnSpc>
              <a:spcBef>
                <a:spcPts val="105"/>
              </a:spcBef>
            </a:pPr>
            <a:r>
              <a:rPr sz="1300" b="1" spc="-10" dirty="0">
                <a:solidFill>
                  <a:srgbClr val="737373"/>
                </a:solidFill>
                <a:latin typeface="Roboto"/>
                <a:cs typeface="Roboto"/>
              </a:rPr>
              <a:t>Ecuador</a:t>
            </a:r>
            <a:endParaRPr sz="1300">
              <a:latin typeface="Roboto"/>
              <a:cs typeface="Roboto"/>
            </a:endParaRPr>
          </a:p>
        </p:txBody>
      </p:sp>
      <p:sp>
        <p:nvSpPr>
          <p:cNvPr id="78" name="object 78"/>
          <p:cNvSpPr txBox="1"/>
          <p:nvPr/>
        </p:nvSpPr>
        <p:spPr>
          <a:xfrm>
            <a:off x="13730985" y="5296766"/>
            <a:ext cx="2683510" cy="697230"/>
          </a:xfrm>
          <a:prstGeom prst="rect">
            <a:avLst/>
          </a:prstGeom>
        </p:spPr>
        <p:txBody>
          <a:bodyPr vert="horz" wrap="square" lIns="0" tIns="27305" rIns="0" bIns="0" rtlCol="0">
            <a:spAutoFit/>
          </a:bodyPr>
          <a:lstStyle/>
          <a:p>
            <a:pPr marL="46990" marR="5080" indent="-34925">
              <a:lnSpc>
                <a:spcPts val="2630"/>
              </a:lnSpc>
              <a:spcBef>
                <a:spcPts val="215"/>
              </a:spcBef>
            </a:pPr>
            <a:r>
              <a:rPr sz="2200" b="1" spc="110" dirty="0">
                <a:solidFill>
                  <a:srgbClr val="E3112B"/>
                </a:solidFill>
                <a:latin typeface="Arial"/>
                <a:cs typeface="Arial"/>
              </a:rPr>
              <a:t>Competidores</a:t>
            </a:r>
            <a:r>
              <a:rPr sz="2200" b="1" spc="5" dirty="0">
                <a:solidFill>
                  <a:srgbClr val="E3112B"/>
                </a:solidFill>
                <a:latin typeface="Arial"/>
                <a:cs typeface="Arial"/>
              </a:rPr>
              <a:t> </a:t>
            </a:r>
            <a:r>
              <a:rPr sz="2200" b="1" spc="145" dirty="0">
                <a:solidFill>
                  <a:srgbClr val="E3112B"/>
                </a:solidFill>
                <a:latin typeface="Arial"/>
                <a:cs typeface="Arial"/>
              </a:rPr>
              <a:t>por </a:t>
            </a:r>
            <a:r>
              <a:rPr sz="2200" b="1" spc="110" dirty="0">
                <a:solidFill>
                  <a:srgbClr val="E3112B"/>
                </a:solidFill>
                <a:latin typeface="Arial"/>
                <a:cs typeface="Arial"/>
              </a:rPr>
              <a:t>producto</a:t>
            </a:r>
            <a:r>
              <a:rPr sz="2200" b="1" spc="-5" dirty="0">
                <a:solidFill>
                  <a:srgbClr val="E3112B"/>
                </a:solidFill>
                <a:latin typeface="Arial"/>
                <a:cs typeface="Arial"/>
              </a:rPr>
              <a:t> </a:t>
            </a:r>
            <a:r>
              <a:rPr sz="2200" b="1" spc="50" dirty="0">
                <a:solidFill>
                  <a:srgbClr val="E3112B"/>
                </a:solidFill>
                <a:latin typeface="Arial"/>
                <a:cs typeface="Arial"/>
              </a:rPr>
              <a:t>turístico</a:t>
            </a:r>
            <a:endParaRPr sz="2200">
              <a:latin typeface="Arial"/>
              <a:cs typeface="Arial"/>
            </a:endParaRPr>
          </a:p>
        </p:txBody>
      </p:sp>
      <p:grpSp>
        <p:nvGrpSpPr>
          <p:cNvPr id="79" name="object 79"/>
          <p:cNvGrpSpPr/>
          <p:nvPr/>
        </p:nvGrpSpPr>
        <p:grpSpPr>
          <a:xfrm>
            <a:off x="11871169" y="1636834"/>
            <a:ext cx="6086475" cy="1895475"/>
            <a:chOff x="11871169" y="1636834"/>
            <a:chExt cx="6086475" cy="1895475"/>
          </a:xfrm>
        </p:grpSpPr>
        <p:pic>
          <p:nvPicPr>
            <p:cNvPr id="80" name="object 80"/>
            <p:cNvPicPr/>
            <p:nvPr/>
          </p:nvPicPr>
          <p:blipFill>
            <a:blip r:embed="rId4" cstate="print"/>
            <a:stretch>
              <a:fillRect/>
            </a:stretch>
          </p:blipFill>
          <p:spPr>
            <a:xfrm>
              <a:off x="11871169" y="1636834"/>
              <a:ext cx="6086474" cy="1895474"/>
            </a:xfrm>
            <a:prstGeom prst="rect">
              <a:avLst/>
            </a:prstGeom>
          </p:spPr>
        </p:pic>
        <p:sp>
          <p:nvSpPr>
            <p:cNvPr id="81" name="object 81"/>
            <p:cNvSpPr/>
            <p:nvPr/>
          </p:nvSpPr>
          <p:spPr>
            <a:xfrm>
              <a:off x="12176153" y="1864249"/>
              <a:ext cx="5186680" cy="1194435"/>
            </a:xfrm>
            <a:custGeom>
              <a:avLst/>
              <a:gdLst/>
              <a:ahLst/>
              <a:cxnLst/>
              <a:rect l="l" t="t" r="r" b="b"/>
              <a:pathLst>
                <a:path w="5186680" h="1194435">
                  <a:moveTo>
                    <a:pt x="4563506" y="1194426"/>
                  </a:moveTo>
                  <a:lnTo>
                    <a:pt x="623171" y="1194426"/>
                  </a:lnTo>
                  <a:lnTo>
                    <a:pt x="574470" y="1192629"/>
                  </a:lnTo>
                  <a:lnTo>
                    <a:pt x="526794" y="1187327"/>
                  </a:lnTo>
                  <a:lnTo>
                    <a:pt x="480281" y="1178653"/>
                  </a:lnTo>
                  <a:lnTo>
                    <a:pt x="435071" y="1166739"/>
                  </a:lnTo>
                  <a:lnTo>
                    <a:pt x="391302" y="1151719"/>
                  </a:lnTo>
                  <a:lnTo>
                    <a:pt x="349112" y="1133724"/>
                  </a:lnTo>
                  <a:lnTo>
                    <a:pt x="308640" y="1112888"/>
                  </a:lnTo>
                  <a:lnTo>
                    <a:pt x="270024" y="1089344"/>
                  </a:lnTo>
                  <a:lnTo>
                    <a:pt x="233403" y="1063225"/>
                  </a:lnTo>
                  <a:lnTo>
                    <a:pt x="198916" y="1034662"/>
                  </a:lnTo>
                  <a:lnTo>
                    <a:pt x="166700" y="1003789"/>
                  </a:lnTo>
                  <a:lnTo>
                    <a:pt x="136896" y="970739"/>
                  </a:lnTo>
                  <a:lnTo>
                    <a:pt x="109640" y="935644"/>
                  </a:lnTo>
                  <a:lnTo>
                    <a:pt x="85072" y="898637"/>
                  </a:lnTo>
                  <a:lnTo>
                    <a:pt x="63330" y="859852"/>
                  </a:lnTo>
                  <a:lnTo>
                    <a:pt x="44554" y="819420"/>
                  </a:lnTo>
                  <a:lnTo>
                    <a:pt x="28880" y="777474"/>
                  </a:lnTo>
                  <a:lnTo>
                    <a:pt x="16448" y="734148"/>
                  </a:lnTo>
                  <a:lnTo>
                    <a:pt x="7397" y="689574"/>
                  </a:lnTo>
                  <a:lnTo>
                    <a:pt x="1865" y="643884"/>
                  </a:lnTo>
                  <a:lnTo>
                    <a:pt x="0" y="597459"/>
                  </a:lnTo>
                  <a:lnTo>
                    <a:pt x="0" y="596966"/>
                  </a:lnTo>
                  <a:lnTo>
                    <a:pt x="1865" y="550541"/>
                  </a:lnTo>
                  <a:lnTo>
                    <a:pt x="7397" y="504851"/>
                  </a:lnTo>
                  <a:lnTo>
                    <a:pt x="16448" y="460277"/>
                  </a:lnTo>
                  <a:lnTo>
                    <a:pt x="28880" y="416951"/>
                  </a:lnTo>
                  <a:lnTo>
                    <a:pt x="44554" y="375005"/>
                  </a:lnTo>
                  <a:lnTo>
                    <a:pt x="63330" y="334573"/>
                  </a:lnTo>
                  <a:lnTo>
                    <a:pt x="85072" y="295788"/>
                  </a:lnTo>
                  <a:lnTo>
                    <a:pt x="109640" y="258781"/>
                  </a:lnTo>
                  <a:lnTo>
                    <a:pt x="136896" y="223686"/>
                  </a:lnTo>
                  <a:lnTo>
                    <a:pt x="166700" y="190636"/>
                  </a:lnTo>
                  <a:lnTo>
                    <a:pt x="198916" y="159763"/>
                  </a:lnTo>
                  <a:lnTo>
                    <a:pt x="233403" y="131201"/>
                  </a:lnTo>
                  <a:lnTo>
                    <a:pt x="270024" y="105081"/>
                  </a:lnTo>
                  <a:lnTo>
                    <a:pt x="308640" y="81537"/>
                  </a:lnTo>
                  <a:lnTo>
                    <a:pt x="349112" y="60701"/>
                  </a:lnTo>
                  <a:lnTo>
                    <a:pt x="391302" y="42706"/>
                  </a:lnTo>
                  <a:lnTo>
                    <a:pt x="435071" y="27686"/>
                  </a:lnTo>
                  <a:lnTo>
                    <a:pt x="480281" y="15772"/>
                  </a:lnTo>
                  <a:lnTo>
                    <a:pt x="526794" y="7098"/>
                  </a:lnTo>
                  <a:lnTo>
                    <a:pt x="574470" y="1796"/>
                  </a:lnTo>
                  <a:lnTo>
                    <a:pt x="623171" y="0"/>
                  </a:lnTo>
                  <a:lnTo>
                    <a:pt x="4563506" y="0"/>
                  </a:lnTo>
                  <a:lnTo>
                    <a:pt x="4612207" y="1796"/>
                  </a:lnTo>
                  <a:lnTo>
                    <a:pt x="4659883" y="7098"/>
                  </a:lnTo>
                  <a:lnTo>
                    <a:pt x="4706396" y="15772"/>
                  </a:lnTo>
                  <a:lnTo>
                    <a:pt x="4751606" y="27686"/>
                  </a:lnTo>
                  <a:lnTo>
                    <a:pt x="4795375" y="42706"/>
                  </a:lnTo>
                  <a:lnTo>
                    <a:pt x="4837565" y="60701"/>
                  </a:lnTo>
                  <a:lnTo>
                    <a:pt x="4878037" y="81537"/>
                  </a:lnTo>
                  <a:lnTo>
                    <a:pt x="4916653" y="105081"/>
                  </a:lnTo>
                  <a:lnTo>
                    <a:pt x="4953274" y="131201"/>
                  </a:lnTo>
                  <a:lnTo>
                    <a:pt x="4987761" y="159763"/>
                  </a:lnTo>
                  <a:lnTo>
                    <a:pt x="5019976" y="190636"/>
                  </a:lnTo>
                  <a:lnTo>
                    <a:pt x="5049781" y="223686"/>
                  </a:lnTo>
                  <a:lnTo>
                    <a:pt x="5077037" y="258781"/>
                  </a:lnTo>
                  <a:lnTo>
                    <a:pt x="5101604" y="295788"/>
                  </a:lnTo>
                  <a:lnTo>
                    <a:pt x="5123346" y="334573"/>
                  </a:lnTo>
                  <a:lnTo>
                    <a:pt x="5142123" y="375005"/>
                  </a:lnTo>
                  <a:lnTo>
                    <a:pt x="5157796" y="416951"/>
                  </a:lnTo>
                  <a:lnTo>
                    <a:pt x="5170228" y="460277"/>
                  </a:lnTo>
                  <a:lnTo>
                    <a:pt x="5179279" y="504851"/>
                  </a:lnTo>
                  <a:lnTo>
                    <a:pt x="5184812" y="550541"/>
                  </a:lnTo>
                  <a:lnTo>
                    <a:pt x="5186677" y="596966"/>
                  </a:lnTo>
                  <a:lnTo>
                    <a:pt x="5186677" y="597459"/>
                  </a:lnTo>
                  <a:lnTo>
                    <a:pt x="5184812" y="643884"/>
                  </a:lnTo>
                  <a:lnTo>
                    <a:pt x="5179279" y="689574"/>
                  </a:lnTo>
                  <a:lnTo>
                    <a:pt x="5170228" y="734148"/>
                  </a:lnTo>
                  <a:lnTo>
                    <a:pt x="5157796" y="777474"/>
                  </a:lnTo>
                  <a:lnTo>
                    <a:pt x="5142123" y="819420"/>
                  </a:lnTo>
                  <a:lnTo>
                    <a:pt x="5123346" y="859852"/>
                  </a:lnTo>
                  <a:lnTo>
                    <a:pt x="5101604" y="898637"/>
                  </a:lnTo>
                  <a:lnTo>
                    <a:pt x="5077037" y="935644"/>
                  </a:lnTo>
                  <a:lnTo>
                    <a:pt x="5049781" y="970739"/>
                  </a:lnTo>
                  <a:lnTo>
                    <a:pt x="5019976" y="1003789"/>
                  </a:lnTo>
                  <a:lnTo>
                    <a:pt x="4987761" y="1034662"/>
                  </a:lnTo>
                  <a:lnTo>
                    <a:pt x="4953274" y="1063225"/>
                  </a:lnTo>
                  <a:lnTo>
                    <a:pt x="4916653" y="1089344"/>
                  </a:lnTo>
                  <a:lnTo>
                    <a:pt x="4878037" y="1112888"/>
                  </a:lnTo>
                  <a:lnTo>
                    <a:pt x="4837565" y="1133724"/>
                  </a:lnTo>
                  <a:lnTo>
                    <a:pt x="4795375" y="1151719"/>
                  </a:lnTo>
                  <a:lnTo>
                    <a:pt x="4751606" y="1166739"/>
                  </a:lnTo>
                  <a:lnTo>
                    <a:pt x="4706396" y="1178653"/>
                  </a:lnTo>
                  <a:lnTo>
                    <a:pt x="4659883" y="1187327"/>
                  </a:lnTo>
                  <a:lnTo>
                    <a:pt x="4612207" y="1192629"/>
                  </a:lnTo>
                  <a:lnTo>
                    <a:pt x="4563506" y="1194426"/>
                  </a:lnTo>
                  <a:close/>
                </a:path>
              </a:pathLst>
            </a:custGeom>
            <a:solidFill>
              <a:srgbClr val="FFFFFF"/>
            </a:solidFill>
          </p:spPr>
          <p:txBody>
            <a:bodyPr wrap="square" lIns="0" tIns="0" rIns="0" bIns="0" rtlCol="0"/>
            <a:lstStyle/>
            <a:p>
              <a:endParaRPr/>
            </a:p>
          </p:txBody>
        </p:sp>
        <p:sp>
          <p:nvSpPr>
            <p:cNvPr id="82" name="object 82"/>
            <p:cNvSpPr/>
            <p:nvPr/>
          </p:nvSpPr>
          <p:spPr>
            <a:xfrm>
              <a:off x="12176143" y="1864248"/>
              <a:ext cx="1194435" cy="1194435"/>
            </a:xfrm>
            <a:custGeom>
              <a:avLst/>
              <a:gdLst/>
              <a:ahLst/>
              <a:cxnLst/>
              <a:rect l="l" t="t" r="r" b="b"/>
              <a:pathLst>
                <a:path w="1194434" h="1194435">
                  <a:moveTo>
                    <a:pt x="597219" y="1194426"/>
                  </a:moveTo>
                  <a:lnTo>
                    <a:pt x="548232" y="1192446"/>
                  </a:lnTo>
                  <a:lnTo>
                    <a:pt x="500341" y="1186609"/>
                  </a:lnTo>
                  <a:lnTo>
                    <a:pt x="453695" y="1177069"/>
                  </a:lnTo>
                  <a:lnTo>
                    <a:pt x="408447" y="1163979"/>
                  </a:lnTo>
                  <a:lnTo>
                    <a:pt x="364750" y="1147494"/>
                  </a:lnTo>
                  <a:lnTo>
                    <a:pt x="322759" y="1127766"/>
                  </a:lnTo>
                  <a:lnTo>
                    <a:pt x="282626" y="1104950"/>
                  </a:lnTo>
                  <a:lnTo>
                    <a:pt x="244506" y="1079198"/>
                  </a:lnTo>
                  <a:lnTo>
                    <a:pt x="208553" y="1050666"/>
                  </a:lnTo>
                  <a:lnTo>
                    <a:pt x="174919" y="1019506"/>
                  </a:lnTo>
                  <a:lnTo>
                    <a:pt x="143759" y="985873"/>
                  </a:lnTo>
                  <a:lnTo>
                    <a:pt x="115227" y="949919"/>
                  </a:lnTo>
                  <a:lnTo>
                    <a:pt x="89476" y="911799"/>
                  </a:lnTo>
                  <a:lnTo>
                    <a:pt x="66659" y="871666"/>
                  </a:lnTo>
                  <a:lnTo>
                    <a:pt x="46931" y="829675"/>
                  </a:lnTo>
                  <a:lnTo>
                    <a:pt x="30446" y="785978"/>
                  </a:lnTo>
                  <a:lnTo>
                    <a:pt x="17356" y="740730"/>
                  </a:lnTo>
                  <a:lnTo>
                    <a:pt x="7816" y="694084"/>
                  </a:lnTo>
                  <a:lnTo>
                    <a:pt x="1979" y="646193"/>
                  </a:lnTo>
                  <a:lnTo>
                    <a:pt x="0" y="597212"/>
                  </a:lnTo>
                  <a:lnTo>
                    <a:pt x="1979" y="548232"/>
                  </a:lnTo>
                  <a:lnTo>
                    <a:pt x="7816" y="500342"/>
                  </a:lnTo>
                  <a:lnTo>
                    <a:pt x="17356" y="453695"/>
                  </a:lnTo>
                  <a:lnTo>
                    <a:pt x="30446" y="408447"/>
                  </a:lnTo>
                  <a:lnTo>
                    <a:pt x="46931" y="364750"/>
                  </a:lnTo>
                  <a:lnTo>
                    <a:pt x="66659" y="322759"/>
                  </a:lnTo>
                  <a:lnTo>
                    <a:pt x="89476" y="282626"/>
                  </a:lnTo>
                  <a:lnTo>
                    <a:pt x="115227" y="244506"/>
                  </a:lnTo>
                  <a:lnTo>
                    <a:pt x="143759" y="208553"/>
                  </a:lnTo>
                  <a:lnTo>
                    <a:pt x="174919" y="174919"/>
                  </a:lnTo>
                  <a:lnTo>
                    <a:pt x="208553" y="143759"/>
                  </a:lnTo>
                  <a:lnTo>
                    <a:pt x="244506" y="115227"/>
                  </a:lnTo>
                  <a:lnTo>
                    <a:pt x="282626" y="89476"/>
                  </a:lnTo>
                  <a:lnTo>
                    <a:pt x="322759" y="66659"/>
                  </a:lnTo>
                  <a:lnTo>
                    <a:pt x="364750" y="46931"/>
                  </a:lnTo>
                  <a:lnTo>
                    <a:pt x="408447" y="30446"/>
                  </a:lnTo>
                  <a:lnTo>
                    <a:pt x="453695" y="17356"/>
                  </a:lnTo>
                  <a:lnTo>
                    <a:pt x="500341" y="7816"/>
                  </a:lnTo>
                  <a:lnTo>
                    <a:pt x="548232" y="1979"/>
                  </a:lnTo>
                  <a:lnTo>
                    <a:pt x="597212" y="0"/>
                  </a:lnTo>
                  <a:lnTo>
                    <a:pt x="646193" y="1979"/>
                  </a:lnTo>
                  <a:lnTo>
                    <a:pt x="694083" y="7816"/>
                  </a:lnTo>
                  <a:lnTo>
                    <a:pt x="740730" y="17356"/>
                  </a:lnTo>
                  <a:lnTo>
                    <a:pt x="785978" y="30446"/>
                  </a:lnTo>
                  <a:lnTo>
                    <a:pt x="829675" y="46931"/>
                  </a:lnTo>
                  <a:lnTo>
                    <a:pt x="871666" y="66659"/>
                  </a:lnTo>
                  <a:lnTo>
                    <a:pt x="911799" y="89476"/>
                  </a:lnTo>
                  <a:lnTo>
                    <a:pt x="949919" y="115227"/>
                  </a:lnTo>
                  <a:lnTo>
                    <a:pt x="985872" y="143759"/>
                  </a:lnTo>
                  <a:lnTo>
                    <a:pt x="1019506" y="174919"/>
                  </a:lnTo>
                  <a:lnTo>
                    <a:pt x="1050666" y="208553"/>
                  </a:lnTo>
                  <a:lnTo>
                    <a:pt x="1079198" y="244506"/>
                  </a:lnTo>
                  <a:lnTo>
                    <a:pt x="1104949" y="282626"/>
                  </a:lnTo>
                  <a:lnTo>
                    <a:pt x="1127766" y="322759"/>
                  </a:lnTo>
                  <a:lnTo>
                    <a:pt x="1147493" y="364750"/>
                  </a:lnTo>
                  <a:lnTo>
                    <a:pt x="1163979" y="408447"/>
                  </a:lnTo>
                  <a:lnTo>
                    <a:pt x="1177069" y="453695"/>
                  </a:lnTo>
                  <a:lnTo>
                    <a:pt x="1186609" y="500342"/>
                  </a:lnTo>
                  <a:lnTo>
                    <a:pt x="1192446" y="548232"/>
                  </a:lnTo>
                  <a:lnTo>
                    <a:pt x="1194425" y="597213"/>
                  </a:lnTo>
                  <a:lnTo>
                    <a:pt x="1192446" y="646193"/>
                  </a:lnTo>
                  <a:lnTo>
                    <a:pt x="1186609" y="694084"/>
                  </a:lnTo>
                  <a:lnTo>
                    <a:pt x="1177069" y="740730"/>
                  </a:lnTo>
                  <a:lnTo>
                    <a:pt x="1163979" y="785978"/>
                  </a:lnTo>
                  <a:lnTo>
                    <a:pt x="1147493" y="829675"/>
                  </a:lnTo>
                  <a:lnTo>
                    <a:pt x="1127766" y="871666"/>
                  </a:lnTo>
                  <a:lnTo>
                    <a:pt x="1104949" y="911799"/>
                  </a:lnTo>
                  <a:lnTo>
                    <a:pt x="1079198" y="949919"/>
                  </a:lnTo>
                  <a:lnTo>
                    <a:pt x="1050666" y="985873"/>
                  </a:lnTo>
                  <a:lnTo>
                    <a:pt x="1019506" y="1019506"/>
                  </a:lnTo>
                  <a:lnTo>
                    <a:pt x="985872" y="1050666"/>
                  </a:lnTo>
                  <a:lnTo>
                    <a:pt x="949919" y="1079198"/>
                  </a:lnTo>
                  <a:lnTo>
                    <a:pt x="911799" y="1104950"/>
                  </a:lnTo>
                  <a:lnTo>
                    <a:pt x="871666" y="1127766"/>
                  </a:lnTo>
                  <a:lnTo>
                    <a:pt x="829675" y="1147494"/>
                  </a:lnTo>
                  <a:lnTo>
                    <a:pt x="785978" y="1163979"/>
                  </a:lnTo>
                  <a:lnTo>
                    <a:pt x="740730" y="1177069"/>
                  </a:lnTo>
                  <a:lnTo>
                    <a:pt x="694083" y="1186609"/>
                  </a:lnTo>
                  <a:lnTo>
                    <a:pt x="646193" y="1192446"/>
                  </a:lnTo>
                  <a:lnTo>
                    <a:pt x="597219" y="1194426"/>
                  </a:lnTo>
                  <a:close/>
                </a:path>
              </a:pathLst>
            </a:custGeom>
            <a:solidFill>
              <a:srgbClr val="2D8BB9"/>
            </a:solidFill>
          </p:spPr>
          <p:txBody>
            <a:bodyPr wrap="square" lIns="0" tIns="0" rIns="0" bIns="0" rtlCol="0"/>
            <a:lstStyle/>
            <a:p>
              <a:endParaRPr/>
            </a:p>
          </p:txBody>
        </p:sp>
        <p:sp>
          <p:nvSpPr>
            <p:cNvPr id="83" name="object 83"/>
            <p:cNvSpPr/>
            <p:nvPr/>
          </p:nvSpPr>
          <p:spPr>
            <a:xfrm>
              <a:off x="12397262" y="2135877"/>
              <a:ext cx="723900" cy="638175"/>
            </a:xfrm>
            <a:custGeom>
              <a:avLst/>
              <a:gdLst/>
              <a:ahLst/>
              <a:cxnLst/>
              <a:rect l="l" t="t" r="r" b="b"/>
              <a:pathLst>
                <a:path w="723900" h="638175">
                  <a:moveTo>
                    <a:pt x="186051" y="185489"/>
                  </a:moveTo>
                  <a:lnTo>
                    <a:pt x="155327" y="185489"/>
                  </a:lnTo>
                  <a:lnTo>
                    <a:pt x="219047" y="6744"/>
                  </a:lnTo>
                  <a:lnTo>
                    <a:pt x="220815" y="4415"/>
                  </a:lnTo>
                  <a:lnTo>
                    <a:pt x="225827" y="881"/>
                  </a:lnTo>
                  <a:lnTo>
                    <a:pt x="228612" y="0"/>
                  </a:lnTo>
                  <a:lnTo>
                    <a:pt x="234657" y="12"/>
                  </a:lnTo>
                  <a:lnTo>
                    <a:pt x="237404" y="881"/>
                  </a:lnTo>
                  <a:lnTo>
                    <a:pt x="242291" y="4244"/>
                  </a:lnTo>
                  <a:lnTo>
                    <a:pt x="244058" y="6482"/>
                  </a:lnTo>
                  <a:lnTo>
                    <a:pt x="263218" y="56063"/>
                  </a:lnTo>
                  <a:lnTo>
                    <a:pt x="232185" y="56063"/>
                  </a:lnTo>
                  <a:lnTo>
                    <a:pt x="186051" y="185489"/>
                  </a:lnTo>
                  <a:close/>
                </a:path>
                <a:path w="723900" h="638175">
                  <a:moveTo>
                    <a:pt x="415302" y="449610"/>
                  </a:moveTo>
                  <a:lnTo>
                    <a:pt x="384260" y="449610"/>
                  </a:lnTo>
                  <a:lnTo>
                    <a:pt x="232185" y="56063"/>
                  </a:lnTo>
                  <a:lnTo>
                    <a:pt x="263218" y="56063"/>
                  </a:lnTo>
                  <a:lnTo>
                    <a:pt x="333418" y="237724"/>
                  </a:lnTo>
                  <a:lnTo>
                    <a:pt x="364948" y="237724"/>
                  </a:lnTo>
                  <a:lnTo>
                    <a:pt x="348376" y="276447"/>
                  </a:lnTo>
                  <a:lnTo>
                    <a:pt x="415302" y="449610"/>
                  </a:lnTo>
                  <a:close/>
                </a:path>
                <a:path w="723900" h="638175">
                  <a:moveTo>
                    <a:pt x="528446" y="203052"/>
                  </a:moveTo>
                  <a:lnTo>
                    <a:pt x="503159" y="197899"/>
                  </a:lnTo>
                  <a:lnTo>
                    <a:pt x="482442" y="183872"/>
                  </a:lnTo>
                  <a:lnTo>
                    <a:pt x="468439" y="163118"/>
                  </a:lnTo>
                  <a:lnTo>
                    <a:pt x="463295" y="137786"/>
                  </a:lnTo>
                  <a:lnTo>
                    <a:pt x="468439" y="112455"/>
                  </a:lnTo>
                  <a:lnTo>
                    <a:pt x="482442" y="91701"/>
                  </a:lnTo>
                  <a:lnTo>
                    <a:pt x="503159" y="77674"/>
                  </a:lnTo>
                  <a:lnTo>
                    <a:pt x="528446" y="72521"/>
                  </a:lnTo>
                  <a:lnTo>
                    <a:pt x="553734" y="77674"/>
                  </a:lnTo>
                  <a:lnTo>
                    <a:pt x="574451" y="91701"/>
                  </a:lnTo>
                  <a:lnTo>
                    <a:pt x="581081" y="101528"/>
                  </a:lnTo>
                  <a:lnTo>
                    <a:pt x="528446" y="101528"/>
                  </a:lnTo>
                  <a:lnTo>
                    <a:pt x="514285" y="104353"/>
                  </a:lnTo>
                  <a:lnTo>
                    <a:pt x="502788" y="112083"/>
                  </a:lnTo>
                  <a:lnTo>
                    <a:pt x="495072" y="123601"/>
                  </a:lnTo>
                  <a:lnTo>
                    <a:pt x="492251" y="137786"/>
                  </a:lnTo>
                  <a:lnTo>
                    <a:pt x="495072" y="151972"/>
                  </a:lnTo>
                  <a:lnTo>
                    <a:pt x="502788" y="163490"/>
                  </a:lnTo>
                  <a:lnTo>
                    <a:pt x="514285" y="171220"/>
                  </a:lnTo>
                  <a:lnTo>
                    <a:pt x="528446" y="174045"/>
                  </a:lnTo>
                  <a:lnTo>
                    <a:pt x="581081" y="174045"/>
                  </a:lnTo>
                  <a:lnTo>
                    <a:pt x="574451" y="183872"/>
                  </a:lnTo>
                  <a:lnTo>
                    <a:pt x="553734" y="197899"/>
                  </a:lnTo>
                  <a:lnTo>
                    <a:pt x="528446" y="203052"/>
                  </a:lnTo>
                  <a:close/>
                </a:path>
                <a:path w="723900" h="638175">
                  <a:moveTo>
                    <a:pt x="581081" y="174045"/>
                  </a:moveTo>
                  <a:lnTo>
                    <a:pt x="528446" y="174045"/>
                  </a:lnTo>
                  <a:lnTo>
                    <a:pt x="542608" y="171220"/>
                  </a:lnTo>
                  <a:lnTo>
                    <a:pt x="554105" y="163490"/>
                  </a:lnTo>
                  <a:lnTo>
                    <a:pt x="561821" y="151972"/>
                  </a:lnTo>
                  <a:lnTo>
                    <a:pt x="564641" y="137786"/>
                  </a:lnTo>
                  <a:lnTo>
                    <a:pt x="561821" y="123601"/>
                  </a:lnTo>
                  <a:lnTo>
                    <a:pt x="554105" y="112083"/>
                  </a:lnTo>
                  <a:lnTo>
                    <a:pt x="542608" y="104353"/>
                  </a:lnTo>
                  <a:lnTo>
                    <a:pt x="528446" y="101528"/>
                  </a:lnTo>
                  <a:lnTo>
                    <a:pt x="581081" y="101528"/>
                  </a:lnTo>
                  <a:lnTo>
                    <a:pt x="588453" y="112455"/>
                  </a:lnTo>
                  <a:lnTo>
                    <a:pt x="593597" y="137786"/>
                  </a:lnTo>
                  <a:lnTo>
                    <a:pt x="588453" y="163118"/>
                  </a:lnTo>
                  <a:lnTo>
                    <a:pt x="581081" y="174045"/>
                  </a:lnTo>
                  <a:close/>
                </a:path>
                <a:path w="723900" h="638175">
                  <a:moveTo>
                    <a:pt x="723899" y="638155"/>
                  </a:moveTo>
                  <a:lnTo>
                    <a:pt x="0" y="637589"/>
                  </a:lnTo>
                  <a:lnTo>
                    <a:pt x="0" y="508389"/>
                  </a:lnTo>
                  <a:lnTo>
                    <a:pt x="2056" y="486661"/>
                  </a:lnTo>
                  <a:lnTo>
                    <a:pt x="7963" y="466175"/>
                  </a:lnTo>
                  <a:lnTo>
                    <a:pt x="17325" y="447336"/>
                  </a:lnTo>
                  <a:lnTo>
                    <a:pt x="29747" y="430546"/>
                  </a:lnTo>
                  <a:lnTo>
                    <a:pt x="117433" y="166827"/>
                  </a:lnTo>
                  <a:lnTo>
                    <a:pt x="131118" y="159296"/>
                  </a:lnTo>
                  <a:lnTo>
                    <a:pt x="133748" y="159684"/>
                  </a:lnTo>
                  <a:lnTo>
                    <a:pt x="138788" y="161969"/>
                  </a:lnTo>
                  <a:lnTo>
                    <a:pt x="140814" y="163694"/>
                  </a:lnTo>
                  <a:lnTo>
                    <a:pt x="155327" y="185489"/>
                  </a:lnTo>
                  <a:lnTo>
                    <a:pt x="186051" y="185489"/>
                  </a:lnTo>
                  <a:lnTo>
                    <a:pt x="178469" y="206763"/>
                  </a:lnTo>
                  <a:lnTo>
                    <a:pt x="134684" y="206763"/>
                  </a:lnTo>
                  <a:lnTo>
                    <a:pt x="70042" y="401001"/>
                  </a:lnTo>
                  <a:lnTo>
                    <a:pt x="168124" y="401001"/>
                  </a:lnTo>
                  <a:lnTo>
                    <a:pt x="173072" y="402464"/>
                  </a:lnTo>
                  <a:lnTo>
                    <a:pt x="194156" y="412480"/>
                  </a:lnTo>
                  <a:lnTo>
                    <a:pt x="208071" y="420660"/>
                  </a:lnTo>
                  <a:lnTo>
                    <a:pt x="115823" y="420660"/>
                  </a:lnTo>
                  <a:lnTo>
                    <a:pt x="82170" y="427281"/>
                  </a:lnTo>
                  <a:lnTo>
                    <a:pt x="54541" y="446212"/>
                  </a:lnTo>
                  <a:lnTo>
                    <a:pt x="35835" y="474298"/>
                  </a:lnTo>
                  <a:lnTo>
                    <a:pt x="28955" y="508389"/>
                  </a:lnTo>
                  <a:lnTo>
                    <a:pt x="28955" y="608610"/>
                  </a:lnTo>
                  <a:lnTo>
                    <a:pt x="720960" y="609148"/>
                  </a:lnTo>
                  <a:lnTo>
                    <a:pt x="723899" y="623652"/>
                  </a:lnTo>
                  <a:lnTo>
                    <a:pt x="723899" y="638155"/>
                  </a:lnTo>
                  <a:close/>
                </a:path>
                <a:path w="723900" h="638175">
                  <a:moveTo>
                    <a:pt x="364948" y="237724"/>
                  </a:moveTo>
                  <a:lnTo>
                    <a:pt x="333418" y="237724"/>
                  </a:lnTo>
                  <a:lnTo>
                    <a:pt x="364221" y="165726"/>
                  </a:lnTo>
                  <a:lnTo>
                    <a:pt x="365943" y="163634"/>
                  </a:lnTo>
                  <a:lnTo>
                    <a:pt x="370608" y="160457"/>
                  </a:lnTo>
                  <a:lnTo>
                    <a:pt x="373184" y="159622"/>
                  </a:lnTo>
                  <a:lnTo>
                    <a:pt x="378992" y="159453"/>
                  </a:lnTo>
                  <a:lnTo>
                    <a:pt x="381744" y="160219"/>
                  </a:lnTo>
                  <a:lnTo>
                    <a:pt x="386802" y="163490"/>
                  </a:lnTo>
                  <a:lnTo>
                    <a:pt x="388613" y="165648"/>
                  </a:lnTo>
                  <a:lnTo>
                    <a:pt x="407784" y="211097"/>
                  </a:lnTo>
                  <a:lnTo>
                    <a:pt x="376343" y="211097"/>
                  </a:lnTo>
                  <a:lnTo>
                    <a:pt x="364948" y="237724"/>
                  </a:lnTo>
                  <a:close/>
                </a:path>
                <a:path w="723900" h="638175">
                  <a:moveTo>
                    <a:pt x="155120" y="232671"/>
                  </a:moveTo>
                  <a:lnTo>
                    <a:pt x="150516" y="230557"/>
                  </a:lnTo>
                  <a:lnTo>
                    <a:pt x="134684" y="206763"/>
                  </a:lnTo>
                  <a:lnTo>
                    <a:pt x="178469" y="206763"/>
                  </a:lnTo>
                  <a:lnTo>
                    <a:pt x="170884" y="228040"/>
                  </a:lnTo>
                  <a:lnTo>
                    <a:pt x="166930" y="231211"/>
                  </a:lnTo>
                  <a:lnTo>
                    <a:pt x="155120" y="232671"/>
                  </a:lnTo>
                  <a:close/>
                </a:path>
                <a:path w="723900" h="638175">
                  <a:moveTo>
                    <a:pt x="522863" y="483914"/>
                  </a:moveTo>
                  <a:lnTo>
                    <a:pt x="491460" y="483914"/>
                  </a:lnTo>
                  <a:lnTo>
                    <a:pt x="376343" y="211097"/>
                  </a:lnTo>
                  <a:lnTo>
                    <a:pt x="407784" y="211097"/>
                  </a:lnTo>
                  <a:lnTo>
                    <a:pt x="522863" y="483914"/>
                  </a:lnTo>
                  <a:close/>
                </a:path>
                <a:path w="723900" h="638175">
                  <a:moveTo>
                    <a:pt x="562635" y="362819"/>
                  </a:moveTo>
                  <a:lnTo>
                    <a:pt x="549935" y="350096"/>
                  </a:lnTo>
                  <a:lnTo>
                    <a:pt x="549974" y="346198"/>
                  </a:lnTo>
                  <a:lnTo>
                    <a:pt x="550370" y="344330"/>
                  </a:lnTo>
                  <a:lnTo>
                    <a:pt x="551914" y="340751"/>
                  </a:lnTo>
                  <a:lnTo>
                    <a:pt x="553002" y="339182"/>
                  </a:lnTo>
                  <a:lnTo>
                    <a:pt x="554405" y="337832"/>
                  </a:lnTo>
                  <a:lnTo>
                    <a:pt x="611016" y="281121"/>
                  </a:lnTo>
                  <a:lnTo>
                    <a:pt x="613854" y="277364"/>
                  </a:lnTo>
                  <a:lnTo>
                    <a:pt x="617625" y="275447"/>
                  </a:lnTo>
                  <a:lnTo>
                    <a:pt x="627165" y="275305"/>
                  </a:lnTo>
                  <a:lnTo>
                    <a:pt x="631058" y="277193"/>
                  </a:lnTo>
                  <a:lnTo>
                    <a:pt x="634006" y="281036"/>
                  </a:lnTo>
                  <a:lnTo>
                    <a:pt x="677977" y="325085"/>
                  </a:lnTo>
                  <a:lnTo>
                    <a:pt x="608075" y="325085"/>
                  </a:lnTo>
                  <a:lnTo>
                    <a:pt x="574878" y="358341"/>
                  </a:lnTo>
                  <a:lnTo>
                    <a:pt x="573530" y="359747"/>
                  </a:lnTo>
                  <a:lnTo>
                    <a:pt x="571964" y="360836"/>
                  </a:lnTo>
                  <a:lnTo>
                    <a:pt x="568392" y="362383"/>
                  </a:lnTo>
                  <a:lnTo>
                    <a:pt x="566526" y="362779"/>
                  </a:lnTo>
                  <a:lnTo>
                    <a:pt x="562635" y="362819"/>
                  </a:lnTo>
                  <a:close/>
                </a:path>
                <a:path w="723900" h="638175">
                  <a:moveTo>
                    <a:pt x="548157" y="464343"/>
                  </a:moveTo>
                  <a:lnTo>
                    <a:pt x="535457" y="451620"/>
                  </a:lnTo>
                  <a:lnTo>
                    <a:pt x="535578" y="447336"/>
                  </a:lnTo>
                  <a:lnTo>
                    <a:pt x="535892" y="445853"/>
                  </a:lnTo>
                  <a:lnTo>
                    <a:pt x="537436" y="442275"/>
                  </a:lnTo>
                  <a:lnTo>
                    <a:pt x="538524" y="440706"/>
                  </a:lnTo>
                  <a:lnTo>
                    <a:pt x="539927" y="439356"/>
                  </a:lnTo>
                  <a:lnTo>
                    <a:pt x="608075" y="371088"/>
                  </a:lnTo>
                  <a:lnTo>
                    <a:pt x="608075" y="325085"/>
                  </a:lnTo>
                  <a:lnTo>
                    <a:pt x="637031" y="325085"/>
                  </a:lnTo>
                  <a:lnTo>
                    <a:pt x="637031" y="371088"/>
                  </a:lnTo>
                  <a:lnTo>
                    <a:pt x="677977" y="412105"/>
                  </a:lnTo>
                  <a:lnTo>
                    <a:pt x="608075" y="412105"/>
                  </a:lnTo>
                  <a:lnTo>
                    <a:pt x="560400" y="459865"/>
                  </a:lnTo>
                  <a:lnTo>
                    <a:pt x="559052" y="461271"/>
                  </a:lnTo>
                  <a:lnTo>
                    <a:pt x="557486" y="462360"/>
                  </a:lnTo>
                  <a:lnTo>
                    <a:pt x="553914" y="463907"/>
                  </a:lnTo>
                  <a:lnTo>
                    <a:pt x="552042" y="464303"/>
                  </a:lnTo>
                  <a:lnTo>
                    <a:pt x="548157" y="464343"/>
                  </a:lnTo>
                  <a:close/>
                </a:path>
                <a:path w="723900" h="638175">
                  <a:moveTo>
                    <a:pt x="682472" y="362819"/>
                  </a:moveTo>
                  <a:lnTo>
                    <a:pt x="670229" y="358341"/>
                  </a:lnTo>
                  <a:lnTo>
                    <a:pt x="637031" y="325085"/>
                  </a:lnTo>
                  <a:lnTo>
                    <a:pt x="677977" y="325085"/>
                  </a:lnTo>
                  <a:lnTo>
                    <a:pt x="690702" y="337832"/>
                  </a:lnTo>
                  <a:lnTo>
                    <a:pt x="692105" y="339182"/>
                  </a:lnTo>
                  <a:lnTo>
                    <a:pt x="693193" y="340751"/>
                  </a:lnTo>
                  <a:lnTo>
                    <a:pt x="694737" y="344330"/>
                  </a:lnTo>
                  <a:lnTo>
                    <a:pt x="695133" y="346198"/>
                  </a:lnTo>
                  <a:lnTo>
                    <a:pt x="695172" y="350096"/>
                  </a:lnTo>
                  <a:lnTo>
                    <a:pt x="694814" y="351973"/>
                  </a:lnTo>
                  <a:lnTo>
                    <a:pt x="684345" y="362460"/>
                  </a:lnTo>
                  <a:lnTo>
                    <a:pt x="682472" y="362819"/>
                  </a:lnTo>
                  <a:close/>
                </a:path>
                <a:path w="723900" h="638175">
                  <a:moveTo>
                    <a:pt x="168124" y="401001"/>
                  </a:moveTo>
                  <a:lnTo>
                    <a:pt x="70042" y="401001"/>
                  </a:lnTo>
                  <a:lnTo>
                    <a:pt x="80947" y="396893"/>
                  </a:lnTo>
                  <a:lnTo>
                    <a:pt x="92331" y="393917"/>
                  </a:lnTo>
                  <a:lnTo>
                    <a:pt x="104136" y="392153"/>
                  </a:lnTo>
                  <a:lnTo>
                    <a:pt x="116304" y="391682"/>
                  </a:lnTo>
                  <a:lnTo>
                    <a:pt x="147654" y="394952"/>
                  </a:lnTo>
                  <a:lnTo>
                    <a:pt x="168124" y="401001"/>
                  </a:lnTo>
                  <a:close/>
                </a:path>
                <a:path w="723900" h="638175">
                  <a:moveTo>
                    <a:pt x="637031" y="536631"/>
                  </a:moveTo>
                  <a:lnTo>
                    <a:pt x="608075" y="536631"/>
                  </a:lnTo>
                  <a:lnTo>
                    <a:pt x="608075" y="412105"/>
                  </a:lnTo>
                  <a:lnTo>
                    <a:pt x="637031" y="412105"/>
                  </a:lnTo>
                  <a:lnTo>
                    <a:pt x="637031" y="536631"/>
                  </a:lnTo>
                  <a:close/>
                </a:path>
                <a:path w="723900" h="638175">
                  <a:moveTo>
                    <a:pt x="696950" y="464343"/>
                  </a:moveTo>
                  <a:lnTo>
                    <a:pt x="684707" y="459865"/>
                  </a:lnTo>
                  <a:lnTo>
                    <a:pt x="637031" y="412105"/>
                  </a:lnTo>
                  <a:lnTo>
                    <a:pt x="677977" y="412105"/>
                  </a:lnTo>
                  <a:lnTo>
                    <a:pt x="705180" y="439356"/>
                  </a:lnTo>
                  <a:lnTo>
                    <a:pt x="706583" y="440706"/>
                  </a:lnTo>
                  <a:lnTo>
                    <a:pt x="707671" y="442275"/>
                  </a:lnTo>
                  <a:lnTo>
                    <a:pt x="709215" y="445853"/>
                  </a:lnTo>
                  <a:lnTo>
                    <a:pt x="709529" y="447336"/>
                  </a:lnTo>
                  <a:lnTo>
                    <a:pt x="709650" y="451620"/>
                  </a:lnTo>
                  <a:lnTo>
                    <a:pt x="709292" y="453497"/>
                  </a:lnTo>
                  <a:lnTo>
                    <a:pt x="698823" y="463984"/>
                  </a:lnTo>
                  <a:lnTo>
                    <a:pt x="696950" y="464343"/>
                  </a:lnTo>
                  <a:close/>
                </a:path>
                <a:path w="723900" h="638175">
                  <a:moveTo>
                    <a:pt x="720960" y="609148"/>
                  </a:moveTo>
                  <a:lnTo>
                    <a:pt x="692059" y="609148"/>
                  </a:lnTo>
                  <a:lnTo>
                    <a:pt x="684513" y="591838"/>
                  </a:lnTo>
                  <a:lnTo>
                    <a:pt x="672231" y="578050"/>
                  </a:lnTo>
                  <a:lnTo>
                    <a:pt x="656107" y="568933"/>
                  </a:lnTo>
                  <a:lnTo>
                    <a:pt x="637031" y="565638"/>
                  </a:lnTo>
                  <a:lnTo>
                    <a:pt x="579119" y="565638"/>
                  </a:lnTo>
                  <a:lnTo>
                    <a:pt x="547127" y="561155"/>
                  </a:lnTo>
                  <a:lnTo>
                    <a:pt x="522210" y="549703"/>
                  </a:lnTo>
                  <a:lnTo>
                    <a:pt x="502377" y="534279"/>
                  </a:lnTo>
                  <a:lnTo>
                    <a:pt x="485635" y="517879"/>
                  </a:lnTo>
                  <a:lnTo>
                    <a:pt x="469546" y="502806"/>
                  </a:lnTo>
                  <a:lnTo>
                    <a:pt x="450699" y="490303"/>
                  </a:lnTo>
                  <a:lnTo>
                    <a:pt x="425638" y="481773"/>
                  </a:lnTo>
                  <a:lnTo>
                    <a:pt x="390905" y="478617"/>
                  </a:lnTo>
                  <a:lnTo>
                    <a:pt x="304037" y="478617"/>
                  </a:lnTo>
                  <a:lnTo>
                    <a:pt x="268506" y="475884"/>
                  </a:lnTo>
                  <a:lnTo>
                    <a:pt x="239978" y="468783"/>
                  </a:lnTo>
                  <a:lnTo>
                    <a:pt x="216850" y="458966"/>
                  </a:lnTo>
                  <a:lnTo>
                    <a:pt x="197517" y="448081"/>
                  </a:lnTo>
                  <a:lnTo>
                    <a:pt x="180295" y="437775"/>
                  </a:lnTo>
                  <a:lnTo>
                    <a:pt x="162755" y="429183"/>
                  </a:lnTo>
                  <a:lnTo>
                    <a:pt x="142172" y="423185"/>
                  </a:lnTo>
                  <a:lnTo>
                    <a:pt x="115823" y="420660"/>
                  </a:lnTo>
                  <a:lnTo>
                    <a:pt x="208071" y="420660"/>
                  </a:lnTo>
                  <a:lnTo>
                    <a:pt x="249284" y="441735"/>
                  </a:lnTo>
                  <a:lnTo>
                    <a:pt x="304037" y="449610"/>
                  </a:lnTo>
                  <a:lnTo>
                    <a:pt x="415302" y="449610"/>
                  </a:lnTo>
                  <a:lnTo>
                    <a:pt x="415959" y="451310"/>
                  </a:lnTo>
                  <a:lnTo>
                    <a:pt x="439951" y="456239"/>
                  </a:lnTo>
                  <a:lnTo>
                    <a:pt x="460164" y="463806"/>
                  </a:lnTo>
                  <a:lnTo>
                    <a:pt x="477149" y="473276"/>
                  </a:lnTo>
                  <a:lnTo>
                    <a:pt x="491460" y="483914"/>
                  </a:lnTo>
                  <a:lnTo>
                    <a:pt x="522863" y="483914"/>
                  </a:lnTo>
                  <a:lnTo>
                    <a:pt x="541539" y="528190"/>
                  </a:lnTo>
                  <a:lnTo>
                    <a:pt x="579119" y="536631"/>
                  </a:lnTo>
                  <a:lnTo>
                    <a:pt x="637031" y="536631"/>
                  </a:lnTo>
                  <a:lnTo>
                    <a:pt x="670771" y="543494"/>
                  </a:lnTo>
                  <a:lnTo>
                    <a:pt x="698391" y="562185"/>
                  </a:lnTo>
                  <a:lnTo>
                    <a:pt x="717048" y="589853"/>
                  </a:lnTo>
                  <a:lnTo>
                    <a:pt x="720960" y="609148"/>
                  </a:lnTo>
                  <a:close/>
                </a:path>
              </a:pathLst>
            </a:custGeom>
            <a:solidFill>
              <a:srgbClr val="FFFFFF"/>
            </a:solidFill>
          </p:spPr>
          <p:txBody>
            <a:bodyPr wrap="square" lIns="0" tIns="0" rIns="0" bIns="0" rtlCol="0"/>
            <a:lstStyle/>
            <a:p>
              <a:endParaRPr/>
            </a:p>
          </p:txBody>
        </p:sp>
      </p:grpSp>
      <p:sp>
        <p:nvSpPr>
          <p:cNvPr id="84" name="object 84"/>
          <p:cNvSpPr txBox="1"/>
          <p:nvPr/>
        </p:nvSpPr>
        <p:spPr>
          <a:xfrm>
            <a:off x="13979149" y="2117796"/>
            <a:ext cx="2087880" cy="697230"/>
          </a:xfrm>
          <a:prstGeom prst="rect">
            <a:avLst/>
          </a:prstGeom>
        </p:spPr>
        <p:txBody>
          <a:bodyPr vert="horz" wrap="square" lIns="0" tIns="27305" rIns="0" bIns="0" rtlCol="0">
            <a:spAutoFit/>
          </a:bodyPr>
          <a:lstStyle/>
          <a:p>
            <a:pPr marL="256540" marR="5080" indent="-244475">
              <a:lnSpc>
                <a:spcPts val="2630"/>
              </a:lnSpc>
              <a:spcBef>
                <a:spcPts val="215"/>
              </a:spcBef>
            </a:pPr>
            <a:r>
              <a:rPr sz="2200" b="1" spc="100" dirty="0">
                <a:solidFill>
                  <a:srgbClr val="E3112B"/>
                </a:solidFill>
                <a:latin typeface="Arial"/>
                <a:cs typeface="Arial"/>
              </a:rPr>
              <a:t>Competidores </a:t>
            </a:r>
            <a:r>
              <a:rPr sz="2200" b="1" spc="170" dirty="0">
                <a:solidFill>
                  <a:srgbClr val="E3112B"/>
                </a:solidFill>
                <a:latin typeface="Arial"/>
                <a:cs typeface="Arial"/>
              </a:rPr>
              <a:t>por</a:t>
            </a:r>
            <a:r>
              <a:rPr sz="2200" b="1" dirty="0">
                <a:solidFill>
                  <a:srgbClr val="E3112B"/>
                </a:solidFill>
                <a:latin typeface="Arial"/>
                <a:cs typeface="Arial"/>
              </a:rPr>
              <a:t> </a:t>
            </a:r>
            <a:r>
              <a:rPr sz="2200" b="1" spc="100" dirty="0">
                <a:solidFill>
                  <a:srgbClr val="E3112B"/>
                </a:solidFill>
                <a:latin typeface="Arial"/>
                <a:cs typeface="Arial"/>
              </a:rPr>
              <a:t>paisaje</a:t>
            </a:r>
            <a:endParaRPr sz="2200">
              <a:latin typeface="Arial"/>
              <a:cs typeface="Arial"/>
            </a:endParaRPr>
          </a:p>
        </p:txBody>
      </p:sp>
      <p:grpSp>
        <p:nvGrpSpPr>
          <p:cNvPr id="85" name="object 85"/>
          <p:cNvGrpSpPr/>
          <p:nvPr/>
        </p:nvGrpSpPr>
        <p:grpSpPr>
          <a:xfrm>
            <a:off x="444661" y="1457199"/>
            <a:ext cx="10839450" cy="8229600"/>
            <a:chOff x="444661" y="1457199"/>
            <a:chExt cx="10839450" cy="8229600"/>
          </a:xfrm>
        </p:grpSpPr>
        <p:pic>
          <p:nvPicPr>
            <p:cNvPr id="86" name="object 86"/>
            <p:cNvPicPr/>
            <p:nvPr/>
          </p:nvPicPr>
          <p:blipFill>
            <a:blip r:embed="rId15" cstate="print"/>
            <a:stretch>
              <a:fillRect/>
            </a:stretch>
          </p:blipFill>
          <p:spPr>
            <a:xfrm>
              <a:off x="444661" y="1457199"/>
              <a:ext cx="6124574" cy="8229598"/>
            </a:xfrm>
            <a:prstGeom prst="rect">
              <a:avLst/>
            </a:prstGeom>
          </p:spPr>
        </p:pic>
        <p:sp>
          <p:nvSpPr>
            <p:cNvPr id="87" name="object 87"/>
            <p:cNvSpPr/>
            <p:nvPr/>
          </p:nvSpPr>
          <p:spPr>
            <a:xfrm>
              <a:off x="2870269" y="7438933"/>
              <a:ext cx="738505" cy="738505"/>
            </a:xfrm>
            <a:custGeom>
              <a:avLst/>
              <a:gdLst/>
              <a:ahLst/>
              <a:cxnLst/>
              <a:rect l="l" t="t" r="r" b="b"/>
              <a:pathLst>
                <a:path w="738504" h="738504">
                  <a:moveTo>
                    <a:pt x="369048" y="738095"/>
                  </a:moveTo>
                  <a:lnTo>
                    <a:pt x="322755" y="735220"/>
                  </a:lnTo>
                  <a:lnTo>
                    <a:pt x="278178" y="726824"/>
                  </a:lnTo>
                  <a:lnTo>
                    <a:pt x="235663" y="713254"/>
                  </a:lnTo>
                  <a:lnTo>
                    <a:pt x="195556" y="694856"/>
                  </a:lnTo>
                  <a:lnTo>
                    <a:pt x="158202" y="671974"/>
                  </a:lnTo>
                  <a:lnTo>
                    <a:pt x="123948" y="644956"/>
                  </a:lnTo>
                  <a:lnTo>
                    <a:pt x="93139" y="614147"/>
                  </a:lnTo>
                  <a:lnTo>
                    <a:pt x="66121" y="579892"/>
                  </a:lnTo>
                  <a:lnTo>
                    <a:pt x="43239" y="542539"/>
                  </a:lnTo>
                  <a:lnTo>
                    <a:pt x="24841" y="502431"/>
                  </a:lnTo>
                  <a:lnTo>
                    <a:pt x="11271" y="459916"/>
                  </a:lnTo>
                  <a:lnTo>
                    <a:pt x="2875" y="415340"/>
                  </a:lnTo>
                  <a:lnTo>
                    <a:pt x="0" y="369047"/>
                  </a:lnTo>
                  <a:lnTo>
                    <a:pt x="2875" y="322755"/>
                  </a:lnTo>
                  <a:lnTo>
                    <a:pt x="11271" y="278178"/>
                  </a:lnTo>
                  <a:lnTo>
                    <a:pt x="24841" y="235663"/>
                  </a:lnTo>
                  <a:lnTo>
                    <a:pt x="43239" y="195556"/>
                  </a:lnTo>
                  <a:lnTo>
                    <a:pt x="66121" y="158202"/>
                  </a:lnTo>
                  <a:lnTo>
                    <a:pt x="93139" y="123948"/>
                  </a:lnTo>
                  <a:lnTo>
                    <a:pt x="123948" y="93139"/>
                  </a:lnTo>
                  <a:lnTo>
                    <a:pt x="158202" y="66120"/>
                  </a:lnTo>
                  <a:lnTo>
                    <a:pt x="195556" y="43239"/>
                  </a:lnTo>
                  <a:lnTo>
                    <a:pt x="235663" y="24841"/>
                  </a:lnTo>
                  <a:lnTo>
                    <a:pt x="278178" y="11271"/>
                  </a:lnTo>
                  <a:lnTo>
                    <a:pt x="322755" y="2875"/>
                  </a:lnTo>
                  <a:lnTo>
                    <a:pt x="369047" y="0"/>
                  </a:lnTo>
                  <a:lnTo>
                    <a:pt x="415340" y="2875"/>
                  </a:lnTo>
                  <a:lnTo>
                    <a:pt x="459917" y="11271"/>
                  </a:lnTo>
                  <a:lnTo>
                    <a:pt x="502431" y="24841"/>
                  </a:lnTo>
                  <a:lnTo>
                    <a:pt x="542539" y="43239"/>
                  </a:lnTo>
                  <a:lnTo>
                    <a:pt x="579892" y="66120"/>
                  </a:lnTo>
                  <a:lnTo>
                    <a:pt x="614147" y="93139"/>
                  </a:lnTo>
                  <a:lnTo>
                    <a:pt x="644956" y="123948"/>
                  </a:lnTo>
                  <a:lnTo>
                    <a:pt x="671974" y="158202"/>
                  </a:lnTo>
                  <a:lnTo>
                    <a:pt x="694856" y="195556"/>
                  </a:lnTo>
                  <a:lnTo>
                    <a:pt x="713254" y="235663"/>
                  </a:lnTo>
                  <a:lnTo>
                    <a:pt x="726824" y="278178"/>
                  </a:lnTo>
                  <a:lnTo>
                    <a:pt x="735220" y="322755"/>
                  </a:lnTo>
                  <a:lnTo>
                    <a:pt x="738095" y="369047"/>
                  </a:lnTo>
                  <a:lnTo>
                    <a:pt x="735220" y="415340"/>
                  </a:lnTo>
                  <a:lnTo>
                    <a:pt x="726824" y="459916"/>
                  </a:lnTo>
                  <a:lnTo>
                    <a:pt x="713254" y="502431"/>
                  </a:lnTo>
                  <a:lnTo>
                    <a:pt x="694856" y="542539"/>
                  </a:lnTo>
                  <a:lnTo>
                    <a:pt x="671974" y="579892"/>
                  </a:lnTo>
                  <a:lnTo>
                    <a:pt x="644956" y="614147"/>
                  </a:lnTo>
                  <a:lnTo>
                    <a:pt x="614147" y="644956"/>
                  </a:lnTo>
                  <a:lnTo>
                    <a:pt x="579892" y="671974"/>
                  </a:lnTo>
                  <a:lnTo>
                    <a:pt x="542539" y="694856"/>
                  </a:lnTo>
                  <a:lnTo>
                    <a:pt x="502431" y="713254"/>
                  </a:lnTo>
                  <a:lnTo>
                    <a:pt x="459917" y="726824"/>
                  </a:lnTo>
                  <a:lnTo>
                    <a:pt x="415340" y="735220"/>
                  </a:lnTo>
                  <a:lnTo>
                    <a:pt x="369048" y="738095"/>
                  </a:lnTo>
                  <a:close/>
                </a:path>
              </a:pathLst>
            </a:custGeom>
            <a:solidFill>
              <a:srgbClr val="2D8BB9"/>
            </a:solidFill>
          </p:spPr>
          <p:txBody>
            <a:bodyPr wrap="square" lIns="0" tIns="0" rIns="0" bIns="0" rtlCol="0"/>
            <a:lstStyle/>
            <a:p>
              <a:endParaRPr/>
            </a:p>
          </p:txBody>
        </p:sp>
        <p:sp>
          <p:nvSpPr>
            <p:cNvPr id="88" name="object 88"/>
            <p:cNvSpPr/>
            <p:nvPr/>
          </p:nvSpPr>
          <p:spPr>
            <a:xfrm>
              <a:off x="3006920" y="7606776"/>
              <a:ext cx="447675" cy="400050"/>
            </a:xfrm>
            <a:custGeom>
              <a:avLst/>
              <a:gdLst/>
              <a:ahLst/>
              <a:cxnLst/>
              <a:rect l="l" t="t" r="r" b="b"/>
              <a:pathLst>
                <a:path w="447675" h="400050">
                  <a:moveTo>
                    <a:pt x="115053" y="116284"/>
                  </a:moveTo>
                  <a:lnTo>
                    <a:pt x="96053" y="116284"/>
                  </a:lnTo>
                  <a:lnTo>
                    <a:pt x="136237" y="2012"/>
                  </a:lnTo>
                  <a:lnTo>
                    <a:pt x="139052" y="0"/>
                  </a:lnTo>
                  <a:lnTo>
                    <a:pt x="147343" y="17"/>
                  </a:lnTo>
                  <a:lnTo>
                    <a:pt x="150117" y="1953"/>
                  </a:lnTo>
                  <a:lnTo>
                    <a:pt x="162771" y="35148"/>
                  </a:lnTo>
                  <a:lnTo>
                    <a:pt x="143581" y="35148"/>
                  </a:lnTo>
                  <a:lnTo>
                    <a:pt x="115053" y="116284"/>
                  </a:lnTo>
                  <a:close/>
                </a:path>
                <a:path w="447675" h="400050">
                  <a:moveTo>
                    <a:pt x="256820" y="281859"/>
                  </a:moveTo>
                  <a:lnTo>
                    <a:pt x="237624" y="281859"/>
                  </a:lnTo>
                  <a:lnTo>
                    <a:pt x="143581" y="35148"/>
                  </a:lnTo>
                  <a:lnTo>
                    <a:pt x="162771" y="35148"/>
                  </a:lnTo>
                  <a:lnTo>
                    <a:pt x="206183" y="149030"/>
                  </a:lnTo>
                  <a:lnTo>
                    <a:pt x="225681" y="149030"/>
                  </a:lnTo>
                  <a:lnTo>
                    <a:pt x="215433" y="173305"/>
                  </a:lnTo>
                  <a:lnTo>
                    <a:pt x="256820" y="281859"/>
                  </a:lnTo>
                  <a:close/>
                </a:path>
                <a:path w="447675" h="400050">
                  <a:moveTo>
                    <a:pt x="326787" y="127294"/>
                  </a:moveTo>
                  <a:lnTo>
                    <a:pt x="311150" y="124064"/>
                  </a:lnTo>
                  <a:lnTo>
                    <a:pt x="298339" y="115270"/>
                  </a:lnTo>
                  <a:lnTo>
                    <a:pt x="289680" y="102260"/>
                  </a:lnTo>
                  <a:lnTo>
                    <a:pt x="286499" y="86380"/>
                  </a:lnTo>
                  <a:lnTo>
                    <a:pt x="289680" y="70500"/>
                  </a:lnTo>
                  <a:lnTo>
                    <a:pt x="298339" y="57490"/>
                  </a:lnTo>
                  <a:lnTo>
                    <a:pt x="311150" y="48696"/>
                  </a:lnTo>
                  <a:lnTo>
                    <a:pt x="326787" y="45466"/>
                  </a:lnTo>
                  <a:lnTo>
                    <a:pt x="342425" y="48696"/>
                  </a:lnTo>
                  <a:lnTo>
                    <a:pt x="355236" y="57490"/>
                  </a:lnTo>
                  <a:lnTo>
                    <a:pt x="359336" y="63650"/>
                  </a:lnTo>
                  <a:lnTo>
                    <a:pt x="326787" y="63650"/>
                  </a:lnTo>
                  <a:lnTo>
                    <a:pt x="318030" y="65421"/>
                  </a:lnTo>
                  <a:lnTo>
                    <a:pt x="310921" y="70267"/>
                  </a:lnTo>
                  <a:lnTo>
                    <a:pt x="306149" y="77487"/>
                  </a:lnTo>
                  <a:lnTo>
                    <a:pt x="304405" y="86380"/>
                  </a:lnTo>
                  <a:lnTo>
                    <a:pt x="306149" y="95273"/>
                  </a:lnTo>
                  <a:lnTo>
                    <a:pt x="310921" y="102493"/>
                  </a:lnTo>
                  <a:lnTo>
                    <a:pt x="318030" y="107339"/>
                  </a:lnTo>
                  <a:lnTo>
                    <a:pt x="326787" y="109110"/>
                  </a:lnTo>
                  <a:lnTo>
                    <a:pt x="359336" y="109110"/>
                  </a:lnTo>
                  <a:lnTo>
                    <a:pt x="355236" y="115270"/>
                  </a:lnTo>
                  <a:lnTo>
                    <a:pt x="342425" y="124064"/>
                  </a:lnTo>
                  <a:lnTo>
                    <a:pt x="326787" y="127294"/>
                  </a:lnTo>
                  <a:close/>
                </a:path>
                <a:path w="447675" h="400050">
                  <a:moveTo>
                    <a:pt x="359336" y="109110"/>
                  </a:moveTo>
                  <a:lnTo>
                    <a:pt x="326787" y="109110"/>
                  </a:lnTo>
                  <a:lnTo>
                    <a:pt x="335545" y="107339"/>
                  </a:lnTo>
                  <a:lnTo>
                    <a:pt x="342654" y="102493"/>
                  </a:lnTo>
                  <a:lnTo>
                    <a:pt x="347426" y="95273"/>
                  </a:lnTo>
                  <a:lnTo>
                    <a:pt x="349170" y="86380"/>
                  </a:lnTo>
                  <a:lnTo>
                    <a:pt x="347426" y="77487"/>
                  </a:lnTo>
                  <a:lnTo>
                    <a:pt x="342654" y="70267"/>
                  </a:lnTo>
                  <a:lnTo>
                    <a:pt x="335545" y="65421"/>
                  </a:lnTo>
                  <a:lnTo>
                    <a:pt x="326787" y="63650"/>
                  </a:lnTo>
                  <a:lnTo>
                    <a:pt x="359336" y="63650"/>
                  </a:lnTo>
                  <a:lnTo>
                    <a:pt x="363895" y="70500"/>
                  </a:lnTo>
                  <a:lnTo>
                    <a:pt x="367076" y="86380"/>
                  </a:lnTo>
                  <a:lnTo>
                    <a:pt x="363895" y="102260"/>
                  </a:lnTo>
                  <a:lnTo>
                    <a:pt x="359336" y="109110"/>
                  </a:lnTo>
                  <a:close/>
                </a:path>
                <a:path w="447675" h="400050">
                  <a:moveTo>
                    <a:pt x="447654" y="400056"/>
                  </a:moveTo>
                  <a:lnTo>
                    <a:pt x="0" y="399700"/>
                  </a:lnTo>
                  <a:lnTo>
                    <a:pt x="0" y="318707"/>
                  </a:lnTo>
                  <a:lnTo>
                    <a:pt x="1271" y="305085"/>
                  </a:lnTo>
                  <a:lnTo>
                    <a:pt x="4924" y="292243"/>
                  </a:lnTo>
                  <a:lnTo>
                    <a:pt x="10714" y="280433"/>
                  </a:lnTo>
                  <a:lnTo>
                    <a:pt x="18395" y="269908"/>
                  </a:lnTo>
                  <a:lnTo>
                    <a:pt x="73257" y="102642"/>
                  </a:lnTo>
                  <a:lnTo>
                    <a:pt x="75693" y="100596"/>
                  </a:lnTo>
                  <a:lnTo>
                    <a:pt x="83081" y="99592"/>
                  </a:lnTo>
                  <a:lnTo>
                    <a:pt x="85961" y="100917"/>
                  </a:lnTo>
                  <a:lnTo>
                    <a:pt x="96053" y="116284"/>
                  </a:lnTo>
                  <a:lnTo>
                    <a:pt x="115053" y="116284"/>
                  </a:lnTo>
                  <a:lnTo>
                    <a:pt x="110364" y="129620"/>
                  </a:lnTo>
                  <a:lnTo>
                    <a:pt x="83288" y="129620"/>
                  </a:lnTo>
                  <a:lnTo>
                    <a:pt x="43314" y="251386"/>
                  </a:lnTo>
                  <a:lnTo>
                    <a:pt x="103966" y="251386"/>
                  </a:lnTo>
                  <a:lnTo>
                    <a:pt x="107026" y="252303"/>
                  </a:lnTo>
                  <a:lnTo>
                    <a:pt x="120064" y="258582"/>
                  </a:lnTo>
                  <a:lnTo>
                    <a:pt x="128669" y="263710"/>
                  </a:lnTo>
                  <a:lnTo>
                    <a:pt x="71624" y="263710"/>
                  </a:lnTo>
                  <a:lnTo>
                    <a:pt x="50813" y="267861"/>
                  </a:lnTo>
                  <a:lnTo>
                    <a:pt x="33727" y="279728"/>
                  </a:lnTo>
                  <a:lnTo>
                    <a:pt x="22160" y="297335"/>
                  </a:lnTo>
                  <a:lnTo>
                    <a:pt x="17906" y="318707"/>
                  </a:lnTo>
                  <a:lnTo>
                    <a:pt x="17906" y="381534"/>
                  </a:lnTo>
                  <a:lnTo>
                    <a:pt x="445836" y="381871"/>
                  </a:lnTo>
                  <a:lnTo>
                    <a:pt x="447654" y="390963"/>
                  </a:lnTo>
                  <a:lnTo>
                    <a:pt x="447654" y="400056"/>
                  </a:lnTo>
                  <a:close/>
                </a:path>
                <a:path w="447675" h="400050">
                  <a:moveTo>
                    <a:pt x="225681" y="149030"/>
                  </a:moveTo>
                  <a:lnTo>
                    <a:pt x="206183" y="149030"/>
                  </a:lnTo>
                  <a:lnTo>
                    <a:pt x="226047" y="101963"/>
                  </a:lnTo>
                  <a:lnTo>
                    <a:pt x="228705" y="100128"/>
                  </a:lnTo>
                  <a:lnTo>
                    <a:pt x="236607" y="99895"/>
                  </a:lnTo>
                  <a:lnTo>
                    <a:pt x="239445" y="101748"/>
                  </a:lnTo>
                  <a:lnTo>
                    <a:pt x="252173" y="132337"/>
                  </a:lnTo>
                  <a:lnTo>
                    <a:pt x="232728" y="132337"/>
                  </a:lnTo>
                  <a:lnTo>
                    <a:pt x="225681" y="149030"/>
                  </a:lnTo>
                  <a:close/>
                </a:path>
                <a:path w="447675" h="400050">
                  <a:moveTo>
                    <a:pt x="95925" y="145862"/>
                  </a:moveTo>
                  <a:lnTo>
                    <a:pt x="93078" y="144537"/>
                  </a:lnTo>
                  <a:lnTo>
                    <a:pt x="83288" y="129620"/>
                  </a:lnTo>
                  <a:lnTo>
                    <a:pt x="110364" y="129620"/>
                  </a:lnTo>
                  <a:lnTo>
                    <a:pt x="105674" y="142959"/>
                  </a:lnTo>
                  <a:lnTo>
                    <a:pt x="103228" y="144947"/>
                  </a:lnTo>
                  <a:lnTo>
                    <a:pt x="95925" y="145862"/>
                  </a:lnTo>
                  <a:close/>
                </a:path>
                <a:path w="447675" h="400050">
                  <a:moveTo>
                    <a:pt x="323335" y="303364"/>
                  </a:moveTo>
                  <a:lnTo>
                    <a:pt x="303915" y="303364"/>
                  </a:lnTo>
                  <a:lnTo>
                    <a:pt x="232728" y="132337"/>
                  </a:lnTo>
                  <a:lnTo>
                    <a:pt x="252173" y="132337"/>
                  </a:lnTo>
                  <a:lnTo>
                    <a:pt x="323335" y="303364"/>
                  </a:lnTo>
                  <a:close/>
                </a:path>
                <a:path w="447675" h="400050">
                  <a:moveTo>
                    <a:pt x="346624" y="227464"/>
                  </a:moveTo>
                  <a:lnTo>
                    <a:pt x="344484" y="226576"/>
                  </a:lnTo>
                  <a:lnTo>
                    <a:pt x="340937" y="222974"/>
                  </a:lnTo>
                  <a:lnTo>
                    <a:pt x="340062" y="220800"/>
                  </a:lnTo>
                  <a:lnTo>
                    <a:pt x="340114" y="215706"/>
                  </a:lnTo>
                  <a:lnTo>
                    <a:pt x="341031" y="213550"/>
                  </a:lnTo>
                  <a:lnTo>
                    <a:pt x="342840" y="211786"/>
                  </a:lnTo>
                  <a:lnTo>
                    <a:pt x="377888" y="176182"/>
                  </a:lnTo>
                  <a:lnTo>
                    <a:pt x="379603" y="173880"/>
                  </a:lnTo>
                  <a:lnTo>
                    <a:pt x="381935" y="172678"/>
                  </a:lnTo>
                  <a:lnTo>
                    <a:pt x="387834" y="172589"/>
                  </a:lnTo>
                  <a:lnTo>
                    <a:pt x="390242" y="173772"/>
                  </a:lnTo>
                  <a:lnTo>
                    <a:pt x="392117" y="176235"/>
                  </a:lnTo>
                  <a:lnTo>
                    <a:pt x="419256" y="203795"/>
                  </a:lnTo>
                  <a:lnTo>
                    <a:pt x="376030" y="203795"/>
                  </a:lnTo>
                  <a:lnTo>
                    <a:pt x="355500" y="224643"/>
                  </a:lnTo>
                  <a:lnTo>
                    <a:pt x="353763" y="226480"/>
                  </a:lnTo>
                  <a:lnTo>
                    <a:pt x="351641" y="227412"/>
                  </a:lnTo>
                  <a:lnTo>
                    <a:pt x="346624" y="227464"/>
                  </a:lnTo>
                  <a:close/>
                </a:path>
                <a:path w="447675" h="400050">
                  <a:moveTo>
                    <a:pt x="337671" y="291108"/>
                  </a:moveTo>
                  <a:lnTo>
                    <a:pt x="335531" y="290220"/>
                  </a:lnTo>
                  <a:lnTo>
                    <a:pt x="331983" y="286618"/>
                  </a:lnTo>
                  <a:lnTo>
                    <a:pt x="331109" y="284444"/>
                  </a:lnTo>
                  <a:lnTo>
                    <a:pt x="331160" y="279350"/>
                  </a:lnTo>
                  <a:lnTo>
                    <a:pt x="332078" y="277195"/>
                  </a:lnTo>
                  <a:lnTo>
                    <a:pt x="333887" y="275431"/>
                  </a:lnTo>
                  <a:lnTo>
                    <a:pt x="376030" y="232634"/>
                  </a:lnTo>
                  <a:lnTo>
                    <a:pt x="376030" y="203795"/>
                  </a:lnTo>
                  <a:lnTo>
                    <a:pt x="393936" y="203795"/>
                  </a:lnTo>
                  <a:lnTo>
                    <a:pt x="393936" y="232634"/>
                  </a:lnTo>
                  <a:lnTo>
                    <a:pt x="419256" y="258347"/>
                  </a:lnTo>
                  <a:lnTo>
                    <a:pt x="376030" y="258347"/>
                  </a:lnTo>
                  <a:lnTo>
                    <a:pt x="346547" y="288287"/>
                  </a:lnTo>
                  <a:lnTo>
                    <a:pt x="344810" y="290125"/>
                  </a:lnTo>
                  <a:lnTo>
                    <a:pt x="342684" y="291056"/>
                  </a:lnTo>
                  <a:lnTo>
                    <a:pt x="337671" y="291108"/>
                  </a:lnTo>
                  <a:close/>
                </a:path>
                <a:path w="447675" h="400050">
                  <a:moveTo>
                    <a:pt x="423341" y="227464"/>
                  </a:moveTo>
                  <a:lnTo>
                    <a:pt x="418325" y="227412"/>
                  </a:lnTo>
                  <a:lnTo>
                    <a:pt x="416202" y="226480"/>
                  </a:lnTo>
                  <a:lnTo>
                    <a:pt x="414465" y="224643"/>
                  </a:lnTo>
                  <a:lnTo>
                    <a:pt x="393936" y="203795"/>
                  </a:lnTo>
                  <a:lnTo>
                    <a:pt x="419256" y="203795"/>
                  </a:lnTo>
                  <a:lnTo>
                    <a:pt x="427125" y="211786"/>
                  </a:lnTo>
                  <a:lnTo>
                    <a:pt x="428934" y="213550"/>
                  </a:lnTo>
                  <a:lnTo>
                    <a:pt x="429852" y="215706"/>
                  </a:lnTo>
                  <a:lnTo>
                    <a:pt x="429903" y="220800"/>
                  </a:lnTo>
                  <a:lnTo>
                    <a:pt x="429029" y="222974"/>
                  </a:lnTo>
                  <a:lnTo>
                    <a:pt x="425482" y="226576"/>
                  </a:lnTo>
                  <a:lnTo>
                    <a:pt x="423341" y="227464"/>
                  </a:lnTo>
                  <a:close/>
                </a:path>
                <a:path w="447675" h="400050">
                  <a:moveTo>
                    <a:pt x="103966" y="251386"/>
                  </a:moveTo>
                  <a:lnTo>
                    <a:pt x="43314" y="251386"/>
                  </a:lnTo>
                  <a:lnTo>
                    <a:pt x="50057" y="248811"/>
                  </a:lnTo>
                  <a:lnTo>
                    <a:pt x="57096" y="246945"/>
                  </a:lnTo>
                  <a:lnTo>
                    <a:pt x="64397" y="245839"/>
                  </a:lnTo>
                  <a:lnTo>
                    <a:pt x="71922" y="245544"/>
                  </a:lnTo>
                  <a:lnTo>
                    <a:pt x="91308" y="247594"/>
                  </a:lnTo>
                  <a:lnTo>
                    <a:pt x="103966" y="251386"/>
                  </a:lnTo>
                  <a:close/>
                </a:path>
                <a:path w="447675" h="400050">
                  <a:moveTo>
                    <a:pt x="393936" y="336411"/>
                  </a:moveTo>
                  <a:lnTo>
                    <a:pt x="376030" y="336411"/>
                  </a:lnTo>
                  <a:lnTo>
                    <a:pt x="376030" y="258347"/>
                  </a:lnTo>
                  <a:lnTo>
                    <a:pt x="393936" y="258347"/>
                  </a:lnTo>
                  <a:lnTo>
                    <a:pt x="393936" y="336411"/>
                  </a:lnTo>
                  <a:close/>
                </a:path>
                <a:path w="447675" h="400050">
                  <a:moveTo>
                    <a:pt x="432294" y="291108"/>
                  </a:moveTo>
                  <a:lnTo>
                    <a:pt x="427278" y="291056"/>
                  </a:lnTo>
                  <a:lnTo>
                    <a:pt x="425155" y="290125"/>
                  </a:lnTo>
                  <a:lnTo>
                    <a:pt x="423418" y="288287"/>
                  </a:lnTo>
                  <a:lnTo>
                    <a:pt x="393936" y="258347"/>
                  </a:lnTo>
                  <a:lnTo>
                    <a:pt x="419256" y="258347"/>
                  </a:lnTo>
                  <a:lnTo>
                    <a:pt x="436078" y="275431"/>
                  </a:lnTo>
                  <a:lnTo>
                    <a:pt x="437887" y="277195"/>
                  </a:lnTo>
                  <a:lnTo>
                    <a:pt x="438805" y="279350"/>
                  </a:lnTo>
                  <a:lnTo>
                    <a:pt x="438856" y="284444"/>
                  </a:lnTo>
                  <a:lnTo>
                    <a:pt x="437982" y="286618"/>
                  </a:lnTo>
                  <a:lnTo>
                    <a:pt x="434435" y="290220"/>
                  </a:lnTo>
                  <a:lnTo>
                    <a:pt x="432294" y="291108"/>
                  </a:lnTo>
                  <a:close/>
                </a:path>
                <a:path w="447675" h="400050">
                  <a:moveTo>
                    <a:pt x="445836" y="381871"/>
                  </a:moveTo>
                  <a:lnTo>
                    <a:pt x="427964" y="381871"/>
                  </a:lnTo>
                  <a:lnTo>
                    <a:pt x="423298" y="371020"/>
                  </a:lnTo>
                  <a:lnTo>
                    <a:pt x="415703" y="362376"/>
                  </a:lnTo>
                  <a:lnTo>
                    <a:pt x="405732" y="356661"/>
                  </a:lnTo>
                  <a:lnTo>
                    <a:pt x="393936" y="354595"/>
                  </a:lnTo>
                  <a:lnTo>
                    <a:pt x="358123" y="354595"/>
                  </a:lnTo>
                  <a:lnTo>
                    <a:pt x="338339" y="351785"/>
                  </a:lnTo>
                  <a:lnTo>
                    <a:pt x="322931" y="344606"/>
                  </a:lnTo>
                  <a:lnTo>
                    <a:pt x="310666" y="334936"/>
                  </a:lnTo>
                  <a:lnTo>
                    <a:pt x="300313" y="324655"/>
                  </a:lnTo>
                  <a:lnTo>
                    <a:pt x="290364" y="315207"/>
                  </a:lnTo>
                  <a:lnTo>
                    <a:pt x="278709" y="307369"/>
                  </a:lnTo>
                  <a:lnTo>
                    <a:pt x="263211" y="302021"/>
                  </a:lnTo>
                  <a:lnTo>
                    <a:pt x="241733" y="300043"/>
                  </a:lnTo>
                  <a:lnTo>
                    <a:pt x="188015" y="300043"/>
                  </a:lnTo>
                  <a:lnTo>
                    <a:pt x="166042" y="298329"/>
                  </a:lnTo>
                  <a:lnTo>
                    <a:pt x="148401" y="293878"/>
                  </a:lnTo>
                  <a:lnTo>
                    <a:pt x="134098" y="287724"/>
                  </a:lnTo>
                  <a:lnTo>
                    <a:pt x="122143" y="280900"/>
                  </a:lnTo>
                  <a:lnTo>
                    <a:pt x="111493" y="274440"/>
                  </a:lnTo>
                  <a:lnTo>
                    <a:pt x="100646" y="269053"/>
                  </a:lnTo>
                  <a:lnTo>
                    <a:pt x="87918" y="265293"/>
                  </a:lnTo>
                  <a:lnTo>
                    <a:pt x="71624" y="263710"/>
                  </a:lnTo>
                  <a:lnTo>
                    <a:pt x="128669" y="263710"/>
                  </a:lnTo>
                  <a:lnTo>
                    <a:pt x="168857" y="280524"/>
                  </a:lnTo>
                  <a:lnTo>
                    <a:pt x="188015" y="281859"/>
                  </a:lnTo>
                  <a:lnTo>
                    <a:pt x="256820" y="281859"/>
                  </a:lnTo>
                  <a:lnTo>
                    <a:pt x="257226" y="282924"/>
                  </a:lnTo>
                  <a:lnTo>
                    <a:pt x="272062" y="286015"/>
                  </a:lnTo>
                  <a:lnTo>
                    <a:pt x="284562" y="290758"/>
                  </a:lnTo>
                  <a:lnTo>
                    <a:pt x="295066" y="296695"/>
                  </a:lnTo>
                  <a:lnTo>
                    <a:pt x="303915" y="303364"/>
                  </a:lnTo>
                  <a:lnTo>
                    <a:pt x="323335" y="303364"/>
                  </a:lnTo>
                  <a:lnTo>
                    <a:pt x="334884" y="331119"/>
                  </a:lnTo>
                  <a:lnTo>
                    <a:pt x="340856" y="334404"/>
                  </a:lnTo>
                  <a:lnTo>
                    <a:pt x="347968" y="336411"/>
                  </a:lnTo>
                  <a:lnTo>
                    <a:pt x="393936" y="336411"/>
                  </a:lnTo>
                  <a:lnTo>
                    <a:pt x="414800" y="340714"/>
                  </a:lnTo>
                  <a:lnTo>
                    <a:pt x="431880" y="352430"/>
                  </a:lnTo>
                  <a:lnTo>
                    <a:pt x="443418" y="369776"/>
                  </a:lnTo>
                  <a:lnTo>
                    <a:pt x="445836" y="381871"/>
                  </a:lnTo>
                  <a:close/>
                </a:path>
              </a:pathLst>
            </a:custGeom>
            <a:solidFill>
              <a:srgbClr val="FFFFFF"/>
            </a:solidFill>
          </p:spPr>
          <p:txBody>
            <a:bodyPr wrap="square" lIns="0" tIns="0" rIns="0" bIns="0" rtlCol="0"/>
            <a:lstStyle/>
            <a:p>
              <a:endParaRPr/>
            </a:p>
          </p:txBody>
        </p:sp>
        <p:sp>
          <p:nvSpPr>
            <p:cNvPr id="89" name="object 89"/>
            <p:cNvSpPr/>
            <p:nvPr/>
          </p:nvSpPr>
          <p:spPr>
            <a:xfrm>
              <a:off x="4275461" y="4007020"/>
              <a:ext cx="738505" cy="738505"/>
            </a:xfrm>
            <a:custGeom>
              <a:avLst/>
              <a:gdLst/>
              <a:ahLst/>
              <a:cxnLst/>
              <a:rect l="l" t="t" r="r" b="b"/>
              <a:pathLst>
                <a:path w="738504" h="738504">
                  <a:moveTo>
                    <a:pt x="369048" y="738095"/>
                  </a:moveTo>
                  <a:lnTo>
                    <a:pt x="322754" y="735220"/>
                  </a:lnTo>
                  <a:lnTo>
                    <a:pt x="278178" y="726824"/>
                  </a:lnTo>
                  <a:lnTo>
                    <a:pt x="235663" y="713254"/>
                  </a:lnTo>
                  <a:lnTo>
                    <a:pt x="195556" y="694855"/>
                  </a:lnTo>
                  <a:lnTo>
                    <a:pt x="158202" y="671974"/>
                  </a:lnTo>
                  <a:lnTo>
                    <a:pt x="123948" y="644956"/>
                  </a:lnTo>
                  <a:lnTo>
                    <a:pt x="93138" y="614147"/>
                  </a:lnTo>
                  <a:lnTo>
                    <a:pt x="66120" y="579892"/>
                  </a:lnTo>
                  <a:lnTo>
                    <a:pt x="43239" y="542538"/>
                  </a:lnTo>
                  <a:lnTo>
                    <a:pt x="24840" y="502431"/>
                  </a:lnTo>
                  <a:lnTo>
                    <a:pt x="11270" y="459916"/>
                  </a:lnTo>
                  <a:lnTo>
                    <a:pt x="2874" y="415340"/>
                  </a:lnTo>
                  <a:lnTo>
                    <a:pt x="0" y="369054"/>
                  </a:lnTo>
                  <a:lnTo>
                    <a:pt x="2874" y="322755"/>
                  </a:lnTo>
                  <a:lnTo>
                    <a:pt x="11270" y="278178"/>
                  </a:lnTo>
                  <a:lnTo>
                    <a:pt x="24840" y="235663"/>
                  </a:lnTo>
                  <a:lnTo>
                    <a:pt x="43239" y="195556"/>
                  </a:lnTo>
                  <a:lnTo>
                    <a:pt x="66120" y="158202"/>
                  </a:lnTo>
                  <a:lnTo>
                    <a:pt x="93138" y="123948"/>
                  </a:lnTo>
                  <a:lnTo>
                    <a:pt x="123948" y="93138"/>
                  </a:lnTo>
                  <a:lnTo>
                    <a:pt x="158202" y="66120"/>
                  </a:lnTo>
                  <a:lnTo>
                    <a:pt x="195556" y="43239"/>
                  </a:lnTo>
                  <a:lnTo>
                    <a:pt x="235663" y="24840"/>
                  </a:lnTo>
                  <a:lnTo>
                    <a:pt x="278178" y="11270"/>
                  </a:lnTo>
                  <a:lnTo>
                    <a:pt x="322754" y="2875"/>
                  </a:lnTo>
                  <a:lnTo>
                    <a:pt x="369042" y="0"/>
                  </a:lnTo>
                  <a:lnTo>
                    <a:pt x="415340" y="2875"/>
                  </a:lnTo>
                  <a:lnTo>
                    <a:pt x="459916" y="11270"/>
                  </a:lnTo>
                  <a:lnTo>
                    <a:pt x="502431" y="24840"/>
                  </a:lnTo>
                  <a:lnTo>
                    <a:pt x="542538" y="43239"/>
                  </a:lnTo>
                  <a:lnTo>
                    <a:pt x="579892" y="66120"/>
                  </a:lnTo>
                  <a:lnTo>
                    <a:pt x="614146" y="93138"/>
                  </a:lnTo>
                  <a:lnTo>
                    <a:pt x="644956" y="123948"/>
                  </a:lnTo>
                  <a:lnTo>
                    <a:pt x="671974" y="158202"/>
                  </a:lnTo>
                  <a:lnTo>
                    <a:pt x="694855" y="195556"/>
                  </a:lnTo>
                  <a:lnTo>
                    <a:pt x="713254" y="235663"/>
                  </a:lnTo>
                  <a:lnTo>
                    <a:pt x="726824" y="278178"/>
                  </a:lnTo>
                  <a:lnTo>
                    <a:pt x="735220" y="322755"/>
                  </a:lnTo>
                  <a:lnTo>
                    <a:pt x="738095" y="369041"/>
                  </a:lnTo>
                  <a:lnTo>
                    <a:pt x="735220" y="415340"/>
                  </a:lnTo>
                  <a:lnTo>
                    <a:pt x="726824" y="459916"/>
                  </a:lnTo>
                  <a:lnTo>
                    <a:pt x="713254" y="502431"/>
                  </a:lnTo>
                  <a:lnTo>
                    <a:pt x="694855" y="542538"/>
                  </a:lnTo>
                  <a:lnTo>
                    <a:pt x="671974" y="579892"/>
                  </a:lnTo>
                  <a:lnTo>
                    <a:pt x="644956" y="614147"/>
                  </a:lnTo>
                  <a:lnTo>
                    <a:pt x="614146" y="644956"/>
                  </a:lnTo>
                  <a:lnTo>
                    <a:pt x="579892" y="671974"/>
                  </a:lnTo>
                  <a:lnTo>
                    <a:pt x="542538" y="694855"/>
                  </a:lnTo>
                  <a:lnTo>
                    <a:pt x="502431" y="713254"/>
                  </a:lnTo>
                  <a:lnTo>
                    <a:pt x="459916" y="726824"/>
                  </a:lnTo>
                  <a:lnTo>
                    <a:pt x="415340" y="735220"/>
                  </a:lnTo>
                  <a:lnTo>
                    <a:pt x="369048" y="738095"/>
                  </a:lnTo>
                  <a:close/>
                </a:path>
              </a:pathLst>
            </a:custGeom>
            <a:solidFill>
              <a:srgbClr val="F5A316"/>
            </a:solidFill>
          </p:spPr>
          <p:txBody>
            <a:bodyPr wrap="square" lIns="0" tIns="0" rIns="0" bIns="0" rtlCol="0"/>
            <a:lstStyle/>
            <a:p>
              <a:endParaRPr/>
            </a:p>
          </p:txBody>
        </p:sp>
        <p:sp>
          <p:nvSpPr>
            <p:cNvPr id="90" name="object 90"/>
            <p:cNvSpPr/>
            <p:nvPr/>
          </p:nvSpPr>
          <p:spPr>
            <a:xfrm>
              <a:off x="4476442" y="4492429"/>
              <a:ext cx="405130" cy="141605"/>
            </a:xfrm>
            <a:custGeom>
              <a:avLst/>
              <a:gdLst/>
              <a:ahLst/>
              <a:cxnLst/>
              <a:rect l="l" t="t" r="r" b="b"/>
              <a:pathLst>
                <a:path w="405129" h="141604">
                  <a:moveTo>
                    <a:pt x="373232" y="141096"/>
                  </a:moveTo>
                  <a:lnTo>
                    <a:pt x="15260" y="141096"/>
                  </a:lnTo>
                  <a:lnTo>
                    <a:pt x="6288" y="138619"/>
                  </a:lnTo>
                  <a:lnTo>
                    <a:pt x="957" y="132379"/>
                  </a:lnTo>
                  <a:lnTo>
                    <a:pt x="0" y="124158"/>
                  </a:lnTo>
                  <a:lnTo>
                    <a:pt x="4147" y="115741"/>
                  </a:lnTo>
                  <a:lnTo>
                    <a:pt x="33473" y="84462"/>
                  </a:lnTo>
                  <a:lnTo>
                    <a:pt x="47505" y="82663"/>
                  </a:lnTo>
                  <a:lnTo>
                    <a:pt x="87143" y="82663"/>
                  </a:lnTo>
                  <a:lnTo>
                    <a:pt x="101052" y="82186"/>
                  </a:lnTo>
                  <a:lnTo>
                    <a:pt x="113414" y="80043"/>
                  </a:lnTo>
                  <a:lnTo>
                    <a:pt x="124931" y="75163"/>
                  </a:lnTo>
                  <a:lnTo>
                    <a:pt x="136307" y="66476"/>
                  </a:lnTo>
                  <a:lnTo>
                    <a:pt x="181737" y="30162"/>
                  </a:lnTo>
                  <a:lnTo>
                    <a:pt x="190828" y="23781"/>
                  </a:lnTo>
                  <a:lnTo>
                    <a:pt x="198827" y="20492"/>
                  </a:lnTo>
                  <a:lnTo>
                    <a:pt x="207008" y="19877"/>
                  </a:lnTo>
                  <a:lnTo>
                    <a:pt x="216642" y="21521"/>
                  </a:lnTo>
                  <a:lnTo>
                    <a:pt x="285672" y="38152"/>
                  </a:lnTo>
                  <a:lnTo>
                    <a:pt x="287513" y="40455"/>
                  </a:lnTo>
                  <a:lnTo>
                    <a:pt x="271529" y="59543"/>
                  </a:lnTo>
                  <a:lnTo>
                    <a:pt x="269455" y="64118"/>
                  </a:lnTo>
                  <a:lnTo>
                    <a:pt x="270907" y="67581"/>
                  </a:lnTo>
                  <a:lnTo>
                    <a:pt x="275707" y="68541"/>
                  </a:lnTo>
                  <a:lnTo>
                    <a:pt x="283678" y="65604"/>
                  </a:lnTo>
                  <a:lnTo>
                    <a:pt x="378033" y="4018"/>
                  </a:lnTo>
                  <a:lnTo>
                    <a:pt x="387357" y="0"/>
                  </a:lnTo>
                  <a:lnTo>
                    <a:pt x="395913" y="318"/>
                  </a:lnTo>
                  <a:lnTo>
                    <a:pt x="402169" y="5606"/>
                  </a:lnTo>
                  <a:lnTo>
                    <a:pt x="404594" y="16500"/>
                  </a:lnTo>
                  <a:lnTo>
                    <a:pt x="404594" y="112557"/>
                  </a:lnTo>
                  <a:lnTo>
                    <a:pt x="402694" y="124513"/>
                  </a:lnTo>
                  <a:lnTo>
                    <a:pt x="396912" y="133490"/>
                  </a:lnTo>
                  <a:lnTo>
                    <a:pt x="387131" y="139136"/>
                  </a:lnTo>
                  <a:lnTo>
                    <a:pt x="373232" y="141096"/>
                  </a:lnTo>
                  <a:close/>
                </a:path>
              </a:pathLst>
            </a:custGeom>
            <a:solidFill>
              <a:srgbClr val="FFFFFF"/>
            </a:solidFill>
          </p:spPr>
          <p:txBody>
            <a:bodyPr wrap="square" lIns="0" tIns="0" rIns="0" bIns="0" rtlCol="0"/>
            <a:lstStyle/>
            <a:p>
              <a:endParaRPr/>
            </a:p>
          </p:txBody>
        </p:sp>
        <p:pic>
          <p:nvPicPr>
            <p:cNvPr id="91" name="object 91"/>
            <p:cNvPicPr/>
            <p:nvPr/>
          </p:nvPicPr>
          <p:blipFill>
            <a:blip r:embed="rId16" cstate="print"/>
            <a:stretch>
              <a:fillRect/>
            </a:stretch>
          </p:blipFill>
          <p:spPr>
            <a:xfrm>
              <a:off x="4616899" y="4121102"/>
              <a:ext cx="95452" cy="95206"/>
            </a:xfrm>
            <a:prstGeom prst="rect">
              <a:avLst/>
            </a:prstGeom>
          </p:spPr>
        </p:pic>
        <p:sp>
          <p:nvSpPr>
            <p:cNvPr id="92" name="object 92"/>
            <p:cNvSpPr/>
            <p:nvPr/>
          </p:nvSpPr>
          <p:spPr>
            <a:xfrm>
              <a:off x="4568707" y="4234912"/>
              <a:ext cx="217804" cy="281305"/>
            </a:xfrm>
            <a:custGeom>
              <a:avLst/>
              <a:gdLst/>
              <a:ahLst/>
              <a:cxnLst/>
              <a:rect l="l" t="t" r="r" b="b"/>
              <a:pathLst>
                <a:path w="217804" h="281304">
                  <a:moveTo>
                    <a:pt x="202277" y="281001"/>
                  </a:moveTo>
                  <a:lnTo>
                    <a:pt x="192007" y="277307"/>
                  </a:lnTo>
                  <a:lnTo>
                    <a:pt x="187172" y="266226"/>
                  </a:lnTo>
                  <a:lnTo>
                    <a:pt x="187172" y="98214"/>
                  </a:lnTo>
                  <a:lnTo>
                    <a:pt x="130016" y="98214"/>
                  </a:lnTo>
                  <a:lnTo>
                    <a:pt x="124463" y="95750"/>
                  </a:lnTo>
                  <a:lnTo>
                    <a:pt x="91635" y="58945"/>
                  </a:lnTo>
                  <a:lnTo>
                    <a:pt x="70497" y="127717"/>
                  </a:lnTo>
                  <a:lnTo>
                    <a:pt x="119071" y="143384"/>
                  </a:lnTo>
                  <a:lnTo>
                    <a:pt x="148470" y="238529"/>
                  </a:lnTo>
                  <a:lnTo>
                    <a:pt x="143576" y="257341"/>
                  </a:lnTo>
                  <a:lnTo>
                    <a:pt x="127201" y="264618"/>
                  </a:lnTo>
                  <a:lnTo>
                    <a:pt x="109589" y="259640"/>
                  </a:lnTo>
                  <a:lnTo>
                    <a:pt x="100985" y="241682"/>
                  </a:lnTo>
                  <a:lnTo>
                    <a:pt x="89081" y="183602"/>
                  </a:lnTo>
                  <a:lnTo>
                    <a:pt x="15128" y="159088"/>
                  </a:lnTo>
                  <a:lnTo>
                    <a:pt x="6588" y="154821"/>
                  </a:lnTo>
                  <a:lnTo>
                    <a:pt x="1560" y="148608"/>
                  </a:lnTo>
                  <a:lnTo>
                    <a:pt x="0" y="140124"/>
                  </a:lnTo>
                  <a:lnTo>
                    <a:pt x="1866" y="129042"/>
                  </a:lnTo>
                  <a:lnTo>
                    <a:pt x="33712" y="17464"/>
                  </a:lnTo>
                  <a:lnTo>
                    <a:pt x="56591" y="275"/>
                  </a:lnTo>
                  <a:lnTo>
                    <a:pt x="83620" y="275"/>
                  </a:lnTo>
                  <a:lnTo>
                    <a:pt x="89810" y="0"/>
                  </a:lnTo>
                  <a:lnTo>
                    <a:pt x="95731" y="2670"/>
                  </a:lnTo>
                  <a:lnTo>
                    <a:pt x="144857" y="57713"/>
                  </a:lnTo>
                  <a:lnTo>
                    <a:pt x="187165" y="57713"/>
                  </a:lnTo>
                  <a:lnTo>
                    <a:pt x="187096" y="11877"/>
                  </a:lnTo>
                  <a:lnTo>
                    <a:pt x="193722" y="5058"/>
                  </a:lnTo>
                  <a:lnTo>
                    <a:pt x="210535" y="4829"/>
                  </a:lnTo>
                  <a:lnTo>
                    <a:pt x="217499" y="11724"/>
                  </a:lnTo>
                  <a:lnTo>
                    <a:pt x="217377" y="20174"/>
                  </a:lnTo>
                  <a:lnTo>
                    <a:pt x="217377" y="266226"/>
                  </a:lnTo>
                  <a:lnTo>
                    <a:pt x="212546" y="277307"/>
                  </a:lnTo>
                  <a:lnTo>
                    <a:pt x="202277" y="281001"/>
                  </a:lnTo>
                  <a:close/>
                </a:path>
              </a:pathLst>
            </a:custGeom>
            <a:solidFill>
              <a:srgbClr val="FFFFFF"/>
            </a:solidFill>
          </p:spPr>
          <p:txBody>
            <a:bodyPr wrap="square" lIns="0" tIns="0" rIns="0" bIns="0" rtlCol="0"/>
            <a:lstStyle/>
            <a:p>
              <a:endParaRPr/>
            </a:p>
          </p:txBody>
        </p:sp>
        <p:pic>
          <p:nvPicPr>
            <p:cNvPr id="93" name="object 93"/>
            <p:cNvPicPr/>
            <p:nvPr/>
          </p:nvPicPr>
          <p:blipFill>
            <a:blip r:embed="rId17" cstate="print"/>
            <a:stretch>
              <a:fillRect/>
            </a:stretch>
          </p:blipFill>
          <p:spPr>
            <a:xfrm>
              <a:off x="4492658" y="4210513"/>
              <a:ext cx="95813" cy="155196"/>
            </a:xfrm>
            <a:prstGeom prst="rect">
              <a:avLst/>
            </a:prstGeom>
          </p:spPr>
        </p:pic>
        <p:pic>
          <p:nvPicPr>
            <p:cNvPr id="94" name="object 94"/>
            <p:cNvPicPr/>
            <p:nvPr/>
          </p:nvPicPr>
          <p:blipFill>
            <a:blip r:embed="rId18" cstate="print"/>
            <a:stretch>
              <a:fillRect/>
            </a:stretch>
          </p:blipFill>
          <p:spPr>
            <a:xfrm>
              <a:off x="4538689" y="4406046"/>
              <a:ext cx="82528" cy="151953"/>
            </a:xfrm>
            <a:prstGeom prst="rect">
              <a:avLst/>
            </a:prstGeom>
          </p:spPr>
        </p:pic>
        <p:sp>
          <p:nvSpPr>
            <p:cNvPr id="95" name="object 95"/>
            <p:cNvSpPr/>
            <p:nvPr/>
          </p:nvSpPr>
          <p:spPr>
            <a:xfrm>
              <a:off x="2301826" y="3016877"/>
              <a:ext cx="738505" cy="738505"/>
            </a:xfrm>
            <a:custGeom>
              <a:avLst/>
              <a:gdLst/>
              <a:ahLst/>
              <a:cxnLst/>
              <a:rect l="l" t="t" r="r" b="b"/>
              <a:pathLst>
                <a:path w="738505" h="738504">
                  <a:moveTo>
                    <a:pt x="369047" y="738095"/>
                  </a:moveTo>
                  <a:lnTo>
                    <a:pt x="322755" y="735220"/>
                  </a:lnTo>
                  <a:lnTo>
                    <a:pt x="278178" y="726824"/>
                  </a:lnTo>
                  <a:lnTo>
                    <a:pt x="235663" y="713254"/>
                  </a:lnTo>
                  <a:lnTo>
                    <a:pt x="195556" y="694855"/>
                  </a:lnTo>
                  <a:lnTo>
                    <a:pt x="158202" y="671974"/>
                  </a:lnTo>
                  <a:lnTo>
                    <a:pt x="123948" y="644956"/>
                  </a:lnTo>
                  <a:lnTo>
                    <a:pt x="93139" y="614146"/>
                  </a:lnTo>
                  <a:lnTo>
                    <a:pt x="66121" y="579892"/>
                  </a:lnTo>
                  <a:lnTo>
                    <a:pt x="43239" y="542538"/>
                  </a:lnTo>
                  <a:lnTo>
                    <a:pt x="24841" y="502431"/>
                  </a:lnTo>
                  <a:lnTo>
                    <a:pt x="11271" y="459916"/>
                  </a:lnTo>
                  <a:lnTo>
                    <a:pt x="2875" y="415340"/>
                  </a:lnTo>
                  <a:lnTo>
                    <a:pt x="0" y="369047"/>
                  </a:lnTo>
                  <a:lnTo>
                    <a:pt x="2875" y="322754"/>
                  </a:lnTo>
                  <a:lnTo>
                    <a:pt x="11271" y="278178"/>
                  </a:lnTo>
                  <a:lnTo>
                    <a:pt x="24841" y="235663"/>
                  </a:lnTo>
                  <a:lnTo>
                    <a:pt x="43239" y="195556"/>
                  </a:lnTo>
                  <a:lnTo>
                    <a:pt x="66121" y="158202"/>
                  </a:lnTo>
                  <a:lnTo>
                    <a:pt x="93139" y="123948"/>
                  </a:lnTo>
                  <a:lnTo>
                    <a:pt x="123948" y="93138"/>
                  </a:lnTo>
                  <a:lnTo>
                    <a:pt x="158202" y="66120"/>
                  </a:lnTo>
                  <a:lnTo>
                    <a:pt x="195556" y="43239"/>
                  </a:lnTo>
                  <a:lnTo>
                    <a:pt x="235663" y="24840"/>
                  </a:lnTo>
                  <a:lnTo>
                    <a:pt x="278178" y="11270"/>
                  </a:lnTo>
                  <a:lnTo>
                    <a:pt x="322755" y="2874"/>
                  </a:lnTo>
                  <a:lnTo>
                    <a:pt x="369040" y="0"/>
                  </a:lnTo>
                  <a:lnTo>
                    <a:pt x="415340" y="2874"/>
                  </a:lnTo>
                  <a:lnTo>
                    <a:pt x="459917" y="11270"/>
                  </a:lnTo>
                  <a:lnTo>
                    <a:pt x="502432" y="24840"/>
                  </a:lnTo>
                  <a:lnTo>
                    <a:pt x="542539" y="43239"/>
                  </a:lnTo>
                  <a:lnTo>
                    <a:pt x="579892" y="66120"/>
                  </a:lnTo>
                  <a:lnTo>
                    <a:pt x="614147" y="93138"/>
                  </a:lnTo>
                  <a:lnTo>
                    <a:pt x="644956" y="123948"/>
                  </a:lnTo>
                  <a:lnTo>
                    <a:pt x="671974" y="158202"/>
                  </a:lnTo>
                  <a:lnTo>
                    <a:pt x="694856" y="195556"/>
                  </a:lnTo>
                  <a:lnTo>
                    <a:pt x="713254" y="235663"/>
                  </a:lnTo>
                  <a:lnTo>
                    <a:pt x="726824" y="278178"/>
                  </a:lnTo>
                  <a:lnTo>
                    <a:pt x="735220" y="322754"/>
                  </a:lnTo>
                  <a:lnTo>
                    <a:pt x="738095" y="369047"/>
                  </a:lnTo>
                  <a:lnTo>
                    <a:pt x="735220" y="415340"/>
                  </a:lnTo>
                  <a:lnTo>
                    <a:pt x="726824" y="459916"/>
                  </a:lnTo>
                  <a:lnTo>
                    <a:pt x="713254" y="502431"/>
                  </a:lnTo>
                  <a:lnTo>
                    <a:pt x="694856" y="542538"/>
                  </a:lnTo>
                  <a:lnTo>
                    <a:pt x="671974" y="579892"/>
                  </a:lnTo>
                  <a:lnTo>
                    <a:pt x="644956" y="614146"/>
                  </a:lnTo>
                  <a:lnTo>
                    <a:pt x="614147" y="644956"/>
                  </a:lnTo>
                  <a:lnTo>
                    <a:pt x="579892" y="671974"/>
                  </a:lnTo>
                  <a:lnTo>
                    <a:pt x="542539" y="694855"/>
                  </a:lnTo>
                  <a:lnTo>
                    <a:pt x="502432" y="713254"/>
                  </a:lnTo>
                  <a:lnTo>
                    <a:pt x="459917" y="726824"/>
                  </a:lnTo>
                  <a:lnTo>
                    <a:pt x="415340" y="735220"/>
                  </a:lnTo>
                  <a:lnTo>
                    <a:pt x="369047" y="738095"/>
                  </a:lnTo>
                  <a:close/>
                </a:path>
              </a:pathLst>
            </a:custGeom>
            <a:solidFill>
              <a:srgbClr val="F5A316"/>
            </a:solidFill>
          </p:spPr>
          <p:txBody>
            <a:bodyPr wrap="square" lIns="0" tIns="0" rIns="0" bIns="0" rtlCol="0"/>
            <a:lstStyle/>
            <a:p>
              <a:endParaRPr/>
            </a:p>
          </p:txBody>
        </p:sp>
        <p:sp>
          <p:nvSpPr>
            <p:cNvPr id="96" name="object 96"/>
            <p:cNvSpPr/>
            <p:nvPr/>
          </p:nvSpPr>
          <p:spPr>
            <a:xfrm>
              <a:off x="2502808" y="3502284"/>
              <a:ext cx="405130" cy="141605"/>
            </a:xfrm>
            <a:custGeom>
              <a:avLst/>
              <a:gdLst/>
              <a:ahLst/>
              <a:cxnLst/>
              <a:rect l="l" t="t" r="r" b="b"/>
              <a:pathLst>
                <a:path w="405130" h="141604">
                  <a:moveTo>
                    <a:pt x="373232" y="141096"/>
                  </a:moveTo>
                  <a:lnTo>
                    <a:pt x="15260" y="141096"/>
                  </a:lnTo>
                  <a:lnTo>
                    <a:pt x="6288" y="138619"/>
                  </a:lnTo>
                  <a:lnTo>
                    <a:pt x="957" y="132379"/>
                  </a:lnTo>
                  <a:lnTo>
                    <a:pt x="0" y="124158"/>
                  </a:lnTo>
                  <a:lnTo>
                    <a:pt x="4147" y="115741"/>
                  </a:lnTo>
                  <a:lnTo>
                    <a:pt x="33473" y="84462"/>
                  </a:lnTo>
                  <a:lnTo>
                    <a:pt x="47505" y="82663"/>
                  </a:lnTo>
                  <a:lnTo>
                    <a:pt x="87143" y="82663"/>
                  </a:lnTo>
                  <a:lnTo>
                    <a:pt x="101052" y="82186"/>
                  </a:lnTo>
                  <a:lnTo>
                    <a:pt x="113414" y="80043"/>
                  </a:lnTo>
                  <a:lnTo>
                    <a:pt x="124931" y="75163"/>
                  </a:lnTo>
                  <a:lnTo>
                    <a:pt x="136307" y="66476"/>
                  </a:lnTo>
                  <a:lnTo>
                    <a:pt x="181737" y="30162"/>
                  </a:lnTo>
                  <a:lnTo>
                    <a:pt x="190828" y="23781"/>
                  </a:lnTo>
                  <a:lnTo>
                    <a:pt x="198827" y="20492"/>
                  </a:lnTo>
                  <a:lnTo>
                    <a:pt x="207008" y="19877"/>
                  </a:lnTo>
                  <a:lnTo>
                    <a:pt x="216642" y="21521"/>
                  </a:lnTo>
                  <a:lnTo>
                    <a:pt x="285672" y="38152"/>
                  </a:lnTo>
                  <a:lnTo>
                    <a:pt x="287513" y="40455"/>
                  </a:lnTo>
                  <a:lnTo>
                    <a:pt x="271529" y="59543"/>
                  </a:lnTo>
                  <a:lnTo>
                    <a:pt x="269455" y="64118"/>
                  </a:lnTo>
                  <a:lnTo>
                    <a:pt x="270907" y="67581"/>
                  </a:lnTo>
                  <a:lnTo>
                    <a:pt x="275707" y="68541"/>
                  </a:lnTo>
                  <a:lnTo>
                    <a:pt x="283678" y="65604"/>
                  </a:lnTo>
                  <a:lnTo>
                    <a:pt x="378033" y="4018"/>
                  </a:lnTo>
                  <a:lnTo>
                    <a:pt x="387357" y="0"/>
                  </a:lnTo>
                  <a:lnTo>
                    <a:pt x="395913" y="318"/>
                  </a:lnTo>
                  <a:lnTo>
                    <a:pt x="402169" y="5606"/>
                  </a:lnTo>
                  <a:lnTo>
                    <a:pt x="404594" y="16500"/>
                  </a:lnTo>
                  <a:lnTo>
                    <a:pt x="404594" y="112557"/>
                  </a:lnTo>
                  <a:lnTo>
                    <a:pt x="402694" y="124513"/>
                  </a:lnTo>
                  <a:lnTo>
                    <a:pt x="396912" y="133490"/>
                  </a:lnTo>
                  <a:lnTo>
                    <a:pt x="387131" y="139136"/>
                  </a:lnTo>
                  <a:lnTo>
                    <a:pt x="373232" y="141096"/>
                  </a:lnTo>
                  <a:close/>
                </a:path>
              </a:pathLst>
            </a:custGeom>
            <a:solidFill>
              <a:srgbClr val="FFFFFF"/>
            </a:solidFill>
          </p:spPr>
          <p:txBody>
            <a:bodyPr wrap="square" lIns="0" tIns="0" rIns="0" bIns="0" rtlCol="0"/>
            <a:lstStyle/>
            <a:p>
              <a:endParaRPr/>
            </a:p>
          </p:txBody>
        </p:sp>
        <p:pic>
          <p:nvPicPr>
            <p:cNvPr id="97" name="object 97"/>
            <p:cNvPicPr/>
            <p:nvPr/>
          </p:nvPicPr>
          <p:blipFill>
            <a:blip r:embed="rId16" cstate="print"/>
            <a:stretch>
              <a:fillRect/>
            </a:stretch>
          </p:blipFill>
          <p:spPr>
            <a:xfrm>
              <a:off x="2643264" y="3130957"/>
              <a:ext cx="95452" cy="95206"/>
            </a:xfrm>
            <a:prstGeom prst="rect">
              <a:avLst/>
            </a:prstGeom>
          </p:spPr>
        </p:pic>
        <p:sp>
          <p:nvSpPr>
            <p:cNvPr id="98" name="object 98"/>
            <p:cNvSpPr/>
            <p:nvPr/>
          </p:nvSpPr>
          <p:spPr>
            <a:xfrm>
              <a:off x="2595072" y="3244767"/>
              <a:ext cx="217804" cy="281305"/>
            </a:xfrm>
            <a:custGeom>
              <a:avLst/>
              <a:gdLst/>
              <a:ahLst/>
              <a:cxnLst/>
              <a:rect l="l" t="t" r="r" b="b"/>
              <a:pathLst>
                <a:path w="217805" h="281304">
                  <a:moveTo>
                    <a:pt x="202277" y="281001"/>
                  </a:moveTo>
                  <a:lnTo>
                    <a:pt x="192007" y="277307"/>
                  </a:lnTo>
                  <a:lnTo>
                    <a:pt x="187172" y="266226"/>
                  </a:lnTo>
                  <a:lnTo>
                    <a:pt x="187172" y="98214"/>
                  </a:lnTo>
                  <a:lnTo>
                    <a:pt x="130016" y="98214"/>
                  </a:lnTo>
                  <a:lnTo>
                    <a:pt x="124463" y="95750"/>
                  </a:lnTo>
                  <a:lnTo>
                    <a:pt x="91635" y="58945"/>
                  </a:lnTo>
                  <a:lnTo>
                    <a:pt x="70497" y="127717"/>
                  </a:lnTo>
                  <a:lnTo>
                    <a:pt x="119071" y="143384"/>
                  </a:lnTo>
                  <a:lnTo>
                    <a:pt x="148470" y="238529"/>
                  </a:lnTo>
                  <a:lnTo>
                    <a:pt x="143576" y="257341"/>
                  </a:lnTo>
                  <a:lnTo>
                    <a:pt x="127201" y="264618"/>
                  </a:lnTo>
                  <a:lnTo>
                    <a:pt x="109589" y="259640"/>
                  </a:lnTo>
                  <a:lnTo>
                    <a:pt x="100985" y="241682"/>
                  </a:lnTo>
                  <a:lnTo>
                    <a:pt x="89081" y="183602"/>
                  </a:lnTo>
                  <a:lnTo>
                    <a:pt x="15128" y="159088"/>
                  </a:lnTo>
                  <a:lnTo>
                    <a:pt x="6588" y="154821"/>
                  </a:lnTo>
                  <a:lnTo>
                    <a:pt x="1560" y="148608"/>
                  </a:lnTo>
                  <a:lnTo>
                    <a:pt x="0" y="140124"/>
                  </a:lnTo>
                  <a:lnTo>
                    <a:pt x="1866" y="129042"/>
                  </a:lnTo>
                  <a:lnTo>
                    <a:pt x="33712" y="17464"/>
                  </a:lnTo>
                  <a:lnTo>
                    <a:pt x="56591" y="275"/>
                  </a:lnTo>
                  <a:lnTo>
                    <a:pt x="83620" y="275"/>
                  </a:lnTo>
                  <a:lnTo>
                    <a:pt x="89810" y="0"/>
                  </a:lnTo>
                  <a:lnTo>
                    <a:pt x="95731" y="2670"/>
                  </a:lnTo>
                  <a:lnTo>
                    <a:pt x="144857" y="57713"/>
                  </a:lnTo>
                  <a:lnTo>
                    <a:pt x="187165" y="57713"/>
                  </a:lnTo>
                  <a:lnTo>
                    <a:pt x="187096" y="11877"/>
                  </a:lnTo>
                  <a:lnTo>
                    <a:pt x="193722" y="5058"/>
                  </a:lnTo>
                  <a:lnTo>
                    <a:pt x="210535" y="4829"/>
                  </a:lnTo>
                  <a:lnTo>
                    <a:pt x="217499" y="11724"/>
                  </a:lnTo>
                  <a:lnTo>
                    <a:pt x="217377" y="20174"/>
                  </a:lnTo>
                  <a:lnTo>
                    <a:pt x="217377" y="266226"/>
                  </a:lnTo>
                  <a:lnTo>
                    <a:pt x="212546" y="277307"/>
                  </a:lnTo>
                  <a:lnTo>
                    <a:pt x="202277" y="281001"/>
                  </a:lnTo>
                  <a:close/>
                </a:path>
              </a:pathLst>
            </a:custGeom>
            <a:solidFill>
              <a:srgbClr val="FFFFFF"/>
            </a:solidFill>
          </p:spPr>
          <p:txBody>
            <a:bodyPr wrap="square" lIns="0" tIns="0" rIns="0" bIns="0" rtlCol="0"/>
            <a:lstStyle/>
            <a:p>
              <a:endParaRPr/>
            </a:p>
          </p:txBody>
        </p:sp>
        <p:pic>
          <p:nvPicPr>
            <p:cNvPr id="99" name="object 99"/>
            <p:cNvPicPr/>
            <p:nvPr/>
          </p:nvPicPr>
          <p:blipFill>
            <a:blip r:embed="rId19" cstate="print"/>
            <a:stretch>
              <a:fillRect/>
            </a:stretch>
          </p:blipFill>
          <p:spPr>
            <a:xfrm>
              <a:off x="2565055" y="3415902"/>
              <a:ext cx="82528" cy="151953"/>
            </a:xfrm>
            <a:prstGeom prst="rect">
              <a:avLst/>
            </a:prstGeom>
          </p:spPr>
        </p:pic>
        <p:pic>
          <p:nvPicPr>
            <p:cNvPr id="100" name="object 100"/>
            <p:cNvPicPr/>
            <p:nvPr/>
          </p:nvPicPr>
          <p:blipFill>
            <a:blip r:embed="rId17" cstate="print"/>
            <a:stretch>
              <a:fillRect/>
            </a:stretch>
          </p:blipFill>
          <p:spPr>
            <a:xfrm>
              <a:off x="2519024" y="3220368"/>
              <a:ext cx="95813" cy="155196"/>
            </a:xfrm>
            <a:prstGeom prst="rect">
              <a:avLst/>
            </a:prstGeom>
          </p:spPr>
        </p:pic>
        <p:sp>
          <p:nvSpPr>
            <p:cNvPr id="101" name="object 101"/>
            <p:cNvSpPr/>
            <p:nvPr/>
          </p:nvSpPr>
          <p:spPr>
            <a:xfrm>
              <a:off x="1147215" y="1879860"/>
              <a:ext cx="738505" cy="738505"/>
            </a:xfrm>
            <a:custGeom>
              <a:avLst/>
              <a:gdLst/>
              <a:ahLst/>
              <a:cxnLst/>
              <a:rect l="l" t="t" r="r" b="b"/>
              <a:pathLst>
                <a:path w="738505" h="738505">
                  <a:moveTo>
                    <a:pt x="369052" y="738095"/>
                  </a:moveTo>
                  <a:lnTo>
                    <a:pt x="322755" y="735220"/>
                  </a:lnTo>
                  <a:lnTo>
                    <a:pt x="278178" y="726824"/>
                  </a:lnTo>
                  <a:lnTo>
                    <a:pt x="235663" y="713254"/>
                  </a:lnTo>
                  <a:lnTo>
                    <a:pt x="195556" y="694856"/>
                  </a:lnTo>
                  <a:lnTo>
                    <a:pt x="158202" y="671974"/>
                  </a:lnTo>
                  <a:lnTo>
                    <a:pt x="123948" y="644956"/>
                  </a:lnTo>
                  <a:lnTo>
                    <a:pt x="93139" y="614147"/>
                  </a:lnTo>
                  <a:lnTo>
                    <a:pt x="66121" y="579893"/>
                  </a:lnTo>
                  <a:lnTo>
                    <a:pt x="43239" y="542539"/>
                  </a:lnTo>
                  <a:lnTo>
                    <a:pt x="24841" y="502432"/>
                  </a:lnTo>
                  <a:lnTo>
                    <a:pt x="11271" y="459917"/>
                  </a:lnTo>
                  <a:lnTo>
                    <a:pt x="2875" y="415340"/>
                  </a:lnTo>
                  <a:lnTo>
                    <a:pt x="0" y="369047"/>
                  </a:lnTo>
                  <a:lnTo>
                    <a:pt x="2875" y="322755"/>
                  </a:lnTo>
                  <a:lnTo>
                    <a:pt x="11271" y="278178"/>
                  </a:lnTo>
                  <a:lnTo>
                    <a:pt x="24841" y="235663"/>
                  </a:lnTo>
                  <a:lnTo>
                    <a:pt x="43239" y="195556"/>
                  </a:lnTo>
                  <a:lnTo>
                    <a:pt x="66121" y="158202"/>
                  </a:lnTo>
                  <a:lnTo>
                    <a:pt x="93139" y="123948"/>
                  </a:lnTo>
                  <a:lnTo>
                    <a:pt x="123948" y="93139"/>
                  </a:lnTo>
                  <a:lnTo>
                    <a:pt x="158202" y="66121"/>
                  </a:lnTo>
                  <a:lnTo>
                    <a:pt x="195556" y="43239"/>
                  </a:lnTo>
                  <a:lnTo>
                    <a:pt x="235663" y="24841"/>
                  </a:lnTo>
                  <a:lnTo>
                    <a:pt x="278178" y="11271"/>
                  </a:lnTo>
                  <a:lnTo>
                    <a:pt x="322755" y="2875"/>
                  </a:lnTo>
                  <a:lnTo>
                    <a:pt x="369048" y="0"/>
                  </a:lnTo>
                  <a:lnTo>
                    <a:pt x="415340" y="2875"/>
                  </a:lnTo>
                  <a:lnTo>
                    <a:pt x="459917" y="11271"/>
                  </a:lnTo>
                  <a:lnTo>
                    <a:pt x="502432" y="24841"/>
                  </a:lnTo>
                  <a:lnTo>
                    <a:pt x="542539" y="43239"/>
                  </a:lnTo>
                  <a:lnTo>
                    <a:pt x="579892" y="66121"/>
                  </a:lnTo>
                  <a:lnTo>
                    <a:pt x="614147" y="93139"/>
                  </a:lnTo>
                  <a:lnTo>
                    <a:pt x="644956" y="123948"/>
                  </a:lnTo>
                  <a:lnTo>
                    <a:pt x="671974" y="158202"/>
                  </a:lnTo>
                  <a:lnTo>
                    <a:pt x="694856" y="195556"/>
                  </a:lnTo>
                  <a:lnTo>
                    <a:pt x="713254" y="235663"/>
                  </a:lnTo>
                  <a:lnTo>
                    <a:pt x="726824" y="278178"/>
                  </a:lnTo>
                  <a:lnTo>
                    <a:pt x="735220" y="322755"/>
                  </a:lnTo>
                  <a:lnTo>
                    <a:pt x="738095" y="369047"/>
                  </a:lnTo>
                  <a:lnTo>
                    <a:pt x="735220" y="415340"/>
                  </a:lnTo>
                  <a:lnTo>
                    <a:pt x="726824" y="459917"/>
                  </a:lnTo>
                  <a:lnTo>
                    <a:pt x="713254" y="502432"/>
                  </a:lnTo>
                  <a:lnTo>
                    <a:pt x="694856" y="542539"/>
                  </a:lnTo>
                  <a:lnTo>
                    <a:pt x="671974" y="579893"/>
                  </a:lnTo>
                  <a:lnTo>
                    <a:pt x="644956" y="614147"/>
                  </a:lnTo>
                  <a:lnTo>
                    <a:pt x="614147" y="644956"/>
                  </a:lnTo>
                  <a:lnTo>
                    <a:pt x="579892" y="671974"/>
                  </a:lnTo>
                  <a:lnTo>
                    <a:pt x="542539" y="694856"/>
                  </a:lnTo>
                  <a:lnTo>
                    <a:pt x="502432" y="713254"/>
                  </a:lnTo>
                  <a:lnTo>
                    <a:pt x="459917" y="726824"/>
                  </a:lnTo>
                  <a:lnTo>
                    <a:pt x="415340" y="735220"/>
                  </a:lnTo>
                  <a:lnTo>
                    <a:pt x="369052" y="738095"/>
                  </a:lnTo>
                  <a:close/>
                </a:path>
              </a:pathLst>
            </a:custGeom>
            <a:solidFill>
              <a:srgbClr val="F5A316"/>
            </a:solidFill>
          </p:spPr>
          <p:txBody>
            <a:bodyPr wrap="square" lIns="0" tIns="0" rIns="0" bIns="0" rtlCol="0"/>
            <a:lstStyle/>
            <a:p>
              <a:endParaRPr/>
            </a:p>
          </p:txBody>
        </p:sp>
        <p:sp>
          <p:nvSpPr>
            <p:cNvPr id="102" name="object 102"/>
            <p:cNvSpPr/>
            <p:nvPr/>
          </p:nvSpPr>
          <p:spPr>
            <a:xfrm>
              <a:off x="1348196" y="2365268"/>
              <a:ext cx="405130" cy="141605"/>
            </a:xfrm>
            <a:custGeom>
              <a:avLst/>
              <a:gdLst/>
              <a:ahLst/>
              <a:cxnLst/>
              <a:rect l="l" t="t" r="r" b="b"/>
              <a:pathLst>
                <a:path w="405130" h="141605">
                  <a:moveTo>
                    <a:pt x="373232" y="141096"/>
                  </a:moveTo>
                  <a:lnTo>
                    <a:pt x="15260" y="141096"/>
                  </a:lnTo>
                  <a:lnTo>
                    <a:pt x="6288" y="138619"/>
                  </a:lnTo>
                  <a:lnTo>
                    <a:pt x="957" y="132379"/>
                  </a:lnTo>
                  <a:lnTo>
                    <a:pt x="0" y="124158"/>
                  </a:lnTo>
                  <a:lnTo>
                    <a:pt x="4147" y="115741"/>
                  </a:lnTo>
                  <a:lnTo>
                    <a:pt x="33473" y="84462"/>
                  </a:lnTo>
                  <a:lnTo>
                    <a:pt x="47505" y="82663"/>
                  </a:lnTo>
                  <a:lnTo>
                    <a:pt x="87143" y="82663"/>
                  </a:lnTo>
                  <a:lnTo>
                    <a:pt x="101052" y="82186"/>
                  </a:lnTo>
                  <a:lnTo>
                    <a:pt x="113414" y="80043"/>
                  </a:lnTo>
                  <a:lnTo>
                    <a:pt x="124931" y="75163"/>
                  </a:lnTo>
                  <a:lnTo>
                    <a:pt x="136307" y="66476"/>
                  </a:lnTo>
                  <a:lnTo>
                    <a:pt x="181737" y="30162"/>
                  </a:lnTo>
                  <a:lnTo>
                    <a:pt x="190828" y="23781"/>
                  </a:lnTo>
                  <a:lnTo>
                    <a:pt x="198827" y="20492"/>
                  </a:lnTo>
                  <a:lnTo>
                    <a:pt x="207008" y="19877"/>
                  </a:lnTo>
                  <a:lnTo>
                    <a:pt x="216642" y="21521"/>
                  </a:lnTo>
                  <a:lnTo>
                    <a:pt x="285672" y="38152"/>
                  </a:lnTo>
                  <a:lnTo>
                    <a:pt x="287513" y="40455"/>
                  </a:lnTo>
                  <a:lnTo>
                    <a:pt x="271529" y="59543"/>
                  </a:lnTo>
                  <a:lnTo>
                    <a:pt x="269455" y="64118"/>
                  </a:lnTo>
                  <a:lnTo>
                    <a:pt x="270907" y="67581"/>
                  </a:lnTo>
                  <a:lnTo>
                    <a:pt x="275707" y="68541"/>
                  </a:lnTo>
                  <a:lnTo>
                    <a:pt x="283678" y="65604"/>
                  </a:lnTo>
                  <a:lnTo>
                    <a:pt x="378033" y="4018"/>
                  </a:lnTo>
                  <a:lnTo>
                    <a:pt x="387357" y="0"/>
                  </a:lnTo>
                  <a:lnTo>
                    <a:pt x="395913" y="318"/>
                  </a:lnTo>
                  <a:lnTo>
                    <a:pt x="402169" y="5606"/>
                  </a:lnTo>
                  <a:lnTo>
                    <a:pt x="404594" y="16500"/>
                  </a:lnTo>
                  <a:lnTo>
                    <a:pt x="404594" y="112557"/>
                  </a:lnTo>
                  <a:lnTo>
                    <a:pt x="402694" y="124513"/>
                  </a:lnTo>
                  <a:lnTo>
                    <a:pt x="396912" y="133490"/>
                  </a:lnTo>
                  <a:lnTo>
                    <a:pt x="387131" y="139136"/>
                  </a:lnTo>
                  <a:lnTo>
                    <a:pt x="373232" y="141096"/>
                  </a:lnTo>
                  <a:close/>
                </a:path>
              </a:pathLst>
            </a:custGeom>
            <a:solidFill>
              <a:srgbClr val="FFFFFF"/>
            </a:solidFill>
          </p:spPr>
          <p:txBody>
            <a:bodyPr wrap="square" lIns="0" tIns="0" rIns="0" bIns="0" rtlCol="0"/>
            <a:lstStyle/>
            <a:p>
              <a:endParaRPr/>
            </a:p>
          </p:txBody>
        </p:sp>
        <p:pic>
          <p:nvPicPr>
            <p:cNvPr id="103" name="object 103"/>
            <p:cNvPicPr/>
            <p:nvPr/>
          </p:nvPicPr>
          <p:blipFill>
            <a:blip r:embed="rId16" cstate="print"/>
            <a:stretch>
              <a:fillRect/>
            </a:stretch>
          </p:blipFill>
          <p:spPr>
            <a:xfrm>
              <a:off x="1488652" y="1993941"/>
              <a:ext cx="95452" cy="95206"/>
            </a:xfrm>
            <a:prstGeom prst="rect">
              <a:avLst/>
            </a:prstGeom>
          </p:spPr>
        </p:pic>
        <p:sp>
          <p:nvSpPr>
            <p:cNvPr id="104" name="object 104"/>
            <p:cNvSpPr/>
            <p:nvPr/>
          </p:nvSpPr>
          <p:spPr>
            <a:xfrm>
              <a:off x="1440460" y="2107751"/>
              <a:ext cx="217804" cy="281305"/>
            </a:xfrm>
            <a:custGeom>
              <a:avLst/>
              <a:gdLst/>
              <a:ahLst/>
              <a:cxnLst/>
              <a:rect l="l" t="t" r="r" b="b"/>
              <a:pathLst>
                <a:path w="217805" h="281305">
                  <a:moveTo>
                    <a:pt x="202277" y="281001"/>
                  </a:moveTo>
                  <a:lnTo>
                    <a:pt x="192007" y="277307"/>
                  </a:lnTo>
                  <a:lnTo>
                    <a:pt x="187172" y="266226"/>
                  </a:lnTo>
                  <a:lnTo>
                    <a:pt x="187172" y="98214"/>
                  </a:lnTo>
                  <a:lnTo>
                    <a:pt x="130016" y="98214"/>
                  </a:lnTo>
                  <a:lnTo>
                    <a:pt x="124463" y="95750"/>
                  </a:lnTo>
                  <a:lnTo>
                    <a:pt x="91635" y="58945"/>
                  </a:lnTo>
                  <a:lnTo>
                    <a:pt x="70497" y="127717"/>
                  </a:lnTo>
                  <a:lnTo>
                    <a:pt x="119071" y="143384"/>
                  </a:lnTo>
                  <a:lnTo>
                    <a:pt x="148470" y="238529"/>
                  </a:lnTo>
                  <a:lnTo>
                    <a:pt x="143576" y="257341"/>
                  </a:lnTo>
                  <a:lnTo>
                    <a:pt x="127201" y="264618"/>
                  </a:lnTo>
                  <a:lnTo>
                    <a:pt x="109589" y="259640"/>
                  </a:lnTo>
                  <a:lnTo>
                    <a:pt x="100985" y="241682"/>
                  </a:lnTo>
                  <a:lnTo>
                    <a:pt x="89081" y="183602"/>
                  </a:lnTo>
                  <a:lnTo>
                    <a:pt x="15128" y="159088"/>
                  </a:lnTo>
                  <a:lnTo>
                    <a:pt x="6588" y="154821"/>
                  </a:lnTo>
                  <a:lnTo>
                    <a:pt x="1560" y="148608"/>
                  </a:lnTo>
                  <a:lnTo>
                    <a:pt x="0" y="140124"/>
                  </a:lnTo>
                  <a:lnTo>
                    <a:pt x="1866" y="129042"/>
                  </a:lnTo>
                  <a:lnTo>
                    <a:pt x="33712" y="17464"/>
                  </a:lnTo>
                  <a:lnTo>
                    <a:pt x="56591" y="275"/>
                  </a:lnTo>
                  <a:lnTo>
                    <a:pt x="83620" y="275"/>
                  </a:lnTo>
                  <a:lnTo>
                    <a:pt x="89810" y="0"/>
                  </a:lnTo>
                  <a:lnTo>
                    <a:pt x="95731" y="2670"/>
                  </a:lnTo>
                  <a:lnTo>
                    <a:pt x="144857" y="57713"/>
                  </a:lnTo>
                  <a:lnTo>
                    <a:pt x="187165" y="57713"/>
                  </a:lnTo>
                  <a:lnTo>
                    <a:pt x="187096" y="11877"/>
                  </a:lnTo>
                  <a:lnTo>
                    <a:pt x="193722" y="5058"/>
                  </a:lnTo>
                  <a:lnTo>
                    <a:pt x="210535" y="4829"/>
                  </a:lnTo>
                  <a:lnTo>
                    <a:pt x="217499" y="11724"/>
                  </a:lnTo>
                  <a:lnTo>
                    <a:pt x="217377" y="20174"/>
                  </a:lnTo>
                  <a:lnTo>
                    <a:pt x="217377" y="266226"/>
                  </a:lnTo>
                  <a:lnTo>
                    <a:pt x="212546" y="277307"/>
                  </a:lnTo>
                  <a:lnTo>
                    <a:pt x="202277" y="281001"/>
                  </a:lnTo>
                  <a:close/>
                </a:path>
              </a:pathLst>
            </a:custGeom>
            <a:solidFill>
              <a:srgbClr val="FFFFFF"/>
            </a:solidFill>
          </p:spPr>
          <p:txBody>
            <a:bodyPr wrap="square" lIns="0" tIns="0" rIns="0" bIns="0" rtlCol="0"/>
            <a:lstStyle/>
            <a:p>
              <a:endParaRPr/>
            </a:p>
          </p:txBody>
        </p:sp>
        <p:pic>
          <p:nvPicPr>
            <p:cNvPr id="105" name="object 105"/>
            <p:cNvPicPr/>
            <p:nvPr/>
          </p:nvPicPr>
          <p:blipFill>
            <a:blip r:embed="rId18" cstate="print"/>
            <a:stretch>
              <a:fillRect/>
            </a:stretch>
          </p:blipFill>
          <p:spPr>
            <a:xfrm>
              <a:off x="1410443" y="2278886"/>
              <a:ext cx="82528" cy="151953"/>
            </a:xfrm>
            <a:prstGeom prst="rect">
              <a:avLst/>
            </a:prstGeom>
          </p:spPr>
        </p:pic>
        <p:pic>
          <p:nvPicPr>
            <p:cNvPr id="106" name="object 106"/>
            <p:cNvPicPr/>
            <p:nvPr/>
          </p:nvPicPr>
          <p:blipFill>
            <a:blip r:embed="rId20" cstate="print"/>
            <a:stretch>
              <a:fillRect/>
            </a:stretch>
          </p:blipFill>
          <p:spPr>
            <a:xfrm>
              <a:off x="1364412" y="2083352"/>
              <a:ext cx="95813" cy="155196"/>
            </a:xfrm>
            <a:prstGeom prst="rect">
              <a:avLst/>
            </a:prstGeom>
          </p:spPr>
        </p:pic>
        <p:sp>
          <p:nvSpPr>
            <p:cNvPr id="107" name="object 107"/>
            <p:cNvSpPr/>
            <p:nvPr/>
          </p:nvSpPr>
          <p:spPr>
            <a:xfrm>
              <a:off x="1932778" y="3780630"/>
              <a:ext cx="738505" cy="738505"/>
            </a:xfrm>
            <a:custGeom>
              <a:avLst/>
              <a:gdLst/>
              <a:ahLst/>
              <a:cxnLst/>
              <a:rect l="l" t="t" r="r" b="b"/>
              <a:pathLst>
                <a:path w="738505" h="738504">
                  <a:moveTo>
                    <a:pt x="369047" y="738095"/>
                  </a:moveTo>
                  <a:lnTo>
                    <a:pt x="322755" y="735219"/>
                  </a:lnTo>
                  <a:lnTo>
                    <a:pt x="278178" y="726824"/>
                  </a:lnTo>
                  <a:lnTo>
                    <a:pt x="235663" y="713254"/>
                  </a:lnTo>
                  <a:lnTo>
                    <a:pt x="195556" y="694855"/>
                  </a:lnTo>
                  <a:lnTo>
                    <a:pt x="158202" y="671974"/>
                  </a:lnTo>
                  <a:lnTo>
                    <a:pt x="123948" y="644955"/>
                  </a:lnTo>
                  <a:lnTo>
                    <a:pt x="93139" y="614146"/>
                  </a:lnTo>
                  <a:lnTo>
                    <a:pt x="66120" y="579892"/>
                  </a:lnTo>
                  <a:lnTo>
                    <a:pt x="43239" y="542538"/>
                  </a:lnTo>
                  <a:lnTo>
                    <a:pt x="24840" y="502431"/>
                  </a:lnTo>
                  <a:lnTo>
                    <a:pt x="11270" y="459916"/>
                  </a:lnTo>
                  <a:lnTo>
                    <a:pt x="2875" y="415339"/>
                  </a:lnTo>
                  <a:lnTo>
                    <a:pt x="0" y="369050"/>
                  </a:lnTo>
                  <a:lnTo>
                    <a:pt x="2875" y="322754"/>
                  </a:lnTo>
                  <a:lnTo>
                    <a:pt x="11270" y="278178"/>
                  </a:lnTo>
                  <a:lnTo>
                    <a:pt x="24840" y="235663"/>
                  </a:lnTo>
                  <a:lnTo>
                    <a:pt x="43239" y="195555"/>
                  </a:lnTo>
                  <a:lnTo>
                    <a:pt x="66120" y="158202"/>
                  </a:lnTo>
                  <a:lnTo>
                    <a:pt x="93139" y="123947"/>
                  </a:lnTo>
                  <a:lnTo>
                    <a:pt x="123948" y="93138"/>
                  </a:lnTo>
                  <a:lnTo>
                    <a:pt x="158202" y="66120"/>
                  </a:lnTo>
                  <a:lnTo>
                    <a:pt x="195556" y="43239"/>
                  </a:lnTo>
                  <a:lnTo>
                    <a:pt x="235663" y="24840"/>
                  </a:lnTo>
                  <a:lnTo>
                    <a:pt x="278178" y="11270"/>
                  </a:lnTo>
                  <a:lnTo>
                    <a:pt x="322755" y="2874"/>
                  </a:lnTo>
                  <a:lnTo>
                    <a:pt x="369037" y="0"/>
                  </a:lnTo>
                  <a:lnTo>
                    <a:pt x="415340" y="2874"/>
                  </a:lnTo>
                  <a:lnTo>
                    <a:pt x="459917" y="11270"/>
                  </a:lnTo>
                  <a:lnTo>
                    <a:pt x="502431" y="24840"/>
                  </a:lnTo>
                  <a:lnTo>
                    <a:pt x="542539" y="43239"/>
                  </a:lnTo>
                  <a:lnTo>
                    <a:pt x="579892" y="66120"/>
                  </a:lnTo>
                  <a:lnTo>
                    <a:pt x="614147" y="93138"/>
                  </a:lnTo>
                  <a:lnTo>
                    <a:pt x="644956" y="123947"/>
                  </a:lnTo>
                  <a:lnTo>
                    <a:pt x="671974" y="158202"/>
                  </a:lnTo>
                  <a:lnTo>
                    <a:pt x="694856" y="195555"/>
                  </a:lnTo>
                  <a:lnTo>
                    <a:pt x="713254" y="235663"/>
                  </a:lnTo>
                  <a:lnTo>
                    <a:pt x="726824" y="278178"/>
                  </a:lnTo>
                  <a:lnTo>
                    <a:pt x="735220" y="322754"/>
                  </a:lnTo>
                  <a:lnTo>
                    <a:pt x="738095" y="369044"/>
                  </a:lnTo>
                  <a:lnTo>
                    <a:pt x="735220" y="415339"/>
                  </a:lnTo>
                  <a:lnTo>
                    <a:pt x="726824" y="459916"/>
                  </a:lnTo>
                  <a:lnTo>
                    <a:pt x="713254" y="502431"/>
                  </a:lnTo>
                  <a:lnTo>
                    <a:pt x="694856" y="542538"/>
                  </a:lnTo>
                  <a:lnTo>
                    <a:pt x="671974" y="579892"/>
                  </a:lnTo>
                  <a:lnTo>
                    <a:pt x="644956" y="614146"/>
                  </a:lnTo>
                  <a:lnTo>
                    <a:pt x="614147" y="644955"/>
                  </a:lnTo>
                  <a:lnTo>
                    <a:pt x="579892" y="671974"/>
                  </a:lnTo>
                  <a:lnTo>
                    <a:pt x="542539" y="694855"/>
                  </a:lnTo>
                  <a:lnTo>
                    <a:pt x="502431" y="713254"/>
                  </a:lnTo>
                  <a:lnTo>
                    <a:pt x="459917" y="726824"/>
                  </a:lnTo>
                  <a:lnTo>
                    <a:pt x="415340" y="735219"/>
                  </a:lnTo>
                  <a:lnTo>
                    <a:pt x="369047" y="738095"/>
                  </a:lnTo>
                  <a:close/>
                </a:path>
              </a:pathLst>
            </a:custGeom>
            <a:solidFill>
              <a:srgbClr val="F5A316"/>
            </a:solidFill>
          </p:spPr>
          <p:txBody>
            <a:bodyPr wrap="square" lIns="0" tIns="0" rIns="0" bIns="0" rtlCol="0"/>
            <a:lstStyle/>
            <a:p>
              <a:endParaRPr/>
            </a:p>
          </p:txBody>
        </p:sp>
        <p:sp>
          <p:nvSpPr>
            <p:cNvPr id="108" name="object 108"/>
            <p:cNvSpPr/>
            <p:nvPr/>
          </p:nvSpPr>
          <p:spPr>
            <a:xfrm>
              <a:off x="2133760" y="4266039"/>
              <a:ext cx="405130" cy="141605"/>
            </a:xfrm>
            <a:custGeom>
              <a:avLst/>
              <a:gdLst/>
              <a:ahLst/>
              <a:cxnLst/>
              <a:rect l="l" t="t" r="r" b="b"/>
              <a:pathLst>
                <a:path w="405130" h="141604">
                  <a:moveTo>
                    <a:pt x="373232" y="141096"/>
                  </a:moveTo>
                  <a:lnTo>
                    <a:pt x="15260" y="141096"/>
                  </a:lnTo>
                  <a:lnTo>
                    <a:pt x="6288" y="138619"/>
                  </a:lnTo>
                  <a:lnTo>
                    <a:pt x="957" y="132379"/>
                  </a:lnTo>
                  <a:lnTo>
                    <a:pt x="0" y="124158"/>
                  </a:lnTo>
                  <a:lnTo>
                    <a:pt x="4147" y="115741"/>
                  </a:lnTo>
                  <a:lnTo>
                    <a:pt x="33473" y="84462"/>
                  </a:lnTo>
                  <a:lnTo>
                    <a:pt x="47505" y="82663"/>
                  </a:lnTo>
                  <a:lnTo>
                    <a:pt x="87143" y="82663"/>
                  </a:lnTo>
                  <a:lnTo>
                    <a:pt x="101052" y="82186"/>
                  </a:lnTo>
                  <a:lnTo>
                    <a:pt x="113414" y="80043"/>
                  </a:lnTo>
                  <a:lnTo>
                    <a:pt x="124931" y="75163"/>
                  </a:lnTo>
                  <a:lnTo>
                    <a:pt x="136307" y="66476"/>
                  </a:lnTo>
                  <a:lnTo>
                    <a:pt x="181737" y="30162"/>
                  </a:lnTo>
                  <a:lnTo>
                    <a:pt x="190828" y="23781"/>
                  </a:lnTo>
                  <a:lnTo>
                    <a:pt x="198827" y="20492"/>
                  </a:lnTo>
                  <a:lnTo>
                    <a:pt x="207008" y="19877"/>
                  </a:lnTo>
                  <a:lnTo>
                    <a:pt x="216642" y="21521"/>
                  </a:lnTo>
                  <a:lnTo>
                    <a:pt x="285672" y="38152"/>
                  </a:lnTo>
                  <a:lnTo>
                    <a:pt x="287513" y="40455"/>
                  </a:lnTo>
                  <a:lnTo>
                    <a:pt x="271529" y="59543"/>
                  </a:lnTo>
                  <a:lnTo>
                    <a:pt x="269455" y="64118"/>
                  </a:lnTo>
                  <a:lnTo>
                    <a:pt x="270907" y="67581"/>
                  </a:lnTo>
                  <a:lnTo>
                    <a:pt x="275707" y="68541"/>
                  </a:lnTo>
                  <a:lnTo>
                    <a:pt x="283678" y="65604"/>
                  </a:lnTo>
                  <a:lnTo>
                    <a:pt x="378033" y="4018"/>
                  </a:lnTo>
                  <a:lnTo>
                    <a:pt x="387357" y="0"/>
                  </a:lnTo>
                  <a:lnTo>
                    <a:pt x="395913" y="318"/>
                  </a:lnTo>
                  <a:lnTo>
                    <a:pt x="402169" y="5606"/>
                  </a:lnTo>
                  <a:lnTo>
                    <a:pt x="404594" y="16500"/>
                  </a:lnTo>
                  <a:lnTo>
                    <a:pt x="404594" y="112557"/>
                  </a:lnTo>
                  <a:lnTo>
                    <a:pt x="402694" y="124513"/>
                  </a:lnTo>
                  <a:lnTo>
                    <a:pt x="396912" y="133490"/>
                  </a:lnTo>
                  <a:lnTo>
                    <a:pt x="387131" y="139136"/>
                  </a:lnTo>
                  <a:lnTo>
                    <a:pt x="373232" y="141096"/>
                  </a:lnTo>
                  <a:close/>
                </a:path>
              </a:pathLst>
            </a:custGeom>
            <a:solidFill>
              <a:srgbClr val="FFFFFF"/>
            </a:solidFill>
          </p:spPr>
          <p:txBody>
            <a:bodyPr wrap="square" lIns="0" tIns="0" rIns="0" bIns="0" rtlCol="0"/>
            <a:lstStyle/>
            <a:p>
              <a:endParaRPr/>
            </a:p>
          </p:txBody>
        </p:sp>
        <p:pic>
          <p:nvPicPr>
            <p:cNvPr id="109" name="object 109"/>
            <p:cNvPicPr/>
            <p:nvPr/>
          </p:nvPicPr>
          <p:blipFill>
            <a:blip r:embed="rId16" cstate="print"/>
            <a:stretch>
              <a:fillRect/>
            </a:stretch>
          </p:blipFill>
          <p:spPr>
            <a:xfrm>
              <a:off x="2274216" y="3894712"/>
              <a:ext cx="95452" cy="95206"/>
            </a:xfrm>
            <a:prstGeom prst="rect">
              <a:avLst/>
            </a:prstGeom>
          </p:spPr>
        </p:pic>
        <p:sp>
          <p:nvSpPr>
            <p:cNvPr id="110" name="object 110"/>
            <p:cNvSpPr/>
            <p:nvPr/>
          </p:nvSpPr>
          <p:spPr>
            <a:xfrm>
              <a:off x="2226024" y="4008521"/>
              <a:ext cx="217804" cy="281305"/>
            </a:xfrm>
            <a:custGeom>
              <a:avLst/>
              <a:gdLst/>
              <a:ahLst/>
              <a:cxnLst/>
              <a:rect l="l" t="t" r="r" b="b"/>
              <a:pathLst>
                <a:path w="217805" h="281304">
                  <a:moveTo>
                    <a:pt x="202277" y="281001"/>
                  </a:moveTo>
                  <a:lnTo>
                    <a:pt x="192007" y="277307"/>
                  </a:lnTo>
                  <a:lnTo>
                    <a:pt x="187172" y="266226"/>
                  </a:lnTo>
                  <a:lnTo>
                    <a:pt x="187172" y="98214"/>
                  </a:lnTo>
                  <a:lnTo>
                    <a:pt x="130016" y="98214"/>
                  </a:lnTo>
                  <a:lnTo>
                    <a:pt x="124463" y="95750"/>
                  </a:lnTo>
                  <a:lnTo>
                    <a:pt x="91635" y="58945"/>
                  </a:lnTo>
                  <a:lnTo>
                    <a:pt x="70497" y="127717"/>
                  </a:lnTo>
                  <a:lnTo>
                    <a:pt x="119071" y="143384"/>
                  </a:lnTo>
                  <a:lnTo>
                    <a:pt x="148470" y="238529"/>
                  </a:lnTo>
                  <a:lnTo>
                    <a:pt x="143576" y="257341"/>
                  </a:lnTo>
                  <a:lnTo>
                    <a:pt x="127201" y="264618"/>
                  </a:lnTo>
                  <a:lnTo>
                    <a:pt x="109589" y="259640"/>
                  </a:lnTo>
                  <a:lnTo>
                    <a:pt x="100985" y="241682"/>
                  </a:lnTo>
                  <a:lnTo>
                    <a:pt x="89081" y="183602"/>
                  </a:lnTo>
                  <a:lnTo>
                    <a:pt x="15128" y="159088"/>
                  </a:lnTo>
                  <a:lnTo>
                    <a:pt x="6588" y="154821"/>
                  </a:lnTo>
                  <a:lnTo>
                    <a:pt x="1560" y="148608"/>
                  </a:lnTo>
                  <a:lnTo>
                    <a:pt x="0" y="140124"/>
                  </a:lnTo>
                  <a:lnTo>
                    <a:pt x="1866" y="129042"/>
                  </a:lnTo>
                  <a:lnTo>
                    <a:pt x="33712" y="17464"/>
                  </a:lnTo>
                  <a:lnTo>
                    <a:pt x="56591" y="275"/>
                  </a:lnTo>
                  <a:lnTo>
                    <a:pt x="83620" y="275"/>
                  </a:lnTo>
                  <a:lnTo>
                    <a:pt x="89810" y="0"/>
                  </a:lnTo>
                  <a:lnTo>
                    <a:pt x="95731" y="2670"/>
                  </a:lnTo>
                  <a:lnTo>
                    <a:pt x="144857" y="57713"/>
                  </a:lnTo>
                  <a:lnTo>
                    <a:pt x="187165" y="57713"/>
                  </a:lnTo>
                  <a:lnTo>
                    <a:pt x="187096" y="11877"/>
                  </a:lnTo>
                  <a:lnTo>
                    <a:pt x="193722" y="5058"/>
                  </a:lnTo>
                  <a:lnTo>
                    <a:pt x="210535" y="4829"/>
                  </a:lnTo>
                  <a:lnTo>
                    <a:pt x="217499" y="11724"/>
                  </a:lnTo>
                  <a:lnTo>
                    <a:pt x="217377" y="20174"/>
                  </a:lnTo>
                  <a:lnTo>
                    <a:pt x="217377" y="266226"/>
                  </a:lnTo>
                  <a:lnTo>
                    <a:pt x="212546" y="277307"/>
                  </a:lnTo>
                  <a:lnTo>
                    <a:pt x="202277" y="281001"/>
                  </a:lnTo>
                  <a:close/>
                </a:path>
              </a:pathLst>
            </a:custGeom>
            <a:solidFill>
              <a:srgbClr val="FFFFFF"/>
            </a:solidFill>
          </p:spPr>
          <p:txBody>
            <a:bodyPr wrap="square" lIns="0" tIns="0" rIns="0" bIns="0" rtlCol="0"/>
            <a:lstStyle/>
            <a:p>
              <a:endParaRPr/>
            </a:p>
          </p:txBody>
        </p:sp>
        <p:pic>
          <p:nvPicPr>
            <p:cNvPr id="111" name="object 111"/>
            <p:cNvPicPr/>
            <p:nvPr/>
          </p:nvPicPr>
          <p:blipFill>
            <a:blip r:embed="rId18" cstate="print"/>
            <a:stretch>
              <a:fillRect/>
            </a:stretch>
          </p:blipFill>
          <p:spPr>
            <a:xfrm>
              <a:off x="2196007" y="4179657"/>
              <a:ext cx="82528" cy="151953"/>
            </a:xfrm>
            <a:prstGeom prst="rect">
              <a:avLst/>
            </a:prstGeom>
          </p:spPr>
        </p:pic>
        <p:pic>
          <p:nvPicPr>
            <p:cNvPr id="112" name="object 112"/>
            <p:cNvPicPr/>
            <p:nvPr/>
          </p:nvPicPr>
          <p:blipFill>
            <a:blip r:embed="rId20" cstate="print"/>
            <a:stretch>
              <a:fillRect/>
            </a:stretch>
          </p:blipFill>
          <p:spPr>
            <a:xfrm>
              <a:off x="2149976" y="3984123"/>
              <a:ext cx="95813" cy="155196"/>
            </a:xfrm>
            <a:prstGeom prst="rect">
              <a:avLst/>
            </a:prstGeom>
          </p:spPr>
        </p:pic>
        <p:sp>
          <p:nvSpPr>
            <p:cNvPr id="113" name="object 113"/>
            <p:cNvSpPr/>
            <p:nvPr/>
          </p:nvSpPr>
          <p:spPr>
            <a:xfrm>
              <a:off x="3136217" y="4917216"/>
              <a:ext cx="738505" cy="738505"/>
            </a:xfrm>
            <a:custGeom>
              <a:avLst/>
              <a:gdLst/>
              <a:ahLst/>
              <a:cxnLst/>
              <a:rect l="l" t="t" r="r" b="b"/>
              <a:pathLst>
                <a:path w="738504" h="738504">
                  <a:moveTo>
                    <a:pt x="369049" y="738095"/>
                  </a:moveTo>
                  <a:lnTo>
                    <a:pt x="322755" y="735220"/>
                  </a:lnTo>
                  <a:lnTo>
                    <a:pt x="278178" y="726824"/>
                  </a:lnTo>
                  <a:lnTo>
                    <a:pt x="235663" y="713254"/>
                  </a:lnTo>
                  <a:lnTo>
                    <a:pt x="195556" y="694856"/>
                  </a:lnTo>
                  <a:lnTo>
                    <a:pt x="158202" y="671974"/>
                  </a:lnTo>
                  <a:lnTo>
                    <a:pt x="123948" y="644956"/>
                  </a:lnTo>
                  <a:lnTo>
                    <a:pt x="93139" y="614147"/>
                  </a:lnTo>
                  <a:lnTo>
                    <a:pt x="66120" y="579892"/>
                  </a:lnTo>
                  <a:lnTo>
                    <a:pt x="43239" y="542539"/>
                  </a:lnTo>
                  <a:lnTo>
                    <a:pt x="24840" y="502431"/>
                  </a:lnTo>
                  <a:lnTo>
                    <a:pt x="11270" y="459916"/>
                  </a:lnTo>
                  <a:lnTo>
                    <a:pt x="2875" y="415340"/>
                  </a:lnTo>
                  <a:lnTo>
                    <a:pt x="0" y="369044"/>
                  </a:lnTo>
                  <a:lnTo>
                    <a:pt x="2875" y="322755"/>
                  </a:lnTo>
                  <a:lnTo>
                    <a:pt x="11270" y="278178"/>
                  </a:lnTo>
                  <a:lnTo>
                    <a:pt x="24840" y="235663"/>
                  </a:lnTo>
                  <a:lnTo>
                    <a:pt x="43239" y="195556"/>
                  </a:lnTo>
                  <a:lnTo>
                    <a:pt x="66120" y="158202"/>
                  </a:lnTo>
                  <a:lnTo>
                    <a:pt x="93139" y="123948"/>
                  </a:lnTo>
                  <a:lnTo>
                    <a:pt x="123948" y="93139"/>
                  </a:lnTo>
                  <a:lnTo>
                    <a:pt x="158202" y="66120"/>
                  </a:lnTo>
                  <a:lnTo>
                    <a:pt x="195556" y="43239"/>
                  </a:lnTo>
                  <a:lnTo>
                    <a:pt x="235663" y="24841"/>
                  </a:lnTo>
                  <a:lnTo>
                    <a:pt x="278178" y="11270"/>
                  </a:lnTo>
                  <a:lnTo>
                    <a:pt x="322755" y="2875"/>
                  </a:lnTo>
                  <a:lnTo>
                    <a:pt x="369046" y="0"/>
                  </a:lnTo>
                  <a:lnTo>
                    <a:pt x="415340" y="2875"/>
                  </a:lnTo>
                  <a:lnTo>
                    <a:pt x="459916" y="11270"/>
                  </a:lnTo>
                  <a:lnTo>
                    <a:pt x="502431" y="24841"/>
                  </a:lnTo>
                  <a:lnTo>
                    <a:pt x="542539" y="43239"/>
                  </a:lnTo>
                  <a:lnTo>
                    <a:pt x="579892" y="66120"/>
                  </a:lnTo>
                  <a:lnTo>
                    <a:pt x="614147" y="93139"/>
                  </a:lnTo>
                  <a:lnTo>
                    <a:pt x="644956" y="123948"/>
                  </a:lnTo>
                  <a:lnTo>
                    <a:pt x="671974" y="158202"/>
                  </a:lnTo>
                  <a:lnTo>
                    <a:pt x="694856" y="195556"/>
                  </a:lnTo>
                  <a:lnTo>
                    <a:pt x="713254" y="235663"/>
                  </a:lnTo>
                  <a:lnTo>
                    <a:pt x="726824" y="278178"/>
                  </a:lnTo>
                  <a:lnTo>
                    <a:pt x="735220" y="322755"/>
                  </a:lnTo>
                  <a:lnTo>
                    <a:pt x="738095" y="369047"/>
                  </a:lnTo>
                  <a:lnTo>
                    <a:pt x="735220" y="415340"/>
                  </a:lnTo>
                  <a:lnTo>
                    <a:pt x="726824" y="459916"/>
                  </a:lnTo>
                  <a:lnTo>
                    <a:pt x="713254" y="502431"/>
                  </a:lnTo>
                  <a:lnTo>
                    <a:pt x="694856" y="542539"/>
                  </a:lnTo>
                  <a:lnTo>
                    <a:pt x="671974" y="579892"/>
                  </a:lnTo>
                  <a:lnTo>
                    <a:pt x="644956" y="614147"/>
                  </a:lnTo>
                  <a:lnTo>
                    <a:pt x="614147" y="644956"/>
                  </a:lnTo>
                  <a:lnTo>
                    <a:pt x="579892" y="671974"/>
                  </a:lnTo>
                  <a:lnTo>
                    <a:pt x="542539" y="694856"/>
                  </a:lnTo>
                  <a:lnTo>
                    <a:pt x="502431" y="713254"/>
                  </a:lnTo>
                  <a:lnTo>
                    <a:pt x="459916" y="726824"/>
                  </a:lnTo>
                  <a:lnTo>
                    <a:pt x="415340" y="735220"/>
                  </a:lnTo>
                  <a:lnTo>
                    <a:pt x="369049" y="738095"/>
                  </a:lnTo>
                  <a:close/>
                </a:path>
              </a:pathLst>
            </a:custGeom>
            <a:solidFill>
              <a:srgbClr val="F5A316"/>
            </a:solidFill>
          </p:spPr>
          <p:txBody>
            <a:bodyPr wrap="square" lIns="0" tIns="0" rIns="0" bIns="0" rtlCol="0"/>
            <a:lstStyle/>
            <a:p>
              <a:endParaRPr/>
            </a:p>
          </p:txBody>
        </p:sp>
        <p:sp>
          <p:nvSpPr>
            <p:cNvPr id="114" name="object 114"/>
            <p:cNvSpPr/>
            <p:nvPr/>
          </p:nvSpPr>
          <p:spPr>
            <a:xfrm>
              <a:off x="3337198" y="5402624"/>
              <a:ext cx="405130" cy="141605"/>
            </a:xfrm>
            <a:custGeom>
              <a:avLst/>
              <a:gdLst/>
              <a:ahLst/>
              <a:cxnLst/>
              <a:rect l="l" t="t" r="r" b="b"/>
              <a:pathLst>
                <a:path w="405129" h="141604">
                  <a:moveTo>
                    <a:pt x="373232" y="141096"/>
                  </a:moveTo>
                  <a:lnTo>
                    <a:pt x="15260" y="141096"/>
                  </a:lnTo>
                  <a:lnTo>
                    <a:pt x="6288" y="138619"/>
                  </a:lnTo>
                  <a:lnTo>
                    <a:pt x="957" y="132379"/>
                  </a:lnTo>
                  <a:lnTo>
                    <a:pt x="0" y="124158"/>
                  </a:lnTo>
                  <a:lnTo>
                    <a:pt x="4147" y="115741"/>
                  </a:lnTo>
                  <a:lnTo>
                    <a:pt x="33473" y="84462"/>
                  </a:lnTo>
                  <a:lnTo>
                    <a:pt x="47505" y="82663"/>
                  </a:lnTo>
                  <a:lnTo>
                    <a:pt x="87143" y="82663"/>
                  </a:lnTo>
                  <a:lnTo>
                    <a:pt x="101052" y="82186"/>
                  </a:lnTo>
                  <a:lnTo>
                    <a:pt x="113414" y="80043"/>
                  </a:lnTo>
                  <a:lnTo>
                    <a:pt x="124931" y="75163"/>
                  </a:lnTo>
                  <a:lnTo>
                    <a:pt x="136307" y="66476"/>
                  </a:lnTo>
                  <a:lnTo>
                    <a:pt x="181737" y="30162"/>
                  </a:lnTo>
                  <a:lnTo>
                    <a:pt x="190828" y="23781"/>
                  </a:lnTo>
                  <a:lnTo>
                    <a:pt x="198827" y="20492"/>
                  </a:lnTo>
                  <a:lnTo>
                    <a:pt x="207008" y="19877"/>
                  </a:lnTo>
                  <a:lnTo>
                    <a:pt x="216642" y="21521"/>
                  </a:lnTo>
                  <a:lnTo>
                    <a:pt x="285672" y="38152"/>
                  </a:lnTo>
                  <a:lnTo>
                    <a:pt x="287513" y="40455"/>
                  </a:lnTo>
                  <a:lnTo>
                    <a:pt x="271529" y="59543"/>
                  </a:lnTo>
                  <a:lnTo>
                    <a:pt x="269455" y="64118"/>
                  </a:lnTo>
                  <a:lnTo>
                    <a:pt x="270907" y="67581"/>
                  </a:lnTo>
                  <a:lnTo>
                    <a:pt x="275707" y="68541"/>
                  </a:lnTo>
                  <a:lnTo>
                    <a:pt x="283678" y="65604"/>
                  </a:lnTo>
                  <a:lnTo>
                    <a:pt x="378033" y="4018"/>
                  </a:lnTo>
                  <a:lnTo>
                    <a:pt x="387357" y="0"/>
                  </a:lnTo>
                  <a:lnTo>
                    <a:pt x="395913" y="318"/>
                  </a:lnTo>
                  <a:lnTo>
                    <a:pt x="402169" y="5606"/>
                  </a:lnTo>
                  <a:lnTo>
                    <a:pt x="404594" y="16500"/>
                  </a:lnTo>
                  <a:lnTo>
                    <a:pt x="404594" y="112557"/>
                  </a:lnTo>
                  <a:lnTo>
                    <a:pt x="402694" y="124513"/>
                  </a:lnTo>
                  <a:lnTo>
                    <a:pt x="396912" y="133490"/>
                  </a:lnTo>
                  <a:lnTo>
                    <a:pt x="387131" y="139136"/>
                  </a:lnTo>
                  <a:lnTo>
                    <a:pt x="373232" y="141096"/>
                  </a:lnTo>
                  <a:close/>
                </a:path>
              </a:pathLst>
            </a:custGeom>
            <a:solidFill>
              <a:srgbClr val="FFFFFF"/>
            </a:solidFill>
          </p:spPr>
          <p:txBody>
            <a:bodyPr wrap="square" lIns="0" tIns="0" rIns="0" bIns="0" rtlCol="0"/>
            <a:lstStyle/>
            <a:p>
              <a:endParaRPr/>
            </a:p>
          </p:txBody>
        </p:sp>
        <p:pic>
          <p:nvPicPr>
            <p:cNvPr id="115" name="object 115"/>
            <p:cNvPicPr/>
            <p:nvPr/>
          </p:nvPicPr>
          <p:blipFill>
            <a:blip r:embed="rId16" cstate="print"/>
            <a:stretch>
              <a:fillRect/>
            </a:stretch>
          </p:blipFill>
          <p:spPr>
            <a:xfrm>
              <a:off x="3477655" y="5031297"/>
              <a:ext cx="95452" cy="95206"/>
            </a:xfrm>
            <a:prstGeom prst="rect">
              <a:avLst/>
            </a:prstGeom>
          </p:spPr>
        </p:pic>
        <p:sp>
          <p:nvSpPr>
            <p:cNvPr id="116" name="object 116"/>
            <p:cNvSpPr/>
            <p:nvPr/>
          </p:nvSpPr>
          <p:spPr>
            <a:xfrm>
              <a:off x="3429463" y="5145107"/>
              <a:ext cx="217804" cy="281305"/>
            </a:xfrm>
            <a:custGeom>
              <a:avLst/>
              <a:gdLst/>
              <a:ahLst/>
              <a:cxnLst/>
              <a:rect l="l" t="t" r="r" b="b"/>
              <a:pathLst>
                <a:path w="217804" h="281304">
                  <a:moveTo>
                    <a:pt x="202277" y="281001"/>
                  </a:moveTo>
                  <a:lnTo>
                    <a:pt x="192007" y="277307"/>
                  </a:lnTo>
                  <a:lnTo>
                    <a:pt x="187172" y="266226"/>
                  </a:lnTo>
                  <a:lnTo>
                    <a:pt x="187172" y="98214"/>
                  </a:lnTo>
                  <a:lnTo>
                    <a:pt x="130016" y="98214"/>
                  </a:lnTo>
                  <a:lnTo>
                    <a:pt x="124463" y="95750"/>
                  </a:lnTo>
                  <a:lnTo>
                    <a:pt x="91635" y="58945"/>
                  </a:lnTo>
                  <a:lnTo>
                    <a:pt x="70497" y="127717"/>
                  </a:lnTo>
                  <a:lnTo>
                    <a:pt x="119071" y="143384"/>
                  </a:lnTo>
                  <a:lnTo>
                    <a:pt x="148470" y="238529"/>
                  </a:lnTo>
                  <a:lnTo>
                    <a:pt x="143576" y="257341"/>
                  </a:lnTo>
                  <a:lnTo>
                    <a:pt x="127201" y="264618"/>
                  </a:lnTo>
                  <a:lnTo>
                    <a:pt x="109589" y="259640"/>
                  </a:lnTo>
                  <a:lnTo>
                    <a:pt x="100985" y="241682"/>
                  </a:lnTo>
                  <a:lnTo>
                    <a:pt x="89081" y="183602"/>
                  </a:lnTo>
                  <a:lnTo>
                    <a:pt x="15128" y="159088"/>
                  </a:lnTo>
                  <a:lnTo>
                    <a:pt x="6588" y="154821"/>
                  </a:lnTo>
                  <a:lnTo>
                    <a:pt x="1560" y="148608"/>
                  </a:lnTo>
                  <a:lnTo>
                    <a:pt x="0" y="140124"/>
                  </a:lnTo>
                  <a:lnTo>
                    <a:pt x="1866" y="129042"/>
                  </a:lnTo>
                  <a:lnTo>
                    <a:pt x="33712" y="17464"/>
                  </a:lnTo>
                  <a:lnTo>
                    <a:pt x="56591" y="275"/>
                  </a:lnTo>
                  <a:lnTo>
                    <a:pt x="83620" y="275"/>
                  </a:lnTo>
                  <a:lnTo>
                    <a:pt x="89810" y="0"/>
                  </a:lnTo>
                  <a:lnTo>
                    <a:pt x="95731" y="2670"/>
                  </a:lnTo>
                  <a:lnTo>
                    <a:pt x="144857" y="57713"/>
                  </a:lnTo>
                  <a:lnTo>
                    <a:pt x="187165" y="57713"/>
                  </a:lnTo>
                  <a:lnTo>
                    <a:pt x="187096" y="11877"/>
                  </a:lnTo>
                  <a:lnTo>
                    <a:pt x="193722" y="5058"/>
                  </a:lnTo>
                  <a:lnTo>
                    <a:pt x="210535" y="4829"/>
                  </a:lnTo>
                  <a:lnTo>
                    <a:pt x="217499" y="11724"/>
                  </a:lnTo>
                  <a:lnTo>
                    <a:pt x="217377" y="20174"/>
                  </a:lnTo>
                  <a:lnTo>
                    <a:pt x="217377" y="266226"/>
                  </a:lnTo>
                  <a:lnTo>
                    <a:pt x="212546" y="277307"/>
                  </a:lnTo>
                  <a:lnTo>
                    <a:pt x="202277" y="281001"/>
                  </a:lnTo>
                  <a:close/>
                </a:path>
              </a:pathLst>
            </a:custGeom>
            <a:solidFill>
              <a:srgbClr val="FFFFFF"/>
            </a:solidFill>
          </p:spPr>
          <p:txBody>
            <a:bodyPr wrap="square" lIns="0" tIns="0" rIns="0" bIns="0" rtlCol="0"/>
            <a:lstStyle/>
            <a:p>
              <a:endParaRPr/>
            </a:p>
          </p:txBody>
        </p:sp>
        <p:pic>
          <p:nvPicPr>
            <p:cNvPr id="117" name="object 117"/>
            <p:cNvPicPr/>
            <p:nvPr/>
          </p:nvPicPr>
          <p:blipFill>
            <a:blip r:embed="rId18" cstate="print"/>
            <a:stretch>
              <a:fillRect/>
            </a:stretch>
          </p:blipFill>
          <p:spPr>
            <a:xfrm>
              <a:off x="3399445" y="5316242"/>
              <a:ext cx="82528" cy="151953"/>
            </a:xfrm>
            <a:prstGeom prst="rect">
              <a:avLst/>
            </a:prstGeom>
          </p:spPr>
        </p:pic>
        <p:pic>
          <p:nvPicPr>
            <p:cNvPr id="118" name="object 118"/>
            <p:cNvPicPr/>
            <p:nvPr/>
          </p:nvPicPr>
          <p:blipFill>
            <a:blip r:embed="rId17" cstate="print"/>
            <a:stretch>
              <a:fillRect/>
            </a:stretch>
          </p:blipFill>
          <p:spPr>
            <a:xfrm>
              <a:off x="3353414" y="5120708"/>
              <a:ext cx="95813" cy="155196"/>
            </a:xfrm>
            <a:prstGeom prst="rect">
              <a:avLst/>
            </a:prstGeom>
          </p:spPr>
        </p:pic>
        <p:sp>
          <p:nvSpPr>
            <p:cNvPr id="119" name="object 119"/>
            <p:cNvSpPr/>
            <p:nvPr/>
          </p:nvSpPr>
          <p:spPr>
            <a:xfrm>
              <a:off x="2870269" y="6557854"/>
              <a:ext cx="738505" cy="738505"/>
            </a:xfrm>
            <a:custGeom>
              <a:avLst/>
              <a:gdLst/>
              <a:ahLst/>
              <a:cxnLst/>
              <a:rect l="l" t="t" r="r" b="b"/>
              <a:pathLst>
                <a:path w="738504" h="738504">
                  <a:moveTo>
                    <a:pt x="369049" y="738095"/>
                  </a:moveTo>
                  <a:lnTo>
                    <a:pt x="322755" y="735220"/>
                  </a:lnTo>
                  <a:lnTo>
                    <a:pt x="278178" y="726824"/>
                  </a:lnTo>
                  <a:lnTo>
                    <a:pt x="235663" y="713254"/>
                  </a:lnTo>
                  <a:lnTo>
                    <a:pt x="195556" y="694856"/>
                  </a:lnTo>
                  <a:lnTo>
                    <a:pt x="158202" y="671974"/>
                  </a:lnTo>
                  <a:lnTo>
                    <a:pt x="123948" y="644956"/>
                  </a:lnTo>
                  <a:lnTo>
                    <a:pt x="93139" y="614147"/>
                  </a:lnTo>
                  <a:lnTo>
                    <a:pt x="66121" y="579892"/>
                  </a:lnTo>
                  <a:lnTo>
                    <a:pt x="43239" y="542539"/>
                  </a:lnTo>
                  <a:lnTo>
                    <a:pt x="24841" y="502431"/>
                  </a:lnTo>
                  <a:lnTo>
                    <a:pt x="11271" y="459916"/>
                  </a:lnTo>
                  <a:lnTo>
                    <a:pt x="2875" y="415340"/>
                  </a:lnTo>
                  <a:lnTo>
                    <a:pt x="0" y="369047"/>
                  </a:lnTo>
                  <a:lnTo>
                    <a:pt x="2875" y="322754"/>
                  </a:lnTo>
                  <a:lnTo>
                    <a:pt x="11271" y="278178"/>
                  </a:lnTo>
                  <a:lnTo>
                    <a:pt x="24841" y="235663"/>
                  </a:lnTo>
                  <a:lnTo>
                    <a:pt x="43239" y="195556"/>
                  </a:lnTo>
                  <a:lnTo>
                    <a:pt x="66121" y="158202"/>
                  </a:lnTo>
                  <a:lnTo>
                    <a:pt x="93139" y="123948"/>
                  </a:lnTo>
                  <a:lnTo>
                    <a:pt x="123948" y="93139"/>
                  </a:lnTo>
                  <a:lnTo>
                    <a:pt x="158202" y="66120"/>
                  </a:lnTo>
                  <a:lnTo>
                    <a:pt x="195556" y="43239"/>
                  </a:lnTo>
                  <a:lnTo>
                    <a:pt x="235663" y="24840"/>
                  </a:lnTo>
                  <a:lnTo>
                    <a:pt x="278178" y="11270"/>
                  </a:lnTo>
                  <a:lnTo>
                    <a:pt x="322755" y="2875"/>
                  </a:lnTo>
                  <a:lnTo>
                    <a:pt x="369045" y="0"/>
                  </a:lnTo>
                  <a:lnTo>
                    <a:pt x="415340" y="2875"/>
                  </a:lnTo>
                  <a:lnTo>
                    <a:pt x="459917" y="11270"/>
                  </a:lnTo>
                  <a:lnTo>
                    <a:pt x="502431" y="24840"/>
                  </a:lnTo>
                  <a:lnTo>
                    <a:pt x="542539" y="43239"/>
                  </a:lnTo>
                  <a:lnTo>
                    <a:pt x="579892" y="66120"/>
                  </a:lnTo>
                  <a:lnTo>
                    <a:pt x="614147" y="93139"/>
                  </a:lnTo>
                  <a:lnTo>
                    <a:pt x="644956" y="123948"/>
                  </a:lnTo>
                  <a:lnTo>
                    <a:pt x="671974" y="158202"/>
                  </a:lnTo>
                  <a:lnTo>
                    <a:pt x="694856" y="195556"/>
                  </a:lnTo>
                  <a:lnTo>
                    <a:pt x="713254" y="235663"/>
                  </a:lnTo>
                  <a:lnTo>
                    <a:pt x="726824" y="278178"/>
                  </a:lnTo>
                  <a:lnTo>
                    <a:pt x="735220" y="322754"/>
                  </a:lnTo>
                  <a:lnTo>
                    <a:pt x="738095" y="369047"/>
                  </a:lnTo>
                  <a:lnTo>
                    <a:pt x="735220" y="415340"/>
                  </a:lnTo>
                  <a:lnTo>
                    <a:pt x="726824" y="459916"/>
                  </a:lnTo>
                  <a:lnTo>
                    <a:pt x="713254" y="502431"/>
                  </a:lnTo>
                  <a:lnTo>
                    <a:pt x="694856" y="542539"/>
                  </a:lnTo>
                  <a:lnTo>
                    <a:pt x="671974" y="579892"/>
                  </a:lnTo>
                  <a:lnTo>
                    <a:pt x="644956" y="614147"/>
                  </a:lnTo>
                  <a:lnTo>
                    <a:pt x="614147" y="644956"/>
                  </a:lnTo>
                  <a:lnTo>
                    <a:pt x="579892" y="671974"/>
                  </a:lnTo>
                  <a:lnTo>
                    <a:pt x="542539" y="694856"/>
                  </a:lnTo>
                  <a:lnTo>
                    <a:pt x="502431" y="713254"/>
                  </a:lnTo>
                  <a:lnTo>
                    <a:pt x="459917" y="726824"/>
                  </a:lnTo>
                  <a:lnTo>
                    <a:pt x="415340" y="735220"/>
                  </a:lnTo>
                  <a:lnTo>
                    <a:pt x="369049" y="738095"/>
                  </a:lnTo>
                  <a:close/>
                </a:path>
              </a:pathLst>
            </a:custGeom>
            <a:solidFill>
              <a:srgbClr val="F5A316"/>
            </a:solidFill>
          </p:spPr>
          <p:txBody>
            <a:bodyPr wrap="square" lIns="0" tIns="0" rIns="0" bIns="0" rtlCol="0"/>
            <a:lstStyle/>
            <a:p>
              <a:endParaRPr/>
            </a:p>
          </p:txBody>
        </p:sp>
        <p:sp>
          <p:nvSpPr>
            <p:cNvPr id="120" name="object 120"/>
            <p:cNvSpPr/>
            <p:nvPr/>
          </p:nvSpPr>
          <p:spPr>
            <a:xfrm>
              <a:off x="3071251" y="7043264"/>
              <a:ext cx="405130" cy="141605"/>
            </a:xfrm>
            <a:custGeom>
              <a:avLst/>
              <a:gdLst/>
              <a:ahLst/>
              <a:cxnLst/>
              <a:rect l="l" t="t" r="r" b="b"/>
              <a:pathLst>
                <a:path w="405129" h="141604">
                  <a:moveTo>
                    <a:pt x="373232" y="141096"/>
                  </a:moveTo>
                  <a:lnTo>
                    <a:pt x="15260" y="141096"/>
                  </a:lnTo>
                  <a:lnTo>
                    <a:pt x="6288" y="138619"/>
                  </a:lnTo>
                  <a:lnTo>
                    <a:pt x="957" y="132379"/>
                  </a:lnTo>
                  <a:lnTo>
                    <a:pt x="0" y="124158"/>
                  </a:lnTo>
                  <a:lnTo>
                    <a:pt x="4147" y="115741"/>
                  </a:lnTo>
                  <a:lnTo>
                    <a:pt x="33473" y="84462"/>
                  </a:lnTo>
                  <a:lnTo>
                    <a:pt x="47505" y="82663"/>
                  </a:lnTo>
                  <a:lnTo>
                    <a:pt x="87143" y="82663"/>
                  </a:lnTo>
                  <a:lnTo>
                    <a:pt x="101052" y="82186"/>
                  </a:lnTo>
                  <a:lnTo>
                    <a:pt x="113414" y="80043"/>
                  </a:lnTo>
                  <a:lnTo>
                    <a:pt x="124931" y="75163"/>
                  </a:lnTo>
                  <a:lnTo>
                    <a:pt x="136307" y="66476"/>
                  </a:lnTo>
                  <a:lnTo>
                    <a:pt x="181737" y="30162"/>
                  </a:lnTo>
                  <a:lnTo>
                    <a:pt x="190828" y="23781"/>
                  </a:lnTo>
                  <a:lnTo>
                    <a:pt x="198827" y="20492"/>
                  </a:lnTo>
                  <a:lnTo>
                    <a:pt x="207008" y="19877"/>
                  </a:lnTo>
                  <a:lnTo>
                    <a:pt x="216642" y="21521"/>
                  </a:lnTo>
                  <a:lnTo>
                    <a:pt x="285672" y="38152"/>
                  </a:lnTo>
                  <a:lnTo>
                    <a:pt x="287513" y="40455"/>
                  </a:lnTo>
                  <a:lnTo>
                    <a:pt x="271529" y="59543"/>
                  </a:lnTo>
                  <a:lnTo>
                    <a:pt x="269455" y="64118"/>
                  </a:lnTo>
                  <a:lnTo>
                    <a:pt x="270907" y="67581"/>
                  </a:lnTo>
                  <a:lnTo>
                    <a:pt x="275707" y="68541"/>
                  </a:lnTo>
                  <a:lnTo>
                    <a:pt x="283678" y="65604"/>
                  </a:lnTo>
                  <a:lnTo>
                    <a:pt x="378033" y="4018"/>
                  </a:lnTo>
                  <a:lnTo>
                    <a:pt x="387357" y="0"/>
                  </a:lnTo>
                  <a:lnTo>
                    <a:pt x="395913" y="318"/>
                  </a:lnTo>
                  <a:lnTo>
                    <a:pt x="402169" y="5606"/>
                  </a:lnTo>
                  <a:lnTo>
                    <a:pt x="404594" y="16500"/>
                  </a:lnTo>
                  <a:lnTo>
                    <a:pt x="404594" y="112557"/>
                  </a:lnTo>
                  <a:lnTo>
                    <a:pt x="402694" y="124513"/>
                  </a:lnTo>
                  <a:lnTo>
                    <a:pt x="396912" y="133490"/>
                  </a:lnTo>
                  <a:lnTo>
                    <a:pt x="387131" y="139136"/>
                  </a:lnTo>
                  <a:lnTo>
                    <a:pt x="373232" y="141096"/>
                  </a:lnTo>
                  <a:close/>
                </a:path>
              </a:pathLst>
            </a:custGeom>
            <a:solidFill>
              <a:srgbClr val="FFFFFF"/>
            </a:solidFill>
          </p:spPr>
          <p:txBody>
            <a:bodyPr wrap="square" lIns="0" tIns="0" rIns="0" bIns="0" rtlCol="0"/>
            <a:lstStyle/>
            <a:p>
              <a:endParaRPr/>
            </a:p>
          </p:txBody>
        </p:sp>
        <p:pic>
          <p:nvPicPr>
            <p:cNvPr id="121" name="object 121"/>
            <p:cNvPicPr/>
            <p:nvPr/>
          </p:nvPicPr>
          <p:blipFill>
            <a:blip r:embed="rId16" cstate="print"/>
            <a:stretch>
              <a:fillRect/>
            </a:stretch>
          </p:blipFill>
          <p:spPr>
            <a:xfrm>
              <a:off x="3211707" y="6671937"/>
              <a:ext cx="95452" cy="95206"/>
            </a:xfrm>
            <a:prstGeom prst="rect">
              <a:avLst/>
            </a:prstGeom>
          </p:spPr>
        </p:pic>
        <p:sp>
          <p:nvSpPr>
            <p:cNvPr id="122" name="object 122"/>
            <p:cNvSpPr/>
            <p:nvPr/>
          </p:nvSpPr>
          <p:spPr>
            <a:xfrm>
              <a:off x="3163515" y="6785747"/>
              <a:ext cx="217804" cy="281305"/>
            </a:xfrm>
            <a:custGeom>
              <a:avLst/>
              <a:gdLst/>
              <a:ahLst/>
              <a:cxnLst/>
              <a:rect l="l" t="t" r="r" b="b"/>
              <a:pathLst>
                <a:path w="217804" h="281304">
                  <a:moveTo>
                    <a:pt x="202277" y="281001"/>
                  </a:moveTo>
                  <a:lnTo>
                    <a:pt x="192007" y="277307"/>
                  </a:lnTo>
                  <a:lnTo>
                    <a:pt x="187172" y="266226"/>
                  </a:lnTo>
                  <a:lnTo>
                    <a:pt x="187172" y="98214"/>
                  </a:lnTo>
                  <a:lnTo>
                    <a:pt x="130016" y="98214"/>
                  </a:lnTo>
                  <a:lnTo>
                    <a:pt x="124463" y="95750"/>
                  </a:lnTo>
                  <a:lnTo>
                    <a:pt x="91635" y="58945"/>
                  </a:lnTo>
                  <a:lnTo>
                    <a:pt x="70497" y="127717"/>
                  </a:lnTo>
                  <a:lnTo>
                    <a:pt x="119071" y="143384"/>
                  </a:lnTo>
                  <a:lnTo>
                    <a:pt x="148470" y="238529"/>
                  </a:lnTo>
                  <a:lnTo>
                    <a:pt x="143576" y="257341"/>
                  </a:lnTo>
                  <a:lnTo>
                    <a:pt x="127201" y="264618"/>
                  </a:lnTo>
                  <a:lnTo>
                    <a:pt x="109589" y="259640"/>
                  </a:lnTo>
                  <a:lnTo>
                    <a:pt x="100985" y="241682"/>
                  </a:lnTo>
                  <a:lnTo>
                    <a:pt x="89081" y="183602"/>
                  </a:lnTo>
                  <a:lnTo>
                    <a:pt x="15128" y="159088"/>
                  </a:lnTo>
                  <a:lnTo>
                    <a:pt x="6588" y="154821"/>
                  </a:lnTo>
                  <a:lnTo>
                    <a:pt x="1560" y="148608"/>
                  </a:lnTo>
                  <a:lnTo>
                    <a:pt x="0" y="140124"/>
                  </a:lnTo>
                  <a:lnTo>
                    <a:pt x="1866" y="129042"/>
                  </a:lnTo>
                  <a:lnTo>
                    <a:pt x="33712" y="17464"/>
                  </a:lnTo>
                  <a:lnTo>
                    <a:pt x="56591" y="275"/>
                  </a:lnTo>
                  <a:lnTo>
                    <a:pt x="83620" y="275"/>
                  </a:lnTo>
                  <a:lnTo>
                    <a:pt x="89810" y="0"/>
                  </a:lnTo>
                  <a:lnTo>
                    <a:pt x="95731" y="2670"/>
                  </a:lnTo>
                  <a:lnTo>
                    <a:pt x="144857" y="57713"/>
                  </a:lnTo>
                  <a:lnTo>
                    <a:pt x="187165" y="57713"/>
                  </a:lnTo>
                  <a:lnTo>
                    <a:pt x="187096" y="11877"/>
                  </a:lnTo>
                  <a:lnTo>
                    <a:pt x="193722" y="5058"/>
                  </a:lnTo>
                  <a:lnTo>
                    <a:pt x="210535" y="4829"/>
                  </a:lnTo>
                  <a:lnTo>
                    <a:pt x="217499" y="11724"/>
                  </a:lnTo>
                  <a:lnTo>
                    <a:pt x="217377" y="20174"/>
                  </a:lnTo>
                  <a:lnTo>
                    <a:pt x="217377" y="266226"/>
                  </a:lnTo>
                  <a:lnTo>
                    <a:pt x="212546" y="277307"/>
                  </a:lnTo>
                  <a:lnTo>
                    <a:pt x="202277" y="281001"/>
                  </a:lnTo>
                  <a:close/>
                </a:path>
              </a:pathLst>
            </a:custGeom>
            <a:solidFill>
              <a:srgbClr val="FFFFFF"/>
            </a:solidFill>
          </p:spPr>
          <p:txBody>
            <a:bodyPr wrap="square" lIns="0" tIns="0" rIns="0" bIns="0" rtlCol="0"/>
            <a:lstStyle/>
            <a:p>
              <a:endParaRPr/>
            </a:p>
          </p:txBody>
        </p:sp>
        <p:pic>
          <p:nvPicPr>
            <p:cNvPr id="123" name="object 123"/>
            <p:cNvPicPr/>
            <p:nvPr/>
          </p:nvPicPr>
          <p:blipFill>
            <a:blip r:embed="rId18" cstate="print"/>
            <a:stretch>
              <a:fillRect/>
            </a:stretch>
          </p:blipFill>
          <p:spPr>
            <a:xfrm>
              <a:off x="3133498" y="6956882"/>
              <a:ext cx="82528" cy="151953"/>
            </a:xfrm>
            <a:prstGeom prst="rect">
              <a:avLst/>
            </a:prstGeom>
          </p:spPr>
        </p:pic>
        <p:pic>
          <p:nvPicPr>
            <p:cNvPr id="124" name="object 124"/>
            <p:cNvPicPr/>
            <p:nvPr/>
          </p:nvPicPr>
          <p:blipFill>
            <a:blip r:embed="rId21" cstate="print"/>
            <a:stretch>
              <a:fillRect/>
            </a:stretch>
          </p:blipFill>
          <p:spPr>
            <a:xfrm>
              <a:off x="3087467" y="6761348"/>
              <a:ext cx="95813" cy="155196"/>
            </a:xfrm>
            <a:prstGeom prst="rect">
              <a:avLst/>
            </a:prstGeom>
          </p:spPr>
        </p:pic>
        <p:sp>
          <p:nvSpPr>
            <p:cNvPr id="125" name="object 125"/>
            <p:cNvSpPr/>
            <p:nvPr/>
          </p:nvSpPr>
          <p:spPr>
            <a:xfrm>
              <a:off x="2398121" y="4500076"/>
              <a:ext cx="738505" cy="738505"/>
            </a:xfrm>
            <a:custGeom>
              <a:avLst/>
              <a:gdLst/>
              <a:ahLst/>
              <a:cxnLst/>
              <a:rect l="l" t="t" r="r" b="b"/>
              <a:pathLst>
                <a:path w="738505" h="738504">
                  <a:moveTo>
                    <a:pt x="369047" y="738095"/>
                  </a:moveTo>
                  <a:lnTo>
                    <a:pt x="322755" y="735220"/>
                  </a:lnTo>
                  <a:lnTo>
                    <a:pt x="278178" y="726824"/>
                  </a:lnTo>
                  <a:lnTo>
                    <a:pt x="235663" y="713254"/>
                  </a:lnTo>
                  <a:lnTo>
                    <a:pt x="195556" y="694855"/>
                  </a:lnTo>
                  <a:lnTo>
                    <a:pt x="158202" y="671974"/>
                  </a:lnTo>
                  <a:lnTo>
                    <a:pt x="123948" y="644956"/>
                  </a:lnTo>
                  <a:lnTo>
                    <a:pt x="93139" y="614147"/>
                  </a:lnTo>
                  <a:lnTo>
                    <a:pt x="66120" y="579892"/>
                  </a:lnTo>
                  <a:lnTo>
                    <a:pt x="43239" y="542539"/>
                  </a:lnTo>
                  <a:lnTo>
                    <a:pt x="24840" y="502431"/>
                  </a:lnTo>
                  <a:lnTo>
                    <a:pt x="11270" y="459917"/>
                  </a:lnTo>
                  <a:lnTo>
                    <a:pt x="2875" y="415340"/>
                  </a:lnTo>
                  <a:lnTo>
                    <a:pt x="0" y="369051"/>
                  </a:lnTo>
                  <a:lnTo>
                    <a:pt x="2875" y="322755"/>
                  </a:lnTo>
                  <a:lnTo>
                    <a:pt x="11270" y="278178"/>
                  </a:lnTo>
                  <a:lnTo>
                    <a:pt x="24840" y="235663"/>
                  </a:lnTo>
                  <a:lnTo>
                    <a:pt x="43239" y="195556"/>
                  </a:lnTo>
                  <a:lnTo>
                    <a:pt x="66120" y="158202"/>
                  </a:lnTo>
                  <a:lnTo>
                    <a:pt x="93139" y="123948"/>
                  </a:lnTo>
                  <a:lnTo>
                    <a:pt x="123948" y="93139"/>
                  </a:lnTo>
                  <a:lnTo>
                    <a:pt x="158202" y="66120"/>
                  </a:lnTo>
                  <a:lnTo>
                    <a:pt x="195556" y="43239"/>
                  </a:lnTo>
                  <a:lnTo>
                    <a:pt x="235663" y="24840"/>
                  </a:lnTo>
                  <a:lnTo>
                    <a:pt x="278178" y="11270"/>
                  </a:lnTo>
                  <a:lnTo>
                    <a:pt x="322755" y="2875"/>
                  </a:lnTo>
                  <a:lnTo>
                    <a:pt x="369045" y="0"/>
                  </a:lnTo>
                  <a:lnTo>
                    <a:pt x="415340" y="2875"/>
                  </a:lnTo>
                  <a:lnTo>
                    <a:pt x="459916" y="11270"/>
                  </a:lnTo>
                  <a:lnTo>
                    <a:pt x="502431" y="24840"/>
                  </a:lnTo>
                  <a:lnTo>
                    <a:pt x="542539" y="43239"/>
                  </a:lnTo>
                  <a:lnTo>
                    <a:pt x="579892" y="66120"/>
                  </a:lnTo>
                  <a:lnTo>
                    <a:pt x="614147" y="93139"/>
                  </a:lnTo>
                  <a:lnTo>
                    <a:pt x="644956" y="123948"/>
                  </a:lnTo>
                  <a:lnTo>
                    <a:pt x="671974" y="158202"/>
                  </a:lnTo>
                  <a:lnTo>
                    <a:pt x="694855" y="195556"/>
                  </a:lnTo>
                  <a:lnTo>
                    <a:pt x="713254" y="235663"/>
                  </a:lnTo>
                  <a:lnTo>
                    <a:pt x="726824" y="278178"/>
                  </a:lnTo>
                  <a:lnTo>
                    <a:pt x="735220" y="322755"/>
                  </a:lnTo>
                  <a:lnTo>
                    <a:pt x="738095" y="369043"/>
                  </a:lnTo>
                  <a:lnTo>
                    <a:pt x="735220" y="415340"/>
                  </a:lnTo>
                  <a:lnTo>
                    <a:pt x="726824" y="459917"/>
                  </a:lnTo>
                  <a:lnTo>
                    <a:pt x="713254" y="502431"/>
                  </a:lnTo>
                  <a:lnTo>
                    <a:pt x="694855" y="542539"/>
                  </a:lnTo>
                  <a:lnTo>
                    <a:pt x="671974" y="579892"/>
                  </a:lnTo>
                  <a:lnTo>
                    <a:pt x="644956" y="614147"/>
                  </a:lnTo>
                  <a:lnTo>
                    <a:pt x="614147" y="644956"/>
                  </a:lnTo>
                  <a:lnTo>
                    <a:pt x="579892" y="671974"/>
                  </a:lnTo>
                  <a:lnTo>
                    <a:pt x="542539" y="694855"/>
                  </a:lnTo>
                  <a:lnTo>
                    <a:pt x="502431" y="713254"/>
                  </a:lnTo>
                  <a:lnTo>
                    <a:pt x="459916" y="726824"/>
                  </a:lnTo>
                  <a:lnTo>
                    <a:pt x="415340" y="735220"/>
                  </a:lnTo>
                  <a:lnTo>
                    <a:pt x="369047" y="738095"/>
                  </a:lnTo>
                  <a:close/>
                </a:path>
              </a:pathLst>
            </a:custGeom>
            <a:solidFill>
              <a:srgbClr val="F5A316"/>
            </a:solidFill>
          </p:spPr>
          <p:txBody>
            <a:bodyPr wrap="square" lIns="0" tIns="0" rIns="0" bIns="0" rtlCol="0"/>
            <a:lstStyle/>
            <a:p>
              <a:endParaRPr/>
            </a:p>
          </p:txBody>
        </p:sp>
        <p:sp>
          <p:nvSpPr>
            <p:cNvPr id="126" name="object 126"/>
            <p:cNvSpPr/>
            <p:nvPr/>
          </p:nvSpPr>
          <p:spPr>
            <a:xfrm>
              <a:off x="2599103" y="4985484"/>
              <a:ext cx="405130" cy="141605"/>
            </a:xfrm>
            <a:custGeom>
              <a:avLst/>
              <a:gdLst/>
              <a:ahLst/>
              <a:cxnLst/>
              <a:rect l="l" t="t" r="r" b="b"/>
              <a:pathLst>
                <a:path w="405130" h="141604">
                  <a:moveTo>
                    <a:pt x="373232" y="141096"/>
                  </a:moveTo>
                  <a:lnTo>
                    <a:pt x="15260" y="141096"/>
                  </a:lnTo>
                  <a:lnTo>
                    <a:pt x="6288" y="138619"/>
                  </a:lnTo>
                  <a:lnTo>
                    <a:pt x="957" y="132379"/>
                  </a:lnTo>
                  <a:lnTo>
                    <a:pt x="0" y="124158"/>
                  </a:lnTo>
                  <a:lnTo>
                    <a:pt x="4147" y="115741"/>
                  </a:lnTo>
                  <a:lnTo>
                    <a:pt x="33473" y="84462"/>
                  </a:lnTo>
                  <a:lnTo>
                    <a:pt x="47505" y="82663"/>
                  </a:lnTo>
                  <a:lnTo>
                    <a:pt x="87143" y="82663"/>
                  </a:lnTo>
                  <a:lnTo>
                    <a:pt x="101052" y="82186"/>
                  </a:lnTo>
                  <a:lnTo>
                    <a:pt x="113414" y="80043"/>
                  </a:lnTo>
                  <a:lnTo>
                    <a:pt x="124931" y="75163"/>
                  </a:lnTo>
                  <a:lnTo>
                    <a:pt x="136307" y="66476"/>
                  </a:lnTo>
                  <a:lnTo>
                    <a:pt x="181737" y="30162"/>
                  </a:lnTo>
                  <a:lnTo>
                    <a:pt x="190828" y="23781"/>
                  </a:lnTo>
                  <a:lnTo>
                    <a:pt x="198827" y="20492"/>
                  </a:lnTo>
                  <a:lnTo>
                    <a:pt x="207008" y="19877"/>
                  </a:lnTo>
                  <a:lnTo>
                    <a:pt x="216642" y="21521"/>
                  </a:lnTo>
                  <a:lnTo>
                    <a:pt x="285672" y="38152"/>
                  </a:lnTo>
                  <a:lnTo>
                    <a:pt x="287513" y="40455"/>
                  </a:lnTo>
                  <a:lnTo>
                    <a:pt x="271529" y="59543"/>
                  </a:lnTo>
                  <a:lnTo>
                    <a:pt x="269455" y="64118"/>
                  </a:lnTo>
                  <a:lnTo>
                    <a:pt x="270907" y="67581"/>
                  </a:lnTo>
                  <a:lnTo>
                    <a:pt x="275707" y="68541"/>
                  </a:lnTo>
                  <a:lnTo>
                    <a:pt x="283678" y="65604"/>
                  </a:lnTo>
                  <a:lnTo>
                    <a:pt x="378033" y="4018"/>
                  </a:lnTo>
                  <a:lnTo>
                    <a:pt x="387357" y="0"/>
                  </a:lnTo>
                  <a:lnTo>
                    <a:pt x="395913" y="318"/>
                  </a:lnTo>
                  <a:lnTo>
                    <a:pt x="402169" y="5606"/>
                  </a:lnTo>
                  <a:lnTo>
                    <a:pt x="404594" y="16500"/>
                  </a:lnTo>
                  <a:lnTo>
                    <a:pt x="404594" y="112557"/>
                  </a:lnTo>
                  <a:lnTo>
                    <a:pt x="402694" y="124513"/>
                  </a:lnTo>
                  <a:lnTo>
                    <a:pt x="396912" y="133490"/>
                  </a:lnTo>
                  <a:lnTo>
                    <a:pt x="387131" y="139136"/>
                  </a:lnTo>
                  <a:lnTo>
                    <a:pt x="373232" y="141096"/>
                  </a:lnTo>
                  <a:close/>
                </a:path>
              </a:pathLst>
            </a:custGeom>
            <a:solidFill>
              <a:srgbClr val="FFFFFF"/>
            </a:solidFill>
          </p:spPr>
          <p:txBody>
            <a:bodyPr wrap="square" lIns="0" tIns="0" rIns="0" bIns="0" rtlCol="0"/>
            <a:lstStyle/>
            <a:p>
              <a:endParaRPr/>
            </a:p>
          </p:txBody>
        </p:sp>
        <p:pic>
          <p:nvPicPr>
            <p:cNvPr id="127" name="object 127"/>
            <p:cNvPicPr/>
            <p:nvPr/>
          </p:nvPicPr>
          <p:blipFill>
            <a:blip r:embed="rId16" cstate="print"/>
            <a:stretch>
              <a:fillRect/>
            </a:stretch>
          </p:blipFill>
          <p:spPr>
            <a:xfrm>
              <a:off x="2739559" y="4614157"/>
              <a:ext cx="95452" cy="95206"/>
            </a:xfrm>
            <a:prstGeom prst="rect">
              <a:avLst/>
            </a:prstGeom>
          </p:spPr>
        </p:pic>
        <p:sp>
          <p:nvSpPr>
            <p:cNvPr id="128" name="object 128"/>
            <p:cNvSpPr/>
            <p:nvPr/>
          </p:nvSpPr>
          <p:spPr>
            <a:xfrm>
              <a:off x="2691367" y="4727967"/>
              <a:ext cx="217804" cy="281305"/>
            </a:xfrm>
            <a:custGeom>
              <a:avLst/>
              <a:gdLst/>
              <a:ahLst/>
              <a:cxnLst/>
              <a:rect l="l" t="t" r="r" b="b"/>
              <a:pathLst>
                <a:path w="217805" h="281304">
                  <a:moveTo>
                    <a:pt x="202277" y="281001"/>
                  </a:moveTo>
                  <a:lnTo>
                    <a:pt x="192007" y="277307"/>
                  </a:lnTo>
                  <a:lnTo>
                    <a:pt x="187172" y="266226"/>
                  </a:lnTo>
                  <a:lnTo>
                    <a:pt x="187172" y="98214"/>
                  </a:lnTo>
                  <a:lnTo>
                    <a:pt x="130016" y="98214"/>
                  </a:lnTo>
                  <a:lnTo>
                    <a:pt x="124463" y="95750"/>
                  </a:lnTo>
                  <a:lnTo>
                    <a:pt x="91635" y="58945"/>
                  </a:lnTo>
                  <a:lnTo>
                    <a:pt x="70497" y="127717"/>
                  </a:lnTo>
                  <a:lnTo>
                    <a:pt x="119071" y="143384"/>
                  </a:lnTo>
                  <a:lnTo>
                    <a:pt x="148470" y="238529"/>
                  </a:lnTo>
                  <a:lnTo>
                    <a:pt x="143576" y="257341"/>
                  </a:lnTo>
                  <a:lnTo>
                    <a:pt x="127201" y="264618"/>
                  </a:lnTo>
                  <a:lnTo>
                    <a:pt x="109589" y="259640"/>
                  </a:lnTo>
                  <a:lnTo>
                    <a:pt x="100985" y="241682"/>
                  </a:lnTo>
                  <a:lnTo>
                    <a:pt x="89081" y="183602"/>
                  </a:lnTo>
                  <a:lnTo>
                    <a:pt x="15128" y="159088"/>
                  </a:lnTo>
                  <a:lnTo>
                    <a:pt x="6588" y="154821"/>
                  </a:lnTo>
                  <a:lnTo>
                    <a:pt x="1560" y="148608"/>
                  </a:lnTo>
                  <a:lnTo>
                    <a:pt x="0" y="140124"/>
                  </a:lnTo>
                  <a:lnTo>
                    <a:pt x="1866" y="129042"/>
                  </a:lnTo>
                  <a:lnTo>
                    <a:pt x="33712" y="17464"/>
                  </a:lnTo>
                  <a:lnTo>
                    <a:pt x="56591" y="275"/>
                  </a:lnTo>
                  <a:lnTo>
                    <a:pt x="83620" y="275"/>
                  </a:lnTo>
                  <a:lnTo>
                    <a:pt x="89810" y="0"/>
                  </a:lnTo>
                  <a:lnTo>
                    <a:pt x="95731" y="2670"/>
                  </a:lnTo>
                  <a:lnTo>
                    <a:pt x="144857" y="57713"/>
                  </a:lnTo>
                  <a:lnTo>
                    <a:pt x="187165" y="57713"/>
                  </a:lnTo>
                  <a:lnTo>
                    <a:pt x="187096" y="11877"/>
                  </a:lnTo>
                  <a:lnTo>
                    <a:pt x="193722" y="5058"/>
                  </a:lnTo>
                  <a:lnTo>
                    <a:pt x="210535" y="4829"/>
                  </a:lnTo>
                  <a:lnTo>
                    <a:pt x="217499" y="11724"/>
                  </a:lnTo>
                  <a:lnTo>
                    <a:pt x="217377" y="20174"/>
                  </a:lnTo>
                  <a:lnTo>
                    <a:pt x="217377" y="266226"/>
                  </a:lnTo>
                  <a:lnTo>
                    <a:pt x="212546" y="277307"/>
                  </a:lnTo>
                  <a:lnTo>
                    <a:pt x="202277" y="281001"/>
                  </a:lnTo>
                  <a:close/>
                </a:path>
              </a:pathLst>
            </a:custGeom>
            <a:solidFill>
              <a:srgbClr val="FFFFFF"/>
            </a:solidFill>
          </p:spPr>
          <p:txBody>
            <a:bodyPr wrap="square" lIns="0" tIns="0" rIns="0" bIns="0" rtlCol="0"/>
            <a:lstStyle/>
            <a:p>
              <a:endParaRPr/>
            </a:p>
          </p:txBody>
        </p:sp>
        <p:pic>
          <p:nvPicPr>
            <p:cNvPr id="129" name="object 129"/>
            <p:cNvPicPr/>
            <p:nvPr/>
          </p:nvPicPr>
          <p:blipFill>
            <a:blip r:embed="rId22" cstate="print"/>
            <a:stretch>
              <a:fillRect/>
            </a:stretch>
          </p:blipFill>
          <p:spPr>
            <a:xfrm>
              <a:off x="2661350" y="4899102"/>
              <a:ext cx="82528" cy="151953"/>
            </a:xfrm>
            <a:prstGeom prst="rect">
              <a:avLst/>
            </a:prstGeom>
          </p:spPr>
        </p:pic>
        <p:pic>
          <p:nvPicPr>
            <p:cNvPr id="130" name="object 130"/>
            <p:cNvPicPr/>
            <p:nvPr/>
          </p:nvPicPr>
          <p:blipFill>
            <a:blip r:embed="rId21" cstate="print"/>
            <a:stretch>
              <a:fillRect/>
            </a:stretch>
          </p:blipFill>
          <p:spPr>
            <a:xfrm>
              <a:off x="2615318" y="4703569"/>
              <a:ext cx="95813" cy="155196"/>
            </a:xfrm>
            <a:prstGeom prst="rect">
              <a:avLst/>
            </a:prstGeom>
          </p:spPr>
        </p:pic>
        <p:sp>
          <p:nvSpPr>
            <p:cNvPr id="131" name="object 131"/>
            <p:cNvSpPr/>
            <p:nvPr/>
          </p:nvSpPr>
          <p:spPr>
            <a:xfrm>
              <a:off x="6259537" y="2038369"/>
              <a:ext cx="5024120" cy="3745865"/>
            </a:xfrm>
            <a:custGeom>
              <a:avLst/>
              <a:gdLst/>
              <a:ahLst/>
              <a:cxnLst/>
              <a:rect l="l" t="t" r="r" b="b"/>
              <a:pathLst>
                <a:path w="5024120" h="3745865">
                  <a:moveTo>
                    <a:pt x="913559" y="0"/>
                  </a:moveTo>
                  <a:lnTo>
                    <a:pt x="5023957" y="0"/>
                  </a:lnTo>
                  <a:lnTo>
                    <a:pt x="5023957" y="3745617"/>
                  </a:lnTo>
                  <a:lnTo>
                    <a:pt x="914960" y="3745617"/>
                  </a:lnTo>
                  <a:lnTo>
                    <a:pt x="0" y="1871373"/>
                  </a:lnTo>
                  <a:lnTo>
                    <a:pt x="913559" y="0"/>
                  </a:lnTo>
                  <a:close/>
                </a:path>
              </a:pathLst>
            </a:custGeom>
            <a:solidFill>
              <a:srgbClr val="21408B"/>
            </a:solidFill>
          </p:spPr>
          <p:txBody>
            <a:bodyPr wrap="square" lIns="0" tIns="0" rIns="0" bIns="0" rtlCol="0"/>
            <a:lstStyle/>
            <a:p>
              <a:endParaRPr/>
            </a:p>
          </p:txBody>
        </p:sp>
      </p:grpSp>
      <p:sp>
        <p:nvSpPr>
          <p:cNvPr id="132" name="object 132"/>
          <p:cNvSpPr txBox="1"/>
          <p:nvPr/>
        </p:nvSpPr>
        <p:spPr>
          <a:xfrm>
            <a:off x="7588354" y="2570817"/>
            <a:ext cx="2731770" cy="1025525"/>
          </a:xfrm>
          <a:prstGeom prst="rect">
            <a:avLst/>
          </a:prstGeom>
        </p:spPr>
        <p:txBody>
          <a:bodyPr vert="horz" wrap="square" lIns="0" tIns="11430" rIns="0" bIns="0" rtlCol="0">
            <a:spAutoFit/>
          </a:bodyPr>
          <a:lstStyle/>
          <a:p>
            <a:pPr marL="12700" marR="5080">
              <a:lnSpc>
                <a:spcPct val="112200"/>
              </a:lnSpc>
              <a:spcBef>
                <a:spcPts val="90"/>
              </a:spcBef>
            </a:pPr>
            <a:r>
              <a:rPr sz="1950" dirty="0">
                <a:solidFill>
                  <a:srgbClr val="FFFFFF"/>
                </a:solidFill>
                <a:latin typeface="Roboto"/>
                <a:cs typeface="Roboto"/>
              </a:rPr>
              <a:t>Al</a:t>
            </a:r>
            <a:r>
              <a:rPr sz="1950" spc="20" dirty="0">
                <a:solidFill>
                  <a:srgbClr val="FFFFFF"/>
                </a:solidFill>
                <a:latin typeface="Roboto"/>
                <a:cs typeface="Roboto"/>
              </a:rPr>
              <a:t> </a:t>
            </a:r>
            <a:r>
              <a:rPr sz="1950" dirty="0">
                <a:solidFill>
                  <a:srgbClr val="FFFFFF"/>
                </a:solidFill>
                <a:latin typeface="Roboto"/>
                <a:cs typeface="Roboto"/>
              </a:rPr>
              <a:t>comparar</a:t>
            </a:r>
            <a:r>
              <a:rPr sz="1950" spc="20" dirty="0">
                <a:solidFill>
                  <a:srgbClr val="FFFFFF"/>
                </a:solidFill>
                <a:latin typeface="Roboto"/>
                <a:cs typeface="Roboto"/>
              </a:rPr>
              <a:t> </a:t>
            </a:r>
            <a:r>
              <a:rPr sz="1950" b="1" spc="-10" dirty="0">
                <a:solidFill>
                  <a:srgbClr val="FFFFFF"/>
                </a:solidFill>
                <a:latin typeface="Roboto"/>
                <a:cs typeface="Roboto"/>
              </a:rPr>
              <a:t>paisajes </a:t>
            </a:r>
            <a:r>
              <a:rPr sz="1950" b="1" dirty="0">
                <a:solidFill>
                  <a:srgbClr val="FFFFFF"/>
                </a:solidFill>
                <a:latin typeface="Roboto"/>
                <a:cs typeface="Roboto"/>
              </a:rPr>
              <a:t>Argentina</a:t>
            </a:r>
            <a:r>
              <a:rPr sz="1950" b="1" spc="95" dirty="0">
                <a:solidFill>
                  <a:srgbClr val="FFFFFF"/>
                </a:solidFill>
                <a:latin typeface="Roboto"/>
                <a:cs typeface="Roboto"/>
              </a:rPr>
              <a:t> </a:t>
            </a:r>
            <a:r>
              <a:rPr sz="1950" b="1" dirty="0">
                <a:solidFill>
                  <a:srgbClr val="FFFFFF"/>
                </a:solidFill>
                <a:latin typeface="Roboto"/>
                <a:cs typeface="Roboto"/>
              </a:rPr>
              <a:t>es</a:t>
            </a:r>
            <a:r>
              <a:rPr sz="1950" b="1" spc="100" dirty="0">
                <a:solidFill>
                  <a:srgbClr val="FFFFFF"/>
                </a:solidFill>
                <a:latin typeface="Roboto"/>
                <a:cs typeface="Roboto"/>
              </a:rPr>
              <a:t> </a:t>
            </a:r>
            <a:r>
              <a:rPr sz="1950" b="1" dirty="0">
                <a:solidFill>
                  <a:srgbClr val="FFFFFF"/>
                </a:solidFill>
                <a:latin typeface="Roboto"/>
                <a:cs typeface="Roboto"/>
              </a:rPr>
              <a:t>único</a:t>
            </a:r>
            <a:r>
              <a:rPr sz="1950" b="1" spc="100" dirty="0">
                <a:solidFill>
                  <a:srgbClr val="FFFFFF"/>
                </a:solidFill>
                <a:latin typeface="Roboto"/>
                <a:cs typeface="Roboto"/>
              </a:rPr>
              <a:t> </a:t>
            </a:r>
            <a:r>
              <a:rPr sz="1950" b="1" spc="-20" dirty="0">
                <a:solidFill>
                  <a:srgbClr val="FFFFFF"/>
                </a:solidFill>
                <a:latin typeface="Roboto"/>
                <a:cs typeface="Roboto"/>
              </a:rPr>
              <a:t>gran </a:t>
            </a:r>
            <a:r>
              <a:rPr sz="1950" b="1" spc="-10" dirty="0">
                <a:solidFill>
                  <a:srgbClr val="FFFFFF"/>
                </a:solidFill>
                <a:latin typeface="Roboto"/>
                <a:cs typeface="Roboto"/>
              </a:rPr>
              <a:t>competidor</a:t>
            </a:r>
            <a:endParaRPr sz="1950">
              <a:latin typeface="Roboto"/>
              <a:cs typeface="Roboto"/>
            </a:endParaRPr>
          </a:p>
        </p:txBody>
      </p:sp>
      <p:sp>
        <p:nvSpPr>
          <p:cNvPr id="133" name="object 133"/>
          <p:cNvSpPr txBox="1"/>
          <p:nvPr/>
        </p:nvSpPr>
        <p:spPr>
          <a:xfrm>
            <a:off x="7588354" y="3904317"/>
            <a:ext cx="3293745" cy="1358900"/>
          </a:xfrm>
          <a:prstGeom prst="rect">
            <a:avLst/>
          </a:prstGeom>
        </p:spPr>
        <p:txBody>
          <a:bodyPr vert="horz" wrap="square" lIns="0" tIns="11430" rIns="0" bIns="0" rtlCol="0">
            <a:spAutoFit/>
          </a:bodyPr>
          <a:lstStyle/>
          <a:p>
            <a:pPr marL="12700" marR="5080">
              <a:lnSpc>
                <a:spcPct val="112200"/>
              </a:lnSpc>
              <a:spcBef>
                <a:spcPts val="90"/>
              </a:spcBef>
            </a:pPr>
            <a:r>
              <a:rPr sz="1950" dirty="0">
                <a:solidFill>
                  <a:srgbClr val="FFFFFF"/>
                </a:solidFill>
                <a:latin typeface="Roboto"/>
                <a:cs typeface="Roboto"/>
              </a:rPr>
              <a:t>Al</a:t>
            </a:r>
            <a:r>
              <a:rPr sz="1950" spc="20" dirty="0">
                <a:solidFill>
                  <a:srgbClr val="FFFFFF"/>
                </a:solidFill>
                <a:latin typeface="Roboto"/>
                <a:cs typeface="Roboto"/>
              </a:rPr>
              <a:t> </a:t>
            </a:r>
            <a:r>
              <a:rPr sz="1950" dirty="0">
                <a:solidFill>
                  <a:srgbClr val="FFFFFF"/>
                </a:solidFill>
                <a:latin typeface="Roboto"/>
                <a:cs typeface="Roboto"/>
              </a:rPr>
              <a:t>comparar</a:t>
            </a:r>
            <a:r>
              <a:rPr sz="1950" spc="20" dirty="0">
                <a:solidFill>
                  <a:srgbClr val="FFFFFF"/>
                </a:solidFill>
                <a:latin typeface="Roboto"/>
                <a:cs typeface="Roboto"/>
              </a:rPr>
              <a:t> </a:t>
            </a:r>
            <a:r>
              <a:rPr sz="1950" b="1" spc="-10" dirty="0">
                <a:solidFill>
                  <a:srgbClr val="FFFFFF"/>
                </a:solidFill>
                <a:latin typeface="Roboto"/>
                <a:cs typeface="Roboto"/>
              </a:rPr>
              <a:t>actividades </a:t>
            </a:r>
            <a:r>
              <a:rPr sz="1950" b="1" dirty="0">
                <a:solidFill>
                  <a:srgbClr val="FFFFFF"/>
                </a:solidFill>
                <a:latin typeface="Roboto"/>
                <a:cs typeface="Roboto"/>
              </a:rPr>
              <a:t>turísticas</a:t>
            </a:r>
            <a:r>
              <a:rPr sz="1950" b="1" spc="15" dirty="0">
                <a:solidFill>
                  <a:srgbClr val="FFFFFF"/>
                </a:solidFill>
                <a:latin typeface="Roboto"/>
                <a:cs typeface="Roboto"/>
              </a:rPr>
              <a:t> </a:t>
            </a:r>
            <a:r>
              <a:rPr sz="1950" dirty="0">
                <a:solidFill>
                  <a:srgbClr val="FFFFFF"/>
                </a:solidFill>
                <a:latin typeface="Roboto"/>
                <a:cs typeface="Roboto"/>
              </a:rPr>
              <a:t>(Hiking,</a:t>
            </a:r>
            <a:r>
              <a:rPr sz="1950" spc="20" dirty="0">
                <a:solidFill>
                  <a:srgbClr val="FFFFFF"/>
                </a:solidFill>
                <a:latin typeface="Roboto"/>
                <a:cs typeface="Roboto"/>
              </a:rPr>
              <a:t> </a:t>
            </a:r>
            <a:r>
              <a:rPr sz="1950" spc="-10" dirty="0">
                <a:solidFill>
                  <a:srgbClr val="FFFFFF"/>
                </a:solidFill>
                <a:latin typeface="Roboto"/>
                <a:cs typeface="Roboto"/>
              </a:rPr>
              <a:t>naturaleza, </a:t>
            </a:r>
            <a:r>
              <a:rPr sz="1950" dirty="0">
                <a:solidFill>
                  <a:srgbClr val="FFFFFF"/>
                </a:solidFill>
                <a:latin typeface="Roboto"/>
                <a:cs typeface="Roboto"/>
              </a:rPr>
              <a:t>city</a:t>
            </a:r>
            <a:r>
              <a:rPr sz="1950" spc="-40" dirty="0">
                <a:solidFill>
                  <a:srgbClr val="FFFFFF"/>
                </a:solidFill>
                <a:latin typeface="Roboto"/>
                <a:cs typeface="Roboto"/>
              </a:rPr>
              <a:t> </a:t>
            </a:r>
            <a:r>
              <a:rPr sz="1950" dirty="0">
                <a:solidFill>
                  <a:srgbClr val="FFFFFF"/>
                </a:solidFill>
                <a:latin typeface="Roboto"/>
                <a:cs typeface="Roboto"/>
              </a:rPr>
              <a:t>breaks)</a:t>
            </a:r>
            <a:r>
              <a:rPr sz="1950" spc="-40" dirty="0">
                <a:solidFill>
                  <a:srgbClr val="FFFFFF"/>
                </a:solidFill>
                <a:latin typeface="Roboto"/>
                <a:cs typeface="Roboto"/>
              </a:rPr>
              <a:t> </a:t>
            </a:r>
            <a:r>
              <a:rPr sz="1950" dirty="0">
                <a:solidFill>
                  <a:srgbClr val="FFFFFF"/>
                </a:solidFill>
                <a:latin typeface="Roboto"/>
                <a:cs typeface="Roboto"/>
              </a:rPr>
              <a:t>entran</a:t>
            </a:r>
            <a:r>
              <a:rPr sz="1950" spc="-40" dirty="0">
                <a:solidFill>
                  <a:srgbClr val="FFFFFF"/>
                </a:solidFill>
                <a:latin typeface="Roboto"/>
                <a:cs typeface="Roboto"/>
              </a:rPr>
              <a:t> </a:t>
            </a:r>
            <a:r>
              <a:rPr sz="1950" b="1" spc="-25" dirty="0">
                <a:solidFill>
                  <a:srgbClr val="FFFFFF"/>
                </a:solidFill>
                <a:latin typeface="Roboto"/>
                <a:cs typeface="Roboto"/>
              </a:rPr>
              <a:t>más </a:t>
            </a:r>
            <a:r>
              <a:rPr sz="1950" b="1" spc="-10" dirty="0">
                <a:solidFill>
                  <a:srgbClr val="FFFFFF"/>
                </a:solidFill>
                <a:latin typeface="Roboto"/>
                <a:cs typeface="Roboto"/>
              </a:rPr>
              <a:t>competidores</a:t>
            </a:r>
            <a:endParaRPr sz="1950">
              <a:latin typeface="Roboto"/>
              <a:cs typeface="Roboto"/>
            </a:endParaRPr>
          </a:p>
        </p:txBody>
      </p:sp>
      <p:sp>
        <p:nvSpPr>
          <p:cNvPr id="134" name="object 134"/>
          <p:cNvSpPr txBox="1"/>
          <p:nvPr/>
        </p:nvSpPr>
        <p:spPr>
          <a:xfrm rot="16680000">
            <a:off x="1834015" y="7061348"/>
            <a:ext cx="887356" cy="279400"/>
          </a:xfrm>
          <a:prstGeom prst="rect">
            <a:avLst/>
          </a:prstGeom>
        </p:spPr>
        <p:txBody>
          <a:bodyPr vert="horz" wrap="square" lIns="0" tIns="0" rIns="0" bIns="0" rtlCol="0">
            <a:spAutoFit/>
          </a:bodyPr>
          <a:lstStyle/>
          <a:p>
            <a:pPr>
              <a:lnSpc>
                <a:spcPts val="2039"/>
              </a:lnSpc>
            </a:pPr>
            <a:r>
              <a:rPr sz="2200" b="1" spc="-10" dirty="0">
                <a:solidFill>
                  <a:srgbClr val="E3112B"/>
                </a:solidFill>
                <a:latin typeface="Arial"/>
                <a:cs typeface="Arial"/>
              </a:rPr>
              <a:t>CH</a:t>
            </a:r>
            <a:r>
              <a:rPr sz="3300" b="1" spc="-15" baseline="1262" dirty="0">
                <a:solidFill>
                  <a:srgbClr val="E3112B"/>
                </a:solidFill>
                <a:latin typeface="Arial"/>
                <a:cs typeface="Arial"/>
              </a:rPr>
              <a:t>ILE</a:t>
            </a:r>
            <a:endParaRPr sz="3300" baseline="1262">
              <a:latin typeface="Arial"/>
              <a:cs typeface="Arial"/>
            </a:endParaRPr>
          </a:p>
        </p:txBody>
      </p:sp>
      <p:grpSp>
        <p:nvGrpSpPr>
          <p:cNvPr id="135" name="object 135"/>
          <p:cNvGrpSpPr/>
          <p:nvPr/>
        </p:nvGrpSpPr>
        <p:grpSpPr>
          <a:xfrm>
            <a:off x="7231899" y="237491"/>
            <a:ext cx="10828020" cy="3942715"/>
            <a:chOff x="7231899" y="237491"/>
            <a:chExt cx="10828020" cy="3942715"/>
          </a:xfrm>
        </p:grpSpPr>
        <p:pic>
          <p:nvPicPr>
            <p:cNvPr id="136" name="object 136"/>
            <p:cNvPicPr/>
            <p:nvPr/>
          </p:nvPicPr>
          <p:blipFill>
            <a:blip r:embed="rId23" cstate="print"/>
            <a:stretch>
              <a:fillRect/>
            </a:stretch>
          </p:blipFill>
          <p:spPr>
            <a:xfrm>
              <a:off x="7231899" y="2736984"/>
              <a:ext cx="140554" cy="140555"/>
            </a:xfrm>
            <a:prstGeom prst="rect">
              <a:avLst/>
            </a:prstGeom>
          </p:spPr>
        </p:pic>
        <p:pic>
          <p:nvPicPr>
            <p:cNvPr id="137" name="object 137"/>
            <p:cNvPicPr/>
            <p:nvPr/>
          </p:nvPicPr>
          <p:blipFill>
            <a:blip r:embed="rId23" cstate="print"/>
            <a:stretch>
              <a:fillRect/>
            </a:stretch>
          </p:blipFill>
          <p:spPr>
            <a:xfrm>
              <a:off x="7231899" y="4039087"/>
              <a:ext cx="140553" cy="140556"/>
            </a:xfrm>
            <a:prstGeom prst="rect">
              <a:avLst/>
            </a:prstGeom>
          </p:spPr>
        </p:pic>
        <p:pic>
          <p:nvPicPr>
            <p:cNvPr id="138" name="object 138"/>
            <p:cNvPicPr/>
            <p:nvPr/>
          </p:nvPicPr>
          <p:blipFill>
            <a:blip r:embed="rId24" cstate="print"/>
            <a:stretch>
              <a:fillRect/>
            </a:stretch>
          </p:blipFill>
          <p:spPr>
            <a:xfrm>
              <a:off x="17316449" y="237491"/>
              <a:ext cx="742949" cy="819149"/>
            </a:xfrm>
            <a:prstGeom prst="rect">
              <a:avLst/>
            </a:prstGeom>
          </p:spPr>
        </p:pic>
      </p:grpSp>
      <p:sp>
        <p:nvSpPr>
          <p:cNvPr id="139" name="object 139"/>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3.</a:t>
            </a:r>
            <a:r>
              <a:rPr spc="-50" dirty="0"/>
              <a:t> </a:t>
            </a:r>
            <a:r>
              <a:rPr spc="-20" dirty="0"/>
              <a:t>Competitividad</a:t>
            </a:r>
          </a:p>
        </p:txBody>
      </p:sp>
      <p:sp>
        <p:nvSpPr>
          <p:cNvPr id="140" name="object 140"/>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141" name="object 141"/>
          <p:cNvSpPr txBox="1"/>
          <p:nvPr/>
        </p:nvSpPr>
        <p:spPr>
          <a:xfrm>
            <a:off x="17811802" y="9932975"/>
            <a:ext cx="233679"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35" dirty="0">
                <a:solidFill>
                  <a:srgbClr val="737373"/>
                </a:solidFill>
                <a:latin typeface="Arial"/>
                <a:cs typeface="Arial"/>
              </a:rPr>
              <a:t>04</a:t>
            </a:r>
            <a:endParaRPr sz="900">
              <a:latin typeface="Arial"/>
              <a:cs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113694"/>
            <a:ext cx="17954625" cy="8675370"/>
            <a:chOff x="166956" y="1113694"/>
            <a:chExt cx="17954625" cy="8675370"/>
          </a:xfrm>
        </p:grpSpPr>
        <p:sp>
          <p:nvSpPr>
            <p:cNvPr id="3" name="object 3"/>
            <p:cNvSpPr/>
            <p:nvPr/>
          </p:nvSpPr>
          <p:spPr>
            <a:xfrm>
              <a:off x="166956" y="1113694"/>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967320" y="3635300"/>
              <a:ext cx="4872355" cy="4921250"/>
            </a:xfrm>
            <a:custGeom>
              <a:avLst/>
              <a:gdLst/>
              <a:ahLst/>
              <a:cxnLst/>
              <a:rect l="l" t="t" r="r" b="b"/>
              <a:pathLst>
                <a:path w="4872355" h="4921250">
                  <a:moveTo>
                    <a:pt x="0" y="4920992"/>
                  </a:moveTo>
                  <a:lnTo>
                    <a:pt x="4872271" y="4920992"/>
                  </a:lnTo>
                  <a:lnTo>
                    <a:pt x="4872271" y="0"/>
                  </a:lnTo>
                  <a:lnTo>
                    <a:pt x="0" y="0"/>
                  </a:lnTo>
                  <a:lnTo>
                    <a:pt x="0" y="4920992"/>
                  </a:lnTo>
                  <a:close/>
                </a:path>
              </a:pathLst>
            </a:custGeom>
            <a:solidFill>
              <a:srgbClr val="FFFFFF"/>
            </a:solidFill>
          </p:spPr>
          <p:txBody>
            <a:bodyPr wrap="square" lIns="0" tIns="0" rIns="0" bIns="0" rtlCol="0"/>
            <a:lstStyle/>
            <a:p>
              <a:endParaRPr/>
            </a:p>
          </p:txBody>
        </p:sp>
        <p:sp>
          <p:nvSpPr>
            <p:cNvPr id="5" name="object 5"/>
            <p:cNvSpPr/>
            <p:nvPr/>
          </p:nvSpPr>
          <p:spPr>
            <a:xfrm>
              <a:off x="1967419" y="7360553"/>
              <a:ext cx="4874895" cy="2017395"/>
            </a:xfrm>
            <a:custGeom>
              <a:avLst/>
              <a:gdLst/>
              <a:ahLst/>
              <a:cxnLst/>
              <a:rect l="l" t="t" r="r" b="b"/>
              <a:pathLst>
                <a:path w="4874895" h="2017395">
                  <a:moveTo>
                    <a:pt x="2438604" y="0"/>
                  </a:moveTo>
                  <a:lnTo>
                    <a:pt x="4874616" y="432704"/>
                  </a:lnTo>
                  <a:lnTo>
                    <a:pt x="4872828" y="2016952"/>
                  </a:lnTo>
                  <a:lnTo>
                    <a:pt x="0" y="2011455"/>
                  </a:lnTo>
                  <a:lnTo>
                    <a:pt x="1787" y="427177"/>
                  </a:lnTo>
                  <a:lnTo>
                    <a:pt x="2438604" y="0"/>
                  </a:lnTo>
                  <a:close/>
                </a:path>
              </a:pathLst>
            </a:custGeom>
            <a:solidFill>
              <a:srgbClr val="0090AE"/>
            </a:solidFill>
          </p:spPr>
          <p:txBody>
            <a:bodyPr wrap="square" lIns="0" tIns="0" rIns="0" bIns="0" rtlCol="0"/>
            <a:lstStyle/>
            <a:p>
              <a:endParaRPr/>
            </a:p>
          </p:txBody>
        </p:sp>
        <p:sp>
          <p:nvSpPr>
            <p:cNvPr id="6" name="object 6"/>
            <p:cNvSpPr/>
            <p:nvPr/>
          </p:nvSpPr>
          <p:spPr>
            <a:xfrm>
              <a:off x="3766969" y="6555344"/>
              <a:ext cx="1276350" cy="1276350"/>
            </a:xfrm>
            <a:custGeom>
              <a:avLst/>
              <a:gdLst/>
              <a:ahLst/>
              <a:cxnLst/>
              <a:rect l="l" t="t" r="r" b="b"/>
              <a:pathLst>
                <a:path w="1276350" h="1276350">
                  <a:moveTo>
                    <a:pt x="637987" y="1275968"/>
                  </a:moveTo>
                  <a:lnTo>
                    <a:pt x="590370" y="1274218"/>
                  </a:lnTo>
                  <a:lnTo>
                    <a:pt x="543707" y="1269050"/>
                  </a:lnTo>
                  <a:lnTo>
                    <a:pt x="498118" y="1260589"/>
                  </a:lnTo>
                  <a:lnTo>
                    <a:pt x="453725" y="1248956"/>
                  </a:lnTo>
                  <a:lnTo>
                    <a:pt x="410654" y="1234276"/>
                  </a:lnTo>
                  <a:lnTo>
                    <a:pt x="369026" y="1216672"/>
                  </a:lnTo>
                  <a:lnTo>
                    <a:pt x="328965" y="1196267"/>
                  </a:lnTo>
                  <a:lnTo>
                    <a:pt x="290595" y="1173185"/>
                  </a:lnTo>
                  <a:lnTo>
                    <a:pt x="254038" y="1147548"/>
                  </a:lnTo>
                  <a:lnTo>
                    <a:pt x="219419" y="1119481"/>
                  </a:lnTo>
                  <a:lnTo>
                    <a:pt x="186861" y="1089106"/>
                  </a:lnTo>
                  <a:lnTo>
                    <a:pt x="156486" y="1056548"/>
                  </a:lnTo>
                  <a:lnTo>
                    <a:pt x="128419" y="1021929"/>
                  </a:lnTo>
                  <a:lnTo>
                    <a:pt x="102783" y="985373"/>
                  </a:lnTo>
                  <a:lnTo>
                    <a:pt x="79700" y="947002"/>
                  </a:lnTo>
                  <a:lnTo>
                    <a:pt x="59295" y="906942"/>
                  </a:lnTo>
                  <a:lnTo>
                    <a:pt x="41691" y="865314"/>
                  </a:lnTo>
                  <a:lnTo>
                    <a:pt x="27011" y="822242"/>
                  </a:lnTo>
                  <a:lnTo>
                    <a:pt x="15378" y="777850"/>
                  </a:lnTo>
                  <a:lnTo>
                    <a:pt x="6917" y="732260"/>
                  </a:lnTo>
                  <a:lnTo>
                    <a:pt x="1749" y="685597"/>
                  </a:lnTo>
                  <a:lnTo>
                    <a:pt x="0" y="637987"/>
                  </a:lnTo>
                  <a:lnTo>
                    <a:pt x="1749" y="590370"/>
                  </a:lnTo>
                  <a:lnTo>
                    <a:pt x="6917" y="543707"/>
                  </a:lnTo>
                  <a:lnTo>
                    <a:pt x="15378" y="498118"/>
                  </a:lnTo>
                  <a:lnTo>
                    <a:pt x="27011" y="453726"/>
                  </a:lnTo>
                  <a:lnTo>
                    <a:pt x="41691" y="410654"/>
                  </a:lnTo>
                  <a:lnTo>
                    <a:pt x="59295" y="369026"/>
                  </a:lnTo>
                  <a:lnTo>
                    <a:pt x="79700" y="328965"/>
                  </a:lnTo>
                  <a:lnTo>
                    <a:pt x="102783" y="290595"/>
                  </a:lnTo>
                  <a:lnTo>
                    <a:pt x="128419" y="254038"/>
                  </a:lnTo>
                  <a:lnTo>
                    <a:pt x="156486" y="219419"/>
                  </a:lnTo>
                  <a:lnTo>
                    <a:pt x="186861" y="186861"/>
                  </a:lnTo>
                  <a:lnTo>
                    <a:pt x="219419" y="156486"/>
                  </a:lnTo>
                  <a:lnTo>
                    <a:pt x="254038" y="128419"/>
                  </a:lnTo>
                  <a:lnTo>
                    <a:pt x="290595" y="102783"/>
                  </a:lnTo>
                  <a:lnTo>
                    <a:pt x="328965" y="79700"/>
                  </a:lnTo>
                  <a:lnTo>
                    <a:pt x="369026" y="59295"/>
                  </a:lnTo>
                  <a:lnTo>
                    <a:pt x="410654" y="41691"/>
                  </a:lnTo>
                  <a:lnTo>
                    <a:pt x="453725" y="27011"/>
                  </a:lnTo>
                  <a:lnTo>
                    <a:pt x="498118" y="15379"/>
                  </a:lnTo>
                  <a:lnTo>
                    <a:pt x="543707" y="6917"/>
                  </a:lnTo>
                  <a:lnTo>
                    <a:pt x="590370" y="1749"/>
                  </a:lnTo>
                  <a:lnTo>
                    <a:pt x="637982" y="0"/>
                  </a:lnTo>
                  <a:lnTo>
                    <a:pt x="685597" y="1749"/>
                  </a:lnTo>
                  <a:lnTo>
                    <a:pt x="732260" y="6917"/>
                  </a:lnTo>
                  <a:lnTo>
                    <a:pt x="777849" y="15379"/>
                  </a:lnTo>
                  <a:lnTo>
                    <a:pt x="822242" y="27011"/>
                  </a:lnTo>
                  <a:lnTo>
                    <a:pt x="865313" y="41691"/>
                  </a:lnTo>
                  <a:lnTo>
                    <a:pt x="906941" y="59295"/>
                  </a:lnTo>
                  <a:lnTo>
                    <a:pt x="947002" y="79700"/>
                  </a:lnTo>
                  <a:lnTo>
                    <a:pt x="985372" y="102783"/>
                  </a:lnTo>
                  <a:lnTo>
                    <a:pt x="1021929" y="128419"/>
                  </a:lnTo>
                  <a:lnTo>
                    <a:pt x="1056548" y="156486"/>
                  </a:lnTo>
                  <a:lnTo>
                    <a:pt x="1089106" y="186861"/>
                  </a:lnTo>
                  <a:lnTo>
                    <a:pt x="1119481" y="219419"/>
                  </a:lnTo>
                  <a:lnTo>
                    <a:pt x="1147548" y="254038"/>
                  </a:lnTo>
                  <a:lnTo>
                    <a:pt x="1173184" y="290595"/>
                  </a:lnTo>
                  <a:lnTo>
                    <a:pt x="1196267" y="328965"/>
                  </a:lnTo>
                  <a:lnTo>
                    <a:pt x="1216672" y="369026"/>
                  </a:lnTo>
                  <a:lnTo>
                    <a:pt x="1234276" y="410654"/>
                  </a:lnTo>
                  <a:lnTo>
                    <a:pt x="1248956" y="453726"/>
                  </a:lnTo>
                  <a:lnTo>
                    <a:pt x="1260588" y="498118"/>
                  </a:lnTo>
                  <a:lnTo>
                    <a:pt x="1269050" y="543707"/>
                  </a:lnTo>
                  <a:lnTo>
                    <a:pt x="1274218" y="590370"/>
                  </a:lnTo>
                  <a:lnTo>
                    <a:pt x="1275967" y="637980"/>
                  </a:lnTo>
                  <a:lnTo>
                    <a:pt x="1274218" y="685597"/>
                  </a:lnTo>
                  <a:lnTo>
                    <a:pt x="1269050" y="732260"/>
                  </a:lnTo>
                  <a:lnTo>
                    <a:pt x="1260588" y="777850"/>
                  </a:lnTo>
                  <a:lnTo>
                    <a:pt x="1248956" y="822242"/>
                  </a:lnTo>
                  <a:lnTo>
                    <a:pt x="1234276" y="865314"/>
                  </a:lnTo>
                  <a:lnTo>
                    <a:pt x="1216672" y="906942"/>
                  </a:lnTo>
                  <a:lnTo>
                    <a:pt x="1196267" y="947002"/>
                  </a:lnTo>
                  <a:lnTo>
                    <a:pt x="1173184" y="985373"/>
                  </a:lnTo>
                  <a:lnTo>
                    <a:pt x="1147548" y="1021929"/>
                  </a:lnTo>
                  <a:lnTo>
                    <a:pt x="1119481" y="1056548"/>
                  </a:lnTo>
                  <a:lnTo>
                    <a:pt x="1089106" y="1089106"/>
                  </a:lnTo>
                  <a:lnTo>
                    <a:pt x="1056548" y="1119481"/>
                  </a:lnTo>
                  <a:lnTo>
                    <a:pt x="1021929" y="1147548"/>
                  </a:lnTo>
                  <a:lnTo>
                    <a:pt x="985372" y="1173185"/>
                  </a:lnTo>
                  <a:lnTo>
                    <a:pt x="947002" y="1196267"/>
                  </a:lnTo>
                  <a:lnTo>
                    <a:pt x="906941" y="1216672"/>
                  </a:lnTo>
                  <a:lnTo>
                    <a:pt x="865313" y="1234276"/>
                  </a:lnTo>
                  <a:lnTo>
                    <a:pt x="822242" y="1248956"/>
                  </a:lnTo>
                  <a:lnTo>
                    <a:pt x="777849" y="1260589"/>
                  </a:lnTo>
                  <a:lnTo>
                    <a:pt x="732260" y="1269050"/>
                  </a:lnTo>
                  <a:lnTo>
                    <a:pt x="685597" y="1274218"/>
                  </a:lnTo>
                  <a:lnTo>
                    <a:pt x="637987" y="1275968"/>
                  </a:lnTo>
                  <a:close/>
                </a:path>
              </a:pathLst>
            </a:custGeom>
            <a:solidFill>
              <a:srgbClr val="F5A316"/>
            </a:solidFill>
          </p:spPr>
          <p:txBody>
            <a:bodyPr wrap="square" lIns="0" tIns="0" rIns="0" bIns="0" rtlCol="0"/>
            <a:lstStyle/>
            <a:p>
              <a:endParaRPr/>
            </a:p>
          </p:txBody>
        </p:sp>
        <p:sp>
          <p:nvSpPr>
            <p:cNvPr id="7" name="object 7"/>
            <p:cNvSpPr/>
            <p:nvPr/>
          </p:nvSpPr>
          <p:spPr>
            <a:xfrm>
              <a:off x="4142408" y="6819137"/>
              <a:ext cx="495300" cy="761365"/>
            </a:xfrm>
            <a:custGeom>
              <a:avLst/>
              <a:gdLst/>
              <a:ahLst/>
              <a:cxnLst/>
              <a:rect l="l" t="t" r="r" b="b"/>
              <a:pathLst>
                <a:path w="495300" h="761365">
                  <a:moveTo>
                    <a:pt x="247611" y="760747"/>
                  </a:moveTo>
                  <a:lnTo>
                    <a:pt x="215211" y="712849"/>
                  </a:lnTo>
                  <a:lnTo>
                    <a:pt x="141093" y="594860"/>
                  </a:lnTo>
                  <a:lnTo>
                    <a:pt x="59886" y="445341"/>
                  </a:lnTo>
                  <a:lnTo>
                    <a:pt x="6216" y="302849"/>
                  </a:lnTo>
                  <a:lnTo>
                    <a:pt x="4021" y="291690"/>
                  </a:lnTo>
                  <a:lnTo>
                    <a:pt x="3024" y="286339"/>
                  </a:lnTo>
                  <a:lnTo>
                    <a:pt x="2226" y="281081"/>
                  </a:lnTo>
                  <a:lnTo>
                    <a:pt x="1582" y="276000"/>
                  </a:lnTo>
                  <a:lnTo>
                    <a:pt x="1519" y="274895"/>
                  </a:lnTo>
                  <a:lnTo>
                    <a:pt x="1350" y="273871"/>
                  </a:lnTo>
                  <a:lnTo>
                    <a:pt x="584" y="266770"/>
                  </a:lnTo>
                  <a:lnTo>
                    <a:pt x="185" y="260996"/>
                  </a:lnTo>
                  <a:lnTo>
                    <a:pt x="185" y="255470"/>
                  </a:lnTo>
                  <a:lnTo>
                    <a:pt x="353" y="255470"/>
                  </a:lnTo>
                  <a:lnTo>
                    <a:pt x="322" y="252979"/>
                  </a:lnTo>
                  <a:lnTo>
                    <a:pt x="122" y="251473"/>
                  </a:lnTo>
                  <a:lnTo>
                    <a:pt x="0" y="248136"/>
                  </a:lnTo>
                  <a:lnTo>
                    <a:pt x="5032" y="198124"/>
                  </a:lnTo>
                  <a:lnTo>
                    <a:pt x="19466" y="151544"/>
                  </a:lnTo>
                  <a:lnTo>
                    <a:pt x="42304" y="109395"/>
                  </a:lnTo>
                  <a:lnTo>
                    <a:pt x="72549" y="72672"/>
                  </a:lnTo>
                  <a:lnTo>
                    <a:pt x="109205" y="42374"/>
                  </a:lnTo>
                  <a:lnTo>
                    <a:pt x="151276" y="19497"/>
                  </a:lnTo>
                  <a:lnTo>
                    <a:pt x="197764" y="5040"/>
                  </a:lnTo>
                  <a:lnTo>
                    <a:pt x="247674" y="0"/>
                  </a:lnTo>
                  <a:lnTo>
                    <a:pt x="297576" y="5040"/>
                  </a:lnTo>
                  <a:lnTo>
                    <a:pt x="344057" y="19497"/>
                  </a:lnTo>
                  <a:lnTo>
                    <a:pt x="386120" y="42374"/>
                  </a:lnTo>
                  <a:lnTo>
                    <a:pt x="422768" y="72672"/>
                  </a:lnTo>
                  <a:lnTo>
                    <a:pt x="453006" y="109395"/>
                  </a:lnTo>
                  <a:lnTo>
                    <a:pt x="456015" y="114948"/>
                  </a:lnTo>
                  <a:lnTo>
                    <a:pt x="247674" y="114948"/>
                  </a:lnTo>
                  <a:lnTo>
                    <a:pt x="196595" y="125269"/>
                  </a:lnTo>
                  <a:lnTo>
                    <a:pt x="154905" y="153417"/>
                  </a:lnTo>
                  <a:lnTo>
                    <a:pt x="126808" y="195166"/>
                  </a:lnTo>
                  <a:lnTo>
                    <a:pt x="116508" y="246292"/>
                  </a:lnTo>
                  <a:lnTo>
                    <a:pt x="126812" y="297407"/>
                  </a:lnTo>
                  <a:lnTo>
                    <a:pt x="154916" y="339149"/>
                  </a:lnTo>
                  <a:lnTo>
                    <a:pt x="196608" y="367293"/>
                  </a:lnTo>
                  <a:lnTo>
                    <a:pt x="247674" y="377613"/>
                  </a:lnTo>
                  <a:lnTo>
                    <a:pt x="461021" y="377613"/>
                  </a:lnTo>
                  <a:lnTo>
                    <a:pt x="423555" y="466368"/>
                  </a:lnTo>
                  <a:lnTo>
                    <a:pt x="345440" y="607209"/>
                  </a:lnTo>
                  <a:lnTo>
                    <a:pt x="276976" y="716687"/>
                  </a:lnTo>
                  <a:lnTo>
                    <a:pt x="247611" y="760747"/>
                  </a:lnTo>
                  <a:close/>
                </a:path>
                <a:path w="495300" h="761365">
                  <a:moveTo>
                    <a:pt x="461021" y="377613"/>
                  </a:moveTo>
                  <a:lnTo>
                    <a:pt x="247674" y="377613"/>
                  </a:lnTo>
                  <a:lnTo>
                    <a:pt x="298684" y="367291"/>
                  </a:lnTo>
                  <a:lnTo>
                    <a:pt x="340359" y="339143"/>
                  </a:lnTo>
                  <a:lnTo>
                    <a:pt x="368466" y="297401"/>
                  </a:lnTo>
                  <a:lnTo>
                    <a:pt x="378777" y="246292"/>
                  </a:lnTo>
                  <a:lnTo>
                    <a:pt x="368467" y="195160"/>
                  </a:lnTo>
                  <a:lnTo>
                    <a:pt x="340359" y="153412"/>
                  </a:lnTo>
                  <a:lnTo>
                    <a:pt x="298684" y="125267"/>
                  </a:lnTo>
                  <a:lnTo>
                    <a:pt x="247674" y="114948"/>
                  </a:lnTo>
                  <a:lnTo>
                    <a:pt x="456015" y="114948"/>
                  </a:lnTo>
                  <a:lnTo>
                    <a:pt x="475839" y="151544"/>
                  </a:lnTo>
                  <a:lnTo>
                    <a:pt x="490268" y="198124"/>
                  </a:lnTo>
                  <a:lnTo>
                    <a:pt x="495299" y="248136"/>
                  </a:lnTo>
                  <a:lnTo>
                    <a:pt x="495179" y="250557"/>
                  </a:lnTo>
                  <a:lnTo>
                    <a:pt x="495024" y="251473"/>
                  </a:lnTo>
                  <a:lnTo>
                    <a:pt x="494992" y="253954"/>
                  </a:lnTo>
                  <a:lnTo>
                    <a:pt x="495284" y="254662"/>
                  </a:lnTo>
                  <a:lnTo>
                    <a:pt x="495284" y="255470"/>
                  </a:lnTo>
                  <a:lnTo>
                    <a:pt x="495009" y="263722"/>
                  </a:lnTo>
                  <a:lnTo>
                    <a:pt x="487304" y="309778"/>
                  </a:lnTo>
                  <a:lnTo>
                    <a:pt x="481873" y="328217"/>
                  </a:lnTo>
                  <a:lnTo>
                    <a:pt x="461021" y="377613"/>
                  </a:lnTo>
                  <a:close/>
                </a:path>
              </a:pathLst>
            </a:custGeom>
            <a:solidFill>
              <a:srgbClr val="FFFFFF"/>
            </a:solidFill>
          </p:spPr>
          <p:txBody>
            <a:bodyPr wrap="square" lIns="0" tIns="0" rIns="0" bIns="0" rtlCol="0"/>
            <a:lstStyle/>
            <a:p>
              <a:endParaRPr/>
            </a:p>
          </p:txBody>
        </p:sp>
      </p:grpSp>
      <p:sp>
        <p:nvSpPr>
          <p:cNvPr id="8" name="object 8"/>
          <p:cNvSpPr txBox="1"/>
          <p:nvPr/>
        </p:nvSpPr>
        <p:spPr>
          <a:xfrm>
            <a:off x="2624982" y="7927686"/>
            <a:ext cx="3560445" cy="896619"/>
          </a:xfrm>
          <a:prstGeom prst="rect">
            <a:avLst/>
          </a:prstGeom>
        </p:spPr>
        <p:txBody>
          <a:bodyPr vert="horz" wrap="square" lIns="0" tIns="5715" rIns="0" bIns="0" rtlCol="0">
            <a:spAutoFit/>
          </a:bodyPr>
          <a:lstStyle/>
          <a:p>
            <a:pPr marL="12700" marR="5080" indent="251460">
              <a:lnSpc>
                <a:spcPct val="102699"/>
              </a:lnSpc>
              <a:spcBef>
                <a:spcPts val="45"/>
              </a:spcBef>
            </a:pPr>
            <a:r>
              <a:rPr sz="2800" dirty="0">
                <a:solidFill>
                  <a:srgbClr val="FFFFFF"/>
                </a:solidFill>
                <a:latin typeface="Roboto"/>
                <a:cs typeface="Roboto"/>
              </a:rPr>
              <a:t>Aportan</a:t>
            </a:r>
            <a:r>
              <a:rPr sz="2800" spc="30" dirty="0">
                <a:solidFill>
                  <a:srgbClr val="FFFFFF"/>
                </a:solidFill>
                <a:latin typeface="Roboto"/>
                <a:cs typeface="Roboto"/>
              </a:rPr>
              <a:t> </a:t>
            </a:r>
            <a:r>
              <a:rPr sz="2800" b="1" dirty="0">
                <a:solidFill>
                  <a:srgbClr val="FFFFFF"/>
                </a:solidFill>
                <a:latin typeface="Roboto"/>
                <a:cs typeface="Roboto"/>
              </a:rPr>
              <a:t>volumen</a:t>
            </a:r>
            <a:r>
              <a:rPr sz="2800" b="1" spc="35" dirty="0">
                <a:solidFill>
                  <a:srgbClr val="FFFFFF"/>
                </a:solidFill>
                <a:latin typeface="Roboto"/>
                <a:cs typeface="Roboto"/>
              </a:rPr>
              <a:t> </a:t>
            </a:r>
            <a:r>
              <a:rPr sz="2800" b="1" spc="-50" dirty="0">
                <a:solidFill>
                  <a:srgbClr val="FFFFFF"/>
                </a:solidFill>
                <a:latin typeface="Roboto"/>
                <a:cs typeface="Roboto"/>
              </a:rPr>
              <a:t>y </a:t>
            </a:r>
            <a:r>
              <a:rPr sz="2800" b="1" dirty="0">
                <a:solidFill>
                  <a:srgbClr val="FFFFFF"/>
                </a:solidFill>
                <a:latin typeface="Roboto"/>
                <a:cs typeface="Roboto"/>
              </a:rPr>
              <a:t>distribución</a:t>
            </a:r>
            <a:r>
              <a:rPr sz="2800" b="1" spc="125" dirty="0">
                <a:solidFill>
                  <a:srgbClr val="FFFFFF"/>
                </a:solidFill>
                <a:latin typeface="Roboto"/>
                <a:cs typeface="Roboto"/>
              </a:rPr>
              <a:t> </a:t>
            </a:r>
            <a:r>
              <a:rPr sz="2800" b="1" spc="-10" dirty="0">
                <a:solidFill>
                  <a:srgbClr val="FFFFFF"/>
                </a:solidFill>
                <a:latin typeface="Roboto"/>
                <a:cs typeface="Roboto"/>
              </a:rPr>
              <a:t>territorial</a:t>
            </a:r>
            <a:endParaRPr sz="2800">
              <a:latin typeface="Roboto"/>
              <a:cs typeface="Roboto"/>
            </a:endParaRPr>
          </a:p>
        </p:txBody>
      </p:sp>
      <p:sp>
        <p:nvSpPr>
          <p:cNvPr id="9" name="object 9"/>
          <p:cNvSpPr txBox="1"/>
          <p:nvPr/>
        </p:nvSpPr>
        <p:spPr>
          <a:xfrm>
            <a:off x="1967320" y="1565706"/>
            <a:ext cx="4872355" cy="1292860"/>
          </a:xfrm>
          <a:prstGeom prst="rect">
            <a:avLst/>
          </a:prstGeom>
          <a:solidFill>
            <a:srgbClr val="0090AE"/>
          </a:solidFill>
        </p:spPr>
        <p:txBody>
          <a:bodyPr vert="horz" wrap="square" lIns="0" tIns="210820" rIns="0" bIns="0" rtlCol="0">
            <a:spAutoFit/>
          </a:bodyPr>
          <a:lstStyle/>
          <a:p>
            <a:pPr marL="1579245" marR="919480" indent="-711200">
              <a:lnSpc>
                <a:spcPct val="108200"/>
              </a:lnSpc>
              <a:spcBef>
                <a:spcPts val="1660"/>
              </a:spcBef>
            </a:pPr>
            <a:r>
              <a:rPr sz="2600" dirty="0">
                <a:solidFill>
                  <a:srgbClr val="FFFFFF"/>
                </a:solidFill>
                <a:latin typeface="Roboto"/>
                <a:cs typeface="Roboto"/>
              </a:rPr>
              <a:t>Mercados</a:t>
            </a:r>
            <a:r>
              <a:rPr sz="2600" spc="-145" dirty="0">
                <a:solidFill>
                  <a:srgbClr val="FFFFFF"/>
                </a:solidFill>
                <a:latin typeface="Roboto"/>
                <a:cs typeface="Roboto"/>
              </a:rPr>
              <a:t> </a:t>
            </a:r>
            <a:r>
              <a:rPr sz="2600" spc="-25" dirty="0">
                <a:solidFill>
                  <a:srgbClr val="FFFFFF"/>
                </a:solidFill>
                <a:latin typeface="Roboto"/>
                <a:cs typeface="Roboto"/>
              </a:rPr>
              <a:t>regionales </a:t>
            </a:r>
            <a:r>
              <a:rPr sz="2600" dirty="0">
                <a:solidFill>
                  <a:srgbClr val="FFFFFF"/>
                </a:solidFill>
                <a:latin typeface="Roboto"/>
                <a:cs typeface="Roboto"/>
              </a:rPr>
              <a:t>y</a:t>
            </a:r>
            <a:r>
              <a:rPr sz="2600" spc="-100" dirty="0">
                <a:solidFill>
                  <a:srgbClr val="FFFFFF"/>
                </a:solidFill>
                <a:latin typeface="Roboto"/>
                <a:cs typeface="Roboto"/>
              </a:rPr>
              <a:t> </a:t>
            </a:r>
            <a:r>
              <a:rPr sz="2600" spc="-10" dirty="0">
                <a:solidFill>
                  <a:srgbClr val="FFFFFF"/>
                </a:solidFill>
                <a:latin typeface="Roboto"/>
                <a:cs typeface="Roboto"/>
              </a:rPr>
              <a:t>limítrofes</a:t>
            </a:r>
            <a:endParaRPr sz="2600">
              <a:latin typeface="Roboto"/>
              <a:cs typeface="Roboto"/>
            </a:endParaRPr>
          </a:p>
        </p:txBody>
      </p:sp>
      <p:sp>
        <p:nvSpPr>
          <p:cNvPr id="10" name="object 10"/>
          <p:cNvSpPr txBox="1"/>
          <p:nvPr/>
        </p:nvSpPr>
        <p:spPr>
          <a:xfrm>
            <a:off x="1967320" y="2858055"/>
            <a:ext cx="4872355" cy="777240"/>
          </a:xfrm>
          <a:prstGeom prst="rect">
            <a:avLst/>
          </a:prstGeom>
          <a:solidFill>
            <a:srgbClr val="ECE4D5"/>
          </a:solidFill>
        </p:spPr>
        <p:txBody>
          <a:bodyPr vert="horz" wrap="square" lIns="0" tIns="200660" rIns="0" bIns="0" rtlCol="0">
            <a:spAutoFit/>
          </a:bodyPr>
          <a:lstStyle/>
          <a:p>
            <a:pPr marL="2540" algn="ctr">
              <a:lnSpc>
                <a:spcPct val="100000"/>
              </a:lnSpc>
              <a:spcBef>
                <a:spcPts val="1580"/>
              </a:spcBef>
            </a:pPr>
            <a:r>
              <a:rPr sz="2150" b="1" dirty="0">
                <a:solidFill>
                  <a:srgbClr val="737373"/>
                </a:solidFill>
                <a:latin typeface="Roboto"/>
                <a:cs typeface="Roboto"/>
              </a:rPr>
              <a:t>Alta</a:t>
            </a:r>
            <a:r>
              <a:rPr sz="2150" b="1" spc="45" dirty="0">
                <a:solidFill>
                  <a:srgbClr val="737373"/>
                </a:solidFill>
                <a:latin typeface="Roboto"/>
                <a:cs typeface="Roboto"/>
              </a:rPr>
              <a:t> </a:t>
            </a:r>
            <a:r>
              <a:rPr sz="2150" b="1" spc="-10" dirty="0">
                <a:solidFill>
                  <a:srgbClr val="737373"/>
                </a:solidFill>
                <a:latin typeface="Roboto"/>
                <a:cs typeface="Roboto"/>
              </a:rPr>
              <a:t>dependencia</a:t>
            </a:r>
            <a:endParaRPr sz="2150">
              <a:latin typeface="Roboto"/>
              <a:cs typeface="Roboto"/>
            </a:endParaRPr>
          </a:p>
        </p:txBody>
      </p:sp>
      <p:grpSp>
        <p:nvGrpSpPr>
          <p:cNvPr id="11" name="object 11"/>
          <p:cNvGrpSpPr/>
          <p:nvPr/>
        </p:nvGrpSpPr>
        <p:grpSpPr>
          <a:xfrm>
            <a:off x="166956" y="184832"/>
            <a:ext cx="17954625" cy="7647305"/>
            <a:chOff x="166956" y="184832"/>
            <a:chExt cx="17954625" cy="7647305"/>
          </a:xfrm>
        </p:grpSpPr>
        <p:sp>
          <p:nvSpPr>
            <p:cNvPr id="12" name="object 12"/>
            <p:cNvSpPr/>
            <p:nvPr/>
          </p:nvSpPr>
          <p:spPr>
            <a:xfrm>
              <a:off x="166954" y="184835"/>
              <a:ext cx="17954625" cy="7647305"/>
            </a:xfrm>
            <a:custGeom>
              <a:avLst/>
              <a:gdLst/>
              <a:ahLst/>
              <a:cxnLst/>
              <a:rect l="l" t="t" r="r" b="b"/>
              <a:pathLst>
                <a:path w="17954625" h="7647305">
                  <a:moveTo>
                    <a:pt x="17953990" y="2381224"/>
                  </a:moveTo>
                  <a:lnTo>
                    <a:pt x="13203581" y="2381224"/>
                  </a:lnTo>
                  <a:lnTo>
                    <a:pt x="12288622" y="5014125"/>
                  </a:lnTo>
                  <a:lnTo>
                    <a:pt x="13203581" y="7647038"/>
                  </a:lnTo>
                  <a:lnTo>
                    <a:pt x="17953990" y="7647038"/>
                  </a:lnTo>
                  <a:lnTo>
                    <a:pt x="17953990" y="2381224"/>
                  </a:lnTo>
                  <a:close/>
                </a:path>
                <a:path w="17954625" h="764730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sp>
          <p:nvSpPr>
            <p:cNvPr id="13" name="object 13"/>
            <p:cNvSpPr/>
            <p:nvPr/>
          </p:nvSpPr>
          <p:spPr>
            <a:xfrm>
              <a:off x="15056494" y="1944366"/>
              <a:ext cx="1149350" cy="1149350"/>
            </a:xfrm>
            <a:custGeom>
              <a:avLst/>
              <a:gdLst/>
              <a:ahLst/>
              <a:cxnLst/>
              <a:rect l="l" t="t" r="r" b="b"/>
              <a:pathLst>
                <a:path w="1149350" h="1149350">
                  <a:moveTo>
                    <a:pt x="574582" y="1149163"/>
                  </a:moveTo>
                  <a:lnTo>
                    <a:pt x="527457" y="1147259"/>
                  </a:lnTo>
                  <a:lnTo>
                    <a:pt x="481381" y="1141643"/>
                  </a:lnTo>
                  <a:lnTo>
                    <a:pt x="436503" y="1132464"/>
                  </a:lnTo>
                  <a:lnTo>
                    <a:pt x="392969" y="1119871"/>
                  </a:lnTo>
                  <a:lnTo>
                    <a:pt x="350928" y="1104010"/>
                  </a:lnTo>
                  <a:lnTo>
                    <a:pt x="310528" y="1085030"/>
                  </a:lnTo>
                  <a:lnTo>
                    <a:pt x="271916" y="1063078"/>
                  </a:lnTo>
                  <a:lnTo>
                    <a:pt x="235241" y="1038302"/>
                  </a:lnTo>
                  <a:lnTo>
                    <a:pt x="200649" y="1010851"/>
                  </a:lnTo>
                  <a:lnTo>
                    <a:pt x="168290" y="980872"/>
                  </a:lnTo>
                  <a:lnTo>
                    <a:pt x="138311" y="948513"/>
                  </a:lnTo>
                  <a:lnTo>
                    <a:pt x="110860" y="913922"/>
                  </a:lnTo>
                  <a:lnTo>
                    <a:pt x="86085" y="877247"/>
                  </a:lnTo>
                  <a:lnTo>
                    <a:pt x="64133" y="838635"/>
                  </a:lnTo>
                  <a:lnTo>
                    <a:pt x="45153" y="798235"/>
                  </a:lnTo>
                  <a:lnTo>
                    <a:pt x="29292" y="756194"/>
                  </a:lnTo>
                  <a:lnTo>
                    <a:pt x="16698" y="712660"/>
                  </a:lnTo>
                  <a:lnTo>
                    <a:pt x="7519" y="667782"/>
                  </a:lnTo>
                  <a:lnTo>
                    <a:pt x="1904" y="621706"/>
                  </a:lnTo>
                  <a:lnTo>
                    <a:pt x="0" y="574591"/>
                  </a:lnTo>
                  <a:lnTo>
                    <a:pt x="1904" y="527457"/>
                  </a:lnTo>
                  <a:lnTo>
                    <a:pt x="7519" y="481381"/>
                  </a:lnTo>
                  <a:lnTo>
                    <a:pt x="16698" y="436503"/>
                  </a:lnTo>
                  <a:lnTo>
                    <a:pt x="29292" y="392969"/>
                  </a:lnTo>
                  <a:lnTo>
                    <a:pt x="45153" y="350928"/>
                  </a:lnTo>
                  <a:lnTo>
                    <a:pt x="64133" y="310528"/>
                  </a:lnTo>
                  <a:lnTo>
                    <a:pt x="86085" y="271916"/>
                  </a:lnTo>
                  <a:lnTo>
                    <a:pt x="110860" y="235241"/>
                  </a:lnTo>
                  <a:lnTo>
                    <a:pt x="138311" y="200649"/>
                  </a:lnTo>
                  <a:lnTo>
                    <a:pt x="168290" y="168290"/>
                  </a:lnTo>
                  <a:lnTo>
                    <a:pt x="200649" y="138311"/>
                  </a:lnTo>
                  <a:lnTo>
                    <a:pt x="235241" y="110860"/>
                  </a:lnTo>
                  <a:lnTo>
                    <a:pt x="271916" y="86085"/>
                  </a:lnTo>
                  <a:lnTo>
                    <a:pt x="310528" y="64133"/>
                  </a:lnTo>
                  <a:lnTo>
                    <a:pt x="350928" y="45153"/>
                  </a:lnTo>
                  <a:lnTo>
                    <a:pt x="392969" y="29292"/>
                  </a:lnTo>
                  <a:lnTo>
                    <a:pt x="436503" y="16698"/>
                  </a:lnTo>
                  <a:lnTo>
                    <a:pt x="481381" y="7520"/>
                  </a:lnTo>
                  <a:lnTo>
                    <a:pt x="527457" y="1904"/>
                  </a:lnTo>
                  <a:lnTo>
                    <a:pt x="574575" y="0"/>
                  </a:lnTo>
                  <a:lnTo>
                    <a:pt x="621706" y="1904"/>
                  </a:lnTo>
                  <a:lnTo>
                    <a:pt x="667782" y="7520"/>
                  </a:lnTo>
                  <a:lnTo>
                    <a:pt x="712660" y="16698"/>
                  </a:lnTo>
                  <a:lnTo>
                    <a:pt x="756194" y="29292"/>
                  </a:lnTo>
                  <a:lnTo>
                    <a:pt x="798235" y="45153"/>
                  </a:lnTo>
                  <a:lnTo>
                    <a:pt x="838635" y="64133"/>
                  </a:lnTo>
                  <a:lnTo>
                    <a:pt x="877247" y="86085"/>
                  </a:lnTo>
                  <a:lnTo>
                    <a:pt x="913922" y="110860"/>
                  </a:lnTo>
                  <a:lnTo>
                    <a:pt x="948513" y="138311"/>
                  </a:lnTo>
                  <a:lnTo>
                    <a:pt x="980872" y="168290"/>
                  </a:lnTo>
                  <a:lnTo>
                    <a:pt x="1010851" y="200649"/>
                  </a:lnTo>
                  <a:lnTo>
                    <a:pt x="1038303" y="235241"/>
                  </a:lnTo>
                  <a:lnTo>
                    <a:pt x="1063078" y="271916"/>
                  </a:lnTo>
                  <a:lnTo>
                    <a:pt x="1085030" y="310528"/>
                  </a:lnTo>
                  <a:lnTo>
                    <a:pt x="1104010" y="350928"/>
                  </a:lnTo>
                  <a:lnTo>
                    <a:pt x="1119871" y="392969"/>
                  </a:lnTo>
                  <a:lnTo>
                    <a:pt x="1132465" y="436503"/>
                  </a:lnTo>
                  <a:lnTo>
                    <a:pt x="1141643" y="481381"/>
                  </a:lnTo>
                  <a:lnTo>
                    <a:pt x="1147259" y="527457"/>
                  </a:lnTo>
                  <a:lnTo>
                    <a:pt x="1149163" y="574571"/>
                  </a:lnTo>
                  <a:lnTo>
                    <a:pt x="1147259" y="621706"/>
                  </a:lnTo>
                  <a:lnTo>
                    <a:pt x="1141643" y="667782"/>
                  </a:lnTo>
                  <a:lnTo>
                    <a:pt x="1132465" y="712660"/>
                  </a:lnTo>
                  <a:lnTo>
                    <a:pt x="1119871" y="756194"/>
                  </a:lnTo>
                  <a:lnTo>
                    <a:pt x="1104010" y="798235"/>
                  </a:lnTo>
                  <a:lnTo>
                    <a:pt x="1085030" y="838635"/>
                  </a:lnTo>
                  <a:lnTo>
                    <a:pt x="1063078" y="877247"/>
                  </a:lnTo>
                  <a:lnTo>
                    <a:pt x="1038303" y="913922"/>
                  </a:lnTo>
                  <a:lnTo>
                    <a:pt x="1010851" y="948513"/>
                  </a:lnTo>
                  <a:lnTo>
                    <a:pt x="980872" y="980872"/>
                  </a:lnTo>
                  <a:lnTo>
                    <a:pt x="948513" y="1010851"/>
                  </a:lnTo>
                  <a:lnTo>
                    <a:pt x="913922" y="1038302"/>
                  </a:lnTo>
                  <a:lnTo>
                    <a:pt x="877247" y="1063078"/>
                  </a:lnTo>
                  <a:lnTo>
                    <a:pt x="838635" y="1085030"/>
                  </a:lnTo>
                  <a:lnTo>
                    <a:pt x="798235" y="1104010"/>
                  </a:lnTo>
                  <a:lnTo>
                    <a:pt x="756194" y="1119871"/>
                  </a:lnTo>
                  <a:lnTo>
                    <a:pt x="712660" y="1132464"/>
                  </a:lnTo>
                  <a:lnTo>
                    <a:pt x="667782" y="1141643"/>
                  </a:lnTo>
                  <a:lnTo>
                    <a:pt x="621706" y="1147259"/>
                  </a:lnTo>
                  <a:lnTo>
                    <a:pt x="574582" y="1149163"/>
                  </a:lnTo>
                  <a:close/>
                </a:path>
              </a:pathLst>
            </a:custGeom>
            <a:solidFill>
              <a:srgbClr val="00247D"/>
            </a:solidFill>
          </p:spPr>
          <p:txBody>
            <a:bodyPr wrap="square" lIns="0" tIns="0" rIns="0" bIns="0" rtlCol="0"/>
            <a:lstStyle/>
            <a:p>
              <a:endParaRPr/>
            </a:p>
          </p:txBody>
        </p:sp>
        <p:sp>
          <p:nvSpPr>
            <p:cNvPr id="14" name="object 14"/>
            <p:cNvSpPr/>
            <p:nvPr/>
          </p:nvSpPr>
          <p:spPr>
            <a:xfrm>
              <a:off x="15205841" y="2200790"/>
              <a:ext cx="546735" cy="425450"/>
            </a:xfrm>
            <a:custGeom>
              <a:avLst/>
              <a:gdLst/>
              <a:ahLst/>
              <a:cxnLst/>
              <a:rect l="l" t="t" r="r" b="b"/>
              <a:pathLst>
                <a:path w="546734" h="425450">
                  <a:moveTo>
                    <a:pt x="185242" y="425168"/>
                  </a:moveTo>
                  <a:lnTo>
                    <a:pt x="147167" y="405946"/>
                  </a:lnTo>
                  <a:lnTo>
                    <a:pt x="13416" y="250073"/>
                  </a:lnTo>
                  <a:lnTo>
                    <a:pt x="0" y="212571"/>
                  </a:lnTo>
                  <a:lnTo>
                    <a:pt x="710" y="202678"/>
                  </a:lnTo>
                  <a:lnTo>
                    <a:pt x="147167" y="19405"/>
                  </a:lnTo>
                  <a:lnTo>
                    <a:pt x="185216" y="0"/>
                  </a:lnTo>
                  <a:lnTo>
                    <a:pt x="206482" y="2406"/>
                  </a:lnTo>
                  <a:lnTo>
                    <a:pt x="225782" y="13120"/>
                  </a:lnTo>
                  <a:lnTo>
                    <a:pt x="239349" y="30643"/>
                  </a:lnTo>
                  <a:lnTo>
                    <a:pt x="245016" y="51329"/>
                  </a:lnTo>
                  <a:lnTo>
                    <a:pt x="242585" y="72604"/>
                  </a:lnTo>
                  <a:lnTo>
                    <a:pt x="231861" y="91895"/>
                  </a:lnTo>
                  <a:lnTo>
                    <a:pt x="176307" y="156842"/>
                  </a:lnTo>
                  <a:lnTo>
                    <a:pt x="490347" y="156842"/>
                  </a:lnTo>
                  <a:lnTo>
                    <a:pt x="511973" y="161219"/>
                  </a:lnTo>
                  <a:lnTo>
                    <a:pt x="529707" y="173157"/>
                  </a:lnTo>
                  <a:lnTo>
                    <a:pt x="541702" y="190871"/>
                  </a:lnTo>
                  <a:lnTo>
                    <a:pt x="546111" y="212571"/>
                  </a:lnTo>
                  <a:lnTo>
                    <a:pt x="541732" y="234183"/>
                  </a:lnTo>
                  <a:lnTo>
                    <a:pt x="529785" y="251906"/>
                  </a:lnTo>
                  <a:lnTo>
                    <a:pt x="512061" y="263894"/>
                  </a:lnTo>
                  <a:lnTo>
                    <a:pt x="490347" y="268300"/>
                  </a:lnTo>
                  <a:lnTo>
                    <a:pt x="176516" y="268300"/>
                  </a:lnTo>
                  <a:lnTo>
                    <a:pt x="232071" y="333247"/>
                  </a:lnTo>
                  <a:lnTo>
                    <a:pt x="242795" y="352656"/>
                  </a:lnTo>
                  <a:lnTo>
                    <a:pt x="245226" y="373970"/>
                  </a:lnTo>
                  <a:lnTo>
                    <a:pt x="239559" y="394616"/>
                  </a:lnTo>
                  <a:lnTo>
                    <a:pt x="225991" y="412022"/>
                  </a:lnTo>
                  <a:lnTo>
                    <a:pt x="206570" y="422739"/>
                  </a:lnTo>
                  <a:lnTo>
                    <a:pt x="185242" y="425168"/>
                  </a:lnTo>
                  <a:close/>
                </a:path>
              </a:pathLst>
            </a:custGeom>
            <a:solidFill>
              <a:srgbClr val="FFFFFF"/>
            </a:solidFill>
          </p:spPr>
          <p:txBody>
            <a:bodyPr wrap="square" lIns="0" tIns="0" rIns="0" bIns="0" rtlCol="0"/>
            <a:lstStyle/>
            <a:p>
              <a:endParaRPr/>
            </a:p>
          </p:txBody>
        </p:sp>
        <p:sp>
          <p:nvSpPr>
            <p:cNvPr id="15" name="object 15"/>
            <p:cNvSpPr/>
            <p:nvPr/>
          </p:nvSpPr>
          <p:spPr>
            <a:xfrm>
              <a:off x="15512964" y="2365437"/>
              <a:ext cx="546735" cy="425450"/>
            </a:xfrm>
            <a:custGeom>
              <a:avLst/>
              <a:gdLst/>
              <a:ahLst/>
              <a:cxnLst/>
              <a:rect l="l" t="t" r="r" b="b"/>
              <a:pathLst>
                <a:path w="546734" h="425450">
                  <a:moveTo>
                    <a:pt x="360868" y="425195"/>
                  </a:moveTo>
                  <a:lnTo>
                    <a:pt x="339541" y="422766"/>
                  </a:lnTo>
                  <a:lnTo>
                    <a:pt x="320119" y="412048"/>
                  </a:lnTo>
                  <a:lnTo>
                    <a:pt x="306552" y="394643"/>
                  </a:lnTo>
                  <a:lnTo>
                    <a:pt x="300885" y="373996"/>
                  </a:lnTo>
                  <a:lnTo>
                    <a:pt x="303315" y="352682"/>
                  </a:lnTo>
                  <a:lnTo>
                    <a:pt x="314040" y="333273"/>
                  </a:lnTo>
                  <a:lnTo>
                    <a:pt x="369594" y="268326"/>
                  </a:lnTo>
                  <a:lnTo>
                    <a:pt x="55764" y="268326"/>
                  </a:lnTo>
                  <a:lnTo>
                    <a:pt x="34050" y="263920"/>
                  </a:lnTo>
                  <a:lnTo>
                    <a:pt x="16325" y="251932"/>
                  </a:lnTo>
                  <a:lnTo>
                    <a:pt x="4379" y="234209"/>
                  </a:lnTo>
                  <a:lnTo>
                    <a:pt x="0" y="212597"/>
                  </a:lnTo>
                  <a:lnTo>
                    <a:pt x="4408" y="190897"/>
                  </a:lnTo>
                  <a:lnTo>
                    <a:pt x="16404" y="173183"/>
                  </a:lnTo>
                  <a:lnTo>
                    <a:pt x="34138" y="161245"/>
                  </a:lnTo>
                  <a:lnTo>
                    <a:pt x="55764" y="156868"/>
                  </a:lnTo>
                  <a:lnTo>
                    <a:pt x="369594" y="156868"/>
                  </a:lnTo>
                  <a:lnTo>
                    <a:pt x="314040" y="91921"/>
                  </a:lnTo>
                  <a:lnTo>
                    <a:pt x="303315" y="72630"/>
                  </a:lnTo>
                  <a:lnTo>
                    <a:pt x="300885" y="51355"/>
                  </a:lnTo>
                  <a:lnTo>
                    <a:pt x="306552" y="30669"/>
                  </a:lnTo>
                  <a:lnTo>
                    <a:pt x="320119" y="13146"/>
                  </a:lnTo>
                  <a:lnTo>
                    <a:pt x="339423" y="2428"/>
                  </a:lnTo>
                  <a:lnTo>
                    <a:pt x="360711" y="0"/>
                  </a:lnTo>
                  <a:lnTo>
                    <a:pt x="381410" y="5663"/>
                  </a:lnTo>
                  <a:lnTo>
                    <a:pt x="532694" y="175095"/>
                  </a:lnTo>
                  <a:lnTo>
                    <a:pt x="546111" y="212597"/>
                  </a:lnTo>
                  <a:lnTo>
                    <a:pt x="545400" y="222493"/>
                  </a:lnTo>
                  <a:lnTo>
                    <a:pt x="398944" y="405972"/>
                  </a:lnTo>
                  <a:lnTo>
                    <a:pt x="381527" y="419531"/>
                  </a:lnTo>
                  <a:lnTo>
                    <a:pt x="360868" y="425195"/>
                  </a:lnTo>
                  <a:close/>
                </a:path>
              </a:pathLst>
            </a:custGeom>
            <a:solidFill>
              <a:srgbClr val="0090AE"/>
            </a:solidFill>
          </p:spPr>
          <p:txBody>
            <a:bodyPr wrap="square" lIns="0" tIns="0" rIns="0" bIns="0" rtlCol="0"/>
            <a:lstStyle/>
            <a:p>
              <a:endParaRPr/>
            </a:p>
          </p:txBody>
        </p:sp>
      </p:grpSp>
      <p:sp>
        <p:nvSpPr>
          <p:cNvPr id="16" name="object 16"/>
          <p:cNvSpPr txBox="1"/>
          <p:nvPr/>
        </p:nvSpPr>
        <p:spPr>
          <a:xfrm>
            <a:off x="14083709" y="5805677"/>
            <a:ext cx="3425825" cy="1461770"/>
          </a:xfrm>
          <a:prstGeom prst="rect">
            <a:avLst/>
          </a:prstGeom>
        </p:spPr>
        <p:txBody>
          <a:bodyPr vert="horz" wrap="square" lIns="0" tIns="635" rIns="0" bIns="0" rtlCol="0">
            <a:spAutoFit/>
          </a:bodyPr>
          <a:lstStyle/>
          <a:p>
            <a:pPr marL="12700" marR="5080">
              <a:lnSpc>
                <a:spcPct val="103299"/>
              </a:lnSpc>
              <a:spcBef>
                <a:spcPts val="5"/>
              </a:spcBef>
            </a:pPr>
            <a:r>
              <a:rPr sz="2300" dirty="0">
                <a:solidFill>
                  <a:srgbClr val="FFFFFF"/>
                </a:solidFill>
                <a:latin typeface="Roboto"/>
                <a:cs typeface="Roboto"/>
              </a:rPr>
              <a:t>La</a:t>
            </a:r>
            <a:r>
              <a:rPr sz="2300" spc="-70" dirty="0">
                <a:solidFill>
                  <a:srgbClr val="FFFFFF"/>
                </a:solidFill>
                <a:latin typeface="Roboto"/>
                <a:cs typeface="Roboto"/>
              </a:rPr>
              <a:t> </a:t>
            </a:r>
            <a:r>
              <a:rPr sz="2300" b="1" spc="-30" dirty="0">
                <a:solidFill>
                  <a:srgbClr val="FFFFFF"/>
                </a:solidFill>
                <a:latin typeface="Roboto"/>
                <a:cs typeface="Roboto"/>
              </a:rPr>
              <a:t>competitividad</a:t>
            </a:r>
            <a:r>
              <a:rPr sz="2300" b="1" spc="-70" dirty="0">
                <a:solidFill>
                  <a:srgbClr val="FFFFFF"/>
                </a:solidFill>
                <a:latin typeface="Roboto"/>
                <a:cs typeface="Roboto"/>
              </a:rPr>
              <a:t> </a:t>
            </a:r>
            <a:r>
              <a:rPr sz="2300" dirty="0">
                <a:solidFill>
                  <a:srgbClr val="FFFFFF"/>
                </a:solidFill>
                <a:latin typeface="Roboto"/>
                <a:cs typeface="Roboto"/>
              </a:rPr>
              <a:t>de</a:t>
            </a:r>
            <a:r>
              <a:rPr sz="2300" spc="-65" dirty="0">
                <a:solidFill>
                  <a:srgbClr val="FFFFFF"/>
                </a:solidFill>
                <a:latin typeface="Roboto"/>
                <a:cs typeface="Roboto"/>
              </a:rPr>
              <a:t> </a:t>
            </a:r>
            <a:r>
              <a:rPr sz="2300" spc="-10" dirty="0">
                <a:solidFill>
                  <a:srgbClr val="FFFFFF"/>
                </a:solidFill>
                <a:latin typeface="Roboto"/>
                <a:cs typeface="Roboto"/>
              </a:rPr>
              <a:t>Chile </a:t>
            </a:r>
            <a:r>
              <a:rPr sz="2300" dirty="0">
                <a:solidFill>
                  <a:srgbClr val="FFFFFF"/>
                </a:solidFill>
                <a:latin typeface="Roboto"/>
                <a:cs typeface="Roboto"/>
              </a:rPr>
              <a:t>en</a:t>
            </a:r>
            <a:r>
              <a:rPr sz="2300" spc="-95" dirty="0">
                <a:solidFill>
                  <a:srgbClr val="FFFFFF"/>
                </a:solidFill>
                <a:latin typeface="Roboto"/>
                <a:cs typeface="Roboto"/>
              </a:rPr>
              <a:t> </a:t>
            </a:r>
            <a:r>
              <a:rPr sz="2300" spc="-40" dirty="0">
                <a:solidFill>
                  <a:srgbClr val="FFFFFF"/>
                </a:solidFill>
                <a:latin typeface="Roboto"/>
                <a:cs typeface="Roboto"/>
              </a:rPr>
              <a:t>Australia</a:t>
            </a:r>
            <a:r>
              <a:rPr sz="2300" spc="-90" dirty="0">
                <a:solidFill>
                  <a:srgbClr val="FFFFFF"/>
                </a:solidFill>
                <a:latin typeface="Roboto"/>
                <a:cs typeface="Roboto"/>
              </a:rPr>
              <a:t> </a:t>
            </a:r>
            <a:r>
              <a:rPr sz="2300" dirty="0">
                <a:solidFill>
                  <a:srgbClr val="FFFFFF"/>
                </a:solidFill>
                <a:latin typeface="Roboto"/>
                <a:cs typeface="Roboto"/>
              </a:rPr>
              <a:t>se</a:t>
            </a:r>
            <a:r>
              <a:rPr sz="2300" spc="-90" dirty="0">
                <a:solidFill>
                  <a:srgbClr val="FFFFFF"/>
                </a:solidFill>
                <a:latin typeface="Roboto"/>
                <a:cs typeface="Roboto"/>
              </a:rPr>
              <a:t> </a:t>
            </a:r>
            <a:r>
              <a:rPr sz="2300" spc="-25" dirty="0">
                <a:solidFill>
                  <a:srgbClr val="FFFFFF"/>
                </a:solidFill>
                <a:latin typeface="Roboto"/>
                <a:cs typeface="Roboto"/>
              </a:rPr>
              <a:t>ve </a:t>
            </a:r>
            <a:r>
              <a:rPr sz="2300" b="1" spc="-20" dirty="0">
                <a:solidFill>
                  <a:srgbClr val="FFFFFF"/>
                </a:solidFill>
                <a:latin typeface="Roboto"/>
                <a:cs typeface="Roboto"/>
              </a:rPr>
              <a:t>afectada</a:t>
            </a:r>
            <a:r>
              <a:rPr sz="2300" b="1" spc="-80" dirty="0">
                <a:solidFill>
                  <a:srgbClr val="FFFFFF"/>
                </a:solidFill>
                <a:latin typeface="Roboto"/>
                <a:cs typeface="Roboto"/>
              </a:rPr>
              <a:t> </a:t>
            </a:r>
            <a:r>
              <a:rPr sz="2300" b="1" dirty="0">
                <a:solidFill>
                  <a:srgbClr val="FFFFFF"/>
                </a:solidFill>
                <a:latin typeface="Roboto"/>
                <a:cs typeface="Roboto"/>
              </a:rPr>
              <a:t>por</a:t>
            </a:r>
            <a:r>
              <a:rPr sz="2300" b="1" spc="-80" dirty="0">
                <a:solidFill>
                  <a:srgbClr val="FFFFFF"/>
                </a:solidFill>
                <a:latin typeface="Roboto"/>
                <a:cs typeface="Roboto"/>
              </a:rPr>
              <a:t> </a:t>
            </a:r>
            <a:r>
              <a:rPr sz="2300" b="1" dirty="0">
                <a:solidFill>
                  <a:srgbClr val="FFFFFF"/>
                </a:solidFill>
                <a:latin typeface="Roboto"/>
                <a:cs typeface="Roboto"/>
              </a:rPr>
              <a:t>las</a:t>
            </a:r>
            <a:r>
              <a:rPr sz="2300" b="1" spc="-75" dirty="0">
                <a:solidFill>
                  <a:srgbClr val="FFFFFF"/>
                </a:solidFill>
                <a:latin typeface="Roboto"/>
                <a:cs typeface="Roboto"/>
              </a:rPr>
              <a:t> </a:t>
            </a:r>
            <a:r>
              <a:rPr sz="2300" b="1" spc="-10" dirty="0">
                <a:solidFill>
                  <a:srgbClr val="FFFFFF"/>
                </a:solidFill>
                <a:latin typeface="Roboto"/>
                <a:cs typeface="Roboto"/>
              </a:rPr>
              <a:t>medidas migratorias</a:t>
            </a:r>
            <a:endParaRPr sz="2300">
              <a:latin typeface="Roboto"/>
              <a:cs typeface="Roboto"/>
            </a:endParaRPr>
          </a:p>
        </p:txBody>
      </p:sp>
      <p:grpSp>
        <p:nvGrpSpPr>
          <p:cNvPr id="17" name="object 17"/>
          <p:cNvGrpSpPr/>
          <p:nvPr/>
        </p:nvGrpSpPr>
        <p:grpSpPr>
          <a:xfrm>
            <a:off x="2410114" y="2858055"/>
            <a:ext cx="11463020" cy="6520180"/>
            <a:chOff x="2410114" y="2858055"/>
            <a:chExt cx="11463020" cy="6520180"/>
          </a:xfrm>
        </p:grpSpPr>
        <p:pic>
          <p:nvPicPr>
            <p:cNvPr id="18" name="object 18"/>
            <p:cNvPicPr/>
            <p:nvPr/>
          </p:nvPicPr>
          <p:blipFill>
            <a:blip r:embed="rId2" cstate="print"/>
            <a:stretch>
              <a:fillRect/>
            </a:stretch>
          </p:blipFill>
          <p:spPr>
            <a:xfrm>
              <a:off x="13732026" y="4525641"/>
              <a:ext cx="140554" cy="140555"/>
            </a:xfrm>
            <a:prstGeom prst="rect">
              <a:avLst/>
            </a:prstGeom>
          </p:spPr>
        </p:pic>
        <p:pic>
          <p:nvPicPr>
            <p:cNvPr id="19" name="object 19"/>
            <p:cNvPicPr/>
            <p:nvPr/>
          </p:nvPicPr>
          <p:blipFill>
            <a:blip r:embed="rId2" cstate="print"/>
            <a:stretch>
              <a:fillRect/>
            </a:stretch>
          </p:blipFill>
          <p:spPr>
            <a:xfrm>
              <a:off x="13732026" y="5940937"/>
              <a:ext cx="140554" cy="140556"/>
            </a:xfrm>
            <a:prstGeom prst="rect">
              <a:avLst/>
            </a:prstGeom>
          </p:spPr>
        </p:pic>
        <p:sp>
          <p:nvSpPr>
            <p:cNvPr id="20" name="object 20"/>
            <p:cNvSpPr/>
            <p:nvPr/>
          </p:nvSpPr>
          <p:spPr>
            <a:xfrm>
              <a:off x="2410114" y="3926309"/>
              <a:ext cx="355600" cy="771525"/>
            </a:xfrm>
            <a:custGeom>
              <a:avLst/>
              <a:gdLst/>
              <a:ahLst/>
              <a:cxnLst/>
              <a:rect l="l" t="t" r="r" b="b"/>
              <a:pathLst>
                <a:path w="355600" h="771525">
                  <a:moveTo>
                    <a:pt x="355599" y="771137"/>
                  </a:moveTo>
                  <a:lnTo>
                    <a:pt x="118533" y="771137"/>
                  </a:lnTo>
                  <a:lnTo>
                    <a:pt x="72396" y="761813"/>
                  </a:lnTo>
                  <a:lnTo>
                    <a:pt x="34719" y="736388"/>
                  </a:lnTo>
                  <a:lnTo>
                    <a:pt x="9315" y="698677"/>
                  </a:lnTo>
                  <a:lnTo>
                    <a:pt x="0" y="652500"/>
                  </a:lnTo>
                  <a:lnTo>
                    <a:pt x="0" y="118636"/>
                  </a:lnTo>
                  <a:lnTo>
                    <a:pt x="9315" y="72459"/>
                  </a:lnTo>
                  <a:lnTo>
                    <a:pt x="34719" y="34749"/>
                  </a:lnTo>
                  <a:lnTo>
                    <a:pt x="72396" y="9323"/>
                  </a:lnTo>
                  <a:lnTo>
                    <a:pt x="118533" y="0"/>
                  </a:lnTo>
                  <a:lnTo>
                    <a:pt x="355599" y="0"/>
                  </a:lnTo>
                  <a:lnTo>
                    <a:pt x="355599" y="771137"/>
                  </a:lnTo>
                  <a:close/>
                </a:path>
              </a:pathLst>
            </a:custGeom>
            <a:solidFill>
              <a:srgbClr val="D90F23"/>
            </a:solidFill>
          </p:spPr>
          <p:txBody>
            <a:bodyPr wrap="square" lIns="0" tIns="0" rIns="0" bIns="0" rtlCol="0"/>
            <a:lstStyle/>
            <a:p>
              <a:endParaRPr/>
            </a:p>
          </p:txBody>
        </p:sp>
        <p:sp>
          <p:nvSpPr>
            <p:cNvPr id="21" name="object 21"/>
            <p:cNvSpPr/>
            <p:nvPr/>
          </p:nvSpPr>
          <p:spPr>
            <a:xfrm>
              <a:off x="2765714" y="3926309"/>
              <a:ext cx="355600" cy="771525"/>
            </a:xfrm>
            <a:custGeom>
              <a:avLst/>
              <a:gdLst/>
              <a:ahLst/>
              <a:cxnLst/>
              <a:rect l="l" t="t" r="r" b="b"/>
              <a:pathLst>
                <a:path w="355600" h="771525">
                  <a:moveTo>
                    <a:pt x="355599" y="771137"/>
                  </a:moveTo>
                  <a:lnTo>
                    <a:pt x="0" y="771137"/>
                  </a:lnTo>
                  <a:lnTo>
                    <a:pt x="0" y="0"/>
                  </a:lnTo>
                  <a:lnTo>
                    <a:pt x="355599" y="0"/>
                  </a:lnTo>
                  <a:lnTo>
                    <a:pt x="355599" y="771137"/>
                  </a:lnTo>
                  <a:close/>
                </a:path>
              </a:pathLst>
            </a:custGeom>
            <a:solidFill>
              <a:srgbClr val="EDEDED"/>
            </a:solidFill>
          </p:spPr>
          <p:txBody>
            <a:bodyPr wrap="square" lIns="0" tIns="0" rIns="0" bIns="0" rtlCol="0"/>
            <a:lstStyle/>
            <a:p>
              <a:endParaRPr/>
            </a:p>
          </p:txBody>
        </p:sp>
        <p:sp>
          <p:nvSpPr>
            <p:cNvPr id="22" name="object 22"/>
            <p:cNvSpPr/>
            <p:nvPr/>
          </p:nvSpPr>
          <p:spPr>
            <a:xfrm>
              <a:off x="3121314" y="3926309"/>
              <a:ext cx="355600" cy="771525"/>
            </a:xfrm>
            <a:custGeom>
              <a:avLst/>
              <a:gdLst/>
              <a:ahLst/>
              <a:cxnLst/>
              <a:rect l="l" t="t" r="r" b="b"/>
              <a:pathLst>
                <a:path w="355600" h="771525">
                  <a:moveTo>
                    <a:pt x="237066" y="771137"/>
                  </a:moveTo>
                  <a:lnTo>
                    <a:pt x="0" y="771137"/>
                  </a:lnTo>
                  <a:lnTo>
                    <a:pt x="0" y="0"/>
                  </a:lnTo>
                  <a:lnTo>
                    <a:pt x="237066" y="0"/>
                  </a:lnTo>
                  <a:lnTo>
                    <a:pt x="283203" y="9323"/>
                  </a:lnTo>
                  <a:lnTo>
                    <a:pt x="320880" y="34749"/>
                  </a:lnTo>
                  <a:lnTo>
                    <a:pt x="346284" y="72459"/>
                  </a:lnTo>
                  <a:lnTo>
                    <a:pt x="355599" y="118636"/>
                  </a:lnTo>
                  <a:lnTo>
                    <a:pt x="355599" y="652500"/>
                  </a:lnTo>
                  <a:lnTo>
                    <a:pt x="346284" y="698677"/>
                  </a:lnTo>
                  <a:lnTo>
                    <a:pt x="320880" y="736388"/>
                  </a:lnTo>
                  <a:lnTo>
                    <a:pt x="283203" y="761813"/>
                  </a:lnTo>
                  <a:lnTo>
                    <a:pt x="237066" y="771137"/>
                  </a:lnTo>
                  <a:close/>
                </a:path>
              </a:pathLst>
            </a:custGeom>
            <a:solidFill>
              <a:srgbClr val="D90F23"/>
            </a:solidFill>
          </p:spPr>
          <p:txBody>
            <a:bodyPr wrap="square" lIns="0" tIns="0" rIns="0" bIns="0" rtlCol="0"/>
            <a:lstStyle/>
            <a:p>
              <a:endParaRPr/>
            </a:p>
          </p:txBody>
        </p:sp>
        <p:sp>
          <p:nvSpPr>
            <p:cNvPr id="23" name="object 23"/>
            <p:cNvSpPr/>
            <p:nvPr/>
          </p:nvSpPr>
          <p:spPr>
            <a:xfrm>
              <a:off x="3156108" y="5302021"/>
              <a:ext cx="1076325" cy="771525"/>
            </a:xfrm>
            <a:custGeom>
              <a:avLst/>
              <a:gdLst/>
              <a:ahLst/>
              <a:cxnLst/>
              <a:rect l="l" t="t" r="r" b="b"/>
              <a:pathLst>
                <a:path w="1076325" h="771525">
                  <a:moveTo>
                    <a:pt x="956283" y="771524"/>
                  </a:moveTo>
                  <a:lnTo>
                    <a:pt x="119535" y="771524"/>
                  </a:lnTo>
                  <a:lnTo>
                    <a:pt x="73008" y="762196"/>
                  </a:lnTo>
                  <a:lnTo>
                    <a:pt x="35012" y="736758"/>
                  </a:lnTo>
                  <a:lnTo>
                    <a:pt x="9394" y="699028"/>
                  </a:lnTo>
                  <a:lnTo>
                    <a:pt x="0" y="652828"/>
                  </a:lnTo>
                  <a:lnTo>
                    <a:pt x="0" y="118696"/>
                  </a:lnTo>
                  <a:lnTo>
                    <a:pt x="9394" y="72495"/>
                  </a:lnTo>
                  <a:lnTo>
                    <a:pt x="35012" y="34766"/>
                  </a:lnTo>
                  <a:lnTo>
                    <a:pt x="73008" y="9328"/>
                  </a:lnTo>
                  <a:lnTo>
                    <a:pt x="119535" y="0"/>
                  </a:lnTo>
                  <a:lnTo>
                    <a:pt x="956283" y="0"/>
                  </a:lnTo>
                  <a:lnTo>
                    <a:pt x="1002810" y="9328"/>
                  </a:lnTo>
                  <a:lnTo>
                    <a:pt x="1040806" y="34766"/>
                  </a:lnTo>
                  <a:lnTo>
                    <a:pt x="1066424" y="72495"/>
                  </a:lnTo>
                  <a:lnTo>
                    <a:pt x="1075819" y="118696"/>
                  </a:lnTo>
                  <a:lnTo>
                    <a:pt x="1075819" y="652828"/>
                  </a:lnTo>
                  <a:lnTo>
                    <a:pt x="1066424" y="699028"/>
                  </a:lnTo>
                  <a:lnTo>
                    <a:pt x="1040806" y="736758"/>
                  </a:lnTo>
                  <a:lnTo>
                    <a:pt x="1002810" y="762196"/>
                  </a:lnTo>
                  <a:lnTo>
                    <a:pt x="956283" y="771524"/>
                  </a:lnTo>
                  <a:close/>
                </a:path>
              </a:pathLst>
            </a:custGeom>
            <a:solidFill>
              <a:srgbClr val="007833"/>
            </a:solidFill>
          </p:spPr>
          <p:txBody>
            <a:bodyPr wrap="square" lIns="0" tIns="0" rIns="0" bIns="0" rtlCol="0"/>
            <a:lstStyle/>
            <a:p>
              <a:endParaRPr/>
            </a:p>
          </p:txBody>
        </p:sp>
        <p:sp>
          <p:nvSpPr>
            <p:cNvPr id="24" name="object 24"/>
            <p:cNvSpPr/>
            <p:nvPr/>
          </p:nvSpPr>
          <p:spPr>
            <a:xfrm>
              <a:off x="3156108" y="5539413"/>
              <a:ext cx="1076325" cy="297180"/>
            </a:xfrm>
            <a:custGeom>
              <a:avLst/>
              <a:gdLst/>
              <a:ahLst/>
              <a:cxnLst/>
              <a:rect l="l" t="t" r="r" b="b"/>
              <a:pathLst>
                <a:path w="1076325" h="297179">
                  <a:moveTo>
                    <a:pt x="1075819" y="296740"/>
                  </a:moveTo>
                  <a:lnTo>
                    <a:pt x="0" y="296740"/>
                  </a:lnTo>
                  <a:lnTo>
                    <a:pt x="0" y="0"/>
                  </a:lnTo>
                  <a:lnTo>
                    <a:pt x="1075819" y="0"/>
                  </a:lnTo>
                  <a:lnTo>
                    <a:pt x="1075819" y="296740"/>
                  </a:lnTo>
                  <a:close/>
                </a:path>
              </a:pathLst>
            </a:custGeom>
            <a:solidFill>
              <a:srgbClr val="FFDF00"/>
            </a:solidFill>
          </p:spPr>
          <p:txBody>
            <a:bodyPr wrap="square" lIns="0" tIns="0" rIns="0" bIns="0" rtlCol="0"/>
            <a:lstStyle/>
            <a:p>
              <a:endParaRPr/>
            </a:p>
          </p:txBody>
        </p:sp>
        <p:sp>
          <p:nvSpPr>
            <p:cNvPr id="25" name="object 25"/>
            <p:cNvSpPr/>
            <p:nvPr/>
          </p:nvSpPr>
          <p:spPr>
            <a:xfrm>
              <a:off x="3156108" y="5302021"/>
              <a:ext cx="1076325" cy="237490"/>
            </a:xfrm>
            <a:custGeom>
              <a:avLst/>
              <a:gdLst/>
              <a:ahLst/>
              <a:cxnLst/>
              <a:rect l="l" t="t" r="r" b="b"/>
              <a:pathLst>
                <a:path w="1076325" h="237489">
                  <a:moveTo>
                    <a:pt x="1075819" y="237392"/>
                  </a:moveTo>
                  <a:lnTo>
                    <a:pt x="0" y="237392"/>
                  </a:lnTo>
                  <a:lnTo>
                    <a:pt x="0" y="118696"/>
                  </a:lnTo>
                  <a:lnTo>
                    <a:pt x="9394" y="72495"/>
                  </a:lnTo>
                  <a:lnTo>
                    <a:pt x="35012" y="34766"/>
                  </a:lnTo>
                  <a:lnTo>
                    <a:pt x="73008" y="9328"/>
                  </a:lnTo>
                  <a:lnTo>
                    <a:pt x="119535" y="0"/>
                  </a:lnTo>
                  <a:lnTo>
                    <a:pt x="956283" y="0"/>
                  </a:lnTo>
                  <a:lnTo>
                    <a:pt x="1002810" y="9328"/>
                  </a:lnTo>
                  <a:lnTo>
                    <a:pt x="1040806" y="34766"/>
                  </a:lnTo>
                  <a:lnTo>
                    <a:pt x="1066424" y="72495"/>
                  </a:lnTo>
                  <a:lnTo>
                    <a:pt x="1075819" y="118696"/>
                  </a:lnTo>
                  <a:lnTo>
                    <a:pt x="1075819" y="237392"/>
                  </a:lnTo>
                  <a:close/>
                </a:path>
              </a:pathLst>
            </a:custGeom>
            <a:solidFill>
              <a:srgbClr val="D52A1D"/>
            </a:solidFill>
          </p:spPr>
          <p:txBody>
            <a:bodyPr wrap="square" lIns="0" tIns="0" rIns="0" bIns="0" rtlCol="0"/>
            <a:lstStyle/>
            <a:p>
              <a:endParaRPr/>
            </a:p>
          </p:txBody>
        </p:sp>
        <p:pic>
          <p:nvPicPr>
            <p:cNvPr id="26" name="object 26"/>
            <p:cNvPicPr/>
            <p:nvPr/>
          </p:nvPicPr>
          <p:blipFill>
            <a:blip r:embed="rId3" cstate="print"/>
            <a:stretch>
              <a:fillRect/>
            </a:stretch>
          </p:blipFill>
          <p:spPr>
            <a:xfrm>
              <a:off x="3541430" y="5553775"/>
              <a:ext cx="305144" cy="268282"/>
            </a:xfrm>
            <a:prstGeom prst="rect">
              <a:avLst/>
            </a:prstGeom>
          </p:spPr>
        </p:pic>
        <p:sp>
          <p:nvSpPr>
            <p:cNvPr id="27" name="object 27"/>
            <p:cNvSpPr/>
            <p:nvPr/>
          </p:nvSpPr>
          <p:spPr>
            <a:xfrm>
              <a:off x="4667178" y="5302186"/>
              <a:ext cx="1095375" cy="395605"/>
            </a:xfrm>
            <a:custGeom>
              <a:avLst/>
              <a:gdLst/>
              <a:ahLst/>
              <a:cxnLst/>
              <a:rect l="l" t="t" r="r" b="b"/>
              <a:pathLst>
                <a:path w="1095375" h="395604">
                  <a:moveTo>
                    <a:pt x="1095374" y="395122"/>
                  </a:moveTo>
                  <a:lnTo>
                    <a:pt x="0" y="395122"/>
                  </a:lnTo>
                  <a:lnTo>
                    <a:pt x="0" y="121576"/>
                  </a:lnTo>
                  <a:lnTo>
                    <a:pt x="9565" y="74255"/>
                  </a:lnTo>
                  <a:lnTo>
                    <a:pt x="35649" y="35610"/>
                  </a:lnTo>
                  <a:lnTo>
                    <a:pt x="74335" y="9554"/>
                  </a:lnTo>
                  <a:lnTo>
                    <a:pt x="121708" y="0"/>
                  </a:lnTo>
                  <a:lnTo>
                    <a:pt x="973666" y="0"/>
                  </a:lnTo>
                  <a:lnTo>
                    <a:pt x="1021039" y="9554"/>
                  </a:lnTo>
                  <a:lnTo>
                    <a:pt x="1059725" y="35610"/>
                  </a:lnTo>
                  <a:lnTo>
                    <a:pt x="1085809" y="74255"/>
                  </a:lnTo>
                  <a:lnTo>
                    <a:pt x="1095374" y="121576"/>
                  </a:lnTo>
                  <a:lnTo>
                    <a:pt x="1095374" y="395122"/>
                  </a:lnTo>
                  <a:close/>
                </a:path>
              </a:pathLst>
            </a:custGeom>
            <a:solidFill>
              <a:srgbClr val="FAD016"/>
            </a:solidFill>
          </p:spPr>
          <p:txBody>
            <a:bodyPr wrap="square" lIns="0" tIns="0" rIns="0" bIns="0" rtlCol="0"/>
            <a:lstStyle/>
            <a:p>
              <a:endParaRPr/>
            </a:p>
          </p:txBody>
        </p:sp>
        <p:sp>
          <p:nvSpPr>
            <p:cNvPr id="28" name="object 28"/>
            <p:cNvSpPr/>
            <p:nvPr/>
          </p:nvSpPr>
          <p:spPr>
            <a:xfrm>
              <a:off x="4667178" y="5697308"/>
              <a:ext cx="1095375" cy="213360"/>
            </a:xfrm>
            <a:custGeom>
              <a:avLst/>
              <a:gdLst/>
              <a:ahLst/>
              <a:cxnLst/>
              <a:rect l="l" t="t" r="r" b="b"/>
              <a:pathLst>
                <a:path w="1095375" h="213360">
                  <a:moveTo>
                    <a:pt x="1095374" y="212758"/>
                  </a:moveTo>
                  <a:lnTo>
                    <a:pt x="0" y="212758"/>
                  </a:lnTo>
                  <a:lnTo>
                    <a:pt x="0" y="0"/>
                  </a:lnTo>
                  <a:lnTo>
                    <a:pt x="1095374" y="0"/>
                  </a:lnTo>
                  <a:lnTo>
                    <a:pt x="1095374" y="212758"/>
                  </a:lnTo>
                  <a:close/>
                </a:path>
              </a:pathLst>
            </a:custGeom>
            <a:solidFill>
              <a:srgbClr val="21408B"/>
            </a:solidFill>
          </p:spPr>
          <p:txBody>
            <a:bodyPr wrap="square" lIns="0" tIns="0" rIns="0" bIns="0" rtlCol="0"/>
            <a:lstStyle/>
            <a:p>
              <a:endParaRPr/>
            </a:p>
          </p:txBody>
        </p:sp>
        <p:sp>
          <p:nvSpPr>
            <p:cNvPr id="29" name="object 29"/>
            <p:cNvSpPr/>
            <p:nvPr/>
          </p:nvSpPr>
          <p:spPr>
            <a:xfrm>
              <a:off x="4667178" y="5910066"/>
              <a:ext cx="1095375" cy="182880"/>
            </a:xfrm>
            <a:custGeom>
              <a:avLst/>
              <a:gdLst/>
              <a:ahLst/>
              <a:cxnLst/>
              <a:rect l="l" t="t" r="r" b="b"/>
              <a:pathLst>
                <a:path w="1095375" h="182879">
                  <a:moveTo>
                    <a:pt x="973666" y="182364"/>
                  </a:moveTo>
                  <a:lnTo>
                    <a:pt x="121708" y="182364"/>
                  </a:lnTo>
                  <a:lnTo>
                    <a:pt x="74335" y="172809"/>
                  </a:lnTo>
                  <a:lnTo>
                    <a:pt x="35649" y="146753"/>
                  </a:lnTo>
                  <a:lnTo>
                    <a:pt x="9565" y="108109"/>
                  </a:lnTo>
                  <a:lnTo>
                    <a:pt x="0" y="60788"/>
                  </a:lnTo>
                  <a:lnTo>
                    <a:pt x="0" y="0"/>
                  </a:lnTo>
                  <a:lnTo>
                    <a:pt x="1095374" y="0"/>
                  </a:lnTo>
                  <a:lnTo>
                    <a:pt x="1095374" y="60788"/>
                  </a:lnTo>
                  <a:lnTo>
                    <a:pt x="1085809" y="108109"/>
                  </a:lnTo>
                  <a:lnTo>
                    <a:pt x="1059725" y="146753"/>
                  </a:lnTo>
                  <a:lnTo>
                    <a:pt x="1021039" y="172809"/>
                  </a:lnTo>
                  <a:lnTo>
                    <a:pt x="973666" y="182364"/>
                  </a:lnTo>
                  <a:close/>
                </a:path>
              </a:pathLst>
            </a:custGeom>
            <a:solidFill>
              <a:srgbClr val="CD2028"/>
            </a:solidFill>
          </p:spPr>
          <p:txBody>
            <a:bodyPr wrap="square" lIns="0" tIns="0" rIns="0" bIns="0" rtlCol="0"/>
            <a:lstStyle/>
            <a:p>
              <a:endParaRPr/>
            </a:p>
          </p:txBody>
        </p:sp>
        <p:sp>
          <p:nvSpPr>
            <p:cNvPr id="30" name="object 30"/>
            <p:cNvSpPr/>
            <p:nvPr/>
          </p:nvSpPr>
          <p:spPr>
            <a:xfrm>
              <a:off x="5395408" y="3916961"/>
              <a:ext cx="1066800" cy="771525"/>
            </a:xfrm>
            <a:custGeom>
              <a:avLst/>
              <a:gdLst/>
              <a:ahLst/>
              <a:cxnLst/>
              <a:rect l="l" t="t" r="r" b="b"/>
              <a:pathLst>
                <a:path w="1066800" h="771525">
                  <a:moveTo>
                    <a:pt x="948266" y="771137"/>
                  </a:moveTo>
                  <a:lnTo>
                    <a:pt x="118533" y="771137"/>
                  </a:lnTo>
                  <a:lnTo>
                    <a:pt x="72396" y="761813"/>
                  </a:lnTo>
                  <a:lnTo>
                    <a:pt x="34719" y="736388"/>
                  </a:lnTo>
                  <a:lnTo>
                    <a:pt x="9315" y="698677"/>
                  </a:lnTo>
                  <a:lnTo>
                    <a:pt x="0" y="652500"/>
                  </a:lnTo>
                  <a:lnTo>
                    <a:pt x="0" y="118636"/>
                  </a:lnTo>
                  <a:lnTo>
                    <a:pt x="9315" y="72459"/>
                  </a:lnTo>
                  <a:lnTo>
                    <a:pt x="34719" y="34749"/>
                  </a:lnTo>
                  <a:lnTo>
                    <a:pt x="72396" y="9323"/>
                  </a:lnTo>
                  <a:lnTo>
                    <a:pt x="118533" y="0"/>
                  </a:lnTo>
                  <a:lnTo>
                    <a:pt x="948266" y="0"/>
                  </a:lnTo>
                  <a:lnTo>
                    <a:pt x="994403" y="9323"/>
                  </a:lnTo>
                  <a:lnTo>
                    <a:pt x="1032080" y="34749"/>
                  </a:lnTo>
                  <a:lnTo>
                    <a:pt x="1057484" y="72459"/>
                  </a:lnTo>
                  <a:lnTo>
                    <a:pt x="1066799" y="118636"/>
                  </a:lnTo>
                  <a:lnTo>
                    <a:pt x="1066799" y="652500"/>
                  </a:lnTo>
                  <a:lnTo>
                    <a:pt x="1057484" y="698677"/>
                  </a:lnTo>
                  <a:lnTo>
                    <a:pt x="1032080" y="736388"/>
                  </a:lnTo>
                  <a:lnTo>
                    <a:pt x="994403" y="761813"/>
                  </a:lnTo>
                  <a:lnTo>
                    <a:pt x="948266" y="771137"/>
                  </a:lnTo>
                  <a:close/>
                </a:path>
              </a:pathLst>
            </a:custGeom>
            <a:solidFill>
              <a:srgbClr val="74AADA"/>
            </a:solidFill>
          </p:spPr>
          <p:txBody>
            <a:bodyPr wrap="square" lIns="0" tIns="0" rIns="0" bIns="0" rtlCol="0"/>
            <a:lstStyle/>
            <a:p>
              <a:endParaRPr/>
            </a:p>
          </p:txBody>
        </p:sp>
        <p:sp>
          <p:nvSpPr>
            <p:cNvPr id="31" name="object 31"/>
            <p:cNvSpPr/>
            <p:nvPr/>
          </p:nvSpPr>
          <p:spPr>
            <a:xfrm>
              <a:off x="5395408" y="4154234"/>
              <a:ext cx="1066800" cy="297180"/>
            </a:xfrm>
            <a:custGeom>
              <a:avLst/>
              <a:gdLst/>
              <a:ahLst/>
              <a:cxnLst/>
              <a:rect l="l" t="t" r="r" b="b"/>
              <a:pathLst>
                <a:path w="1066800" h="297179">
                  <a:moveTo>
                    <a:pt x="1066799" y="296591"/>
                  </a:moveTo>
                  <a:lnTo>
                    <a:pt x="0" y="296591"/>
                  </a:lnTo>
                  <a:lnTo>
                    <a:pt x="0" y="0"/>
                  </a:lnTo>
                  <a:lnTo>
                    <a:pt x="1066799" y="0"/>
                  </a:lnTo>
                  <a:lnTo>
                    <a:pt x="1066799" y="296591"/>
                  </a:lnTo>
                  <a:close/>
                </a:path>
              </a:pathLst>
            </a:custGeom>
            <a:solidFill>
              <a:srgbClr val="EDEDED"/>
            </a:solidFill>
          </p:spPr>
          <p:txBody>
            <a:bodyPr wrap="square" lIns="0" tIns="0" rIns="0" bIns="0" rtlCol="0"/>
            <a:lstStyle/>
            <a:p>
              <a:endParaRPr/>
            </a:p>
          </p:txBody>
        </p:sp>
        <p:sp>
          <p:nvSpPr>
            <p:cNvPr id="32" name="object 32"/>
            <p:cNvSpPr/>
            <p:nvPr/>
          </p:nvSpPr>
          <p:spPr>
            <a:xfrm>
              <a:off x="5780641" y="4154234"/>
              <a:ext cx="296545" cy="297180"/>
            </a:xfrm>
            <a:custGeom>
              <a:avLst/>
              <a:gdLst/>
              <a:ahLst/>
              <a:cxnLst/>
              <a:rect l="l" t="t" r="r" b="b"/>
              <a:pathLst>
                <a:path w="296545" h="297179">
                  <a:moveTo>
                    <a:pt x="148166" y="296591"/>
                  </a:moveTo>
                  <a:lnTo>
                    <a:pt x="133705" y="221019"/>
                  </a:lnTo>
                  <a:lnTo>
                    <a:pt x="91478" y="285291"/>
                  </a:lnTo>
                  <a:lnTo>
                    <a:pt x="107005" y="209927"/>
                  </a:lnTo>
                  <a:lnTo>
                    <a:pt x="43383" y="253140"/>
                  </a:lnTo>
                  <a:lnTo>
                    <a:pt x="86558" y="189492"/>
                  </a:lnTo>
                  <a:lnTo>
                    <a:pt x="11290" y="205063"/>
                  </a:lnTo>
                  <a:lnTo>
                    <a:pt x="75505" y="162769"/>
                  </a:lnTo>
                  <a:lnTo>
                    <a:pt x="0" y="148295"/>
                  </a:lnTo>
                  <a:lnTo>
                    <a:pt x="75505" y="133821"/>
                  </a:lnTo>
                  <a:lnTo>
                    <a:pt x="11290" y="91557"/>
                  </a:lnTo>
                  <a:lnTo>
                    <a:pt x="86558" y="107099"/>
                  </a:lnTo>
                  <a:lnTo>
                    <a:pt x="43383" y="43420"/>
                  </a:lnTo>
                  <a:lnTo>
                    <a:pt x="107005" y="86634"/>
                  </a:lnTo>
                  <a:lnTo>
                    <a:pt x="91478" y="11300"/>
                  </a:lnTo>
                  <a:lnTo>
                    <a:pt x="133705" y="75571"/>
                  </a:lnTo>
                  <a:lnTo>
                    <a:pt x="148166" y="0"/>
                  </a:lnTo>
                  <a:lnTo>
                    <a:pt x="162627" y="75571"/>
                  </a:lnTo>
                  <a:lnTo>
                    <a:pt x="204884" y="11300"/>
                  </a:lnTo>
                  <a:lnTo>
                    <a:pt x="189327" y="86634"/>
                  </a:lnTo>
                  <a:lnTo>
                    <a:pt x="252920" y="43420"/>
                  </a:lnTo>
                  <a:lnTo>
                    <a:pt x="209744" y="107099"/>
                  </a:lnTo>
                  <a:lnTo>
                    <a:pt x="285043" y="91557"/>
                  </a:lnTo>
                  <a:lnTo>
                    <a:pt x="220827" y="133821"/>
                  </a:lnTo>
                  <a:lnTo>
                    <a:pt x="296333" y="148295"/>
                  </a:lnTo>
                  <a:lnTo>
                    <a:pt x="220827" y="162769"/>
                  </a:lnTo>
                  <a:lnTo>
                    <a:pt x="285042" y="205063"/>
                  </a:lnTo>
                  <a:lnTo>
                    <a:pt x="209744" y="189492"/>
                  </a:lnTo>
                  <a:lnTo>
                    <a:pt x="252920" y="253140"/>
                  </a:lnTo>
                  <a:lnTo>
                    <a:pt x="189327" y="209927"/>
                  </a:lnTo>
                  <a:lnTo>
                    <a:pt x="204884" y="285291"/>
                  </a:lnTo>
                  <a:lnTo>
                    <a:pt x="162627" y="221019"/>
                  </a:lnTo>
                  <a:lnTo>
                    <a:pt x="148166" y="296591"/>
                  </a:lnTo>
                  <a:close/>
                </a:path>
              </a:pathLst>
            </a:custGeom>
            <a:solidFill>
              <a:srgbClr val="FBBE49"/>
            </a:solidFill>
          </p:spPr>
          <p:txBody>
            <a:bodyPr wrap="square" lIns="0" tIns="0" rIns="0" bIns="0" rtlCol="0"/>
            <a:lstStyle/>
            <a:p>
              <a:endParaRPr/>
            </a:p>
          </p:txBody>
        </p:sp>
        <p:sp>
          <p:nvSpPr>
            <p:cNvPr id="33" name="object 33"/>
            <p:cNvSpPr/>
            <p:nvPr/>
          </p:nvSpPr>
          <p:spPr>
            <a:xfrm>
              <a:off x="5780641" y="4154234"/>
              <a:ext cx="296545" cy="297180"/>
            </a:xfrm>
            <a:custGeom>
              <a:avLst/>
              <a:gdLst/>
              <a:ahLst/>
              <a:cxnLst/>
              <a:rect l="l" t="t" r="r" b="b"/>
              <a:pathLst>
                <a:path w="296545" h="297179">
                  <a:moveTo>
                    <a:pt x="141241" y="75571"/>
                  </a:moveTo>
                  <a:lnTo>
                    <a:pt x="133705" y="75571"/>
                  </a:lnTo>
                  <a:lnTo>
                    <a:pt x="148166" y="0"/>
                  </a:lnTo>
                  <a:lnTo>
                    <a:pt x="155717" y="39446"/>
                  </a:lnTo>
                  <a:lnTo>
                    <a:pt x="148166" y="39446"/>
                  </a:lnTo>
                  <a:lnTo>
                    <a:pt x="141241" y="75571"/>
                  </a:lnTo>
                  <a:close/>
                </a:path>
                <a:path w="296545" h="297179">
                  <a:moveTo>
                    <a:pt x="171531" y="75541"/>
                  </a:moveTo>
                  <a:lnTo>
                    <a:pt x="162627" y="75541"/>
                  </a:lnTo>
                  <a:lnTo>
                    <a:pt x="204884" y="11270"/>
                  </a:lnTo>
                  <a:lnTo>
                    <a:pt x="197354" y="47751"/>
                  </a:lnTo>
                  <a:lnTo>
                    <a:pt x="189801" y="47751"/>
                  </a:lnTo>
                  <a:lnTo>
                    <a:pt x="171531" y="75541"/>
                  </a:lnTo>
                  <a:close/>
                </a:path>
                <a:path w="296545" h="297179">
                  <a:moveTo>
                    <a:pt x="114520" y="86664"/>
                  </a:moveTo>
                  <a:lnTo>
                    <a:pt x="107005" y="86664"/>
                  </a:lnTo>
                  <a:lnTo>
                    <a:pt x="91478" y="11300"/>
                  </a:lnTo>
                  <a:lnTo>
                    <a:pt x="115427" y="47751"/>
                  </a:lnTo>
                  <a:lnTo>
                    <a:pt x="106502" y="47751"/>
                  </a:lnTo>
                  <a:lnTo>
                    <a:pt x="114520" y="86664"/>
                  </a:lnTo>
                  <a:close/>
                </a:path>
                <a:path w="296545" h="297179">
                  <a:moveTo>
                    <a:pt x="158775" y="94909"/>
                  </a:moveTo>
                  <a:lnTo>
                    <a:pt x="148166" y="39446"/>
                  </a:lnTo>
                  <a:lnTo>
                    <a:pt x="155717" y="39446"/>
                  </a:lnTo>
                  <a:lnTo>
                    <a:pt x="162627" y="75541"/>
                  </a:lnTo>
                  <a:lnTo>
                    <a:pt x="171531" y="75541"/>
                  </a:lnTo>
                  <a:lnTo>
                    <a:pt x="158775" y="94909"/>
                  </a:lnTo>
                  <a:close/>
                </a:path>
                <a:path w="296545" h="297179">
                  <a:moveTo>
                    <a:pt x="202566" y="86634"/>
                  </a:moveTo>
                  <a:lnTo>
                    <a:pt x="189327" y="86634"/>
                  </a:lnTo>
                  <a:lnTo>
                    <a:pt x="252920" y="43420"/>
                  </a:lnTo>
                  <a:lnTo>
                    <a:pt x="233977" y="71359"/>
                  </a:lnTo>
                  <a:lnTo>
                    <a:pt x="225065" y="71359"/>
                  </a:lnTo>
                  <a:lnTo>
                    <a:pt x="202566" y="86634"/>
                  </a:lnTo>
                  <a:close/>
                </a:path>
                <a:path w="296545" h="297179">
                  <a:moveTo>
                    <a:pt x="95512" y="107128"/>
                  </a:moveTo>
                  <a:lnTo>
                    <a:pt x="86558" y="107128"/>
                  </a:lnTo>
                  <a:lnTo>
                    <a:pt x="43383" y="43450"/>
                  </a:lnTo>
                  <a:lnTo>
                    <a:pt x="84386" y="71300"/>
                  </a:lnTo>
                  <a:lnTo>
                    <a:pt x="71208" y="71300"/>
                  </a:lnTo>
                  <a:lnTo>
                    <a:pt x="95512" y="107128"/>
                  </a:lnTo>
                  <a:close/>
                </a:path>
                <a:path w="296545" h="297179">
                  <a:moveTo>
                    <a:pt x="137528" y="94938"/>
                  </a:moveTo>
                  <a:lnTo>
                    <a:pt x="106502" y="47751"/>
                  </a:lnTo>
                  <a:lnTo>
                    <a:pt x="115427" y="47751"/>
                  </a:lnTo>
                  <a:lnTo>
                    <a:pt x="133705" y="75571"/>
                  </a:lnTo>
                  <a:lnTo>
                    <a:pt x="141241" y="75571"/>
                  </a:lnTo>
                  <a:lnTo>
                    <a:pt x="137528" y="94938"/>
                  </a:lnTo>
                  <a:close/>
                </a:path>
                <a:path w="296545" h="297179">
                  <a:moveTo>
                    <a:pt x="178363" y="103065"/>
                  </a:moveTo>
                  <a:lnTo>
                    <a:pt x="189801" y="47751"/>
                  </a:lnTo>
                  <a:lnTo>
                    <a:pt x="197354" y="47751"/>
                  </a:lnTo>
                  <a:lnTo>
                    <a:pt x="189327" y="86634"/>
                  </a:lnTo>
                  <a:lnTo>
                    <a:pt x="202566" y="86634"/>
                  </a:lnTo>
                  <a:lnTo>
                    <a:pt x="178363" y="103065"/>
                  </a:lnTo>
                  <a:close/>
                </a:path>
                <a:path w="296545" h="297179">
                  <a:moveTo>
                    <a:pt x="117910" y="103035"/>
                  </a:moveTo>
                  <a:lnTo>
                    <a:pt x="71208" y="71300"/>
                  </a:lnTo>
                  <a:lnTo>
                    <a:pt x="84386" y="71300"/>
                  </a:lnTo>
                  <a:lnTo>
                    <a:pt x="107005" y="86664"/>
                  </a:lnTo>
                  <a:lnTo>
                    <a:pt x="114520" y="86664"/>
                  </a:lnTo>
                  <a:lnTo>
                    <a:pt x="117910" y="103035"/>
                  </a:lnTo>
                  <a:close/>
                </a:path>
                <a:path w="296545" h="297179">
                  <a:moveTo>
                    <a:pt x="193387" y="118102"/>
                  </a:moveTo>
                  <a:lnTo>
                    <a:pt x="225065" y="71359"/>
                  </a:lnTo>
                  <a:lnTo>
                    <a:pt x="233977" y="71359"/>
                  </a:lnTo>
                  <a:lnTo>
                    <a:pt x="209744" y="107099"/>
                  </a:lnTo>
                  <a:lnTo>
                    <a:pt x="246639" y="107099"/>
                  </a:lnTo>
                  <a:lnTo>
                    <a:pt x="193387" y="118102"/>
                  </a:lnTo>
                  <a:close/>
                </a:path>
                <a:path w="296545" h="297179">
                  <a:moveTo>
                    <a:pt x="246639" y="107099"/>
                  </a:moveTo>
                  <a:lnTo>
                    <a:pt x="209744" y="107099"/>
                  </a:lnTo>
                  <a:lnTo>
                    <a:pt x="285042" y="91557"/>
                  </a:lnTo>
                  <a:lnTo>
                    <a:pt x="262060" y="106683"/>
                  </a:lnTo>
                  <a:lnTo>
                    <a:pt x="248653" y="106683"/>
                  </a:lnTo>
                  <a:lnTo>
                    <a:pt x="246639" y="107099"/>
                  </a:lnTo>
                  <a:close/>
                </a:path>
                <a:path w="296545" h="297179">
                  <a:moveTo>
                    <a:pt x="11290" y="205063"/>
                  </a:moveTo>
                  <a:lnTo>
                    <a:pt x="75505" y="162769"/>
                  </a:lnTo>
                  <a:lnTo>
                    <a:pt x="0" y="148295"/>
                  </a:lnTo>
                  <a:lnTo>
                    <a:pt x="75505" y="133851"/>
                  </a:lnTo>
                  <a:lnTo>
                    <a:pt x="11290" y="91587"/>
                  </a:lnTo>
                  <a:lnTo>
                    <a:pt x="84116" y="106624"/>
                  </a:lnTo>
                  <a:lnTo>
                    <a:pt x="47680" y="106624"/>
                  </a:lnTo>
                  <a:lnTo>
                    <a:pt x="94826" y="137677"/>
                  </a:lnTo>
                  <a:lnTo>
                    <a:pt x="39412" y="148295"/>
                  </a:lnTo>
                  <a:lnTo>
                    <a:pt x="94767" y="158913"/>
                  </a:lnTo>
                  <a:lnTo>
                    <a:pt x="47650" y="189966"/>
                  </a:lnTo>
                  <a:lnTo>
                    <a:pt x="84265" y="189966"/>
                  </a:lnTo>
                  <a:lnTo>
                    <a:pt x="11290" y="205063"/>
                  </a:lnTo>
                  <a:close/>
                </a:path>
                <a:path w="296545" h="297179">
                  <a:moveTo>
                    <a:pt x="102916" y="118043"/>
                  </a:moveTo>
                  <a:lnTo>
                    <a:pt x="47680" y="106624"/>
                  </a:lnTo>
                  <a:lnTo>
                    <a:pt x="84116" y="106624"/>
                  </a:lnTo>
                  <a:lnTo>
                    <a:pt x="86558" y="107128"/>
                  </a:lnTo>
                  <a:lnTo>
                    <a:pt x="95512" y="107128"/>
                  </a:lnTo>
                  <a:lnTo>
                    <a:pt x="102916" y="118043"/>
                  </a:lnTo>
                  <a:close/>
                </a:path>
                <a:path w="296545" h="297179">
                  <a:moveTo>
                    <a:pt x="262121" y="189966"/>
                  </a:moveTo>
                  <a:lnTo>
                    <a:pt x="248623" y="189966"/>
                  </a:lnTo>
                  <a:lnTo>
                    <a:pt x="201506" y="158913"/>
                  </a:lnTo>
                  <a:lnTo>
                    <a:pt x="256920" y="148295"/>
                  </a:lnTo>
                  <a:lnTo>
                    <a:pt x="201506" y="137677"/>
                  </a:lnTo>
                  <a:lnTo>
                    <a:pt x="248653" y="106683"/>
                  </a:lnTo>
                  <a:lnTo>
                    <a:pt x="262060" y="106683"/>
                  </a:lnTo>
                  <a:lnTo>
                    <a:pt x="220827" y="133821"/>
                  </a:lnTo>
                  <a:lnTo>
                    <a:pt x="296333" y="148295"/>
                  </a:lnTo>
                  <a:lnTo>
                    <a:pt x="220827" y="162769"/>
                  </a:lnTo>
                  <a:lnTo>
                    <a:pt x="262121" y="189966"/>
                  </a:lnTo>
                  <a:close/>
                </a:path>
                <a:path w="296545" h="297179">
                  <a:moveTo>
                    <a:pt x="84265" y="189966"/>
                  </a:moveTo>
                  <a:lnTo>
                    <a:pt x="47650" y="189966"/>
                  </a:lnTo>
                  <a:lnTo>
                    <a:pt x="102916" y="178518"/>
                  </a:lnTo>
                  <a:lnTo>
                    <a:pt x="95479" y="189492"/>
                  </a:lnTo>
                  <a:lnTo>
                    <a:pt x="86558" y="189492"/>
                  </a:lnTo>
                  <a:lnTo>
                    <a:pt x="84265" y="189966"/>
                  </a:lnTo>
                  <a:close/>
                </a:path>
                <a:path w="296545" h="297179">
                  <a:moveTo>
                    <a:pt x="233988" y="225231"/>
                  </a:moveTo>
                  <a:lnTo>
                    <a:pt x="225005" y="225231"/>
                  </a:lnTo>
                  <a:lnTo>
                    <a:pt x="193327" y="178518"/>
                  </a:lnTo>
                  <a:lnTo>
                    <a:pt x="246331" y="189492"/>
                  </a:lnTo>
                  <a:lnTo>
                    <a:pt x="209744" y="189492"/>
                  </a:lnTo>
                  <a:lnTo>
                    <a:pt x="233988" y="225231"/>
                  </a:lnTo>
                  <a:close/>
                </a:path>
                <a:path w="296545" h="297179">
                  <a:moveTo>
                    <a:pt x="285043" y="205063"/>
                  </a:moveTo>
                  <a:lnTo>
                    <a:pt x="209744" y="189492"/>
                  </a:lnTo>
                  <a:lnTo>
                    <a:pt x="246331" y="189492"/>
                  </a:lnTo>
                  <a:lnTo>
                    <a:pt x="248623" y="189966"/>
                  </a:lnTo>
                  <a:lnTo>
                    <a:pt x="262121" y="189966"/>
                  </a:lnTo>
                  <a:lnTo>
                    <a:pt x="285043" y="205063"/>
                  </a:lnTo>
                  <a:close/>
                </a:path>
                <a:path w="296545" h="297179">
                  <a:moveTo>
                    <a:pt x="43383" y="253140"/>
                  </a:moveTo>
                  <a:lnTo>
                    <a:pt x="86558" y="189492"/>
                  </a:lnTo>
                  <a:lnTo>
                    <a:pt x="95479" y="189492"/>
                  </a:lnTo>
                  <a:lnTo>
                    <a:pt x="71238" y="225261"/>
                  </a:lnTo>
                  <a:lnTo>
                    <a:pt x="84430" y="225261"/>
                  </a:lnTo>
                  <a:lnTo>
                    <a:pt x="43383" y="253140"/>
                  </a:lnTo>
                  <a:close/>
                </a:path>
                <a:path w="296545" h="297179">
                  <a:moveTo>
                    <a:pt x="197366" y="248869"/>
                  </a:moveTo>
                  <a:lnTo>
                    <a:pt x="189771" y="248869"/>
                  </a:lnTo>
                  <a:lnTo>
                    <a:pt x="178333" y="193525"/>
                  </a:lnTo>
                  <a:lnTo>
                    <a:pt x="202477" y="209927"/>
                  </a:lnTo>
                  <a:lnTo>
                    <a:pt x="189327" y="209927"/>
                  </a:lnTo>
                  <a:lnTo>
                    <a:pt x="197366" y="248869"/>
                  </a:lnTo>
                  <a:close/>
                </a:path>
                <a:path w="296545" h="297179">
                  <a:moveTo>
                    <a:pt x="84430" y="225261"/>
                  </a:moveTo>
                  <a:lnTo>
                    <a:pt x="71238" y="225261"/>
                  </a:lnTo>
                  <a:lnTo>
                    <a:pt x="117940" y="193555"/>
                  </a:lnTo>
                  <a:lnTo>
                    <a:pt x="114549" y="209927"/>
                  </a:lnTo>
                  <a:lnTo>
                    <a:pt x="107005" y="209927"/>
                  </a:lnTo>
                  <a:lnTo>
                    <a:pt x="84430" y="225261"/>
                  </a:lnTo>
                  <a:close/>
                </a:path>
                <a:path w="296545" h="297179">
                  <a:moveTo>
                    <a:pt x="115407" y="248869"/>
                  </a:moveTo>
                  <a:lnTo>
                    <a:pt x="106531" y="248869"/>
                  </a:lnTo>
                  <a:lnTo>
                    <a:pt x="137557" y="201682"/>
                  </a:lnTo>
                  <a:lnTo>
                    <a:pt x="141256" y="221019"/>
                  </a:lnTo>
                  <a:lnTo>
                    <a:pt x="133705" y="221019"/>
                  </a:lnTo>
                  <a:lnTo>
                    <a:pt x="115407" y="248869"/>
                  </a:lnTo>
                  <a:close/>
                </a:path>
                <a:path w="296545" h="297179">
                  <a:moveTo>
                    <a:pt x="155715" y="257144"/>
                  </a:moveTo>
                  <a:lnTo>
                    <a:pt x="148166" y="257144"/>
                  </a:lnTo>
                  <a:lnTo>
                    <a:pt x="158775" y="201682"/>
                  </a:lnTo>
                  <a:lnTo>
                    <a:pt x="171462" y="221019"/>
                  </a:lnTo>
                  <a:lnTo>
                    <a:pt x="162627" y="221019"/>
                  </a:lnTo>
                  <a:lnTo>
                    <a:pt x="155715" y="257144"/>
                  </a:lnTo>
                  <a:close/>
                </a:path>
                <a:path w="296545" h="297179">
                  <a:moveTo>
                    <a:pt x="252920" y="253140"/>
                  </a:moveTo>
                  <a:lnTo>
                    <a:pt x="189327" y="209927"/>
                  </a:lnTo>
                  <a:lnTo>
                    <a:pt x="202477" y="209927"/>
                  </a:lnTo>
                  <a:lnTo>
                    <a:pt x="225005" y="225231"/>
                  </a:lnTo>
                  <a:lnTo>
                    <a:pt x="233988" y="225231"/>
                  </a:lnTo>
                  <a:lnTo>
                    <a:pt x="252920" y="253140"/>
                  </a:lnTo>
                  <a:close/>
                </a:path>
                <a:path w="296545" h="297179">
                  <a:moveTo>
                    <a:pt x="91478" y="285291"/>
                  </a:moveTo>
                  <a:lnTo>
                    <a:pt x="107005" y="209927"/>
                  </a:lnTo>
                  <a:lnTo>
                    <a:pt x="114549" y="209927"/>
                  </a:lnTo>
                  <a:lnTo>
                    <a:pt x="106531" y="248869"/>
                  </a:lnTo>
                  <a:lnTo>
                    <a:pt x="115407" y="248869"/>
                  </a:lnTo>
                  <a:lnTo>
                    <a:pt x="91478" y="285291"/>
                  </a:lnTo>
                  <a:close/>
                </a:path>
                <a:path w="296545" h="297179">
                  <a:moveTo>
                    <a:pt x="204884" y="285291"/>
                  </a:moveTo>
                  <a:lnTo>
                    <a:pt x="162627" y="221019"/>
                  </a:lnTo>
                  <a:lnTo>
                    <a:pt x="171462" y="221019"/>
                  </a:lnTo>
                  <a:lnTo>
                    <a:pt x="189771" y="248869"/>
                  </a:lnTo>
                  <a:lnTo>
                    <a:pt x="197366" y="248869"/>
                  </a:lnTo>
                  <a:lnTo>
                    <a:pt x="204884" y="285291"/>
                  </a:lnTo>
                  <a:close/>
                </a:path>
                <a:path w="296545" h="297179">
                  <a:moveTo>
                    <a:pt x="148166" y="296591"/>
                  </a:moveTo>
                  <a:lnTo>
                    <a:pt x="133705" y="221019"/>
                  </a:lnTo>
                  <a:lnTo>
                    <a:pt x="141256" y="221019"/>
                  </a:lnTo>
                  <a:lnTo>
                    <a:pt x="148166" y="257144"/>
                  </a:lnTo>
                  <a:lnTo>
                    <a:pt x="155715" y="257144"/>
                  </a:lnTo>
                  <a:lnTo>
                    <a:pt x="148166" y="296591"/>
                  </a:lnTo>
                  <a:close/>
                </a:path>
              </a:pathLst>
            </a:custGeom>
            <a:solidFill>
              <a:srgbClr val="833411"/>
            </a:solidFill>
          </p:spPr>
          <p:txBody>
            <a:bodyPr wrap="square" lIns="0" tIns="0" rIns="0" bIns="0" rtlCol="0"/>
            <a:lstStyle/>
            <a:p>
              <a:endParaRPr/>
            </a:p>
          </p:txBody>
        </p:sp>
        <p:pic>
          <p:nvPicPr>
            <p:cNvPr id="34" name="object 34"/>
            <p:cNvPicPr/>
            <p:nvPr/>
          </p:nvPicPr>
          <p:blipFill>
            <a:blip r:embed="rId4" cstate="print"/>
            <a:stretch>
              <a:fillRect/>
            </a:stretch>
          </p:blipFill>
          <p:spPr>
            <a:xfrm>
              <a:off x="5865837" y="4239504"/>
              <a:ext cx="125941" cy="126051"/>
            </a:xfrm>
            <a:prstGeom prst="rect">
              <a:avLst/>
            </a:prstGeom>
          </p:spPr>
        </p:pic>
        <p:sp>
          <p:nvSpPr>
            <p:cNvPr id="35" name="object 35"/>
            <p:cNvSpPr/>
            <p:nvPr/>
          </p:nvSpPr>
          <p:spPr>
            <a:xfrm>
              <a:off x="3884084" y="3926309"/>
              <a:ext cx="1066800" cy="771525"/>
            </a:xfrm>
            <a:custGeom>
              <a:avLst/>
              <a:gdLst/>
              <a:ahLst/>
              <a:cxnLst/>
              <a:rect l="l" t="t" r="r" b="b"/>
              <a:pathLst>
                <a:path w="1066800" h="771525">
                  <a:moveTo>
                    <a:pt x="948266" y="771137"/>
                  </a:moveTo>
                  <a:lnTo>
                    <a:pt x="118533" y="771137"/>
                  </a:lnTo>
                  <a:lnTo>
                    <a:pt x="72396" y="761813"/>
                  </a:lnTo>
                  <a:lnTo>
                    <a:pt x="34719" y="736388"/>
                  </a:lnTo>
                  <a:lnTo>
                    <a:pt x="9315" y="698677"/>
                  </a:lnTo>
                  <a:lnTo>
                    <a:pt x="0" y="652500"/>
                  </a:lnTo>
                  <a:lnTo>
                    <a:pt x="0" y="118636"/>
                  </a:lnTo>
                  <a:lnTo>
                    <a:pt x="9315" y="72459"/>
                  </a:lnTo>
                  <a:lnTo>
                    <a:pt x="34719" y="34749"/>
                  </a:lnTo>
                  <a:lnTo>
                    <a:pt x="72396" y="9323"/>
                  </a:lnTo>
                  <a:lnTo>
                    <a:pt x="118533" y="0"/>
                  </a:lnTo>
                  <a:lnTo>
                    <a:pt x="948266" y="0"/>
                  </a:lnTo>
                  <a:lnTo>
                    <a:pt x="994403" y="9323"/>
                  </a:lnTo>
                  <a:lnTo>
                    <a:pt x="1032080" y="34749"/>
                  </a:lnTo>
                  <a:lnTo>
                    <a:pt x="1057484" y="72459"/>
                  </a:lnTo>
                  <a:lnTo>
                    <a:pt x="1066799" y="118636"/>
                  </a:lnTo>
                  <a:lnTo>
                    <a:pt x="1066799" y="652500"/>
                  </a:lnTo>
                  <a:lnTo>
                    <a:pt x="1057484" y="698677"/>
                  </a:lnTo>
                  <a:lnTo>
                    <a:pt x="1032080" y="736388"/>
                  </a:lnTo>
                  <a:lnTo>
                    <a:pt x="994403" y="761813"/>
                  </a:lnTo>
                  <a:lnTo>
                    <a:pt x="948266" y="771137"/>
                  </a:lnTo>
                  <a:close/>
                </a:path>
              </a:pathLst>
            </a:custGeom>
            <a:solidFill>
              <a:srgbClr val="009A3A"/>
            </a:solidFill>
          </p:spPr>
          <p:txBody>
            <a:bodyPr wrap="square" lIns="0" tIns="0" rIns="0" bIns="0" rtlCol="0"/>
            <a:lstStyle/>
            <a:p>
              <a:endParaRPr/>
            </a:p>
          </p:txBody>
        </p:sp>
        <p:sp>
          <p:nvSpPr>
            <p:cNvPr id="36" name="object 36"/>
            <p:cNvSpPr/>
            <p:nvPr/>
          </p:nvSpPr>
          <p:spPr>
            <a:xfrm>
              <a:off x="3981045" y="3981920"/>
              <a:ext cx="873125" cy="660400"/>
            </a:xfrm>
            <a:custGeom>
              <a:avLst/>
              <a:gdLst/>
              <a:ahLst/>
              <a:cxnLst/>
              <a:rect l="l" t="t" r="r" b="b"/>
              <a:pathLst>
                <a:path w="873125" h="660400">
                  <a:moveTo>
                    <a:pt x="436439" y="659886"/>
                  </a:moveTo>
                  <a:lnTo>
                    <a:pt x="0" y="329957"/>
                  </a:lnTo>
                  <a:lnTo>
                    <a:pt x="436439" y="0"/>
                  </a:lnTo>
                  <a:lnTo>
                    <a:pt x="872879" y="329957"/>
                  </a:lnTo>
                  <a:lnTo>
                    <a:pt x="436439" y="659886"/>
                  </a:lnTo>
                  <a:close/>
                </a:path>
              </a:pathLst>
            </a:custGeom>
            <a:solidFill>
              <a:srgbClr val="FEDE00"/>
            </a:solidFill>
          </p:spPr>
          <p:txBody>
            <a:bodyPr wrap="square" lIns="0" tIns="0" rIns="0" bIns="0" rtlCol="0"/>
            <a:lstStyle/>
            <a:p>
              <a:endParaRPr/>
            </a:p>
          </p:txBody>
        </p:sp>
        <p:sp>
          <p:nvSpPr>
            <p:cNvPr id="37" name="object 37"/>
            <p:cNvSpPr/>
            <p:nvPr/>
          </p:nvSpPr>
          <p:spPr>
            <a:xfrm>
              <a:off x="4225401" y="4118085"/>
              <a:ext cx="382905" cy="383540"/>
            </a:xfrm>
            <a:custGeom>
              <a:avLst/>
              <a:gdLst/>
              <a:ahLst/>
              <a:cxnLst/>
              <a:rect l="l" t="t" r="r" b="b"/>
              <a:pathLst>
                <a:path w="382904" h="383539">
                  <a:moveTo>
                    <a:pt x="191372" y="383077"/>
                  </a:moveTo>
                  <a:lnTo>
                    <a:pt x="135819" y="374831"/>
                  </a:lnTo>
                  <a:lnTo>
                    <a:pt x="85051" y="350797"/>
                  </a:lnTo>
                  <a:lnTo>
                    <a:pt x="43437" y="313050"/>
                  </a:lnTo>
                  <a:lnTo>
                    <a:pt x="14567" y="264837"/>
                  </a:lnTo>
                  <a:lnTo>
                    <a:pt x="919" y="210312"/>
                  </a:lnTo>
                  <a:lnTo>
                    <a:pt x="0" y="191538"/>
                  </a:lnTo>
                  <a:lnTo>
                    <a:pt x="919" y="172764"/>
                  </a:lnTo>
                  <a:lnTo>
                    <a:pt x="14567" y="118239"/>
                  </a:lnTo>
                  <a:lnTo>
                    <a:pt x="43437" y="70026"/>
                  </a:lnTo>
                  <a:lnTo>
                    <a:pt x="85051" y="32280"/>
                  </a:lnTo>
                  <a:lnTo>
                    <a:pt x="135819" y="8245"/>
                  </a:lnTo>
                  <a:lnTo>
                    <a:pt x="191372" y="0"/>
                  </a:lnTo>
                  <a:lnTo>
                    <a:pt x="210130" y="920"/>
                  </a:lnTo>
                  <a:lnTo>
                    <a:pt x="264606" y="14579"/>
                  </a:lnTo>
                  <a:lnTo>
                    <a:pt x="312778" y="43475"/>
                  </a:lnTo>
                  <a:lnTo>
                    <a:pt x="350492" y="85125"/>
                  </a:lnTo>
                  <a:lnTo>
                    <a:pt x="374505" y="135937"/>
                  </a:lnTo>
                  <a:lnTo>
                    <a:pt x="382744" y="191538"/>
                  </a:lnTo>
                  <a:lnTo>
                    <a:pt x="381824" y="210312"/>
                  </a:lnTo>
                  <a:lnTo>
                    <a:pt x="368176" y="264837"/>
                  </a:lnTo>
                  <a:lnTo>
                    <a:pt x="339306" y="313050"/>
                  </a:lnTo>
                  <a:lnTo>
                    <a:pt x="297692" y="350797"/>
                  </a:lnTo>
                  <a:lnTo>
                    <a:pt x="246925" y="374831"/>
                  </a:lnTo>
                  <a:lnTo>
                    <a:pt x="191372" y="383077"/>
                  </a:lnTo>
                  <a:close/>
                </a:path>
              </a:pathLst>
            </a:custGeom>
            <a:solidFill>
              <a:srgbClr val="002675"/>
            </a:solidFill>
          </p:spPr>
          <p:txBody>
            <a:bodyPr wrap="square" lIns="0" tIns="0" rIns="0" bIns="0" rtlCol="0"/>
            <a:lstStyle/>
            <a:p>
              <a:endParaRPr/>
            </a:p>
          </p:txBody>
        </p:sp>
        <p:sp>
          <p:nvSpPr>
            <p:cNvPr id="38" name="object 38"/>
            <p:cNvSpPr/>
            <p:nvPr/>
          </p:nvSpPr>
          <p:spPr>
            <a:xfrm>
              <a:off x="4227979" y="4219549"/>
              <a:ext cx="374650" cy="196850"/>
            </a:xfrm>
            <a:custGeom>
              <a:avLst/>
              <a:gdLst/>
              <a:ahLst/>
              <a:cxnLst/>
              <a:rect l="l" t="t" r="r" b="b"/>
              <a:pathLst>
                <a:path w="374650" h="196850">
                  <a:moveTo>
                    <a:pt x="348013" y="196284"/>
                  </a:moveTo>
                  <a:lnTo>
                    <a:pt x="318117" y="167049"/>
                  </a:lnTo>
                  <a:lnTo>
                    <a:pt x="281193" y="139946"/>
                  </a:lnTo>
                  <a:lnTo>
                    <a:pt x="238811" y="115651"/>
                  </a:lnTo>
                  <a:lnTo>
                    <a:pt x="192542" y="94842"/>
                  </a:lnTo>
                  <a:lnTo>
                    <a:pt x="143956" y="78195"/>
                  </a:lnTo>
                  <a:lnTo>
                    <a:pt x="94623" y="66388"/>
                  </a:lnTo>
                  <a:lnTo>
                    <a:pt x="46114" y="60097"/>
                  </a:lnTo>
                  <a:lnTo>
                    <a:pt x="0" y="60000"/>
                  </a:lnTo>
                  <a:lnTo>
                    <a:pt x="3153" y="44206"/>
                  </a:lnTo>
                  <a:lnTo>
                    <a:pt x="7534" y="28899"/>
                  </a:lnTo>
                  <a:lnTo>
                    <a:pt x="13126" y="14142"/>
                  </a:lnTo>
                  <a:lnTo>
                    <a:pt x="19913" y="0"/>
                  </a:lnTo>
                  <a:lnTo>
                    <a:pt x="66000" y="2328"/>
                  </a:lnTo>
                  <a:lnTo>
                    <a:pt x="113780" y="9470"/>
                  </a:lnTo>
                  <a:lnTo>
                    <a:pt x="162150" y="21131"/>
                  </a:lnTo>
                  <a:lnTo>
                    <a:pt x="210004" y="37014"/>
                  </a:lnTo>
                  <a:lnTo>
                    <a:pt x="256238" y="56823"/>
                  </a:lnTo>
                  <a:lnTo>
                    <a:pt x="299748" y="80263"/>
                  </a:lnTo>
                  <a:lnTo>
                    <a:pt x="339430" y="107036"/>
                  </a:lnTo>
                  <a:lnTo>
                    <a:pt x="374180" y="136847"/>
                  </a:lnTo>
                  <a:lnTo>
                    <a:pt x="369479" y="152674"/>
                  </a:lnTo>
                  <a:lnTo>
                    <a:pt x="363530" y="167900"/>
                  </a:lnTo>
                  <a:lnTo>
                    <a:pt x="356365" y="182459"/>
                  </a:lnTo>
                  <a:lnTo>
                    <a:pt x="348013" y="196284"/>
                  </a:lnTo>
                  <a:close/>
                </a:path>
              </a:pathLst>
            </a:custGeom>
            <a:solidFill>
              <a:srgbClr val="CBE8D4"/>
            </a:solidFill>
          </p:spPr>
          <p:txBody>
            <a:bodyPr wrap="square" lIns="0" tIns="0" rIns="0" bIns="0" rtlCol="0"/>
            <a:lstStyle/>
            <a:p>
              <a:endParaRPr/>
            </a:p>
          </p:txBody>
        </p:sp>
        <p:sp>
          <p:nvSpPr>
            <p:cNvPr id="39" name="object 39"/>
            <p:cNvSpPr/>
            <p:nvPr/>
          </p:nvSpPr>
          <p:spPr>
            <a:xfrm>
              <a:off x="4239679" y="4318799"/>
              <a:ext cx="59690" cy="89535"/>
            </a:xfrm>
            <a:custGeom>
              <a:avLst/>
              <a:gdLst/>
              <a:ahLst/>
              <a:cxnLst/>
              <a:rect l="l" t="t" r="r" b="b"/>
              <a:pathLst>
                <a:path w="59689" h="89535">
                  <a:moveTo>
                    <a:pt x="29629" y="0"/>
                  </a:moveTo>
                  <a:lnTo>
                    <a:pt x="0" y="0"/>
                  </a:lnTo>
                  <a:lnTo>
                    <a:pt x="0" y="29654"/>
                  </a:lnTo>
                  <a:lnTo>
                    <a:pt x="29629" y="29654"/>
                  </a:lnTo>
                  <a:lnTo>
                    <a:pt x="29629" y="0"/>
                  </a:lnTo>
                  <a:close/>
                </a:path>
                <a:path w="59689" h="89535">
                  <a:moveTo>
                    <a:pt x="59270" y="59309"/>
                  </a:moveTo>
                  <a:lnTo>
                    <a:pt x="29629" y="59309"/>
                  </a:lnTo>
                  <a:lnTo>
                    <a:pt x="29629" y="88976"/>
                  </a:lnTo>
                  <a:lnTo>
                    <a:pt x="59270" y="88976"/>
                  </a:lnTo>
                  <a:lnTo>
                    <a:pt x="59270" y="59309"/>
                  </a:lnTo>
                  <a:close/>
                </a:path>
              </a:pathLst>
            </a:custGeom>
            <a:solidFill>
              <a:srgbClr val="87C8F9"/>
            </a:solidFill>
          </p:spPr>
          <p:txBody>
            <a:bodyPr wrap="square" lIns="0" tIns="0" rIns="0" bIns="0" rtlCol="0"/>
            <a:lstStyle/>
            <a:p>
              <a:endParaRPr/>
            </a:p>
          </p:txBody>
        </p:sp>
        <p:sp>
          <p:nvSpPr>
            <p:cNvPr id="40" name="object 40"/>
            <p:cNvSpPr/>
            <p:nvPr/>
          </p:nvSpPr>
          <p:spPr>
            <a:xfrm>
              <a:off x="4328579" y="4259477"/>
              <a:ext cx="207645" cy="207645"/>
            </a:xfrm>
            <a:custGeom>
              <a:avLst/>
              <a:gdLst/>
              <a:ahLst/>
              <a:cxnLst/>
              <a:rect l="l" t="t" r="r" b="b"/>
              <a:pathLst>
                <a:path w="207645" h="207645">
                  <a:moveTo>
                    <a:pt x="29629" y="59321"/>
                  </a:moveTo>
                  <a:lnTo>
                    <a:pt x="0" y="59321"/>
                  </a:lnTo>
                  <a:lnTo>
                    <a:pt x="0" y="88976"/>
                  </a:lnTo>
                  <a:lnTo>
                    <a:pt x="29629" y="88976"/>
                  </a:lnTo>
                  <a:lnTo>
                    <a:pt x="29629" y="59321"/>
                  </a:lnTo>
                  <a:close/>
                </a:path>
                <a:path w="207645" h="207645">
                  <a:moveTo>
                    <a:pt x="88900" y="88976"/>
                  </a:moveTo>
                  <a:lnTo>
                    <a:pt x="59270" y="88976"/>
                  </a:lnTo>
                  <a:lnTo>
                    <a:pt x="59270" y="118630"/>
                  </a:lnTo>
                  <a:lnTo>
                    <a:pt x="88900" y="118630"/>
                  </a:lnTo>
                  <a:lnTo>
                    <a:pt x="88900" y="88976"/>
                  </a:lnTo>
                  <a:close/>
                </a:path>
                <a:path w="207645" h="207645">
                  <a:moveTo>
                    <a:pt x="118529" y="177952"/>
                  </a:moveTo>
                  <a:lnTo>
                    <a:pt x="88900" y="177952"/>
                  </a:lnTo>
                  <a:lnTo>
                    <a:pt x="88900" y="207606"/>
                  </a:lnTo>
                  <a:lnTo>
                    <a:pt x="118529" y="207606"/>
                  </a:lnTo>
                  <a:lnTo>
                    <a:pt x="118529" y="177952"/>
                  </a:lnTo>
                  <a:close/>
                </a:path>
                <a:path w="207645" h="207645">
                  <a:moveTo>
                    <a:pt x="207429" y="148297"/>
                  </a:moveTo>
                  <a:lnTo>
                    <a:pt x="177800" y="148297"/>
                  </a:lnTo>
                  <a:lnTo>
                    <a:pt x="177800" y="177952"/>
                  </a:lnTo>
                  <a:lnTo>
                    <a:pt x="207429" y="177952"/>
                  </a:lnTo>
                  <a:lnTo>
                    <a:pt x="207429" y="148297"/>
                  </a:lnTo>
                  <a:close/>
                </a:path>
                <a:path w="207645" h="207645">
                  <a:moveTo>
                    <a:pt x="207429" y="0"/>
                  </a:moveTo>
                  <a:lnTo>
                    <a:pt x="177800" y="0"/>
                  </a:lnTo>
                  <a:lnTo>
                    <a:pt x="177800" y="29654"/>
                  </a:lnTo>
                  <a:lnTo>
                    <a:pt x="207429" y="29654"/>
                  </a:lnTo>
                  <a:lnTo>
                    <a:pt x="207429" y="0"/>
                  </a:lnTo>
                  <a:close/>
                </a:path>
              </a:pathLst>
            </a:custGeom>
            <a:solidFill>
              <a:srgbClr val="54ABED"/>
            </a:solidFill>
          </p:spPr>
          <p:txBody>
            <a:bodyPr wrap="square" lIns="0" tIns="0" rIns="0" bIns="0" rtlCol="0"/>
            <a:lstStyle/>
            <a:p>
              <a:endParaRPr/>
            </a:p>
          </p:txBody>
        </p:sp>
        <p:sp>
          <p:nvSpPr>
            <p:cNvPr id="41" name="object 41"/>
            <p:cNvSpPr/>
            <p:nvPr/>
          </p:nvSpPr>
          <p:spPr>
            <a:xfrm>
              <a:off x="4447118" y="4378107"/>
              <a:ext cx="29845" cy="29845"/>
            </a:xfrm>
            <a:custGeom>
              <a:avLst/>
              <a:gdLst/>
              <a:ahLst/>
              <a:cxnLst/>
              <a:rect l="l" t="t" r="r" b="b"/>
              <a:pathLst>
                <a:path w="29845" h="29845">
                  <a:moveTo>
                    <a:pt x="29633" y="29659"/>
                  </a:moveTo>
                  <a:lnTo>
                    <a:pt x="0" y="29659"/>
                  </a:lnTo>
                  <a:lnTo>
                    <a:pt x="0" y="0"/>
                  </a:lnTo>
                  <a:lnTo>
                    <a:pt x="29633" y="0"/>
                  </a:lnTo>
                  <a:lnTo>
                    <a:pt x="29633" y="29659"/>
                  </a:lnTo>
                  <a:close/>
                </a:path>
              </a:pathLst>
            </a:custGeom>
            <a:solidFill>
              <a:srgbClr val="3B87C2"/>
            </a:solidFill>
          </p:spPr>
          <p:txBody>
            <a:bodyPr wrap="square" lIns="0" tIns="0" rIns="0" bIns="0" rtlCol="0"/>
            <a:lstStyle/>
            <a:p>
              <a:endParaRPr/>
            </a:p>
          </p:txBody>
        </p:sp>
        <p:sp>
          <p:nvSpPr>
            <p:cNvPr id="42" name="object 42"/>
            <p:cNvSpPr/>
            <p:nvPr/>
          </p:nvSpPr>
          <p:spPr>
            <a:xfrm>
              <a:off x="7440788" y="2858055"/>
              <a:ext cx="4880610" cy="5181600"/>
            </a:xfrm>
            <a:custGeom>
              <a:avLst/>
              <a:gdLst/>
              <a:ahLst/>
              <a:cxnLst/>
              <a:rect l="l" t="t" r="r" b="b"/>
              <a:pathLst>
                <a:path w="4880609" h="5181600">
                  <a:moveTo>
                    <a:pt x="0" y="5181396"/>
                  </a:moveTo>
                  <a:lnTo>
                    <a:pt x="4880418" y="5181396"/>
                  </a:lnTo>
                  <a:lnTo>
                    <a:pt x="4880418" y="0"/>
                  </a:lnTo>
                  <a:lnTo>
                    <a:pt x="0" y="0"/>
                  </a:lnTo>
                  <a:lnTo>
                    <a:pt x="0" y="5181396"/>
                  </a:lnTo>
                  <a:close/>
                </a:path>
              </a:pathLst>
            </a:custGeom>
            <a:solidFill>
              <a:srgbClr val="FFFFFF"/>
            </a:solidFill>
          </p:spPr>
          <p:txBody>
            <a:bodyPr wrap="square" lIns="0" tIns="0" rIns="0" bIns="0" rtlCol="0"/>
            <a:lstStyle/>
            <a:p>
              <a:endParaRPr/>
            </a:p>
          </p:txBody>
        </p:sp>
        <p:sp>
          <p:nvSpPr>
            <p:cNvPr id="43" name="object 43"/>
            <p:cNvSpPr/>
            <p:nvPr/>
          </p:nvSpPr>
          <p:spPr>
            <a:xfrm>
              <a:off x="7440648" y="7432107"/>
              <a:ext cx="4879975" cy="1945639"/>
            </a:xfrm>
            <a:custGeom>
              <a:avLst/>
              <a:gdLst/>
              <a:ahLst/>
              <a:cxnLst/>
              <a:rect l="l" t="t" r="r" b="b"/>
              <a:pathLst>
                <a:path w="4879975" h="1945640">
                  <a:moveTo>
                    <a:pt x="2426363" y="0"/>
                  </a:moveTo>
                  <a:lnTo>
                    <a:pt x="2455702" y="33"/>
                  </a:lnTo>
                  <a:lnTo>
                    <a:pt x="4879389" y="430137"/>
                  </a:lnTo>
                  <a:lnTo>
                    <a:pt x="4877680" y="1945529"/>
                  </a:lnTo>
                  <a:lnTo>
                    <a:pt x="0" y="1940026"/>
                  </a:lnTo>
                  <a:lnTo>
                    <a:pt x="1709" y="424634"/>
                  </a:lnTo>
                  <a:lnTo>
                    <a:pt x="2426363" y="0"/>
                  </a:lnTo>
                  <a:close/>
                </a:path>
              </a:pathLst>
            </a:custGeom>
            <a:solidFill>
              <a:srgbClr val="0090AE"/>
            </a:solidFill>
          </p:spPr>
          <p:txBody>
            <a:bodyPr wrap="square" lIns="0" tIns="0" rIns="0" bIns="0" rtlCol="0"/>
            <a:lstStyle/>
            <a:p>
              <a:endParaRPr/>
            </a:p>
          </p:txBody>
        </p:sp>
        <p:sp>
          <p:nvSpPr>
            <p:cNvPr id="44" name="object 44"/>
            <p:cNvSpPr/>
            <p:nvPr/>
          </p:nvSpPr>
          <p:spPr>
            <a:xfrm>
              <a:off x="9384651" y="6624314"/>
              <a:ext cx="1276350" cy="1276350"/>
            </a:xfrm>
            <a:custGeom>
              <a:avLst/>
              <a:gdLst/>
              <a:ahLst/>
              <a:cxnLst/>
              <a:rect l="l" t="t" r="r" b="b"/>
              <a:pathLst>
                <a:path w="1276350" h="1276350">
                  <a:moveTo>
                    <a:pt x="637990" y="1275968"/>
                  </a:moveTo>
                  <a:lnTo>
                    <a:pt x="590370" y="1274218"/>
                  </a:lnTo>
                  <a:lnTo>
                    <a:pt x="543707" y="1269050"/>
                  </a:lnTo>
                  <a:lnTo>
                    <a:pt x="498118" y="1260589"/>
                  </a:lnTo>
                  <a:lnTo>
                    <a:pt x="453725" y="1248956"/>
                  </a:lnTo>
                  <a:lnTo>
                    <a:pt x="410653" y="1234276"/>
                  </a:lnTo>
                  <a:lnTo>
                    <a:pt x="369025" y="1216672"/>
                  </a:lnTo>
                  <a:lnTo>
                    <a:pt x="328965" y="1196267"/>
                  </a:lnTo>
                  <a:lnTo>
                    <a:pt x="290594" y="1173185"/>
                  </a:lnTo>
                  <a:lnTo>
                    <a:pt x="254038" y="1147548"/>
                  </a:lnTo>
                  <a:lnTo>
                    <a:pt x="219419" y="1119481"/>
                  </a:lnTo>
                  <a:lnTo>
                    <a:pt x="186861" y="1089107"/>
                  </a:lnTo>
                  <a:lnTo>
                    <a:pt x="156486" y="1056548"/>
                  </a:lnTo>
                  <a:lnTo>
                    <a:pt x="128419" y="1021929"/>
                  </a:lnTo>
                  <a:lnTo>
                    <a:pt x="102782" y="985373"/>
                  </a:lnTo>
                  <a:lnTo>
                    <a:pt x="79700" y="947002"/>
                  </a:lnTo>
                  <a:lnTo>
                    <a:pt x="59295" y="906942"/>
                  </a:lnTo>
                  <a:lnTo>
                    <a:pt x="41691" y="865314"/>
                  </a:lnTo>
                  <a:lnTo>
                    <a:pt x="27011" y="822242"/>
                  </a:lnTo>
                  <a:lnTo>
                    <a:pt x="15378" y="777850"/>
                  </a:lnTo>
                  <a:lnTo>
                    <a:pt x="6917" y="732260"/>
                  </a:lnTo>
                  <a:lnTo>
                    <a:pt x="1749" y="685597"/>
                  </a:lnTo>
                  <a:lnTo>
                    <a:pt x="0" y="637993"/>
                  </a:lnTo>
                  <a:lnTo>
                    <a:pt x="1749" y="590370"/>
                  </a:lnTo>
                  <a:lnTo>
                    <a:pt x="6917" y="543707"/>
                  </a:lnTo>
                  <a:lnTo>
                    <a:pt x="15378" y="498118"/>
                  </a:lnTo>
                  <a:lnTo>
                    <a:pt x="27011" y="453726"/>
                  </a:lnTo>
                  <a:lnTo>
                    <a:pt x="41691" y="410654"/>
                  </a:lnTo>
                  <a:lnTo>
                    <a:pt x="59295" y="369026"/>
                  </a:lnTo>
                  <a:lnTo>
                    <a:pt x="79700" y="328965"/>
                  </a:lnTo>
                  <a:lnTo>
                    <a:pt x="102782" y="290595"/>
                  </a:lnTo>
                  <a:lnTo>
                    <a:pt x="128419" y="254038"/>
                  </a:lnTo>
                  <a:lnTo>
                    <a:pt x="156486" y="219419"/>
                  </a:lnTo>
                  <a:lnTo>
                    <a:pt x="186861" y="186861"/>
                  </a:lnTo>
                  <a:lnTo>
                    <a:pt x="219419" y="156486"/>
                  </a:lnTo>
                  <a:lnTo>
                    <a:pt x="254038" y="128419"/>
                  </a:lnTo>
                  <a:lnTo>
                    <a:pt x="290594" y="102783"/>
                  </a:lnTo>
                  <a:lnTo>
                    <a:pt x="328965" y="79700"/>
                  </a:lnTo>
                  <a:lnTo>
                    <a:pt x="369025" y="59295"/>
                  </a:lnTo>
                  <a:lnTo>
                    <a:pt x="410653" y="41691"/>
                  </a:lnTo>
                  <a:lnTo>
                    <a:pt x="453725" y="27011"/>
                  </a:lnTo>
                  <a:lnTo>
                    <a:pt x="498118" y="15379"/>
                  </a:lnTo>
                  <a:lnTo>
                    <a:pt x="543707" y="6917"/>
                  </a:lnTo>
                  <a:lnTo>
                    <a:pt x="590370" y="1749"/>
                  </a:lnTo>
                  <a:lnTo>
                    <a:pt x="637984" y="0"/>
                  </a:lnTo>
                  <a:lnTo>
                    <a:pt x="685597" y="1749"/>
                  </a:lnTo>
                  <a:lnTo>
                    <a:pt x="732260" y="6917"/>
                  </a:lnTo>
                  <a:lnTo>
                    <a:pt x="777849" y="15379"/>
                  </a:lnTo>
                  <a:lnTo>
                    <a:pt x="822242" y="27011"/>
                  </a:lnTo>
                  <a:lnTo>
                    <a:pt x="865313" y="41691"/>
                  </a:lnTo>
                  <a:lnTo>
                    <a:pt x="906941" y="59295"/>
                  </a:lnTo>
                  <a:lnTo>
                    <a:pt x="947002" y="79700"/>
                  </a:lnTo>
                  <a:lnTo>
                    <a:pt x="985372" y="102783"/>
                  </a:lnTo>
                  <a:lnTo>
                    <a:pt x="1021928" y="128419"/>
                  </a:lnTo>
                  <a:lnTo>
                    <a:pt x="1056548" y="156486"/>
                  </a:lnTo>
                  <a:lnTo>
                    <a:pt x="1089106" y="186861"/>
                  </a:lnTo>
                  <a:lnTo>
                    <a:pt x="1119480" y="219419"/>
                  </a:lnTo>
                  <a:lnTo>
                    <a:pt x="1147548" y="254038"/>
                  </a:lnTo>
                  <a:lnTo>
                    <a:pt x="1173184" y="290595"/>
                  </a:lnTo>
                  <a:lnTo>
                    <a:pt x="1196266" y="328965"/>
                  </a:lnTo>
                  <a:lnTo>
                    <a:pt x="1216671" y="369026"/>
                  </a:lnTo>
                  <a:lnTo>
                    <a:pt x="1234275" y="410654"/>
                  </a:lnTo>
                  <a:lnTo>
                    <a:pt x="1248956" y="453726"/>
                  </a:lnTo>
                  <a:lnTo>
                    <a:pt x="1260588" y="498118"/>
                  </a:lnTo>
                  <a:lnTo>
                    <a:pt x="1269050" y="543707"/>
                  </a:lnTo>
                  <a:lnTo>
                    <a:pt x="1274217" y="590370"/>
                  </a:lnTo>
                  <a:lnTo>
                    <a:pt x="1275967" y="637975"/>
                  </a:lnTo>
                  <a:lnTo>
                    <a:pt x="1274217" y="685597"/>
                  </a:lnTo>
                  <a:lnTo>
                    <a:pt x="1269050" y="732260"/>
                  </a:lnTo>
                  <a:lnTo>
                    <a:pt x="1260588" y="777850"/>
                  </a:lnTo>
                  <a:lnTo>
                    <a:pt x="1248956" y="822242"/>
                  </a:lnTo>
                  <a:lnTo>
                    <a:pt x="1234275" y="865314"/>
                  </a:lnTo>
                  <a:lnTo>
                    <a:pt x="1216671" y="906942"/>
                  </a:lnTo>
                  <a:lnTo>
                    <a:pt x="1196266" y="947002"/>
                  </a:lnTo>
                  <a:lnTo>
                    <a:pt x="1173184" y="985373"/>
                  </a:lnTo>
                  <a:lnTo>
                    <a:pt x="1147548" y="1021929"/>
                  </a:lnTo>
                  <a:lnTo>
                    <a:pt x="1119480" y="1056548"/>
                  </a:lnTo>
                  <a:lnTo>
                    <a:pt x="1089106" y="1089107"/>
                  </a:lnTo>
                  <a:lnTo>
                    <a:pt x="1056548" y="1119481"/>
                  </a:lnTo>
                  <a:lnTo>
                    <a:pt x="1021928" y="1147548"/>
                  </a:lnTo>
                  <a:lnTo>
                    <a:pt x="985372" y="1173185"/>
                  </a:lnTo>
                  <a:lnTo>
                    <a:pt x="947002" y="1196267"/>
                  </a:lnTo>
                  <a:lnTo>
                    <a:pt x="906941" y="1216672"/>
                  </a:lnTo>
                  <a:lnTo>
                    <a:pt x="865313" y="1234276"/>
                  </a:lnTo>
                  <a:lnTo>
                    <a:pt x="822242" y="1248956"/>
                  </a:lnTo>
                  <a:lnTo>
                    <a:pt x="777849" y="1260589"/>
                  </a:lnTo>
                  <a:lnTo>
                    <a:pt x="732260" y="1269050"/>
                  </a:lnTo>
                  <a:lnTo>
                    <a:pt x="685597" y="1274218"/>
                  </a:lnTo>
                  <a:lnTo>
                    <a:pt x="637990" y="1275968"/>
                  </a:lnTo>
                  <a:close/>
                </a:path>
              </a:pathLst>
            </a:custGeom>
            <a:solidFill>
              <a:srgbClr val="F5A316"/>
            </a:solidFill>
          </p:spPr>
          <p:txBody>
            <a:bodyPr wrap="square" lIns="0" tIns="0" rIns="0" bIns="0" rtlCol="0"/>
            <a:lstStyle/>
            <a:p>
              <a:endParaRPr/>
            </a:p>
          </p:txBody>
        </p:sp>
        <p:sp>
          <p:nvSpPr>
            <p:cNvPr id="45" name="object 45"/>
            <p:cNvSpPr/>
            <p:nvPr/>
          </p:nvSpPr>
          <p:spPr>
            <a:xfrm>
              <a:off x="9678403" y="6934326"/>
              <a:ext cx="660400" cy="660400"/>
            </a:xfrm>
            <a:custGeom>
              <a:avLst/>
              <a:gdLst/>
              <a:ahLst/>
              <a:cxnLst/>
              <a:rect l="l" t="t" r="r" b="b"/>
              <a:pathLst>
                <a:path w="660400" h="660400">
                  <a:moveTo>
                    <a:pt x="356387" y="218909"/>
                  </a:moveTo>
                  <a:lnTo>
                    <a:pt x="344614" y="176161"/>
                  </a:lnTo>
                  <a:lnTo>
                    <a:pt x="309270" y="148805"/>
                  </a:lnTo>
                  <a:lnTo>
                    <a:pt x="290703" y="141528"/>
                  </a:lnTo>
                  <a:lnTo>
                    <a:pt x="290703" y="214617"/>
                  </a:lnTo>
                  <a:lnTo>
                    <a:pt x="290703" y="220179"/>
                  </a:lnTo>
                  <a:lnTo>
                    <a:pt x="289394" y="228841"/>
                  </a:lnTo>
                  <a:lnTo>
                    <a:pt x="285457" y="235940"/>
                  </a:lnTo>
                  <a:lnTo>
                    <a:pt x="278917" y="241477"/>
                  </a:lnTo>
                  <a:lnTo>
                    <a:pt x="269760" y="245478"/>
                  </a:lnTo>
                  <a:lnTo>
                    <a:pt x="269760" y="242620"/>
                  </a:lnTo>
                  <a:lnTo>
                    <a:pt x="269760" y="196481"/>
                  </a:lnTo>
                  <a:lnTo>
                    <a:pt x="271183" y="196481"/>
                  </a:lnTo>
                  <a:lnTo>
                    <a:pt x="271183" y="196316"/>
                  </a:lnTo>
                  <a:lnTo>
                    <a:pt x="278168" y="199186"/>
                  </a:lnTo>
                  <a:lnTo>
                    <a:pt x="283718" y="203314"/>
                  </a:lnTo>
                  <a:lnTo>
                    <a:pt x="286575" y="206184"/>
                  </a:lnTo>
                  <a:lnTo>
                    <a:pt x="289433" y="210324"/>
                  </a:lnTo>
                  <a:lnTo>
                    <a:pt x="290703" y="214617"/>
                  </a:lnTo>
                  <a:lnTo>
                    <a:pt x="290703" y="141528"/>
                  </a:lnTo>
                  <a:lnTo>
                    <a:pt x="272605" y="136182"/>
                  </a:lnTo>
                  <a:lnTo>
                    <a:pt x="272605" y="120751"/>
                  </a:lnTo>
                  <a:lnTo>
                    <a:pt x="272605" y="77317"/>
                  </a:lnTo>
                  <a:lnTo>
                    <a:pt x="283349" y="81203"/>
                  </a:lnTo>
                  <a:lnTo>
                    <a:pt x="294627" y="86563"/>
                  </a:lnTo>
                  <a:lnTo>
                    <a:pt x="306438" y="93268"/>
                  </a:lnTo>
                  <a:lnTo>
                    <a:pt x="318782" y="101180"/>
                  </a:lnTo>
                  <a:lnTo>
                    <a:pt x="334949" y="77317"/>
                  </a:lnTo>
                  <a:lnTo>
                    <a:pt x="336880" y="74460"/>
                  </a:lnTo>
                  <a:lnTo>
                    <a:pt x="351002" y="53619"/>
                  </a:lnTo>
                  <a:lnTo>
                    <a:pt x="331101" y="41249"/>
                  </a:lnTo>
                  <a:lnTo>
                    <a:pt x="311175" y="31673"/>
                  </a:lnTo>
                  <a:lnTo>
                    <a:pt x="291236" y="24993"/>
                  </a:lnTo>
                  <a:lnTo>
                    <a:pt x="271335" y="21323"/>
                  </a:lnTo>
                  <a:lnTo>
                    <a:pt x="271335" y="317"/>
                  </a:lnTo>
                  <a:lnTo>
                    <a:pt x="229450" y="317"/>
                  </a:lnTo>
                  <a:lnTo>
                    <a:pt x="229450" y="19888"/>
                  </a:lnTo>
                  <a:lnTo>
                    <a:pt x="229285" y="19926"/>
                  </a:lnTo>
                  <a:lnTo>
                    <a:pt x="229285" y="74460"/>
                  </a:lnTo>
                  <a:lnTo>
                    <a:pt x="229285" y="120751"/>
                  </a:lnTo>
                  <a:lnTo>
                    <a:pt x="221983" y="116865"/>
                  </a:lnTo>
                  <a:lnTo>
                    <a:pt x="216712" y="111506"/>
                  </a:lnTo>
                  <a:lnTo>
                    <a:pt x="213537" y="104800"/>
                  </a:lnTo>
                  <a:lnTo>
                    <a:pt x="212471" y="96888"/>
                  </a:lnTo>
                  <a:lnTo>
                    <a:pt x="213512" y="89268"/>
                  </a:lnTo>
                  <a:lnTo>
                    <a:pt x="216662" y="83045"/>
                  </a:lnTo>
                  <a:lnTo>
                    <a:pt x="221907" y="78143"/>
                  </a:lnTo>
                  <a:lnTo>
                    <a:pt x="229285" y="74460"/>
                  </a:lnTo>
                  <a:lnTo>
                    <a:pt x="229285" y="19926"/>
                  </a:lnTo>
                  <a:lnTo>
                    <a:pt x="183057" y="36195"/>
                  </a:lnTo>
                  <a:lnTo>
                    <a:pt x="153784" y="71831"/>
                  </a:lnTo>
                  <a:lnTo>
                    <a:pt x="148475" y="101180"/>
                  </a:lnTo>
                  <a:lnTo>
                    <a:pt x="148551" y="104800"/>
                  </a:lnTo>
                  <a:lnTo>
                    <a:pt x="159550" y="144602"/>
                  </a:lnTo>
                  <a:lnTo>
                    <a:pt x="192836" y="171119"/>
                  </a:lnTo>
                  <a:lnTo>
                    <a:pt x="229450" y="183756"/>
                  </a:lnTo>
                  <a:lnTo>
                    <a:pt x="229450" y="242620"/>
                  </a:lnTo>
                  <a:lnTo>
                    <a:pt x="216573" y="238175"/>
                  </a:lnTo>
                  <a:lnTo>
                    <a:pt x="203073" y="231076"/>
                  </a:lnTo>
                  <a:lnTo>
                    <a:pt x="188798" y="221361"/>
                  </a:lnTo>
                  <a:lnTo>
                    <a:pt x="173596" y="209042"/>
                  </a:lnTo>
                  <a:lnTo>
                    <a:pt x="173278" y="208889"/>
                  </a:lnTo>
                  <a:lnTo>
                    <a:pt x="136944" y="253758"/>
                  </a:lnTo>
                  <a:lnTo>
                    <a:pt x="158648" y="270852"/>
                  </a:lnTo>
                  <a:lnTo>
                    <a:pt x="181673" y="284238"/>
                  </a:lnTo>
                  <a:lnTo>
                    <a:pt x="205740" y="293954"/>
                  </a:lnTo>
                  <a:lnTo>
                    <a:pt x="230555" y="300050"/>
                  </a:lnTo>
                  <a:lnTo>
                    <a:pt x="230555" y="329476"/>
                  </a:lnTo>
                  <a:lnTo>
                    <a:pt x="272453" y="329476"/>
                  </a:lnTo>
                  <a:lnTo>
                    <a:pt x="272453" y="301485"/>
                  </a:lnTo>
                  <a:lnTo>
                    <a:pt x="290550" y="298297"/>
                  </a:lnTo>
                  <a:lnTo>
                    <a:pt x="334022" y="274916"/>
                  </a:lnTo>
                  <a:lnTo>
                    <a:pt x="352107" y="245478"/>
                  </a:lnTo>
                  <a:lnTo>
                    <a:pt x="355066" y="234950"/>
                  </a:lnTo>
                  <a:lnTo>
                    <a:pt x="356387" y="218909"/>
                  </a:lnTo>
                  <a:close/>
                </a:path>
                <a:path w="660400" h="660400">
                  <a:moveTo>
                    <a:pt x="658190" y="631913"/>
                  </a:moveTo>
                  <a:lnTo>
                    <a:pt x="655993" y="621030"/>
                  </a:lnTo>
                  <a:lnTo>
                    <a:pt x="649998" y="612127"/>
                  </a:lnTo>
                  <a:lnTo>
                    <a:pt x="641121" y="606120"/>
                  </a:lnTo>
                  <a:lnTo>
                    <a:pt x="630262" y="603923"/>
                  </a:lnTo>
                  <a:lnTo>
                    <a:pt x="55854" y="604075"/>
                  </a:lnTo>
                  <a:lnTo>
                    <a:pt x="55854" y="28003"/>
                  </a:lnTo>
                  <a:lnTo>
                    <a:pt x="53657" y="17119"/>
                  </a:lnTo>
                  <a:lnTo>
                    <a:pt x="47663" y="8216"/>
                  </a:lnTo>
                  <a:lnTo>
                    <a:pt x="38785" y="2209"/>
                  </a:lnTo>
                  <a:lnTo>
                    <a:pt x="27927" y="0"/>
                  </a:lnTo>
                  <a:lnTo>
                    <a:pt x="17068" y="2209"/>
                  </a:lnTo>
                  <a:lnTo>
                    <a:pt x="8191" y="8216"/>
                  </a:lnTo>
                  <a:lnTo>
                    <a:pt x="2197" y="17119"/>
                  </a:lnTo>
                  <a:lnTo>
                    <a:pt x="0" y="28003"/>
                  </a:lnTo>
                  <a:lnTo>
                    <a:pt x="0" y="631913"/>
                  </a:lnTo>
                  <a:lnTo>
                    <a:pt x="2197" y="642797"/>
                  </a:lnTo>
                  <a:lnTo>
                    <a:pt x="8191" y="651700"/>
                  </a:lnTo>
                  <a:lnTo>
                    <a:pt x="17068" y="657707"/>
                  </a:lnTo>
                  <a:lnTo>
                    <a:pt x="27927" y="659917"/>
                  </a:lnTo>
                  <a:lnTo>
                    <a:pt x="630262" y="659917"/>
                  </a:lnTo>
                  <a:lnTo>
                    <a:pt x="641121" y="657707"/>
                  </a:lnTo>
                  <a:lnTo>
                    <a:pt x="649998" y="651700"/>
                  </a:lnTo>
                  <a:lnTo>
                    <a:pt x="655993" y="642797"/>
                  </a:lnTo>
                  <a:lnTo>
                    <a:pt x="658190" y="631913"/>
                  </a:lnTo>
                  <a:close/>
                </a:path>
                <a:path w="660400" h="660400">
                  <a:moveTo>
                    <a:pt x="659777" y="284302"/>
                  </a:moveTo>
                  <a:lnTo>
                    <a:pt x="657580" y="273418"/>
                  </a:lnTo>
                  <a:lnTo>
                    <a:pt x="651586" y="264515"/>
                  </a:lnTo>
                  <a:lnTo>
                    <a:pt x="642708" y="258508"/>
                  </a:lnTo>
                  <a:lnTo>
                    <a:pt x="631850" y="256298"/>
                  </a:lnTo>
                  <a:lnTo>
                    <a:pt x="475246" y="256298"/>
                  </a:lnTo>
                  <a:lnTo>
                    <a:pt x="464388" y="258508"/>
                  </a:lnTo>
                  <a:lnTo>
                    <a:pt x="455510" y="264515"/>
                  </a:lnTo>
                  <a:lnTo>
                    <a:pt x="449516" y="273418"/>
                  </a:lnTo>
                  <a:lnTo>
                    <a:pt x="447319" y="284302"/>
                  </a:lnTo>
                  <a:lnTo>
                    <a:pt x="449516" y="295186"/>
                  </a:lnTo>
                  <a:lnTo>
                    <a:pt x="455510" y="304088"/>
                  </a:lnTo>
                  <a:lnTo>
                    <a:pt x="464388" y="310095"/>
                  </a:lnTo>
                  <a:lnTo>
                    <a:pt x="475246" y="312293"/>
                  </a:lnTo>
                  <a:lnTo>
                    <a:pt x="568858" y="312293"/>
                  </a:lnTo>
                  <a:lnTo>
                    <a:pt x="427634" y="439889"/>
                  </a:lnTo>
                  <a:lnTo>
                    <a:pt x="321487" y="346024"/>
                  </a:lnTo>
                  <a:lnTo>
                    <a:pt x="312280" y="340702"/>
                  </a:lnTo>
                  <a:lnTo>
                    <a:pt x="302120" y="339344"/>
                  </a:lnTo>
                  <a:lnTo>
                    <a:pt x="292201" y="341680"/>
                  </a:lnTo>
                  <a:lnTo>
                    <a:pt x="283718" y="347459"/>
                  </a:lnTo>
                  <a:lnTo>
                    <a:pt x="127101" y="507187"/>
                  </a:lnTo>
                  <a:lnTo>
                    <a:pt x="120853" y="516432"/>
                  </a:lnTo>
                  <a:lnTo>
                    <a:pt x="118770" y="526770"/>
                  </a:lnTo>
                  <a:lnTo>
                    <a:pt x="120853" y="537146"/>
                  </a:lnTo>
                  <a:lnTo>
                    <a:pt x="127101" y="546481"/>
                  </a:lnTo>
                  <a:lnTo>
                    <a:pt x="132651" y="552056"/>
                  </a:lnTo>
                  <a:lnTo>
                    <a:pt x="139636" y="554913"/>
                  </a:lnTo>
                  <a:lnTo>
                    <a:pt x="146773" y="554913"/>
                  </a:lnTo>
                  <a:lnTo>
                    <a:pt x="153758" y="554913"/>
                  </a:lnTo>
                  <a:lnTo>
                    <a:pt x="160743" y="552056"/>
                  </a:lnTo>
                  <a:lnTo>
                    <a:pt x="306095" y="404888"/>
                  </a:lnTo>
                  <a:lnTo>
                    <a:pt x="410972" y="497319"/>
                  </a:lnTo>
                  <a:lnTo>
                    <a:pt x="419417" y="502869"/>
                  </a:lnTo>
                  <a:lnTo>
                    <a:pt x="429145" y="504723"/>
                  </a:lnTo>
                  <a:lnTo>
                    <a:pt x="438873" y="502869"/>
                  </a:lnTo>
                  <a:lnTo>
                    <a:pt x="447319" y="497319"/>
                  </a:lnTo>
                  <a:lnTo>
                    <a:pt x="603923" y="354457"/>
                  </a:lnTo>
                  <a:lnTo>
                    <a:pt x="603923" y="439889"/>
                  </a:lnTo>
                  <a:lnTo>
                    <a:pt x="606132" y="450773"/>
                  </a:lnTo>
                  <a:lnTo>
                    <a:pt x="612114" y="459676"/>
                  </a:lnTo>
                  <a:lnTo>
                    <a:pt x="621004" y="465683"/>
                  </a:lnTo>
                  <a:lnTo>
                    <a:pt x="631850" y="467893"/>
                  </a:lnTo>
                  <a:lnTo>
                    <a:pt x="642708" y="465683"/>
                  </a:lnTo>
                  <a:lnTo>
                    <a:pt x="651586" y="459676"/>
                  </a:lnTo>
                  <a:lnTo>
                    <a:pt x="657580" y="450773"/>
                  </a:lnTo>
                  <a:lnTo>
                    <a:pt x="659777" y="439889"/>
                  </a:lnTo>
                  <a:lnTo>
                    <a:pt x="659777" y="284302"/>
                  </a:lnTo>
                  <a:close/>
                </a:path>
              </a:pathLst>
            </a:custGeom>
            <a:solidFill>
              <a:srgbClr val="FFFFFF"/>
            </a:solidFill>
          </p:spPr>
          <p:txBody>
            <a:bodyPr wrap="square" lIns="0" tIns="0" rIns="0" bIns="0" rtlCol="0"/>
            <a:lstStyle/>
            <a:p>
              <a:endParaRPr/>
            </a:p>
          </p:txBody>
        </p:sp>
      </p:grpSp>
      <p:sp>
        <p:nvSpPr>
          <p:cNvPr id="46" name="object 46"/>
          <p:cNvSpPr txBox="1"/>
          <p:nvPr/>
        </p:nvSpPr>
        <p:spPr>
          <a:xfrm>
            <a:off x="2740627" y="4794755"/>
            <a:ext cx="410209" cy="244475"/>
          </a:xfrm>
          <a:prstGeom prst="rect">
            <a:avLst/>
          </a:prstGeom>
        </p:spPr>
        <p:txBody>
          <a:bodyPr vert="horz" wrap="square" lIns="0" tIns="17145" rIns="0" bIns="0" rtlCol="0">
            <a:spAutoFit/>
          </a:bodyPr>
          <a:lstStyle/>
          <a:p>
            <a:pPr marL="12700">
              <a:lnSpc>
                <a:spcPct val="100000"/>
              </a:lnSpc>
              <a:spcBef>
                <a:spcPts val="135"/>
              </a:spcBef>
            </a:pPr>
            <a:r>
              <a:rPr sz="1400" b="1" spc="-20" dirty="0">
                <a:solidFill>
                  <a:srgbClr val="737373"/>
                </a:solidFill>
                <a:latin typeface="Roboto"/>
                <a:cs typeface="Roboto"/>
              </a:rPr>
              <a:t>Perú</a:t>
            </a:r>
            <a:endParaRPr sz="1400">
              <a:latin typeface="Roboto"/>
              <a:cs typeface="Roboto"/>
            </a:endParaRPr>
          </a:p>
        </p:txBody>
      </p:sp>
      <p:sp>
        <p:nvSpPr>
          <p:cNvPr id="47" name="object 47"/>
          <p:cNvSpPr txBox="1"/>
          <p:nvPr/>
        </p:nvSpPr>
        <p:spPr>
          <a:xfrm>
            <a:off x="3371182" y="6208739"/>
            <a:ext cx="579755" cy="244475"/>
          </a:xfrm>
          <a:prstGeom prst="rect">
            <a:avLst/>
          </a:prstGeom>
        </p:spPr>
        <p:txBody>
          <a:bodyPr vert="horz" wrap="square" lIns="0" tIns="17145" rIns="0" bIns="0" rtlCol="0">
            <a:spAutoFit/>
          </a:bodyPr>
          <a:lstStyle/>
          <a:p>
            <a:pPr marL="12700">
              <a:lnSpc>
                <a:spcPct val="100000"/>
              </a:lnSpc>
              <a:spcBef>
                <a:spcPts val="135"/>
              </a:spcBef>
            </a:pPr>
            <a:r>
              <a:rPr sz="1400" b="1" spc="-10" dirty="0">
                <a:solidFill>
                  <a:srgbClr val="737373"/>
                </a:solidFill>
                <a:latin typeface="Roboto"/>
                <a:cs typeface="Roboto"/>
              </a:rPr>
              <a:t>Bolivia</a:t>
            </a:r>
            <a:endParaRPr sz="1400">
              <a:latin typeface="Roboto"/>
              <a:cs typeface="Roboto"/>
            </a:endParaRPr>
          </a:p>
        </p:txBody>
      </p:sp>
      <p:sp>
        <p:nvSpPr>
          <p:cNvPr id="48" name="object 48"/>
          <p:cNvSpPr txBox="1"/>
          <p:nvPr/>
        </p:nvSpPr>
        <p:spPr>
          <a:xfrm>
            <a:off x="4772642" y="6208739"/>
            <a:ext cx="805815" cy="244475"/>
          </a:xfrm>
          <a:prstGeom prst="rect">
            <a:avLst/>
          </a:prstGeom>
        </p:spPr>
        <p:txBody>
          <a:bodyPr vert="horz" wrap="square" lIns="0" tIns="17145" rIns="0" bIns="0" rtlCol="0">
            <a:spAutoFit/>
          </a:bodyPr>
          <a:lstStyle/>
          <a:p>
            <a:pPr marL="12700">
              <a:lnSpc>
                <a:spcPct val="100000"/>
              </a:lnSpc>
              <a:spcBef>
                <a:spcPts val="135"/>
              </a:spcBef>
            </a:pPr>
            <a:r>
              <a:rPr sz="1400" b="1" spc="-10" dirty="0">
                <a:solidFill>
                  <a:srgbClr val="737373"/>
                </a:solidFill>
                <a:latin typeface="Roboto"/>
                <a:cs typeface="Roboto"/>
              </a:rPr>
              <a:t>Colombia</a:t>
            </a:r>
            <a:endParaRPr sz="1400">
              <a:latin typeface="Roboto"/>
              <a:cs typeface="Roboto"/>
            </a:endParaRPr>
          </a:p>
        </p:txBody>
      </p:sp>
      <p:sp>
        <p:nvSpPr>
          <p:cNvPr id="49" name="object 49"/>
          <p:cNvSpPr txBox="1"/>
          <p:nvPr/>
        </p:nvSpPr>
        <p:spPr>
          <a:xfrm>
            <a:off x="5516523" y="4794755"/>
            <a:ext cx="828675" cy="244475"/>
          </a:xfrm>
          <a:prstGeom prst="rect">
            <a:avLst/>
          </a:prstGeom>
        </p:spPr>
        <p:txBody>
          <a:bodyPr vert="horz" wrap="square" lIns="0" tIns="17145" rIns="0" bIns="0" rtlCol="0">
            <a:spAutoFit/>
          </a:bodyPr>
          <a:lstStyle/>
          <a:p>
            <a:pPr marL="12700">
              <a:lnSpc>
                <a:spcPct val="100000"/>
              </a:lnSpc>
              <a:spcBef>
                <a:spcPts val="135"/>
              </a:spcBef>
            </a:pPr>
            <a:r>
              <a:rPr sz="1400" b="1" spc="-10" dirty="0">
                <a:solidFill>
                  <a:srgbClr val="737373"/>
                </a:solidFill>
                <a:latin typeface="Roboto"/>
                <a:cs typeface="Roboto"/>
              </a:rPr>
              <a:t>Argentina</a:t>
            </a:r>
            <a:endParaRPr sz="1400">
              <a:latin typeface="Roboto"/>
              <a:cs typeface="Roboto"/>
            </a:endParaRPr>
          </a:p>
        </p:txBody>
      </p:sp>
      <p:sp>
        <p:nvSpPr>
          <p:cNvPr id="50" name="object 50"/>
          <p:cNvSpPr txBox="1"/>
          <p:nvPr/>
        </p:nvSpPr>
        <p:spPr>
          <a:xfrm>
            <a:off x="4128066" y="4794755"/>
            <a:ext cx="496570" cy="244475"/>
          </a:xfrm>
          <a:prstGeom prst="rect">
            <a:avLst/>
          </a:prstGeom>
        </p:spPr>
        <p:txBody>
          <a:bodyPr vert="horz" wrap="square" lIns="0" tIns="17145" rIns="0" bIns="0" rtlCol="0">
            <a:spAutoFit/>
          </a:bodyPr>
          <a:lstStyle/>
          <a:p>
            <a:pPr marL="12700">
              <a:lnSpc>
                <a:spcPct val="100000"/>
              </a:lnSpc>
              <a:spcBef>
                <a:spcPts val="135"/>
              </a:spcBef>
            </a:pPr>
            <a:r>
              <a:rPr sz="1400" b="1" spc="-10" dirty="0">
                <a:solidFill>
                  <a:srgbClr val="737373"/>
                </a:solidFill>
                <a:latin typeface="Roboto"/>
                <a:cs typeface="Roboto"/>
              </a:rPr>
              <a:t>Brasil</a:t>
            </a:r>
            <a:endParaRPr sz="1400">
              <a:latin typeface="Roboto"/>
              <a:cs typeface="Roboto"/>
            </a:endParaRPr>
          </a:p>
        </p:txBody>
      </p:sp>
      <p:sp>
        <p:nvSpPr>
          <p:cNvPr id="51" name="object 51"/>
          <p:cNvSpPr txBox="1"/>
          <p:nvPr/>
        </p:nvSpPr>
        <p:spPr>
          <a:xfrm>
            <a:off x="7440788" y="1565706"/>
            <a:ext cx="4880610" cy="1292860"/>
          </a:xfrm>
          <a:prstGeom prst="rect">
            <a:avLst/>
          </a:prstGeom>
          <a:solidFill>
            <a:srgbClr val="0090AE"/>
          </a:solidFill>
        </p:spPr>
        <p:txBody>
          <a:bodyPr vert="horz" wrap="square" lIns="0" tIns="228600" rIns="0" bIns="0" rtlCol="0">
            <a:spAutoFit/>
          </a:bodyPr>
          <a:lstStyle/>
          <a:p>
            <a:pPr marL="1871980" marR="1158240" indent="-536575">
              <a:lnSpc>
                <a:spcPct val="104200"/>
              </a:lnSpc>
              <a:spcBef>
                <a:spcPts val="1800"/>
              </a:spcBef>
            </a:pPr>
            <a:r>
              <a:rPr sz="2700" spc="-10" dirty="0">
                <a:solidFill>
                  <a:srgbClr val="FFFFFF"/>
                </a:solidFill>
                <a:latin typeface="Roboto"/>
                <a:cs typeface="Roboto"/>
              </a:rPr>
              <a:t>Mercados</a:t>
            </a:r>
            <a:r>
              <a:rPr sz="2700" spc="-105" dirty="0">
                <a:solidFill>
                  <a:srgbClr val="FFFFFF"/>
                </a:solidFill>
                <a:latin typeface="Roboto"/>
                <a:cs typeface="Roboto"/>
              </a:rPr>
              <a:t> </a:t>
            </a:r>
            <a:r>
              <a:rPr sz="2700" spc="-20" dirty="0">
                <a:solidFill>
                  <a:srgbClr val="FFFFFF"/>
                </a:solidFill>
                <a:latin typeface="Roboto"/>
                <a:cs typeface="Roboto"/>
              </a:rPr>
              <a:t>larga </a:t>
            </a:r>
            <a:r>
              <a:rPr sz="2700" spc="-10" dirty="0">
                <a:solidFill>
                  <a:srgbClr val="FFFFFF"/>
                </a:solidFill>
                <a:latin typeface="Roboto"/>
                <a:cs typeface="Roboto"/>
              </a:rPr>
              <a:t>distancia</a:t>
            </a:r>
            <a:endParaRPr sz="2700">
              <a:latin typeface="Roboto"/>
              <a:cs typeface="Roboto"/>
            </a:endParaRPr>
          </a:p>
        </p:txBody>
      </p:sp>
      <p:sp>
        <p:nvSpPr>
          <p:cNvPr id="52" name="object 52"/>
          <p:cNvSpPr txBox="1"/>
          <p:nvPr/>
        </p:nvSpPr>
        <p:spPr>
          <a:xfrm>
            <a:off x="8467297" y="7990372"/>
            <a:ext cx="3106420" cy="868044"/>
          </a:xfrm>
          <a:prstGeom prst="rect">
            <a:avLst/>
          </a:prstGeom>
        </p:spPr>
        <p:txBody>
          <a:bodyPr vert="horz" wrap="square" lIns="0" tIns="17780" rIns="0" bIns="0" rtlCol="0">
            <a:spAutoFit/>
          </a:bodyPr>
          <a:lstStyle/>
          <a:p>
            <a:pPr marL="118110">
              <a:lnSpc>
                <a:spcPts val="3290"/>
              </a:lnSpc>
              <a:spcBef>
                <a:spcPts val="140"/>
              </a:spcBef>
            </a:pPr>
            <a:r>
              <a:rPr sz="2800" b="1" dirty="0">
                <a:solidFill>
                  <a:srgbClr val="FFFFFF"/>
                </a:solidFill>
                <a:latin typeface="Roboto"/>
                <a:cs typeface="Roboto"/>
              </a:rPr>
              <a:t>Aportan</a:t>
            </a:r>
            <a:r>
              <a:rPr sz="2800" b="1" spc="180" dirty="0">
                <a:solidFill>
                  <a:srgbClr val="FFFFFF"/>
                </a:solidFill>
                <a:latin typeface="Roboto"/>
                <a:cs typeface="Roboto"/>
              </a:rPr>
              <a:t> </a:t>
            </a:r>
            <a:r>
              <a:rPr sz="2800" b="1" spc="-10" dirty="0">
                <a:solidFill>
                  <a:srgbClr val="FFFFFF"/>
                </a:solidFill>
                <a:latin typeface="Roboto"/>
                <a:cs typeface="Roboto"/>
              </a:rPr>
              <a:t>volumen</a:t>
            </a:r>
            <a:endParaRPr sz="2800">
              <a:latin typeface="Roboto"/>
              <a:cs typeface="Roboto"/>
            </a:endParaRPr>
          </a:p>
          <a:p>
            <a:pPr marL="12700">
              <a:lnSpc>
                <a:spcPts val="3290"/>
              </a:lnSpc>
            </a:pPr>
            <a:r>
              <a:rPr sz="2800" dirty="0">
                <a:solidFill>
                  <a:srgbClr val="FFFFFF"/>
                </a:solidFill>
                <a:latin typeface="Roboto"/>
                <a:cs typeface="Roboto"/>
              </a:rPr>
              <a:t>de</a:t>
            </a:r>
            <a:r>
              <a:rPr sz="2800" spc="25" dirty="0">
                <a:solidFill>
                  <a:srgbClr val="FFFFFF"/>
                </a:solidFill>
                <a:latin typeface="Roboto"/>
                <a:cs typeface="Roboto"/>
              </a:rPr>
              <a:t> </a:t>
            </a:r>
            <a:r>
              <a:rPr sz="2800" b="1" dirty="0">
                <a:solidFill>
                  <a:srgbClr val="FFFFFF"/>
                </a:solidFill>
                <a:latin typeface="Roboto"/>
                <a:cs typeface="Roboto"/>
              </a:rPr>
              <a:t>divisas</a:t>
            </a:r>
            <a:r>
              <a:rPr sz="2800" b="1" spc="25" dirty="0">
                <a:solidFill>
                  <a:srgbClr val="FFFFFF"/>
                </a:solidFill>
                <a:latin typeface="Roboto"/>
                <a:cs typeface="Roboto"/>
              </a:rPr>
              <a:t> </a:t>
            </a:r>
            <a:r>
              <a:rPr sz="2800" b="1" dirty="0">
                <a:solidFill>
                  <a:srgbClr val="FFFFFF"/>
                </a:solidFill>
                <a:latin typeface="Roboto"/>
                <a:cs typeface="Roboto"/>
              </a:rPr>
              <a:t>y</a:t>
            </a:r>
            <a:r>
              <a:rPr sz="2800" b="1" spc="25" dirty="0">
                <a:solidFill>
                  <a:srgbClr val="FFFFFF"/>
                </a:solidFill>
                <a:latin typeface="Roboto"/>
                <a:cs typeface="Roboto"/>
              </a:rPr>
              <a:t> </a:t>
            </a:r>
            <a:r>
              <a:rPr sz="2800" b="1" spc="-10" dirty="0">
                <a:solidFill>
                  <a:srgbClr val="FFFFFF"/>
                </a:solidFill>
                <a:latin typeface="Roboto"/>
                <a:cs typeface="Roboto"/>
              </a:rPr>
              <a:t>gastos</a:t>
            </a:r>
            <a:endParaRPr sz="2800">
              <a:latin typeface="Roboto"/>
              <a:cs typeface="Roboto"/>
            </a:endParaRPr>
          </a:p>
        </p:txBody>
      </p:sp>
      <p:grpSp>
        <p:nvGrpSpPr>
          <p:cNvPr id="53" name="object 53"/>
          <p:cNvGrpSpPr/>
          <p:nvPr/>
        </p:nvGrpSpPr>
        <p:grpSpPr>
          <a:xfrm>
            <a:off x="7637805" y="3408869"/>
            <a:ext cx="1571625" cy="3658870"/>
            <a:chOff x="7637805" y="3408869"/>
            <a:chExt cx="1571625" cy="3658870"/>
          </a:xfrm>
        </p:grpSpPr>
        <p:sp>
          <p:nvSpPr>
            <p:cNvPr id="54" name="object 54"/>
            <p:cNvSpPr/>
            <p:nvPr/>
          </p:nvSpPr>
          <p:spPr>
            <a:xfrm>
              <a:off x="7873489" y="3408869"/>
              <a:ext cx="1056640" cy="704850"/>
            </a:xfrm>
            <a:custGeom>
              <a:avLst/>
              <a:gdLst/>
              <a:ahLst/>
              <a:cxnLst/>
              <a:rect l="l" t="t" r="r" b="b"/>
              <a:pathLst>
                <a:path w="1056640" h="704850">
                  <a:moveTo>
                    <a:pt x="924412" y="704849"/>
                  </a:moveTo>
                  <a:lnTo>
                    <a:pt x="132189" y="704849"/>
                  </a:lnTo>
                  <a:lnTo>
                    <a:pt x="90398" y="698109"/>
                  </a:lnTo>
                  <a:lnTo>
                    <a:pt x="54109" y="679343"/>
                  </a:lnTo>
                  <a:lnTo>
                    <a:pt x="25497" y="650730"/>
                  </a:lnTo>
                  <a:lnTo>
                    <a:pt x="6736" y="614452"/>
                  </a:lnTo>
                  <a:lnTo>
                    <a:pt x="0" y="572690"/>
                  </a:lnTo>
                  <a:lnTo>
                    <a:pt x="0" y="132159"/>
                  </a:lnTo>
                  <a:lnTo>
                    <a:pt x="6725" y="90397"/>
                  </a:lnTo>
                  <a:lnTo>
                    <a:pt x="25464" y="54119"/>
                  </a:lnTo>
                  <a:lnTo>
                    <a:pt x="54060" y="25506"/>
                  </a:lnTo>
                  <a:lnTo>
                    <a:pt x="90354" y="6740"/>
                  </a:lnTo>
                  <a:lnTo>
                    <a:pt x="132189" y="0"/>
                  </a:lnTo>
                  <a:lnTo>
                    <a:pt x="924412" y="0"/>
                  </a:lnTo>
                  <a:lnTo>
                    <a:pt x="966204" y="6740"/>
                  </a:lnTo>
                  <a:lnTo>
                    <a:pt x="1002492" y="25506"/>
                  </a:lnTo>
                  <a:lnTo>
                    <a:pt x="1031104" y="54119"/>
                  </a:lnTo>
                  <a:lnTo>
                    <a:pt x="1049865" y="90397"/>
                  </a:lnTo>
                  <a:lnTo>
                    <a:pt x="1056602" y="132159"/>
                  </a:lnTo>
                  <a:lnTo>
                    <a:pt x="1056602" y="572690"/>
                  </a:lnTo>
                  <a:lnTo>
                    <a:pt x="1049876" y="614452"/>
                  </a:lnTo>
                  <a:lnTo>
                    <a:pt x="1031137" y="650730"/>
                  </a:lnTo>
                  <a:lnTo>
                    <a:pt x="1002542" y="679343"/>
                  </a:lnTo>
                  <a:lnTo>
                    <a:pt x="966248" y="698109"/>
                  </a:lnTo>
                  <a:lnTo>
                    <a:pt x="924412" y="704849"/>
                  </a:lnTo>
                  <a:close/>
                </a:path>
              </a:pathLst>
            </a:custGeom>
            <a:solidFill>
              <a:srgbClr val="D90F23"/>
            </a:solidFill>
          </p:spPr>
          <p:txBody>
            <a:bodyPr wrap="square" lIns="0" tIns="0" rIns="0" bIns="0" rtlCol="0"/>
            <a:lstStyle/>
            <a:p>
              <a:endParaRPr/>
            </a:p>
          </p:txBody>
        </p:sp>
        <p:sp>
          <p:nvSpPr>
            <p:cNvPr id="55" name="object 55"/>
            <p:cNvSpPr/>
            <p:nvPr/>
          </p:nvSpPr>
          <p:spPr>
            <a:xfrm>
              <a:off x="7873489" y="3585081"/>
              <a:ext cx="1056640" cy="352425"/>
            </a:xfrm>
            <a:custGeom>
              <a:avLst/>
              <a:gdLst/>
              <a:ahLst/>
              <a:cxnLst/>
              <a:rect l="l" t="t" r="r" b="b"/>
              <a:pathLst>
                <a:path w="1056640" h="352425">
                  <a:moveTo>
                    <a:pt x="1056602" y="352424"/>
                  </a:moveTo>
                  <a:lnTo>
                    <a:pt x="0" y="352424"/>
                  </a:lnTo>
                  <a:lnTo>
                    <a:pt x="0" y="0"/>
                  </a:lnTo>
                  <a:lnTo>
                    <a:pt x="1056602" y="0"/>
                  </a:lnTo>
                  <a:lnTo>
                    <a:pt x="1056602" y="352424"/>
                  </a:lnTo>
                  <a:close/>
                </a:path>
              </a:pathLst>
            </a:custGeom>
            <a:solidFill>
              <a:srgbClr val="F1C400"/>
            </a:solidFill>
          </p:spPr>
          <p:txBody>
            <a:bodyPr wrap="square" lIns="0" tIns="0" rIns="0" bIns="0" rtlCol="0"/>
            <a:lstStyle/>
            <a:p>
              <a:endParaRPr/>
            </a:p>
          </p:txBody>
        </p:sp>
        <p:pic>
          <p:nvPicPr>
            <p:cNvPr id="56" name="object 56"/>
            <p:cNvPicPr/>
            <p:nvPr/>
          </p:nvPicPr>
          <p:blipFill>
            <a:blip r:embed="rId5" cstate="print"/>
            <a:stretch>
              <a:fillRect/>
            </a:stretch>
          </p:blipFill>
          <p:spPr>
            <a:xfrm>
              <a:off x="7972546" y="3607108"/>
              <a:ext cx="374213" cy="310322"/>
            </a:xfrm>
            <a:prstGeom prst="rect">
              <a:avLst/>
            </a:prstGeom>
          </p:spPr>
        </p:pic>
        <p:sp>
          <p:nvSpPr>
            <p:cNvPr id="57" name="object 57"/>
            <p:cNvSpPr/>
            <p:nvPr/>
          </p:nvSpPr>
          <p:spPr>
            <a:xfrm>
              <a:off x="7914142" y="4719021"/>
              <a:ext cx="971550" cy="704850"/>
            </a:xfrm>
            <a:custGeom>
              <a:avLst/>
              <a:gdLst/>
              <a:ahLst/>
              <a:cxnLst/>
              <a:rect l="l" t="t" r="r" b="b"/>
              <a:pathLst>
                <a:path w="971550" h="704850">
                  <a:moveTo>
                    <a:pt x="350837" y="158197"/>
                  </a:moveTo>
                  <a:lnTo>
                    <a:pt x="125869" y="0"/>
                  </a:lnTo>
                  <a:lnTo>
                    <a:pt x="350837" y="0"/>
                  </a:lnTo>
                  <a:lnTo>
                    <a:pt x="350837" y="158197"/>
                  </a:lnTo>
                  <a:close/>
                </a:path>
                <a:path w="971550" h="704850">
                  <a:moveTo>
                    <a:pt x="151885" y="216820"/>
                  </a:moveTo>
                  <a:lnTo>
                    <a:pt x="0" y="216820"/>
                  </a:lnTo>
                  <a:lnTo>
                    <a:pt x="0" y="110009"/>
                  </a:lnTo>
                  <a:lnTo>
                    <a:pt x="151885" y="216820"/>
                  </a:lnTo>
                  <a:close/>
                </a:path>
                <a:path w="971550" h="704850">
                  <a:moveTo>
                    <a:pt x="0" y="594657"/>
                  </a:moveTo>
                  <a:lnTo>
                    <a:pt x="0" y="487846"/>
                  </a:lnTo>
                  <a:lnTo>
                    <a:pt x="151939" y="487846"/>
                  </a:lnTo>
                  <a:lnTo>
                    <a:pt x="0" y="594657"/>
                  </a:lnTo>
                  <a:close/>
                </a:path>
                <a:path w="971550" h="704850">
                  <a:moveTo>
                    <a:pt x="350837" y="704667"/>
                  </a:moveTo>
                  <a:lnTo>
                    <a:pt x="125869" y="704667"/>
                  </a:lnTo>
                  <a:lnTo>
                    <a:pt x="350837" y="546469"/>
                  </a:lnTo>
                  <a:lnTo>
                    <a:pt x="350837" y="704667"/>
                  </a:lnTo>
                  <a:close/>
                </a:path>
                <a:path w="971550" h="704850">
                  <a:moveTo>
                    <a:pt x="971549" y="594684"/>
                  </a:moveTo>
                  <a:lnTo>
                    <a:pt x="819583" y="487846"/>
                  </a:lnTo>
                  <a:lnTo>
                    <a:pt x="971549" y="487846"/>
                  </a:lnTo>
                  <a:lnTo>
                    <a:pt x="971549" y="594684"/>
                  </a:lnTo>
                  <a:close/>
                </a:path>
                <a:path w="971550" h="704850">
                  <a:moveTo>
                    <a:pt x="845653" y="704667"/>
                  </a:moveTo>
                  <a:lnTo>
                    <a:pt x="620712" y="704667"/>
                  </a:lnTo>
                  <a:lnTo>
                    <a:pt x="620712" y="546496"/>
                  </a:lnTo>
                  <a:lnTo>
                    <a:pt x="845653" y="704667"/>
                  </a:lnTo>
                  <a:close/>
                </a:path>
                <a:path w="971550" h="704850">
                  <a:moveTo>
                    <a:pt x="620712" y="158197"/>
                  </a:moveTo>
                  <a:lnTo>
                    <a:pt x="620712" y="0"/>
                  </a:lnTo>
                  <a:lnTo>
                    <a:pt x="845707" y="0"/>
                  </a:lnTo>
                  <a:lnTo>
                    <a:pt x="620712" y="158197"/>
                  </a:lnTo>
                  <a:close/>
                </a:path>
                <a:path w="971550" h="704850">
                  <a:moveTo>
                    <a:pt x="971549" y="216820"/>
                  </a:moveTo>
                  <a:lnTo>
                    <a:pt x="819637" y="216820"/>
                  </a:lnTo>
                  <a:lnTo>
                    <a:pt x="971549" y="110009"/>
                  </a:lnTo>
                  <a:lnTo>
                    <a:pt x="971549" y="216820"/>
                  </a:lnTo>
                  <a:close/>
                </a:path>
              </a:pathLst>
            </a:custGeom>
            <a:solidFill>
              <a:srgbClr val="00247D"/>
            </a:solidFill>
          </p:spPr>
          <p:txBody>
            <a:bodyPr wrap="square" lIns="0" tIns="0" rIns="0" bIns="0" rtlCol="0"/>
            <a:lstStyle/>
            <a:p>
              <a:endParaRPr/>
            </a:p>
          </p:txBody>
        </p:sp>
        <p:sp>
          <p:nvSpPr>
            <p:cNvPr id="58" name="object 58"/>
            <p:cNvSpPr/>
            <p:nvPr/>
          </p:nvSpPr>
          <p:spPr>
            <a:xfrm>
              <a:off x="7918379" y="4722138"/>
              <a:ext cx="963294" cy="698500"/>
            </a:xfrm>
            <a:custGeom>
              <a:avLst/>
              <a:gdLst/>
              <a:ahLst/>
              <a:cxnLst/>
              <a:rect l="l" t="t" r="r" b="b"/>
              <a:pathLst>
                <a:path w="963295" h="698500">
                  <a:moveTo>
                    <a:pt x="936331" y="669054"/>
                  </a:moveTo>
                  <a:lnTo>
                    <a:pt x="674228" y="484729"/>
                  </a:lnTo>
                  <a:lnTo>
                    <a:pt x="768334" y="484729"/>
                  </a:lnTo>
                  <a:lnTo>
                    <a:pt x="963048" y="621651"/>
                  </a:lnTo>
                  <a:lnTo>
                    <a:pt x="958589" y="634859"/>
                  </a:lnTo>
                  <a:lnTo>
                    <a:pt x="952614" y="647263"/>
                  </a:lnTo>
                  <a:lnTo>
                    <a:pt x="945177" y="658713"/>
                  </a:lnTo>
                  <a:lnTo>
                    <a:pt x="936331" y="669054"/>
                  </a:lnTo>
                  <a:close/>
                </a:path>
                <a:path w="963295" h="698500">
                  <a:moveTo>
                    <a:pt x="79046" y="698433"/>
                  </a:moveTo>
                  <a:lnTo>
                    <a:pt x="64323" y="693846"/>
                  </a:lnTo>
                  <a:lnTo>
                    <a:pt x="50588" y="687328"/>
                  </a:lnTo>
                  <a:lnTo>
                    <a:pt x="38005" y="679011"/>
                  </a:lnTo>
                  <a:lnTo>
                    <a:pt x="26744" y="669027"/>
                  </a:lnTo>
                  <a:lnTo>
                    <a:pt x="288820" y="484729"/>
                  </a:lnTo>
                  <a:lnTo>
                    <a:pt x="346600" y="484729"/>
                  </a:lnTo>
                  <a:lnTo>
                    <a:pt x="346600" y="510287"/>
                  </a:lnTo>
                  <a:lnTo>
                    <a:pt x="79046" y="698433"/>
                  </a:lnTo>
                  <a:close/>
                </a:path>
                <a:path w="963295" h="698500">
                  <a:moveTo>
                    <a:pt x="674255" y="213703"/>
                  </a:moveTo>
                  <a:lnTo>
                    <a:pt x="616475" y="213703"/>
                  </a:lnTo>
                  <a:lnTo>
                    <a:pt x="616475" y="188146"/>
                  </a:lnTo>
                  <a:lnTo>
                    <a:pt x="884056" y="0"/>
                  </a:lnTo>
                  <a:lnTo>
                    <a:pt x="898774" y="4587"/>
                  </a:lnTo>
                  <a:lnTo>
                    <a:pt x="912501" y="11105"/>
                  </a:lnTo>
                  <a:lnTo>
                    <a:pt x="925074" y="19422"/>
                  </a:lnTo>
                  <a:lnTo>
                    <a:pt x="936331" y="29406"/>
                  </a:lnTo>
                  <a:lnTo>
                    <a:pt x="674255" y="213703"/>
                  </a:lnTo>
                  <a:close/>
                </a:path>
                <a:path w="963295" h="698500">
                  <a:moveTo>
                    <a:pt x="288820" y="213703"/>
                  </a:moveTo>
                  <a:lnTo>
                    <a:pt x="194714" y="213703"/>
                  </a:lnTo>
                  <a:lnTo>
                    <a:pt x="0" y="76808"/>
                  </a:lnTo>
                  <a:lnTo>
                    <a:pt x="4474" y="63605"/>
                  </a:lnTo>
                  <a:lnTo>
                    <a:pt x="10457" y="51206"/>
                  </a:lnTo>
                  <a:lnTo>
                    <a:pt x="17897" y="39759"/>
                  </a:lnTo>
                  <a:lnTo>
                    <a:pt x="26744" y="29406"/>
                  </a:lnTo>
                  <a:lnTo>
                    <a:pt x="288820" y="213703"/>
                  </a:lnTo>
                  <a:close/>
                </a:path>
              </a:pathLst>
            </a:custGeom>
            <a:solidFill>
              <a:srgbClr val="CF1B2A"/>
            </a:solidFill>
          </p:spPr>
          <p:txBody>
            <a:bodyPr wrap="square" lIns="0" tIns="0" rIns="0" bIns="0" rtlCol="0"/>
            <a:lstStyle/>
            <a:p>
              <a:endParaRPr/>
            </a:p>
          </p:txBody>
        </p:sp>
        <p:sp>
          <p:nvSpPr>
            <p:cNvPr id="59" name="object 59"/>
            <p:cNvSpPr/>
            <p:nvPr/>
          </p:nvSpPr>
          <p:spPr>
            <a:xfrm>
              <a:off x="7914142" y="4719021"/>
              <a:ext cx="971550" cy="704850"/>
            </a:xfrm>
            <a:custGeom>
              <a:avLst/>
              <a:gdLst/>
              <a:ahLst/>
              <a:cxnLst/>
              <a:rect l="l" t="t" r="r" b="b"/>
              <a:pathLst>
                <a:path w="971550" h="704850">
                  <a:moveTo>
                    <a:pt x="620712" y="704667"/>
                  </a:moveTo>
                  <a:lnTo>
                    <a:pt x="566737" y="704667"/>
                  </a:lnTo>
                  <a:lnTo>
                    <a:pt x="566737" y="433641"/>
                  </a:lnTo>
                  <a:lnTo>
                    <a:pt x="971549" y="433641"/>
                  </a:lnTo>
                  <a:lnTo>
                    <a:pt x="971549" y="487846"/>
                  </a:lnTo>
                  <a:lnTo>
                    <a:pt x="678465" y="487846"/>
                  </a:lnTo>
                  <a:lnTo>
                    <a:pt x="761863" y="546496"/>
                  </a:lnTo>
                  <a:lnTo>
                    <a:pt x="620712" y="546496"/>
                  </a:lnTo>
                  <a:lnTo>
                    <a:pt x="620712" y="704667"/>
                  </a:lnTo>
                  <a:close/>
                </a:path>
                <a:path w="971550" h="704850">
                  <a:moveTo>
                    <a:pt x="967285" y="624768"/>
                  </a:moveTo>
                  <a:lnTo>
                    <a:pt x="772571" y="487846"/>
                  </a:lnTo>
                  <a:lnTo>
                    <a:pt x="819583" y="487846"/>
                  </a:lnTo>
                  <a:lnTo>
                    <a:pt x="971549" y="594684"/>
                  </a:lnTo>
                  <a:lnTo>
                    <a:pt x="971549" y="596256"/>
                  </a:lnTo>
                  <a:lnTo>
                    <a:pt x="971236" y="603612"/>
                  </a:lnTo>
                  <a:lnTo>
                    <a:pt x="970359" y="610807"/>
                  </a:lnTo>
                  <a:lnTo>
                    <a:pt x="969010" y="617855"/>
                  </a:lnTo>
                  <a:lnTo>
                    <a:pt x="967285" y="624768"/>
                  </a:lnTo>
                  <a:close/>
                </a:path>
                <a:path w="971550" h="704850">
                  <a:moveTo>
                    <a:pt x="863599" y="704667"/>
                  </a:moveTo>
                  <a:lnTo>
                    <a:pt x="845653" y="704667"/>
                  </a:lnTo>
                  <a:lnTo>
                    <a:pt x="620712" y="546496"/>
                  </a:lnTo>
                  <a:lnTo>
                    <a:pt x="761863" y="546496"/>
                  </a:lnTo>
                  <a:lnTo>
                    <a:pt x="940568" y="672171"/>
                  </a:lnTo>
                  <a:lnTo>
                    <a:pt x="924515" y="685686"/>
                  </a:lnTo>
                  <a:lnTo>
                    <a:pt x="906041" y="695919"/>
                  </a:lnTo>
                  <a:lnTo>
                    <a:pt x="885588" y="702402"/>
                  </a:lnTo>
                  <a:lnTo>
                    <a:pt x="863599" y="704667"/>
                  </a:lnTo>
                  <a:close/>
                </a:path>
                <a:path w="971550" h="704850">
                  <a:moveTo>
                    <a:pt x="125869" y="704667"/>
                  </a:moveTo>
                  <a:lnTo>
                    <a:pt x="99421" y="704667"/>
                  </a:lnTo>
                  <a:lnTo>
                    <a:pt x="91217" y="703420"/>
                  </a:lnTo>
                  <a:lnTo>
                    <a:pt x="83283" y="701523"/>
                  </a:lnTo>
                  <a:lnTo>
                    <a:pt x="350837" y="513404"/>
                  </a:lnTo>
                  <a:lnTo>
                    <a:pt x="350837" y="487846"/>
                  </a:lnTo>
                  <a:lnTo>
                    <a:pt x="0" y="487846"/>
                  </a:lnTo>
                  <a:lnTo>
                    <a:pt x="0" y="433641"/>
                  </a:lnTo>
                  <a:lnTo>
                    <a:pt x="404812" y="433641"/>
                  </a:lnTo>
                  <a:lnTo>
                    <a:pt x="404812" y="546469"/>
                  </a:lnTo>
                  <a:lnTo>
                    <a:pt x="350837" y="546469"/>
                  </a:lnTo>
                  <a:lnTo>
                    <a:pt x="125869" y="704667"/>
                  </a:lnTo>
                  <a:close/>
                </a:path>
                <a:path w="971550" h="704850">
                  <a:moveTo>
                    <a:pt x="30981" y="672144"/>
                  </a:moveTo>
                  <a:lnTo>
                    <a:pt x="18068" y="656189"/>
                  </a:lnTo>
                  <a:lnTo>
                    <a:pt x="8315" y="637950"/>
                  </a:lnTo>
                  <a:lnTo>
                    <a:pt x="2150" y="617836"/>
                  </a:lnTo>
                  <a:lnTo>
                    <a:pt x="0" y="596256"/>
                  </a:lnTo>
                  <a:lnTo>
                    <a:pt x="0" y="594657"/>
                  </a:lnTo>
                  <a:lnTo>
                    <a:pt x="151939" y="487846"/>
                  </a:lnTo>
                  <a:lnTo>
                    <a:pt x="293057" y="487846"/>
                  </a:lnTo>
                  <a:lnTo>
                    <a:pt x="30981" y="672144"/>
                  </a:lnTo>
                  <a:close/>
                </a:path>
                <a:path w="971550" h="704850">
                  <a:moveTo>
                    <a:pt x="404812" y="704667"/>
                  </a:moveTo>
                  <a:lnTo>
                    <a:pt x="350837" y="704667"/>
                  </a:lnTo>
                  <a:lnTo>
                    <a:pt x="350837" y="546469"/>
                  </a:lnTo>
                  <a:lnTo>
                    <a:pt x="404812" y="546469"/>
                  </a:lnTo>
                  <a:lnTo>
                    <a:pt x="404812" y="704667"/>
                  </a:lnTo>
                  <a:close/>
                </a:path>
                <a:path w="971550" h="704850">
                  <a:moveTo>
                    <a:pt x="971549" y="271025"/>
                  </a:moveTo>
                  <a:lnTo>
                    <a:pt x="566737" y="271025"/>
                  </a:lnTo>
                  <a:lnTo>
                    <a:pt x="566737" y="0"/>
                  </a:lnTo>
                  <a:lnTo>
                    <a:pt x="620712" y="0"/>
                  </a:lnTo>
                  <a:lnTo>
                    <a:pt x="620712" y="158197"/>
                  </a:lnTo>
                  <a:lnTo>
                    <a:pt x="667737" y="158197"/>
                  </a:lnTo>
                  <a:lnTo>
                    <a:pt x="620712" y="191262"/>
                  </a:lnTo>
                  <a:lnTo>
                    <a:pt x="620712" y="216820"/>
                  </a:lnTo>
                  <a:lnTo>
                    <a:pt x="971549" y="216820"/>
                  </a:lnTo>
                  <a:lnTo>
                    <a:pt x="971549" y="271025"/>
                  </a:lnTo>
                  <a:close/>
                </a:path>
                <a:path w="971550" h="704850">
                  <a:moveTo>
                    <a:pt x="667737" y="158197"/>
                  </a:moveTo>
                  <a:lnTo>
                    <a:pt x="620712" y="158197"/>
                  </a:lnTo>
                  <a:lnTo>
                    <a:pt x="845707" y="0"/>
                  </a:lnTo>
                  <a:lnTo>
                    <a:pt x="872128" y="0"/>
                  </a:lnTo>
                  <a:lnTo>
                    <a:pt x="880332" y="1246"/>
                  </a:lnTo>
                  <a:lnTo>
                    <a:pt x="888293" y="3116"/>
                  </a:lnTo>
                  <a:lnTo>
                    <a:pt x="667737" y="158197"/>
                  </a:lnTo>
                  <a:close/>
                </a:path>
                <a:path w="971550" h="704850">
                  <a:moveTo>
                    <a:pt x="819637" y="216820"/>
                  </a:moveTo>
                  <a:lnTo>
                    <a:pt x="678492" y="216820"/>
                  </a:lnTo>
                  <a:lnTo>
                    <a:pt x="940568" y="32523"/>
                  </a:lnTo>
                  <a:lnTo>
                    <a:pt x="953481" y="48477"/>
                  </a:lnTo>
                  <a:lnTo>
                    <a:pt x="963234" y="66716"/>
                  </a:lnTo>
                  <a:lnTo>
                    <a:pt x="969399" y="86830"/>
                  </a:lnTo>
                  <a:lnTo>
                    <a:pt x="971549" y="108410"/>
                  </a:lnTo>
                  <a:lnTo>
                    <a:pt x="971549" y="110009"/>
                  </a:lnTo>
                  <a:lnTo>
                    <a:pt x="819637" y="216820"/>
                  </a:lnTo>
                  <a:close/>
                </a:path>
                <a:path w="971550" h="704850">
                  <a:moveTo>
                    <a:pt x="404812" y="271025"/>
                  </a:moveTo>
                  <a:lnTo>
                    <a:pt x="0" y="271025"/>
                  </a:lnTo>
                  <a:lnTo>
                    <a:pt x="0" y="216820"/>
                  </a:lnTo>
                  <a:lnTo>
                    <a:pt x="293057" y="216820"/>
                  </a:lnTo>
                  <a:lnTo>
                    <a:pt x="30981" y="32523"/>
                  </a:lnTo>
                  <a:lnTo>
                    <a:pt x="47030" y="18991"/>
                  </a:lnTo>
                  <a:lnTo>
                    <a:pt x="65498" y="8750"/>
                  </a:lnTo>
                  <a:lnTo>
                    <a:pt x="85950" y="2265"/>
                  </a:lnTo>
                  <a:lnTo>
                    <a:pt x="107949" y="0"/>
                  </a:lnTo>
                  <a:lnTo>
                    <a:pt x="125869" y="0"/>
                  </a:lnTo>
                  <a:lnTo>
                    <a:pt x="350837" y="158197"/>
                  </a:lnTo>
                  <a:lnTo>
                    <a:pt x="404812" y="158197"/>
                  </a:lnTo>
                  <a:lnTo>
                    <a:pt x="404812" y="271025"/>
                  </a:lnTo>
                  <a:close/>
                </a:path>
                <a:path w="971550" h="704850">
                  <a:moveTo>
                    <a:pt x="404812" y="158197"/>
                  </a:moveTo>
                  <a:lnTo>
                    <a:pt x="350837" y="158197"/>
                  </a:lnTo>
                  <a:lnTo>
                    <a:pt x="350837" y="0"/>
                  </a:lnTo>
                  <a:lnTo>
                    <a:pt x="404812" y="0"/>
                  </a:lnTo>
                  <a:lnTo>
                    <a:pt x="404812" y="158197"/>
                  </a:lnTo>
                  <a:close/>
                </a:path>
                <a:path w="971550" h="704850">
                  <a:moveTo>
                    <a:pt x="198951" y="216820"/>
                  </a:moveTo>
                  <a:lnTo>
                    <a:pt x="151885" y="216820"/>
                  </a:lnTo>
                  <a:lnTo>
                    <a:pt x="0" y="110009"/>
                  </a:lnTo>
                  <a:lnTo>
                    <a:pt x="0" y="108410"/>
                  </a:lnTo>
                  <a:lnTo>
                    <a:pt x="312" y="101059"/>
                  </a:lnTo>
                  <a:lnTo>
                    <a:pt x="1187" y="93873"/>
                  </a:lnTo>
                  <a:lnTo>
                    <a:pt x="2527" y="86834"/>
                  </a:lnTo>
                  <a:lnTo>
                    <a:pt x="4237" y="79925"/>
                  </a:lnTo>
                  <a:lnTo>
                    <a:pt x="198951" y="216820"/>
                  </a:lnTo>
                  <a:close/>
                </a:path>
              </a:pathLst>
            </a:custGeom>
            <a:solidFill>
              <a:srgbClr val="EDEDED"/>
            </a:solidFill>
          </p:spPr>
          <p:txBody>
            <a:bodyPr wrap="square" lIns="0" tIns="0" rIns="0" bIns="0" rtlCol="0"/>
            <a:lstStyle/>
            <a:p>
              <a:endParaRPr/>
            </a:p>
          </p:txBody>
        </p:sp>
        <p:sp>
          <p:nvSpPr>
            <p:cNvPr id="60" name="object 60"/>
            <p:cNvSpPr/>
            <p:nvPr/>
          </p:nvSpPr>
          <p:spPr>
            <a:xfrm>
              <a:off x="7914132" y="4718417"/>
              <a:ext cx="971550" cy="705485"/>
            </a:xfrm>
            <a:custGeom>
              <a:avLst/>
              <a:gdLst/>
              <a:ahLst/>
              <a:cxnLst/>
              <a:rect l="l" t="t" r="r" b="b"/>
              <a:pathLst>
                <a:path w="971550" h="705485">
                  <a:moveTo>
                    <a:pt x="971550" y="271094"/>
                  </a:moveTo>
                  <a:lnTo>
                    <a:pt x="566737" y="271094"/>
                  </a:lnTo>
                  <a:lnTo>
                    <a:pt x="566737" y="0"/>
                  </a:lnTo>
                  <a:lnTo>
                    <a:pt x="404812" y="0"/>
                  </a:lnTo>
                  <a:lnTo>
                    <a:pt x="404812" y="271094"/>
                  </a:lnTo>
                  <a:lnTo>
                    <a:pt x="0" y="271094"/>
                  </a:lnTo>
                  <a:lnTo>
                    <a:pt x="0" y="433997"/>
                  </a:lnTo>
                  <a:lnTo>
                    <a:pt x="404812" y="433997"/>
                  </a:lnTo>
                  <a:lnTo>
                    <a:pt x="404812" y="705078"/>
                  </a:lnTo>
                  <a:lnTo>
                    <a:pt x="566737" y="705078"/>
                  </a:lnTo>
                  <a:lnTo>
                    <a:pt x="566737" y="433997"/>
                  </a:lnTo>
                  <a:lnTo>
                    <a:pt x="971550" y="433997"/>
                  </a:lnTo>
                  <a:lnTo>
                    <a:pt x="971550" y="271094"/>
                  </a:lnTo>
                  <a:close/>
                </a:path>
              </a:pathLst>
            </a:custGeom>
            <a:solidFill>
              <a:srgbClr val="CF1B2A"/>
            </a:solidFill>
          </p:spPr>
          <p:txBody>
            <a:bodyPr wrap="square" lIns="0" tIns="0" rIns="0" bIns="0" rtlCol="0"/>
            <a:lstStyle/>
            <a:p>
              <a:endParaRPr/>
            </a:p>
          </p:txBody>
        </p:sp>
        <p:pic>
          <p:nvPicPr>
            <p:cNvPr id="61" name="object 61"/>
            <p:cNvPicPr/>
            <p:nvPr/>
          </p:nvPicPr>
          <p:blipFill>
            <a:blip r:embed="rId6" cstate="print"/>
            <a:stretch>
              <a:fillRect/>
            </a:stretch>
          </p:blipFill>
          <p:spPr>
            <a:xfrm>
              <a:off x="7637805" y="5857858"/>
              <a:ext cx="1571624" cy="1209674"/>
            </a:xfrm>
            <a:prstGeom prst="rect">
              <a:avLst/>
            </a:prstGeom>
          </p:spPr>
        </p:pic>
      </p:grpSp>
      <p:sp>
        <p:nvSpPr>
          <p:cNvPr id="62" name="object 62"/>
          <p:cNvSpPr txBox="1"/>
          <p:nvPr/>
        </p:nvSpPr>
        <p:spPr>
          <a:xfrm>
            <a:off x="8085843" y="4268744"/>
            <a:ext cx="609600" cy="240029"/>
          </a:xfrm>
          <a:prstGeom prst="rect">
            <a:avLst/>
          </a:prstGeom>
        </p:spPr>
        <p:txBody>
          <a:bodyPr vert="horz" wrap="square" lIns="0" tIns="13335" rIns="0" bIns="0" rtlCol="0">
            <a:spAutoFit/>
          </a:bodyPr>
          <a:lstStyle/>
          <a:p>
            <a:pPr marL="12700">
              <a:lnSpc>
                <a:spcPct val="100000"/>
              </a:lnSpc>
              <a:spcBef>
                <a:spcPts val="105"/>
              </a:spcBef>
            </a:pPr>
            <a:r>
              <a:rPr sz="1400" b="1" spc="-10" dirty="0">
                <a:solidFill>
                  <a:srgbClr val="737373"/>
                </a:solidFill>
                <a:latin typeface="Roboto"/>
                <a:cs typeface="Roboto"/>
              </a:rPr>
              <a:t>España</a:t>
            </a:r>
            <a:endParaRPr sz="1400">
              <a:latin typeface="Roboto"/>
              <a:cs typeface="Roboto"/>
            </a:endParaRPr>
          </a:p>
        </p:txBody>
      </p:sp>
      <p:sp>
        <p:nvSpPr>
          <p:cNvPr id="63" name="object 63"/>
          <p:cNvSpPr txBox="1"/>
          <p:nvPr/>
        </p:nvSpPr>
        <p:spPr>
          <a:xfrm>
            <a:off x="8271601" y="5578407"/>
            <a:ext cx="256540" cy="240029"/>
          </a:xfrm>
          <a:prstGeom prst="rect">
            <a:avLst/>
          </a:prstGeom>
        </p:spPr>
        <p:txBody>
          <a:bodyPr vert="horz" wrap="square" lIns="0" tIns="13335" rIns="0" bIns="0" rtlCol="0">
            <a:spAutoFit/>
          </a:bodyPr>
          <a:lstStyle/>
          <a:p>
            <a:pPr marL="12700">
              <a:lnSpc>
                <a:spcPct val="100000"/>
              </a:lnSpc>
              <a:spcBef>
                <a:spcPts val="105"/>
              </a:spcBef>
            </a:pPr>
            <a:r>
              <a:rPr sz="1400" b="1" spc="-25" dirty="0">
                <a:solidFill>
                  <a:srgbClr val="737373"/>
                </a:solidFill>
                <a:latin typeface="Roboto"/>
                <a:cs typeface="Roboto"/>
              </a:rPr>
              <a:t>UK</a:t>
            </a:r>
            <a:endParaRPr sz="1400">
              <a:latin typeface="Roboto"/>
              <a:cs typeface="Roboto"/>
            </a:endParaRPr>
          </a:p>
        </p:txBody>
      </p:sp>
      <p:sp>
        <p:nvSpPr>
          <p:cNvPr id="64" name="object 64"/>
          <p:cNvSpPr txBox="1"/>
          <p:nvPr/>
        </p:nvSpPr>
        <p:spPr>
          <a:xfrm>
            <a:off x="8209357" y="6845372"/>
            <a:ext cx="433070" cy="226060"/>
          </a:xfrm>
          <a:prstGeom prst="rect">
            <a:avLst/>
          </a:prstGeom>
        </p:spPr>
        <p:txBody>
          <a:bodyPr vert="horz" wrap="square" lIns="0" tIns="14604" rIns="0" bIns="0" rtlCol="0">
            <a:spAutoFit/>
          </a:bodyPr>
          <a:lstStyle/>
          <a:p>
            <a:pPr marL="12700">
              <a:lnSpc>
                <a:spcPct val="100000"/>
              </a:lnSpc>
              <a:spcBef>
                <a:spcPts val="114"/>
              </a:spcBef>
            </a:pPr>
            <a:r>
              <a:rPr sz="1300" b="1" spc="-20" dirty="0">
                <a:solidFill>
                  <a:srgbClr val="737373"/>
                </a:solidFill>
                <a:latin typeface="Roboto"/>
                <a:cs typeface="Roboto"/>
              </a:rPr>
              <a:t>EEUU</a:t>
            </a:r>
            <a:endParaRPr sz="1300">
              <a:latin typeface="Roboto"/>
              <a:cs typeface="Roboto"/>
            </a:endParaRPr>
          </a:p>
        </p:txBody>
      </p:sp>
      <p:grpSp>
        <p:nvGrpSpPr>
          <p:cNvPr id="65" name="object 65"/>
          <p:cNvGrpSpPr/>
          <p:nvPr/>
        </p:nvGrpSpPr>
        <p:grpSpPr>
          <a:xfrm>
            <a:off x="9427871" y="237491"/>
            <a:ext cx="8631555" cy="5250815"/>
            <a:chOff x="9427871" y="237491"/>
            <a:chExt cx="8631555" cy="5250815"/>
          </a:xfrm>
        </p:grpSpPr>
        <p:sp>
          <p:nvSpPr>
            <p:cNvPr id="66" name="object 66"/>
            <p:cNvSpPr/>
            <p:nvPr/>
          </p:nvSpPr>
          <p:spPr>
            <a:xfrm>
              <a:off x="10973855" y="4755157"/>
              <a:ext cx="1009650" cy="733425"/>
            </a:xfrm>
            <a:custGeom>
              <a:avLst/>
              <a:gdLst/>
              <a:ahLst/>
              <a:cxnLst/>
              <a:rect l="l" t="t" r="r" b="b"/>
              <a:pathLst>
                <a:path w="1009650" h="733425">
                  <a:moveTo>
                    <a:pt x="897466" y="733110"/>
                  </a:moveTo>
                  <a:lnTo>
                    <a:pt x="112183" y="733110"/>
                  </a:lnTo>
                  <a:lnTo>
                    <a:pt x="68518" y="724246"/>
                  </a:lnTo>
                  <a:lnTo>
                    <a:pt x="32859" y="700074"/>
                  </a:lnTo>
                  <a:lnTo>
                    <a:pt x="8816" y="664223"/>
                  </a:lnTo>
                  <a:lnTo>
                    <a:pt x="0" y="620323"/>
                  </a:lnTo>
                  <a:lnTo>
                    <a:pt x="0" y="112786"/>
                  </a:lnTo>
                  <a:lnTo>
                    <a:pt x="1252" y="95882"/>
                  </a:lnTo>
                  <a:lnTo>
                    <a:pt x="4886" y="79764"/>
                  </a:lnTo>
                  <a:lnTo>
                    <a:pt x="10719" y="64613"/>
                  </a:lnTo>
                  <a:lnTo>
                    <a:pt x="18566" y="50612"/>
                  </a:lnTo>
                  <a:lnTo>
                    <a:pt x="95131" y="50725"/>
                  </a:lnTo>
                  <a:lnTo>
                    <a:pt x="95243" y="1268"/>
                  </a:lnTo>
                  <a:lnTo>
                    <a:pt x="106433" y="0"/>
                  </a:lnTo>
                  <a:lnTo>
                    <a:pt x="897466" y="0"/>
                  </a:lnTo>
                  <a:lnTo>
                    <a:pt x="941131" y="8863"/>
                  </a:lnTo>
                  <a:lnTo>
                    <a:pt x="976790" y="33035"/>
                  </a:lnTo>
                  <a:lnTo>
                    <a:pt x="1000833" y="68886"/>
                  </a:lnTo>
                  <a:lnTo>
                    <a:pt x="1009649" y="112786"/>
                  </a:lnTo>
                  <a:lnTo>
                    <a:pt x="1009649" y="620323"/>
                  </a:lnTo>
                  <a:lnTo>
                    <a:pt x="1000833" y="664223"/>
                  </a:lnTo>
                  <a:lnTo>
                    <a:pt x="976790" y="700074"/>
                  </a:lnTo>
                  <a:lnTo>
                    <a:pt x="941131" y="724246"/>
                  </a:lnTo>
                  <a:lnTo>
                    <a:pt x="897466" y="733110"/>
                  </a:lnTo>
                  <a:close/>
                </a:path>
              </a:pathLst>
            </a:custGeom>
            <a:solidFill>
              <a:srgbClr val="00247D"/>
            </a:solidFill>
          </p:spPr>
          <p:txBody>
            <a:bodyPr wrap="square" lIns="0" tIns="0" rIns="0" bIns="0" rtlCol="0"/>
            <a:lstStyle/>
            <a:p>
              <a:endParaRPr/>
            </a:p>
          </p:txBody>
        </p:sp>
        <p:sp>
          <p:nvSpPr>
            <p:cNvPr id="67" name="object 67"/>
            <p:cNvSpPr/>
            <p:nvPr/>
          </p:nvSpPr>
          <p:spPr>
            <a:xfrm>
              <a:off x="11149253" y="4805826"/>
              <a:ext cx="799465" cy="606425"/>
            </a:xfrm>
            <a:custGeom>
              <a:avLst/>
              <a:gdLst/>
              <a:ahLst/>
              <a:cxnLst/>
              <a:rect l="l" t="t" r="r" b="b"/>
              <a:pathLst>
                <a:path w="799465" h="606425">
                  <a:moveTo>
                    <a:pt x="94177" y="466624"/>
                  </a:moveTo>
                  <a:lnTo>
                    <a:pt x="59877" y="466624"/>
                  </a:lnTo>
                  <a:lnTo>
                    <a:pt x="77013" y="422948"/>
                  </a:lnTo>
                  <a:lnTo>
                    <a:pt x="94177" y="466624"/>
                  </a:lnTo>
                  <a:close/>
                </a:path>
                <a:path w="799465" h="606425">
                  <a:moveTo>
                    <a:pt x="42741" y="573940"/>
                  </a:moveTo>
                  <a:lnTo>
                    <a:pt x="46135" y="527134"/>
                  </a:lnTo>
                  <a:lnTo>
                    <a:pt x="0" y="520057"/>
                  </a:lnTo>
                  <a:lnTo>
                    <a:pt x="38506" y="493552"/>
                  </a:lnTo>
                  <a:lnTo>
                    <a:pt x="15256" y="452864"/>
                  </a:lnTo>
                  <a:lnTo>
                    <a:pt x="59877" y="466624"/>
                  </a:lnTo>
                  <a:lnTo>
                    <a:pt x="130926" y="466624"/>
                  </a:lnTo>
                  <a:lnTo>
                    <a:pt x="115520" y="493552"/>
                  </a:lnTo>
                  <a:lnTo>
                    <a:pt x="154055" y="520057"/>
                  </a:lnTo>
                  <a:lnTo>
                    <a:pt x="107920" y="527134"/>
                  </a:lnTo>
                  <a:lnTo>
                    <a:pt x="109005" y="542106"/>
                  </a:lnTo>
                  <a:lnTo>
                    <a:pt x="77013" y="542106"/>
                  </a:lnTo>
                  <a:lnTo>
                    <a:pt x="42741" y="573940"/>
                  </a:lnTo>
                  <a:close/>
                </a:path>
                <a:path w="799465" h="606425">
                  <a:moveTo>
                    <a:pt x="130926" y="466624"/>
                  </a:moveTo>
                  <a:lnTo>
                    <a:pt x="94177" y="466624"/>
                  </a:lnTo>
                  <a:lnTo>
                    <a:pt x="138798" y="452864"/>
                  </a:lnTo>
                  <a:lnTo>
                    <a:pt x="130926" y="466624"/>
                  </a:lnTo>
                  <a:close/>
                </a:path>
                <a:path w="799465" h="606425">
                  <a:moveTo>
                    <a:pt x="111313" y="573940"/>
                  </a:moveTo>
                  <a:lnTo>
                    <a:pt x="77013" y="542106"/>
                  </a:lnTo>
                  <a:lnTo>
                    <a:pt x="109005" y="542106"/>
                  </a:lnTo>
                  <a:lnTo>
                    <a:pt x="111313" y="573940"/>
                  </a:lnTo>
                  <a:close/>
                </a:path>
                <a:path w="799465" h="606425">
                  <a:moveTo>
                    <a:pt x="619728" y="28563"/>
                  </a:moveTo>
                  <a:lnTo>
                    <a:pt x="597264" y="28563"/>
                  </a:lnTo>
                  <a:lnTo>
                    <a:pt x="608482" y="0"/>
                  </a:lnTo>
                  <a:lnTo>
                    <a:pt x="619728" y="28563"/>
                  </a:lnTo>
                  <a:close/>
                </a:path>
                <a:path w="799465" h="606425">
                  <a:moveTo>
                    <a:pt x="586073" y="98772"/>
                  </a:moveTo>
                  <a:lnTo>
                    <a:pt x="588289" y="68151"/>
                  </a:lnTo>
                  <a:lnTo>
                    <a:pt x="558084" y="63526"/>
                  </a:lnTo>
                  <a:lnTo>
                    <a:pt x="583297" y="46185"/>
                  </a:lnTo>
                  <a:lnTo>
                    <a:pt x="568096" y="19568"/>
                  </a:lnTo>
                  <a:lnTo>
                    <a:pt x="597264" y="28563"/>
                  </a:lnTo>
                  <a:lnTo>
                    <a:pt x="643778" y="28563"/>
                  </a:lnTo>
                  <a:lnTo>
                    <a:pt x="633695" y="46185"/>
                  </a:lnTo>
                  <a:lnTo>
                    <a:pt x="658880" y="63526"/>
                  </a:lnTo>
                  <a:lnTo>
                    <a:pt x="628703" y="68151"/>
                  </a:lnTo>
                  <a:lnTo>
                    <a:pt x="629413" y="77963"/>
                  </a:lnTo>
                  <a:lnTo>
                    <a:pt x="608482" y="77963"/>
                  </a:lnTo>
                  <a:lnTo>
                    <a:pt x="586073" y="98772"/>
                  </a:lnTo>
                  <a:close/>
                </a:path>
                <a:path w="799465" h="606425">
                  <a:moveTo>
                    <a:pt x="643778" y="28563"/>
                  </a:moveTo>
                  <a:lnTo>
                    <a:pt x="619728" y="28563"/>
                  </a:lnTo>
                  <a:lnTo>
                    <a:pt x="648924" y="19568"/>
                  </a:lnTo>
                  <a:lnTo>
                    <a:pt x="643778" y="28563"/>
                  </a:lnTo>
                  <a:close/>
                </a:path>
                <a:path w="799465" h="606425">
                  <a:moveTo>
                    <a:pt x="630919" y="98772"/>
                  </a:moveTo>
                  <a:lnTo>
                    <a:pt x="608482" y="77963"/>
                  </a:lnTo>
                  <a:lnTo>
                    <a:pt x="629413" y="77963"/>
                  </a:lnTo>
                  <a:lnTo>
                    <a:pt x="630919" y="98772"/>
                  </a:lnTo>
                  <a:close/>
                </a:path>
                <a:path w="799465" h="606425">
                  <a:moveTo>
                    <a:pt x="507545" y="197742"/>
                  </a:moveTo>
                  <a:lnTo>
                    <a:pt x="485080" y="197742"/>
                  </a:lnTo>
                  <a:lnTo>
                    <a:pt x="496299" y="169179"/>
                  </a:lnTo>
                  <a:lnTo>
                    <a:pt x="507545" y="197742"/>
                  </a:lnTo>
                  <a:close/>
                </a:path>
                <a:path w="799465" h="606425">
                  <a:moveTo>
                    <a:pt x="473890" y="267979"/>
                  </a:moveTo>
                  <a:lnTo>
                    <a:pt x="476106" y="237358"/>
                  </a:lnTo>
                  <a:lnTo>
                    <a:pt x="445900" y="232734"/>
                  </a:lnTo>
                  <a:lnTo>
                    <a:pt x="471113" y="215365"/>
                  </a:lnTo>
                  <a:lnTo>
                    <a:pt x="455913" y="188747"/>
                  </a:lnTo>
                  <a:lnTo>
                    <a:pt x="485080" y="197742"/>
                  </a:lnTo>
                  <a:lnTo>
                    <a:pt x="507545" y="197742"/>
                  </a:lnTo>
                  <a:lnTo>
                    <a:pt x="531594" y="197742"/>
                  </a:lnTo>
                  <a:lnTo>
                    <a:pt x="521512" y="215365"/>
                  </a:lnTo>
                  <a:lnTo>
                    <a:pt x="546697" y="232734"/>
                  </a:lnTo>
                  <a:lnTo>
                    <a:pt x="516520" y="237358"/>
                  </a:lnTo>
                  <a:lnTo>
                    <a:pt x="517228" y="247142"/>
                  </a:lnTo>
                  <a:lnTo>
                    <a:pt x="496299" y="247142"/>
                  </a:lnTo>
                  <a:lnTo>
                    <a:pt x="473890" y="267979"/>
                  </a:lnTo>
                  <a:close/>
                </a:path>
                <a:path w="799465" h="606425">
                  <a:moveTo>
                    <a:pt x="531594" y="197742"/>
                  </a:moveTo>
                  <a:lnTo>
                    <a:pt x="507545" y="197742"/>
                  </a:lnTo>
                  <a:lnTo>
                    <a:pt x="536741" y="188747"/>
                  </a:lnTo>
                  <a:lnTo>
                    <a:pt x="531594" y="197742"/>
                  </a:lnTo>
                  <a:close/>
                </a:path>
                <a:path w="799465" h="606425">
                  <a:moveTo>
                    <a:pt x="518735" y="267979"/>
                  </a:moveTo>
                  <a:lnTo>
                    <a:pt x="496299" y="247142"/>
                  </a:lnTo>
                  <a:lnTo>
                    <a:pt x="517228" y="247142"/>
                  </a:lnTo>
                  <a:lnTo>
                    <a:pt x="518735" y="267979"/>
                  </a:lnTo>
                  <a:close/>
                </a:path>
                <a:path w="799465" h="606425">
                  <a:moveTo>
                    <a:pt x="759957" y="141349"/>
                  </a:moveTo>
                  <a:lnTo>
                    <a:pt x="737493" y="141349"/>
                  </a:lnTo>
                  <a:lnTo>
                    <a:pt x="748711" y="112786"/>
                  </a:lnTo>
                  <a:lnTo>
                    <a:pt x="759957" y="141349"/>
                  </a:lnTo>
                  <a:close/>
                </a:path>
                <a:path w="799465" h="606425">
                  <a:moveTo>
                    <a:pt x="726302" y="211586"/>
                  </a:moveTo>
                  <a:lnTo>
                    <a:pt x="728518" y="180965"/>
                  </a:lnTo>
                  <a:lnTo>
                    <a:pt x="698313" y="176341"/>
                  </a:lnTo>
                  <a:lnTo>
                    <a:pt x="723526" y="158972"/>
                  </a:lnTo>
                  <a:lnTo>
                    <a:pt x="708325" y="132354"/>
                  </a:lnTo>
                  <a:lnTo>
                    <a:pt x="737493" y="141349"/>
                  </a:lnTo>
                  <a:lnTo>
                    <a:pt x="759957" y="141349"/>
                  </a:lnTo>
                  <a:lnTo>
                    <a:pt x="784007" y="141349"/>
                  </a:lnTo>
                  <a:lnTo>
                    <a:pt x="773924" y="158972"/>
                  </a:lnTo>
                  <a:lnTo>
                    <a:pt x="799109" y="176341"/>
                  </a:lnTo>
                  <a:lnTo>
                    <a:pt x="768932" y="180965"/>
                  </a:lnTo>
                  <a:lnTo>
                    <a:pt x="769640" y="190749"/>
                  </a:lnTo>
                  <a:lnTo>
                    <a:pt x="748711" y="190749"/>
                  </a:lnTo>
                  <a:lnTo>
                    <a:pt x="726302" y="211586"/>
                  </a:lnTo>
                  <a:close/>
                </a:path>
                <a:path w="799465" h="606425">
                  <a:moveTo>
                    <a:pt x="784007" y="141349"/>
                  </a:moveTo>
                  <a:lnTo>
                    <a:pt x="759957" y="141349"/>
                  </a:lnTo>
                  <a:lnTo>
                    <a:pt x="789153" y="132354"/>
                  </a:lnTo>
                  <a:lnTo>
                    <a:pt x="784007" y="141349"/>
                  </a:lnTo>
                  <a:close/>
                </a:path>
                <a:path w="799465" h="606425">
                  <a:moveTo>
                    <a:pt x="771148" y="211586"/>
                  </a:moveTo>
                  <a:lnTo>
                    <a:pt x="748711" y="190749"/>
                  </a:lnTo>
                  <a:lnTo>
                    <a:pt x="769640" y="190749"/>
                  </a:lnTo>
                  <a:lnTo>
                    <a:pt x="771148" y="211586"/>
                  </a:lnTo>
                  <a:close/>
                </a:path>
                <a:path w="799465" h="606425">
                  <a:moveTo>
                    <a:pt x="619728" y="536100"/>
                  </a:moveTo>
                  <a:lnTo>
                    <a:pt x="597264" y="536100"/>
                  </a:lnTo>
                  <a:lnTo>
                    <a:pt x="608482" y="507537"/>
                  </a:lnTo>
                  <a:lnTo>
                    <a:pt x="619728" y="536100"/>
                  </a:lnTo>
                  <a:close/>
                </a:path>
                <a:path w="799465" h="606425">
                  <a:moveTo>
                    <a:pt x="586073" y="606338"/>
                  </a:moveTo>
                  <a:lnTo>
                    <a:pt x="588289" y="575716"/>
                  </a:lnTo>
                  <a:lnTo>
                    <a:pt x="558084" y="571092"/>
                  </a:lnTo>
                  <a:lnTo>
                    <a:pt x="583297" y="553723"/>
                  </a:lnTo>
                  <a:lnTo>
                    <a:pt x="568096" y="527106"/>
                  </a:lnTo>
                  <a:lnTo>
                    <a:pt x="597264" y="536100"/>
                  </a:lnTo>
                  <a:lnTo>
                    <a:pt x="643778" y="536100"/>
                  </a:lnTo>
                  <a:lnTo>
                    <a:pt x="633695" y="553723"/>
                  </a:lnTo>
                  <a:lnTo>
                    <a:pt x="658880" y="571092"/>
                  </a:lnTo>
                  <a:lnTo>
                    <a:pt x="628703" y="575716"/>
                  </a:lnTo>
                  <a:lnTo>
                    <a:pt x="629411" y="585501"/>
                  </a:lnTo>
                  <a:lnTo>
                    <a:pt x="608482" y="585501"/>
                  </a:lnTo>
                  <a:lnTo>
                    <a:pt x="586073" y="606338"/>
                  </a:lnTo>
                  <a:close/>
                </a:path>
                <a:path w="799465" h="606425">
                  <a:moveTo>
                    <a:pt x="643778" y="536100"/>
                  </a:moveTo>
                  <a:lnTo>
                    <a:pt x="619728" y="536100"/>
                  </a:lnTo>
                  <a:lnTo>
                    <a:pt x="648924" y="527106"/>
                  </a:lnTo>
                  <a:lnTo>
                    <a:pt x="643778" y="536100"/>
                  </a:lnTo>
                  <a:close/>
                </a:path>
                <a:path w="799465" h="606425">
                  <a:moveTo>
                    <a:pt x="630919" y="606338"/>
                  </a:moveTo>
                  <a:lnTo>
                    <a:pt x="608482" y="585501"/>
                  </a:lnTo>
                  <a:lnTo>
                    <a:pt x="629411" y="585501"/>
                  </a:lnTo>
                  <a:lnTo>
                    <a:pt x="630919" y="606338"/>
                  </a:lnTo>
                  <a:close/>
                </a:path>
                <a:path w="799465" h="606425">
                  <a:moveTo>
                    <a:pt x="677531" y="310500"/>
                  </a:moveTo>
                  <a:lnTo>
                    <a:pt x="680672" y="292031"/>
                  </a:lnTo>
                  <a:lnTo>
                    <a:pt x="667350" y="278976"/>
                  </a:lnTo>
                  <a:lnTo>
                    <a:pt x="685776" y="276297"/>
                  </a:lnTo>
                  <a:lnTo>
                    <a:pt x="694022" y="259492"/>
                  </a:lnTo>
                  <a:lnTo>
                    <a:pt x="702267" y="276297"/>
                  </a:lnTo>
                  <a:lnTo>
                    <a:pt x="720693" y="278976"/>
                  </a:lnTo>
                  <a:lnTo>
                    <a:pt x="707371" y="292031"/>
                  </a:lnTo>
                  <a:lnTo>
                    <a:pt x="709031" y="301787"/>
                  </a:lnTo>
                  <a:lnTo>
                    <a:pt x="694022" y="301787"/>
                  </a:lnTo>
                  <a:lnTo>
                    <a:pt x="677531" y="310500"/>
                  </a:lnTo>
                  <a:close/>
                </a:path>
                <a:path w="799465" h="606425">
                  <a:moveTo>
                    <a:pt x="710513" y="310500"/>
                  </a:moveTo>
                  <a:lnTo>
                    <a:pt x="694022" y="301787"/>
                  </a:lnTo>
                  <a:lnTo>
                    <a:pt x="709031" y="301787"/>
                  </a:lnTo>
                  <a:lnTo>
                    <a:pt x="710513" y="310500"/>
                  </a:lnTo>
                  <a:close/>
                </a:path>
              </a:pathLst>
            </a:custGeom>
            <a:solidFill>
              <a:srgbClr val="FFFFFF"/>
            </a:solidFill>
          </p:spPr>
          <p:txBody>
            <a:bodyPr wrap="square" lIns="0" tIns="0" rIns="0" bIns="0" rtlCol="0"/>
            <a:lstStyle/>
            <a:p>
              <a:endParaRPr/>
            </a:p>
          </p:txBody>
        </p:sp>
        <p:sp>
          <p:nvSpPr>
            <p:cNvPr id="68" name="object 68"/>
            <p:cNvSpPr/>
            <p:nvPr/>
          </p:nvSpPr>
          <p:spPr>
            <a:xfrm>
              <a:off x="10973855" y="4755157"/>
              <a:ext cx="533400" cy="367030"/>
            </a:xfrm>
            <a:custGeom>
              <a:avLst/>
              <a:gdLst/>
              <a:ahLst/>
              <a:cxnLst/>
              <a:rect l="l" t="t" r="r" b="b"/>
              <a:pathLst>
                <a:path w="533400" h="367029">
                  <a:moveTo>
                    <a:pt x="532870" y="50725"/>
                  </a:moveTo>
                  <a:lnTo>
                    <a:pt x="95131" y="50725"/>
                  </a:lnTo>
                  <a:lnTo>
                    <a:pt x="95243" y="1268"/>
                  </a:lnTo>
                  <a:lnTo>
                    <a:pt x="103208" y="0"/>
                  </a:lnTo>
                  <a:lnTo>
                    <a:pt x="532870" y="0"/>
                  </a:lnTo>
                  <a:lnTo>
                    <a:pt x="532870" y="50725"/>
                  </a:lnTo>
                  <a:close/>
                </a:path>
                <a:path w="533400" h="367029">
                  <a:moveTo>
                    <a:pt x="532870" y="366555"/>
                  </a:moveTo>
                  <a:lnTo>
                    <a:pt x="0" y="366555"/>
                  </a:lnTo>
                  <a:lnTo>
                    <a:pt x="0" y="112786"/>
                  </a:lnTo>
                  <a:lnTo>
                    <a:pt x="8637" y="69324"/>
                  </a:lnTo>
                  <a:lnTo>
                    <a:pt x="18566" y="50612"/>
                  </a:lnTo>
                  <a:lnTo>
                    <a:pt x="532870" y="50725"/>
                  </a:lnTo>
                  <a:lnTo>
                    <a:pt x="532870" y="366555"/>
                  </a:lnTo>
                  <a:close/>
                </a:path>
              </a:pathLst>
            </a:custGeom>
            <a:solidFill>
              <a:srgbClr val="00247D"/>
            </a:solidFill>
          </p:spPr>
          <p:txBody>
            <a:bodyPr wrap="square" lIns="0" tIns="0" rIns="0" bIns="0" rtlCol="0"/>
            <a:lstStyle/>
            <a:p>
              <a:endParaRPr/>
            </a:p>
          </p:txBody>
        </p:sp>
        <p:sp>
          <p:nvSpPr>
            <p:cNvPr id="69" name="object 69"/>
            <p:cNvSpPr/>
            <p:nvPr/>
          </p:nvSpPr>
          <p:spPr>
            <a:xfrm>
              <a:off x="10973855" y="4755157"/>
              <a:ext cx="533400" cy="367030"/>
            </a:xfrm>
            <a:custGeom>
              <a:avLst/>
              <a:gdLst/>
              <a:ahLst/>
              <a:cxnLst/>
              <a:rect l="l" t="t" r="r" b="b"/>
              <a:pathLst>
                <a:path w="533400" h="367029">
                  <a:moveTo>
                    <a:pt x="532870" y="366555"/>
                  </a:moveTo>
                  <a:lnTo>
                    <a:pt x="467467" y="366555"/>
                  </a:lnTo>
                  <a:lnTo>
                    <a:pt x="336549" y="274380"/>
                  </a:lnTo>
                  <a:lnTo>
                    <a:pt x="336549" y="366555"/>
                  </a:lnTo>
                  <a:lnTo>
                    <a:pt x="196320" y="366555"/>
                  </a:lnTo>
                  <a:lnTo>
                    <a:pt x="196320" y="294146"/>
                  </a:lnTo>
                  <a:lnTo>
                    <a:pt x="93448" y="366555"/>
                  </a:lnTo>
                  <a:lnTo>
                    <a:pt x="0" y="366555"/>
                  </a:lnTo>
                  <a:lnTo>
                    <a:pt x="0" y="331760"/>
                  </a:lnTo>
                  <a:lnTo>
                    <a:pt x="108958" y="253768"/>
                  </a:lnTo>
                  <a:lnTo>
                    <a:pt x="0" y="253768"/>
                  </a:lnTo>
                  <a:lnTo>
                    <a:pt x="0" y="112786"/>
                  </a:lnTo>
                  <a:lnTo>
                    <a:pt x="106938" y="112786"/>
                  </a:lnTo>
                  <a:lnTo>
                    <a:pt x="18566" y="50612"/>
                  </a:lnTo>
                  <a:lnTo>
                    <a:pt x="21202" y="46608"/>
                  </a:lnTo>
                  <a:lnTo>
                    <a:pt x="27120" y="39221"/>
                  </a:lnTo>
                  <a:lnTo>
                    <a:pt x="131534" y="112786"/>
                  </a:lnTo>
                  <a:lnTo>
                    <a:pt x="180222" y="112786"/>
                  </a:lnTo>
                  <a:lnTo>
                    <a:pt x="48351" y="20019"/>
                  </a:lnTo>
                  <a:lnTo>
                    <a:pt x="58959" y="13418"/>
                  </a:lnTo>
                  <a:lnTo>
                    <a:pt x="70409" y="8043"/>
                  </a:lnTo>
                  <a:lnTo>
                    <a:pt x="82552" y="3968"/>
                  </a:lnTo>
                  <a:lnTo>
                    <a:pt x="95243" y="1268"/>
                  </a:lnTo>
                  <a:lnTo>
                    <a:pt x="196320" y="72436"/>
                  </a:lnTo>
                  <a:lnTo>
                    <a:pt x="196320" y="0"/>
                  </a:lnTo>
                  <a:lnTo>
                    <a:pt x="336549" y="0"/>
                  </a:lnTo>
                  <a:lnTo>
                    <a:pt x="336549" y="92174"/>
                  </a:lnTo>
                  <a:lnTo>
                    <a:pt x="467495" y="0"/>
                  </a:lnTo>
                  <a:lnTo>
                    <a:pt x="532870" y="0"/>
                  </a:lnTo>
                  <a:lnTo>
                    <a:pt x="532870" y="57210"/>
                  </a:lnTo>
                  <a:lnTo>
                    <a:pt x="453949" y="112786"/>
                  </a:lnTo>
                  <a:lnTo>
                    <a:pt x="532870" y="112786"/>
                  </a:lnTo>
                  <a:lnTo>
                    <a:pt x="532870" y="253768"/>
                  </a:lnTo>
                  <a:lnTo>
                    <a:pt x="453921" y="253768"/>
                  </a:lnTo>
                  <a:lnTo>
                    <a:pt x="532870" y="309344"/>
                  </a:lnTo>
                  <a:lnTo>
                    <a:pt x="532870" y="366555"/>
                  </a:lnTo>
                  <a:close/>
                </a:path>
              </a:pathLst>
            </a:custGeom>
            <a:solidFill>
              <a:srgbClr val="EDEDED"/>
            </a:solidFill>
          </p:spPr>
          <p:txBody>
            <a:bodyPr wrap="square" lIns="0" tIns="0" rIns="0" bIns="0" rtlCol="0"/>
            <a:lstStyle/>
            <a:p>
              <a:endParaRPr/>
            </a:p>
          </p:txBody>
        </p:sp>
        <p:sp>
          <p:nvSpPr>
            <p:cNvPr id="70" name="object 70"/>
            <p:cNvSpPr/>
            <p:nvPr/>
          </p:nvSpPr>
          <p:spPr>
            <a:xfrm>
              <a:off x="10973854" y="4755159"/>
              <a:ext cx="533400" cy="367665"/>
            </a:xfrm>
            <a:custGeom>
              <a:avLst/>
              <a:gdLst/>
              <a:ahLst/>
              <a:cxnLst/>
              <a:rect l="l" t="t" r="r" b="b"/>
              <a:pathLst>
                <a:path w="533400" h="367664">
                  <a:moveTo>
                    <a:pt x="180187" y="112788"/>
                  </a:moveTo>
                  <a:lnTo>
                    <a:pt x="48348" y="20027"/>
                  </a:lnTo>
                  <a:lnTo>
                    <a:pt x="42583" y="24320"/>
                  </a:lnTo>
                  <a:lnTo>
                    <a:pt x="37122" y="28956"/>
                  </a:lnTo>
                  <a:lnTo>
                    <a:pt x="31965" y="33934"/>
                  </a:lnTo>
                  <a:lnTo>
                    <a:pt x="27114" y="39230"/>
                  </a:lnTo>
                  <a:lnTo>
                    <a:pt x="131533" y="112788"/>
                  </a:lnTo>
                  <a:lnTo>
                    <a:pt x="180187" y="112788"/>
                  </a:lnTo>
                  <a:close/>
                </a:path>
                <a:path w="533400" h="367664">
                  <a:moveTo>
                    <a:pt x="196316" y="253771"/>
                  </a:moveTo>
                  <a:lnTo>
                    <a:pt x="180530" y="253771"/>
                  </a:lnTo>
                  <a:lnTo>
                    <a:pt x="20586" y="366560"/>
                  </a:lnTo>
                  <a:lnTo>
                    <a:pt x="69011" y="366560"/>
                  </a:lnTo>
                  <a:lnTo>
                    <a:pt x="196316" y="276948"/>
                  </a:lnTo>
                  <a:lnTo>
                    <a:pt x="196316" y="253771"/>
                  </a:lnTo>
                  <a:close/>
                </a:path>
                <a:path w="533400" h="367664">
                  <a:moveTo>
                    <a:pt x="532866" y="326580"/>
                  </a:moveTo>
                  <a:lnTo>
                    <a:pt x="429463" y="253771"/>
                  </a:lnTo>
                  <a:lnTo>
                    <a:pt x="380580" y="253771"/>
                  </a:lnTo>
                  <a:lnTo>
                    <a:pt x="532866" y="360972"/>
                  </a:lnTo>
                  <a:lnTo>
                    <a:pt x="532866" y="326580"/>
                  </a:lnTo>
                  <a:close/>
                </a:path>
                <a:path w="533400" h="367664">
                  <a:moveTo>
                    <a:pt x="532866" y="140449"/>
                  </a:moveTo>
                  <a:lnTo>
                    <a:pt x="308495" y="140449"/>
                  </a:lnTo>
                  <a:lnTo>
                    <a:pt x="308495" y="368"/>
                  </a:lnTo>
                  <a:lnTo>
                    <a:pt x="224358" y="368"/>
                  </a:lnTo>
                  <a:lnTo>
                    <a:pt x="224358" y="140449"/>
                  </a:lnTo>
                  <a:lnTo>
                    <a:pt x="0" y="140449"/>
                  </a:lnTo>
                  <a:lnTo>
                    <a:pt x="0" y="225767"/>
                  </a:lnTo>
                  <a:lnTo>
                    <a:pt x="224358" y="225767"/>
                  </a:lnTo>
                  <a:lnTo>
                    <a:pt x="224358" y="367106"/>
                  </a:lnTo>
                  <a:lnTo>
                    <a:pt x="308495" y="367106"/>
                  </a:lnTo>
                  <a:lnTo>
                    <a:pt x="308495" y="225767"/>
                  </a:lnTo>
                  <a:lnTo>
                    <a:pt x="532866" y="225767"/>
                  </a:lnTo>
                  <a:lnTo>
                    <a:pt x="532866" y="140449"/>
                  </a:lnTo>
                  <a:close/>
                </a:path>
                <a:path w="533400" h="367664">
                  <a:moveTo>
                    <a:pt x="532866" y="0"/>
                  </a:moveTo>
                  <a:lnTo>
                    <a:pt x="491896" y="0"/>
                  </a:lnTo>
                  <a:lnTo>
                    <a:pt x="336550" y="109385"/>
                  </a:lnTo>
                  <a:lnTo>
                    <a:pt x="336550" y="112788"/>
                  </a:lnTo>
                  <a:lnTo>
                    <a:pt x="380606" y="112788"/>
                  </a:lnTo>
                  <a:lnTo>
                    <a:pt x="532866" y="5588"/>
                  </a:lnTo>
                  <a:lnTo>
                    <a:pt x="532866" y="0"/>
                  </a:lnTo>
                  <a:close/>
                </a:path>
              </a:pathLst>
            </a:custGeom>
            <a:solidFill>
              <a:srgbClr val="CF1B2A"/>
            </a:solidFill>
          </p:spPr>
          <p:txBody>
            <a:bodyPr wrap="square" lIns="0" tIns="0" rIns="0" bIns="0" rtlCol="0"/>
            <a:lstStyle/>
            <a:p>
              <a:endParaRPr/>
            </a:p>
          </p:txBody>
        </p:sp>
        <p:sp>
          <p:nvSpPr>
            <p:cNvPr id="71" name="object 71"/>
            <p:cNvSpPr/>
            <p:nvPr/>
          </p:nvSpPr>
          <p:spPr>
            <a:xfrm>
              <a:off x="9447870" y="4791876"/>
              <a:ext cx="962025" cy="695325"/>
            </a:xfrm>
            <a:custGeom>
              <a:avLst/>
              <a:gdLst/>
              <a:ahLst/>
              <a:cxnLst/>
              <a:rect l="l" t="t" r="r" b="b"/>
              <a:pathLst>
                <a:path w="962025" h="695325">
                  <a:moveTo>
                    <a:pt x="267229" y="695010"/>
                  </a:moveTo>
                  <a:lnTo>
                    <a:pt x="106891" y="695010"/>
                  </a:lnTo>
                  <a:lnTo>
                    <a:pt x="65286" y="686607"/>
                  </a:lnTo>
                  <a:lnTo>
                    <a:pt x="31309" y="663691"/>
                  </a:lnTo>
                  <a:lnTo>
                    <a:pt x="8400" y="629704"/>
                  </a:lnTo>
                  <a:lnTo>
                    <a:pt x="0" y="588086"/>
                  </a:lnTo>
                  <a:lnTo>
                    <a:pt x="0" y="106924"/>
                  </a:lnTo>
                  <a:lnTo>
                    <a:pt x="8400" y="65306"/>
                  </a:lnTo>
                  <a:lnTo>
                    <a:pt x="31309" y="31318"/>
                  </a:lnTo>
                  <a:lnTo>
                    <a:pt x="65286" y="8403"/>
                  </a:lnTo>
                  <a:lnTo>
                    <a:pt x="106891" y="0"/>
                  </a:lnTo>
                  <a:lnTo>
                    <a:pt x="267229" y="0"/>
                  </a:lnTo>
                  <a:lnTo>
                    <a:pt x="267229" y="695010"/>
                  </a:lnTo>
                  <a:close/>
                </a:path>
                <a:path w="962025" h="695325">
                  <a:moveTo>
                    <a:pt x="855133" y="695010"/>
                  </a:moveTo>
                  <a:lnTo>
                    <a:pt x="694795" y="695010"/>
                  </a:lnTo>
                  <a:lnTo>
                    <a:pt x="694795" y="0"/>
                  </a:lnTo>
                  <a:lnTo>
                    <a:pt x="855133" y="0"/>
                  </a:lnTo>
                  <a:lnTo>
                    <a:pt x="896738" y="8403"/>
                  </a:lnTo>
                  <a:lnTo>
                    <a:pt x="930715" y="31318"/>
                  </a:lnTo>
                  <a:lnTo>
                    <a:pt x="953624" y="65306"/>
                  </a:lnTo>
                  <a:lnTo>
                    <a:pt x="962025" y="106924"/>
                  </a:lnTo>
                  <a:lnTo>
                    <a:pt x="962025" y="588086"/>
                  </a:lnTo>
                  <a:lnTo>
                    <a:pt x="953624" y="629704"/>
                  </a:lnTo>
                  <a:lnTo>
                    <a:pt x="930715" y="663691"/>
                  </a:lnTo>
                  <a:lnTo>
                    <a:pt x="896738" y="686607"/>
                  </a:lnTo>
                  <a:lnTo>
                    <a:pt x="855133" y="695010"/>
                  </a:lnTo>
                  <a:close/>
                </a:path>
              </a:pathLst>
            </a:custGeom>
            <a:solidFill>
              <a:srgbClr val="D52A1D"/>
            </a:solidFill>
          </p:spPr>
          <p:txBody>
            <a:bodyPr wrap="square" lIns="0" tIns="0" rIns="0" bIns="0" rtlCol="0"/>
            <a:lstStyle/>
            <a:p>
              <a:endParaRPr/>
            </a:p>
          </p:txBody>
        </p:sp>
        <p:sp>
          <p:nvSpPr>
            <p:cNvPr id="72" name="object 72"/>
            <p:cNvSpPr/>
            <p:nvPr/>
          </p:nvSpPr>
          <p:spPr>
            <a:xfrm>
              <a:off x="9715099" y="4791876"/>
              <a:ext cx="427990" cy="695325"/>
            </a:xfrm>
            <a:custGeom>
              <a:avLst/>
              <a:gdLst/>
              <a:ahLst/>
              <a:cxnLst/>
              <a:rect l="l" t="t" r="r" b="b"/>
              <a:pathLst>
                <a:path w="427990" h="695325">
                  <a:moveTo>
                    <a:pt x="427566" y="695010"/>
                  </a:moveTo>
                  <a:lnTo>
                    <a:pt x="0" y="695010"/>
                  </a:lnTo>
                  <a:lnTo>
                    <a:pt x="0" y="0"/>
                  </a:lnTo>
                  <a:lnTo>
                    <a:pt x="427566" y="0"/>
                  </a:lnTo>
                  <a:lnTo>
                    <a:pt x="427566" y="695010"/>
                  </a:lnTo>
                  <a:close/>
                </a:path>
              </a:pathLst>
            </a:custGeom>
            <a:solidFill>
              <a:srgbClr val="EDEDED"/>
            </a:solidFill>
          </p:spPr>
          <p:txBody>
            <a:bodyPr wrap="square" lIns="0" tIns="0" rIns="0" bIns="0" rtlCol="0"/>
            <a:lstStyle/>
            <a:p>
              <a:endParaRPr/>
            </a:p>
          </p:txBody>
        </p:sp>
        <p:sp>
          <p:nvSpPr>
            <p:cNvPr id="73" name="object 73"/>
            <p:cNvSpPr/>
            <p:nvPr/>
          </p:nvSpPr>
          <p:spPr>
            <a:xfrm>
              <a:off x="9740005" y="4933819"/>
              <a:ext cx="387350" cy="419734"/>
            </a:xfrm>
            <a:custGeom>
              <a:avLst/>
              <a:gdLst/>
              <a:ahLst/>
              <a:cxnLst/>
              <a:rect l="l" t="t" r="r" b="b"/>
              <a:pathLst>
                <a:path w="387350" h="419735">
                  <a:moveTo>
                    <a:pt x="231179" y="70115"/>
                  </a:moveTo>
                  <a:lnTo>
                    <a:pt x="155901" y="70115"/>
                  </a:lnTo>
                  <a:lnTo>
                    <a:pt x="159749" y="63245"/>
                  </a:lnTo>
                  <a:lnTo>
                    <a:pt x="193554" y="0"/>
                  </a:lnTo>
                  <a:lnTo>
                    <a:pt x="193554" y="1577"/>
                  </a:lnTo>
                  <a:lnTo>
                    <a:pt x="194397" y="1577"/>
                  </a:lnTo>
                  <a:lnTo>
                    <a:pt x="227358" y="63245"/>
                  </a:lnTo>
                  <a:lnTo>
                    <a:pt x="231179" y="70115"/>
                  </a:lnTo>
                  <a:close/>
                </a:path>
                <a:path w="387350" h="419735">
                  <a:moveTo>
                    <a:pt x="194397" y="1577"/>
                  </a:moveTo>
                  <a:lnTo>
                    <a:pt x="193554" y="1577"/>
                  </a:lnTo>
                  <a:lnTo>
                    <a:pt x="193554" y="0"/>
                  </a:lnTo>
                  <a:lnTo>
                    <a:pt x="194397" y="1577"/>
                  </a:lnTo>
                  <a:close/>
                </a:path>
                <a:path w="387350" h="419735">
                  <a:moveTo>
                    <a:pt x="254729" y="164637"/>
                  </a:moveTo>
                  <a:lnTo>
                    <a:pt x="132388" y="164637"/>
                  </a:lnTo>
                  <a:lnTo>
                    <a:pt x="136144" y="160209"/>
                  </a:lnTo>
                  <a:lnTo>
                    <a:pt x="135939" y="150068"/>
                  </a:lnTo>
                  <a:lnTo>
                    <a:pt x="117687" y="52927"/>
                  </a:lnTo>
                  <a:lnTo>
                    <a:pt x="142165" y="65625"/>
                  </a:lnTo>
                  <a:lnTo>
                    <a:pt x="149033" y="69474"/>
                  </a:lnTo>
                  <a:lnTo>
                    <a:pt x="155901" y="70115"/>
                  </a:lnTo>
                  <a:lnTo>
                    <a:pt x="266190" y="70115"/>
                  </a:lnTo>
                  <a:lnTo>
                    <a:pt x="251168" y="150068"/>
                  </a:lnTo>
                  <a:lnTo>
                    <a:pt x="250974" y="160209"/>
                  </a:lnTo>
                  <a:lnTo>
                    <a:pt x="254729" y="164637"/>
                  </a:lnTo>
                  <a:close/>
                </a:path>
                <a:path w="387350" h="419735">
                  <a:moveTo>
                    <a:pt x="266190" y="70115"/>
                  </a:moveTo>
                  <a:lnTo>
                    <a:pt x="231179" y="70115"/>
                  </a:lnTo>
                  <a:lnTo>
                    <a:pt x="238047" y="69474"/>
                  </a:lnTo>
                  <a:lnTo>
                    <a:pt x="244915" y="65625"/>
                  </a:lnTo>
                  <a:lnTo>
                    <a:pt x="269420" y="52927"/>
                  </a:lnTo>
                  <a:lnTo>
                    <a:pt x="266190" y="70115"/>
                  </a:lnTo>
                  <a:close/>
                </a:path>
                <a:path w="387350" h="419735">
                  <a:moveTo>
                    <a:pt x="369693" y="164637"/>
                  </a:moveTo>
                  <a:lnTo>
                    <a:pt x="254729" y="164637"/>
                  </a:lnTo>
                  <a:lnTo>
                    <a:pt x="260338" y="164293"/>
                  </a:lnTo>
                  <a:lnTo>
                    <a:pt x="265705" y="160119"/>
                  </a:lnTo>
                  <a:lnTo>
                    <a:pt x="308409" y="112164"/>
                  </a:lnTo>
                  <a:lnTo>
                    <a:pt x="315390" y="136542"/>
                  </a:lnTo>
                  <a:lnTo>
                    <a:pt x="316185" y="139723"/>
                  </a:lnTo>
                  <a:lnTo>
                    <a:pt x="319686" y="143065"/>
                  </a:lnTo>
                  <a:lnTo>
                    <a:pt x="375608" y="143065"/>
                  </a:lnTo>
                  <a:lnTo>
                    <a:pt x="369693" y="164637"/>
                  </a:lnTo>
                  <a:close/>
                </a:path>
                <a:path w="387350" h="419735">
                  <a:moveTo>
                    <a:pt x="106231" y="143092"/>
                  </a:moveTo>
                  <a:lnTo>
                    <a:pt x="67421" y="143092"/>
                  </a:lnTo>
                  <a:lnTo>
                    <a:pt x="70949" y="139750"/>
                  </a:lnTo>
                  <a:lnTo>
                    <a:pt x="71758" y="136516"/>
                  </a:lnTo>
                  <a:lnTo>
                    <a:pt x="78699" y="112190"/>
                  </a:lnTo>
                  <a:lnTo>
                    <a:pt x="106231" y="143092"/>
                  </a:lnTo>
                  <a:close/>
                </a:path>
                <a:path w="387350" h="419735">
                  <a:moveTo>
                    <a:pt x="375608" y="143065"/>
                  </a:moveTo>
                  <a:lnTo>
                    <a:pt x="319686" y="143065"/>
                  </a:lnTo>
                  <a:lnTo>
                    <a:pt x="324950" y="142263"/>
                  </a:lnTo>
                  <a:lnTo>
                    <a:pt x="378957" y="130849"/>
                  </a:lnTo>
                  <a:lnTo>
                    <a:pt x="375608" y="143065"/>
                  </a:lnTo>
                  <a:close/>
                </a:path>
                <a:path w="387350" h="419735">
                  <a:moveTo>
                    <a:pt x="89040" y="326254"/>
                  </a:moveTo>
                  <a:lnTo>
                    <a:pt x="97198" y="299442"/>
                  </a:lnTo>
                  <a:lnTo>
                    <a:pt x="98527" y="294764"/>
                  </a:lnTo>
                  <a:lnTo>
                    <a:pt x="96656" y="289605"/>
                  </a:lnTo>
                  <a:lnTo>
                    <a:pt x="92936" y="286718"/>
                  </a:lnTo>
                  <a:lnTo>
                    <a:pt x="0" y="210989"/>
                  </a:lnTo>
                  <a:lnTo>
                    <a:pt x="19315" y="201900"/>
                  </a:lnTo>
                  <a:lnTo>
                    <a:pt x="27711" y="198906"/>
                  </a:lnTo>
                  <a:lnTo>
                    <a:pt x="25353" y="194095"/>
                  </a:lnTo>
                  <a:lnTo>
                    <a:pt x="22333" y="182600"/>
                  </a:lnTo>
                  <a:lnTo>
                    <a:pt x="8150" y="130875"/>
                  </a:lnTo>
                  <a:lnTo>
                    <a:pt x="62157" y="142290"/>
                  </a:lnTo>
                  <a:lnTo>
                    <a:pt x="67421" y="143092"/>
                  </a:lnTo>
                  <a:lnTo>
                    <a:pt x="106231" y="143092"/>
                  </a:lnTo>
                  <a:lnTo>
                    <a:pt x="121402" y="160119"/>
                  </a:lnTo>
                  <a:lnTo>
                    <a:pt x="126773" y="164293"/>
                  </a:lnTo>
                  <a:lnTo>
                    <a:pt x="132388" y="164637"/>
                  </a:lnTo>
                  <a:lnTo>
                    <a:pt x="369693" y="164637"/>
                  </a:lnTo>
                  <a:lnTo>
                    <a:pt x="364760" y="182627"/>
                  </a:lnTo>
                  <a:lnTo>
                    <a:pt x="361681" y="194121"/>
                  </a:lnTo>
                  <a:lnTo>
                    <a:pt x="359369" y="198879"/>
                  </a:lnTo>
                  <a:lnTo>
                    <a:pt x="367897" y="201927"/>
                  </a:lnTo>
                  <a:lnTo>
                    <a:pt x="387081" y="210962"/>
                  </a:lnTo>
                  <a:lnTo>
                    <a:pt x="294078" y="286745"/>
                  </a:lnTo>
                  <a:lnTo>
                    <a:pt x="290424" y="289605"/>
                  </a:lnTo>
                  <a:lnTo>
                    <a:pt x="288554" y="294738"/>
                  </a:lnTo>
                  <a:lnTo>
                    <a:pt x="289871" y="299469"/>
                  </a:lnTo>
                  <a:lnTo>
                    <a:pt x="294752" y="315508"/>
                  </a:lnTo>
                  <a:lnTo>
                    <a:pt x="205312" y="315508"/>
                  </a:lnTo>
                  <a:lnTo>
                    <a:pt x="202479" y="315508"/>
                  </a:lnTo>
                  <a:lnTo>
                    <a:pt x="181769" y="315534"/>
                  </a:lnTo>
                  <a:lnTo>
                    <a:pt x="89040" y="326254"/>
                  </a:lnTo>
                  <a:close/>
                </a:path>
                <a:path w="387350" h="419735">
                  <a:moveTo>
                    <a:pt x="298013" y="326227"/>
                  </a:moveTo>
                  <a:lnTo>
                    <a:pt x="205312" y="315508"/>
                  </a:lnTo>
                  <a:lnTo>
                    <a:pt x="294752" y="315508"/>
                  </a:lnTo>
                  <a:lnTo>
                    <a:pt x="298013" y="326227"/>
                  </a:lnTo>
                  <a:close/>
                </a:path>
                <a:path w="387350" h="419735">
                  <a:moveTo>
                    <a:pt x="206274" y="419385"/>
                  </a:moveTo>
                  <a:lnTo>
                    <a:pt x="180727" y="419385"/>
                  </a:lnTo>
                  <a:lnTo>
                    <a:pt x="186445" y="320373"/>
                  </a:lnTo>
                  <a:lnTo>
                    <a:pt x="186440" y="317085"/>
                  </a:lnTo>
                  <a:lnTo>
                    <a:pt x="184601" y="315534"/>
                  </a:lnTo>
                  <a:lnTo>
                    <a:pt x="202448" y="315534"/>
                  </a:lnTo>
                  <a:lnTo>
                    <a:pt x="200635" y="317085"/>
                  </a:lnTo>
                  <a:lnTo>
                    <a:pt x="200582" y="320373"/>
                  </a:lnTo>
                  <a:lnTo>
                    <a:pt x="206274" y="419385"/>
                  </a:lnTo>
                  <a:close/>
                </a:path>
              </a:pathLst>
            </a:custGeom>
            <a:solidFill>
              <a:srgbClr val="D52A1D"/>
            </a:solidFill>
          </p:spPr>
          <p:txBody>
            <a:bodyPr wrap="square" lIns="0" tIns="0" rIns="0" bIns="0" rtlCol="0"/>
            <a:lstStyle/>
            <a:p>
              <a:endParaRPr/>
            </a:p>
          </p:txBody>
        </p:sp>
        <p:sp>
          <p:nvSpPr>
            <p:cNvPr id="74" name="object 74"/>
            <p:cNvSpPr/>
            <p:nvPr/>
          </p:nvSpPr>
          <p:spPr>
            <a:xfrm>
              <a:off x="9427871" y="3896807"/>
              <a:ext cx="971550" cy="217170"/>
            </a:xfrm>
            <a:custGeom>
              <a:avLst/>
              <a:gdLst/>
              <a:ahLst/>
              <a:cxnLst/>
              <a:rect l="l" t="t" r="r" b="b"/>
              <a:pathLst>
                <a:path w="971550" h="217170">
                  <a:moveTo>
                    <a:pt x="863599" y="216820"/>
                  </a:moveTo>
                  <a:lnTo>
                    <a:pt x="107949" y="216820"/>
                  </a:lnTo>
                  <a:lnTo>
                    <a:pt x="65932" y="208300"/>
                  </a:lnTo>
                  <a:lnTo>
                    <a:pt x="31619" y="185066"/>
                  </a:lnTo>
                  <a:lnTo>
                    <a:pt x="8483" y="150606"/>
                  </a:lnTo>
                  <a:lnTo>
                    <a:pt x="0" y="108410"/>
                  </a:lnTo>
                  <a:lnTo>
                    <a:pt x="0" y="0"/>
                  </a:lnTo>
                  <a:lnTo>
                    <a:pt x="971549" y="0"/>
                  </a:lnTo>
                  <a:lnTo>
                    <a:pt x="971549" y="108410"/>
                  </a:lnTo>
                  <a:lnTo>
                    <a:pt x="963066" y="150606"/>
                  </a:lnTo>
                  <a:lnTo>
                    <a:pt x="939930" y="185066"/>
                  </a:lnTo>
                  <a:lnTo>
                    <a:pt x="905617" y="208300"/>
                  </a:lnTo>
                  <a:lnTo>
                    <a:pt x="863599" y="216820"/>
                  </a:lnTo>
                  <a:close/>
                </a:path>
              </a:pathLst>
            </a:custGeom>
            <a:solidFill>
              <a:srgbClr val="FFCC04"/>
            </a:solidFill>
          </p:spPr>
          <p:txBody>
            <a:bodyPr wrap="square" lIns="0" tIns="0" rIns="0" bIns="0" rtlCol="0"/>
            <a:lstStyle/>
            <a:p>
              <a:endParaRPr/>
            </a:p>
          </p:txBody>
        </p:sp>
        <p:sp>
          <p:nvSpPr>
            <p:cNvPr id="75" name="object 75"/>
            <p:cNvSpPr/>
            <p:nvPr/>
          </p:nvSpPr>
          <p:spPr>
            <a:xfrm>
              <a:off x="9427871" y="3652883"/>
              <a:ext cx="971550" cy="244475"/>
            </a:xfrm>
            <a:custGeom>
              <a:avLst/>
              <a:gdLst/>
              <a:ahLst/>
              <a:cxnLst/>
              <a:rect l="l" t="t" r="r" b="b"/>
              <a:pathLst>
                <a:path w="971550" h="244475">
                  <a:moveTo>
                    <a:pt x="971549" y="243923"/>
                  </a:moveTo>
                  <a:lnTo>
                    <a:pt x="0" y="243923"/>
                  </a:lnTo>
                  <a:lnTo>
                    <a:pt x="0" y="0"/>
                  </a:lnTo>
                  <a:lnTo>
                    <a:pt x="971549" y="0"/>
                  </a:lnTo>
                  <a:lnTo>
                    <a:pt x="971549" y="243923"/>
                  </a:lnTo>
                  <a:close/>
                </a:path>
              </a:pathLst>
            </a:custGeom>
            <a:solidFill>
              <a:srgbClr val="EC1F24"/>
            </a:solidFill>
          </p:spPr>
          <p:txBody>
            <a:bodyPr wrap="square" lIns="0" tIns="0" rIns="0" bIns="0" rtlCol="0"/>
            <a:lstStyle/>
            <a:p>
              <a:endParaRPr/>
            </a:p>
          </p:txBody>
        </p:sp>
        <p:sp>
          <p:nvSpPr>
            <p:cNvPr id="76" name="object 76"/>
            <p:cNvSpPr/>
            <p:nvPr/>
          </p:nvSpPr>
          <p:spPr>
            <a:xfrm>
              <a:off x="9427871" y="3408960"/>
              <a:ext cx="971550" cy="244475"/>
            </a:xfrm>
            <a:custGeom>
              <a:avLst/>
              <a:gdLst/>
              <a:ahLst/>
              <a:cxnLst/>
              <a:rect l="l" t="t" r="r" b="b"/>
              <a:pathLst>
                <a:path w="971550" h="244475">
                  <a:moveTo>
                    <a:pt x="971549" y="243923"/>
                  </a:moveTo>
                  <a:lnTo>
                    <a:pt x="0" y="243923"/>
                  </a:lnTo>
                  <a:lnTo>
                    <a:pt x="0" y="108410"/>
                  </a:lnTo>
                  <a:lnTo>
                    <a:pt x="8483" y="66213"/>
                  </a:lnTo>
                  <a:lnTo>
                    <a:pt x="31619" y="31754"/>
                  </a:lnTo>
                  <a:lnTo>
                    <a:pt x="65932" y="8519"/>
                  </a:lnTo>
                  <a:lnTo>
                    <a:pt x="107949" y="0"/>
                  </a:lnTo>
                  <a:lnTo>
                    <a:pt x="863599" y="0"/>
                  </a:lnTo>
                  <a:lnTo>
                    <a:pt x="905617" y="8519"/>
                  </a:lnTo>
                  <a:lnTo>
                    <a:pt x="939930" y="31754"/>
                  </a:lnTo>
                  <a:lnTo>
                    <a:pt x="963066" y="66213"/>
                  </a:lnTo>
                  <a:lnTo>
                    <a:pt x="971549" y="108410"/>
                  </a:lnTo>
                  <a:lnTo>
                    <a:pt x="971549" y="243923"/>
                  </a:lnTo>
                  <a:close/>
                </a:path>
              </a:pathLst>
            </a:custGeom>
            <a:solidFill>
              <a:srgbClr val="131313"/>
            </a:solidFill>
          </p:spPr>
          <p:txBody>
            <a:bodyPr wrap="square" lIns="0" tIns="0" rIns="0" bIns="0" rtlCol="0"/>
            <a:lstStyle/>
            <a:p>
              <a:endParaRPr/>
            </a:p>
          </p:txBody>
        </p:sp>
        <p:sp>
          <p:nvSpPr>
            <p:cNvPr id="77" name="object 77"/>
            <p:cNvSpPr/>
            <p:nvPr/>
          </p:nvSpPr>
          <p:spPr>
            <a:xfrm>
              <a:off x="11549358" y="3408960"/>
              <a:ext cx="323850" cy="704850"/>
            </a:xfrm>
            <a:custGeom>
              <a:avLst/>
              <a:gdLst/>
              <a:ahLst/>
              <a:cxnLst/>
              <a:rect l="l" t="t" r="r" b="b"/>
              <a:pathLst>
                <a:path w="323850" h="704850">
                  <a:moveTo>
                    <a:pt x="215899" y="704667"/>
                  </a:moveTo>
                  <a:lnTo>
                    <a:pt x="0" y="704667"/>
                  </a:lnTo>
                  <a:lnTo>
                    <a:pt x="0" y="0"/>
                  </a:lnTo>
                  <a:lnTo>
                    <a:pt x="215899" y="0"/>
                  </a:lnTo>
                  <a:lnTo>
                    <a:pt x="257917" y="8519"/>
                  </a:lnTo>
                  <a:lnTo>
                    <a:pt x="292230" y="31754"/>
                  </a:lnTo>
                  <a:lnTo>
                    <a:pt x="315366" y="66213"/>
                  </a:lnTo>
                  <a:lnTo>
                    <a:pt x="323849" y="108410"/>
                  </a:lnTo>
                  <a:lnTo>
                    <a:pt x="323849" y="596256"/>
                  </a:lnTo>
                  <a:lnTo>
                    <a:pt x="315366" y="638453"/>
                  </a:lnTo>
                  <a:lnTo>
                    <a:pt x="292230" y="672913"/>
                  </a:lnTo>
                  <a:lnTo>
                    <a:pt x="257917" y="696147"/>
                  </a:lnTo>
                  <a:lnTo>
                    <a:pt x="215899" y="704667"/>
                  </a:lnTo>
                  <a:close/>
                </a:path>
              </a:pathLst>
            </a:custGeom>
            <a:solidFill>
              <a:srgbClr val="EC2938"/>
            </a:solidFill>
          </p:spPr>
          <p:txBody>
            <a:bodyPr wrap="square" lIns="0" tIns="0" rIns="0" bIns="0" rtlCol="0"/>
            <a:lstStyle/>
            <a:p>
              <a:endParaRPr/>
            </a:p>
          </p:txBody>
        </p:sp>
        <p:sp>
          <p:nvSpPr>
            <p:cNvPr id="78" name="object 78"/>
            <p:cNvSpPr/>
            <p:nvPr/>
          </p:nvSpPr>
          <p:spPr>
            <a:xfrm>
              <a:off x="10901658" y="3408960"/>
              <a:ext cx="323850" cy="704850"/>
            </a:xfrm>
            <a:custGeom>
              <a:avLst/>
              <a:gdLst/>
              <a:ahLst/>
              <a:cxnLst/>
              <a:rect l="l" t="t" r="r" b="b"/>
              <a:pathLst>
                <a:path w="323850" h="704850">
                  <a:moveTo>
                    <a:pt x="323849" y="704667"/>
                  </a:moveTo>
                  <a:lnTo>
                    <a:pt x="107949" y="704667"/>
                  </a:lnTo>
                  <a:lnTo>
                    <a:pt x="65932" y="696147"/>
                  </a:lnTo>
                  <a:lnTo>
                    <a:pt x="31619" y="672913"/>
                  </a:lnTo>
                  <a:lnTo>
                    <a:pt x="8483" y="638453"/>
                  </a:lnTo>
                  <a:lnTo>
                    <a:pt x="0" y="596256"/>
                  </a:lnTo>
                  <a:lnTo>
                    <a:pt x="0" y="108410"/>
                  </a:lnTo>
                  <a:lnTo>
                    <a:pt x="8483" y="66213"/>
                  </a:lnTo>
                  <a:lnTo>
                    <a:pt x="31619" y="31754"/>
                  </a:lnTo>
                  <a:lnTo>
                    <a:pt x="65932" y="8519"/>
                  </a:lnTo>
                  <a:lnTo>
                    <a:pt x="107949" y="0"/>
                  </a:lnTo>
                  <a:lnTo>
                    <a:pt x="323849" y="0"/>
                  </a:lnTo>
                  <a:lnTo>
                    <a:pt x="323849" y="704667"/>
                  </a:lnTo>
                  <a:close/>
                </a:path>
              </a:pathLst>
            </a:custGeom>
            <a:solidFill>
              <a:srgbClr val="002494"/>
            </a:solidFill>
          </p:spPr>
          <p:txBody>
            <a:bodyPr wrap="square" lIns="0" tIns="0" rIns="0" bIns="0" rtlCol="0"/>
            <a:lstStyle/>
            <a:p>
              <a:endParaRPr/>
            </a:p>
          </p:txBody>
        </p:sp>
        <p:sp>
          <p:nvSpPr>
            <p:cNvPr id="79" name="object 79"/>
            <p:cNvSpPr/>
            <p:nvPr/>
          </p:nvSpPr>
          <p:spPr>
            <a:xfrm>
              <a:off x="11225508" y="3408960"/>
              <a:ext cx="323850" cy="704850"/>
            </a:xfrm>
            <a:custGeom>
              <a:avLst/>
              <a:gdLst/>
              <a:ahLst/>
              <a:cxnLst/>
              <a:rect l="l" t="t" r="r" b="b"/>
              <a:pathLst>
                <a:path w="323850" h="704850">
                  <a:moveTo>
                    <a:pt x="323849" y="704667"/>
                  </a:moveTo>
                  <a:lnTo>
                    <a:pt x="0" y="704667"/>
                  </a:lnTo>
                  <a:lnTo>
                    <a:pt x="0" y="0"/>
                  </a:lnTo>
                  <a:lnTo>
                    <a:pt x="323849" y="0"/>
                  </a:lnTo>
                  <a:lnTo>
                    <a:pt x="323849" y="704667"/>
                  </a:lnTo>
                  <a:close/>
                </a:path>
              </a:pathLst>
            </a:custGeom>
            <a:solidFill>
              <a:srgbClr val="EDEDED"/>
            </a:solidFill>
          </p:spPr>
          <p:txBody>
            <a:bodyPr wrap="square" lIns="0" tIns="0" rIns="0" bIns="0" rtlCol="0"/>
            <a:lstStyle/>
            <a:p>
              <a:endParaRPr/>
            </a:p>
          </p:txBody>
        </p:sp>
        <p:pic>
          <p:nvPicPr>
            <p:cNvPr id="80" name="object 80"/>
            <p:cNvPicPr/>
            <p:nvPr/>
          </p:nvPicPr>
          <p:blipFill>
            <a:blip r:embed="rId7" cstate="print"/>
            <a:stretch>
              <a:fillRect/>
            </a:stretch>
          </p:blipFill>
          <p:spPr>
            <a:xfrm>
              <a:off x="17316449" y="237491"/>
              <a:ext cx="742949" cy="819149"/>
            </a:xfrm>
            <a:prstGeom prst="rect">
              <a:avLst/>
            </a:prstGeom>
          </p:spPr>
        </p:pic>
      </p:grpSp>
      <p:sp>
        <p:nvSpPr>
          <p:cNvPr id="81" name="object 81"/>
          <p:cNvSpPr txBox="1"/>
          <p:nvPr/>
        </p:nvSpPr>
        <p:spPr>
          <a:xfrm>
            <a:off x="11149286" y="5578407"/>
            <a:ext cx="748665" cy="240029"/>
          </a:xfrm>
          <a:prstGeom prst="rect">
            <a:avLst/>
          </a:prstGeom>
        </p:spPr>
        <p:txBody>
          <a:bodyPr vert="horz" wrap="square" lIns="0" tIns="13335" rIns="0" bIns="0" rtlCol="0">
            <a:spAutoFit/>
          </a:bodyPr>
          <a:lstStyle/>
          <a:p>
            <a:pPr marL="12700">
              <a:lnSpc>
                <a:spcPct val="100000"/>
              </a:lnSpc>
              <a:spcBef>
                <a:spcPts val="105"/>
              </a:spcBef>
            </a:pPr>
            <a:r>
              <a:rPr sz="1400" b="1" spc="-10" dirty="0">
                <a:solidFill>
                  <a:srgbClr val="737373"/>
                </a:solidFill>
                <a:latin typeface="Roboto"/>
                <a:cs typeface="Roboto"/>
              </a:rPr>
              <a:t>Australia</a:t>
            </a:r>
            <a:endParaRPr sz="1400">
              <a:latin typeface="Roboto"/>
              <a:cs typeface="Roboto"/>
            </a:endParaRPr>
          </a:p>
        </p:txBody>
      </p:sp>
      <p:sp>
        <p:nvSpPr>
          <p:cNvPr id="87" name="object 87"/>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88" name="object 88"/>
          <p:cNvSpPr txBox="1"/>
          <p:nvPr/>
        </p:nvSpPr>
        <p:spPr>
          <a:xfrm>
            <a:off x="17811802" y="9932977"/>
            <a:ext cx="231775"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35" dirty="0">
                <a:solidFill>
                  <a:srgbClr val="737373"/>
                </a:solidFill>
                <a:latin typeface="Arial"/>
                <a:cs typeface="Arial"/>
              </a:rPr>
              <a:t>05</a:t>
            </a:r>
            <a:endParaRPr sz="900">
              <a:latin typeface="Arial"/>
              <a:cs typeface="Arial"/>
            </a:endParaRPr>
          </a:p>
        </p:txBody>
      </p:sp>
      <p:sp>
        <p:nvSpPr>
          <p:cNvPr id="82" name="object 82"/>
          <p:cNvSpPr txBox="1"/>
          <p:nvPr/>
        </p:nvSpPr>
        <p:spPr>
          <a:xfrm>
            <a:off x="9645781" y="5578407"/>
            <a:ext cx="629920" cy="240029"/>
          </a:xfrm>
          <a:prstGeom prst="rect">
            <a:avLst/>
          </a:prstGeom>
        </p:spPr>
        <p:txBody>
          <a:bodyPr vert="horz" wrap="square" lIns="0" tIns="13335" rIns="0" bIns="0" rtlCol="0">
            <a:spAutoFit/>
          </a:bodyPr>
          <a:lstStyle/>
          <a:p>
            <a:pPr marL="12700">
              <a:lnSpc>
                <a:spcPct val="100000"/>
              </a:lnSpc>
              <a:spcBef>
                <a:spcPts val="105"/>
              </a:spcBef>
            </a:pPr>
            <a:r>
              <a:rPr sz="1400" b="1" spc="-10" dirty="0">
                <a:solidFill>
                  <a:srgbClr val="737373"/>
                </a:solidFill>
                <a:latin typeface="Roboto"/>
                <a:cs typeface="Roboto"/>
              </a:rPr>
              <a:t>Canada</a:t>
            </a:r>
            <a:endParaRPr sz="1400">
              <a:latin typeface="Roboto"/>
              <a:cs typeface="Roboto"/>
            </a:endParaRPr>
          </a:p>
        </p:txBody>
      </p:sp>
      <p:sp>
        <p:nvSpPr>
          <p:cNvPr id="83" name="object 83"/>
          <p:cNvSpPr txBox="1"/>
          <p:nvPr/>
        </p:nvSpPr>
        <p:spPr>
          <a:xfrm>
            <a:off x="9569376" y="4268744"/>
            <a:ext cx="782955" cy="240029"/>
          </a:xfrm>
          <a:prstGeom prst="rect">
            <a:avLst/>
          </a:prstGeom>
        </p:spPr>
        <p:txBody>
          <a:bodyPr vert="horz" wrap="square" lIns="0" tIns="13335" rIns="0" bIns="0" rtlCol="0">
            <a:spAutoFit/>
          </a:bodyPr>
          <a:lstStyle/>
          <a:p>
            <a:pPr marL="12700">
              <a:lnSpc>
                <a:spcPct val="100000"/>
              </a:lnSpc>
              <a:spcBef>
                <a:spcPts val="105"/>
              </a:spcBef>
            </a:pPr>
            <a:r>
              <a:rPr sz="1400" b="1" spc="-10" dirty="0">
                <a:solidFill>
                  <a:srgbClr val="737373"/>
                </a:solidFill>
                <a:latin typeface="Roboto"/>
                <a:cs typeface="Roboto"/>
              </a:rPr>
              <a:t>Alemania</a:t>
            </a:r>
            <a:endParaRPr sz="1400">
              <a:latin typeface="Roboto"/>
              <a:cs typeface="Roboto"/>
            </a:endParaRPr>
          </a:p>
        </p:txBody>
      </p:sp>
      <p:sp>
        <p:nvSpPr>
          <p:cNvPr id="84" name="object 84"/>
          <p:cNvSpPr txBox="1"/>
          <p:nvPr/>
        </p:nvSpPr>
        <p:spPr>
          <a:xfrm>
            <a:off x="11112854" y="4268744"/>
            <a:ext cx="620395" cy="240029"/>
          </a:xfrm>
          <a:prstGeom prst="rect">
            <a:avLst/>
          </a:prstGeom>
        </p:spPr>
        <p:txBody>
          <a:bodyPr vert="horz" wrap="square" lIns="0" tIns="13335" rIns="0" bIns="0" rtlCol="0">
            <a:spAutoFit/>
          </a:bodyPr>
          <a:lstStyle/>
          <a:p>
            <a:pPr marL="12700">
              <a:lnSpc>
                <a:spcPct val="100000"/>
              </a:lnSpc>
              <a:spcBef>
                <a:spcPts val="105"/>
              </a:spcBef>
            </a:pPr>
            <a:r>
              <a:rPr sz="1400" b="1" spc="-10" dirty="0">
                <a:solidFill>
                  <a:srgbClr val="737373"/>
                </a:solidFill>
                <a:latin typeface="Roboto"/>
                <a:cs typeface="Roboto"/>
              </a:rPr>
              <a:t>Francia</a:t>
            </a:r>
            <a:endParaRPr sz="1400">
              <a:latin typeface="Roboto"/>
              <a:cs typeface="Roboto"/>
            </a:endParaRPr>
          </a:p>
        </p:txBody>
      </p:sp>
      <p:sp>
        <p:nvSpPr>
          <p:cNvPr id="85" name="object 85"/>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4.</a:t>
            </a:r>
            <a:r>
              <a:rPr spc="-70" dirty="0"/>
              <a:t> </a:t>
            </a:r>
            <a:r>
              <a:rPr spc="-30" dirty="0"/>
              <a:t>Situación</a:t>
            </a:r>
            <a:r>
              <a:rPr spc="-70" dirty="0"/>
              <a:t> </a:t>
            </a:r>
            <a:r>
              <a:rPr dirty="0"/>
              <a:t>de</a:t>
            </a:r>
            <a:r>
              <a:rPr spc="-65" dirty="0"/>
              <a:t> </a:t>
            </a:r>
            <a:r>
              <a:rPr spc="-10" dirty="0"/>
              <a:t>mercados</a:t>
            </a:r>
          </a:p>
        </p:txBody>
      </p:sp>
      <p:sp>
        <p:nvSpPr>
          <p:cNvPr id="86" name="object 86"/>
          <p:cNvSpPr txBox="1"/>
          <p:nvPr/>
        </p:nvSpPr>
        <p:spPr>
          <a:xfrm>
            <a:off x="14001999" y="3268754"/>
            <a:ext cx="3426460" cy="2188845"/>
          </a:xfrm>
          <a:prstGeom prst="rect">
            <a:avLst/>
          </a:prstGeom>
        </p:spPr>
        <p:txBody>
          <a:bodyPr vert="horz" wrap="square" lIns="0" tIns="13335" rIns="0" bIns="0" rtlCol="0">
            <a:spAutoFit/>
          </a:bodyPr>
          <a:lstStyle/>
          <a:p>
            <a:pPr marL="516890" marR="226060" indent="-504825">
              <a:lnSpc>
                <a:spcPts val="3370"/>
              </a:lnSpc>
              <a:spcBef>
                <a:spcPts val="105"/>
              </a:spcBef>
            </a:pPr>
            <a:r>
              <a:rPr sz="2700" b="1" spc="85" dirty="0">
                <a:solidFill>
                  <a:srgbClr val="FFFFFF"/>
                </a:solidFill>
                <a:latin typeface="Arial"/>
                <a:cs typeface="Arial"/>
              </a:rPr>
              <a:t>Situación</a:t>
            </a:r>
            <a:r>
              <a:rPr sz="2700" b="1" spc="-10" dirty="0">
                <a:solidFill>
                  <a:srgbClr val="FFFFFF"/>
                </a:solidFill>
                <a:latin typeface="Arial"/>
                <a:cs typeface="Arial"/>
              </a:rPr>
              <a:t> </a:t>
            </a:r>
            <a:r>
              <a:rPr sz="2700" b="1" spc="145" dirty="0">
                <a:solidFill>
                  <a:srgbClr val="FFFFFF"/>
                </a:solidFill>
                <a:latin typeface="Arial"/>
                <a:cs typeface="Arial"/>
              </a:rPr>
              <a:t>de</a:t>
            </a:r>
            <a:r>
              <a:rPr sz="2700" b="1" spc="-10" dirty="0">
                <a:solidFill>
                  <a:srgbClr val="FFFFFF"/>
                </a:solidFill>
                <a:latin typeface="Arial"/>
                <a:cs typeface="Arial"/>
              </a:rPr>
              <a:t> </a:t>
            </a:r>
            <a:r>
              <a:rPr sz="2700" b="1" spc="70" dirty="0">
                <a:solidFill>
                  <a:srgbClr val="FFFFFF"/>
                </a:solidFill>
                <a:latin typeface="Arial"/>
                <a:cs typeface="Arial"/>
              </a:rPr>
              <a:t>Chile </a:t>
            </a:r>
            <a:r>
              <a:rPr sz="2700" b="1" spc="120" dirty="0">
                <a:solidFill>
                  <a:srgbClr val="FFFFFF"/>
                </a:solidFill>
                <a:latin typeface="Arial"/>
                <a:cs typeface="Arial"/>
              </a:rPr>
              <a:t>en</a:t>
            </a:r>
            <a:r>
              <a:rPr sz="2700" b="1" spc="-10" dirty="0">
                <a:solidFill>
                  <a:srgbClr val="FFFFFF"/>
                </a:solidFill>
                <a:latin typeface="Arial"/>
                <a:cs typeface="Arial"/>
              </a:rPr>
              <a:t> </a:t>
            </a:r>
            <a:r>
              <a:rPr sz="2700" b="1" spc="130" dirty="0">
                <a:solidFill>
                  <a:srgbClr val="FFFFFF"/>
                </a:solidFill>
                <a:latin typeface="Arial"/>
                <a:cs typeface="Arial"/>
              </a:rPr>
              <a:t>Australia</a:t>
            </a:r>
            <a:endParaRPr sz="2700">
              <a:latin typeface="Arial"/>
              <a:cs typeface="Arial"/>
            </a:endParaRPr>
          </a:p>
          <a:p>
            <a:pPr marL="93980" marR="5080">
              <a:lnSpc>
                <a:spcPct val="103299"/>
              </a:lnSpc>
              <a:spcBef>
                <a:spcPts val="1735"/>
              </a:spcBef>
            </a:pPr>
            <a:r>
              <a:rPr sz="2300" spc="-25" dirty="0">
                <a:solidFill>
                  <a:srgbClr val="FFFFFF"/>
                </a:solidFill>
                <a:latin typeface="Roboto"/>
                <a:cs typeface="Roboto"/>
              </a:rPr>
              <a:t>Óptima</a:t>
            </a:r>
            <a:r>
              <a:rPr sz="2300" spc="-95" dirty="0">
                <a:solidFill>
                  <a:srgbClr val="FFFFFF"/>
                </a:solidFill>
                <a:latin typeface="Roboto"/>
                <a:cs typeface="Roboto"/>
              </a:rPr>
              <a:t> </a:t>
            </a:r>
            <a:r>
              <a:rPr sz="2300" spc="-40" dirty="0">
                <a:solidFill>
                  <a:srgbClr val="FFFFFF"/>
                </a:solidFill>
                <a:latin typeface="Roboto"/>
                <a:cs typeface="Roboto"/>
              </a:rPr>
              <a:t>conectividad</a:t>
            </a:r>
            <a:r>
              <a:rPr sz="2300" spc="-95" dirty="0">
                <a:solidFill>
                  <a:srgbClr val="FFFFFF"/>
                </a:solidFill>
                <a:latin typeface="Roboto"/>
                <a:cs typeface="Roboto"/>
              </a:rPr>
              <a:t> </a:t>
            </a:r>
            <a:r>
              <a:rPr sz="2300" spc="-50" dirty="0">
                <a:solidFill>
                  <a:srgbClr val="FFFFFF"/>
                </a:solidFill>
                <a:latin typeface="Roboto"/>
                <a:cs typeface="Roboto"/>
              </a:rPr>
              <a:t>y </a:t>
            </a:r>
            <a:r>
              <a:rPr sz="2300" spc="-40" dirty="0">
                <a:solidFill>
                  <a:srgbClr val="FFFFFF"/>
                </a:solidFill>
                <a:latin typeface="Roboto"/>
                <a:cs typeface="Roboto"/>
              </a:rPr>
              <a:t>ubicación</a:t>
            </a:r>
            <a:r>
              <a:rPr sz="2300" spc="-105" dirty="0">
                <a:solidFill>
                  <a:srgbClr val="FFFFFF"/>
                </a:solidFill>
                <a:latin typeface="Roboto"/>
                <a:cs typeface="Roboto"/>
              </a:rPr>
              <a:t> </a:t>
            </a:r>
            <a:r>
              <a:rPr sz="2300" dirty="0">
                <a:solidFill>
                  <a:srgbClr val="FFFFFF"/>
                </a:solidFill>
                <a:latin typeface="Roboto"/>
                <a:cs typeface="Roboto"/>
              </a:rPr>
              <a:t>como</a:t>
            </a:r>
            <a:r>
              <a:rPr sz="2300" spc="-105" dirty="0">
                <a:solidFill>
                  <a:srgbClr val="FFFFFF"/>
                </a:solidFill>
                <a:latin typeface="Roboto"/>
                <a:cs typeface="Roboto"/>
              </a:rPr>
              <a:t> </a:t>
            </a:r>
            <a:r>
              <a:rPr sz="2300" spc="-35" dirty="0">
                <a:solidFill>
                  <a:srgbClr val="FFFFFF"/>
                </a:solidFill>
                <a:latin typeface="Roboto"/>
                <a:cs typeface="Roboto"/>
              </a:rPr>
              <a:t>puerta</a:t>
            </a:r>
            <a:r>
              <a:rPr sz="2300" spc="-105" dirty="0">
                <a:solidFill>
                  <a:srgbClr val="FFFFFF"/>
                </a:solidFill>
                <a:latin typeface="Roboto"/>
                <a:cs typeface="Roboto"/>
              </a:rPr>
              <a:t> </a:t>
            </a:r>
            <a:r>
              <a:rPr sz="2300" spc="-35" dirty="0">
                <a:solidFill>
                  <a:srgbClr val="FFFFFF"/>
                </a:solidFill>
                <a:latin typeface="Roboto"/>
                <a:cs typeface="Roboto"/>
              </a:rPr>
              <a:t>de entrada</a:t>
            </a:r>
            <a:r>
              <a:rPr sz="2300" spc="-80" dirty="0">
                <a:solidFill>
                  <a:srgbClr val="FFFFFF"/>
                </a:solidFill>
                <a:latin typeface="Roboto"/>
                <a:cs typeface="Roboto"/>
              </a:rPr>
              <a:t> </a:t>
            </a:r>
            <a:r>
              <a:rPr sz="2300" dirty="0">
                <a:solidFill>
                  <a:srgbClr val="FFFFFF"/>
                </a:solidFill>
                <a:latin typeface="Roboto"/>
                <a:cs typeface="Roboto"/>
              </a:rPr>
              <a:t>a</a:t>
            </a:r>
            <a:r>
              <a:rPr sz="2300" spc="-80" dirty="0">
                <a:solidFill>
                  <a:srgbClr val="FFFFFF"/>
                </a:solidFill>
                <a:latin typeface="Roboto"/>
                <a:cs typeface="Roboto"/>
              </a:rPr>
              <a:t> </a:t>
            </a:r>
            <a:r>
              <a:rPr sz="2300" spc="-10" dirty="0">
                <a:solidFill>
                  <a:srgbClr val="FFFFFF"/>
                </a:solidFill>
                <a:latin typeface="Roboto"/>
                <a:cs typeface="Roboto"/>
              </a:rPr>
              <a:t>Latinoamérica</a:t>
            </a:r>
            <a:endParaRPr sz="2300">
              <a:latin typeface="Roboto"/>
              <a:cs typeface="Roboto"/>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29"/>
            <a:ext cx="17954625" cy="9604375"/>
            <a:chOff x="166956" y="184829"/>
            <a:chExt cx="17954625" cy="9604375"/>
          </a:xfrm>
        </p:grpSpPr>
        <p:sp>
          <p:nvSpPr>
            <p:cNvPr id="3" name="object 3"/>
            <p:cNvSpPr/>
            <p:nvPr/>
          </p:nvSpPr>
          <p:spPr>
            <a:xfrm>
              <a:off x="166956" y="1113691"/>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pic>
          <p:nvPicPr>
            <p:cNvPr id="4" name="object 4"/>
            <p:cNvPicPr/>
            <p:nvPr/>
          </p:nvPicPr>
          <p:blipFill>
            <a:blip r:embed="rId2" cstate="print"/>
            <a:stretch>
              <a:fillRect/>
            </a:stretch>
          </p:blipFill>
          <p:spPr>
            <a:xfrm>
              <a:off x="166956" y="822403"/>
              <a:ext cx="17954624" cy="8791574"/>
            </a:xfrm>
            <a:prstGeom prst="rect">
              <a:avLst/>
            </a:prstGeom>
          </p:spPr>
        </p:pic>
        <p:sp>
          <p:nvSpPr>
            <p:cNvPr id="5" name="object 5"/>
            <p:cNvSpPr/>
            <p:nvPr/>
          </p:nvSpPr>
          <p:spPr>
            <a:xfrm>
              <a:off x="166954" y="184835"/>
              <a:ext cx="17954625" cy="7355840"/>
            </a:xfrm>
            <a:custGeom>
              <a:avLst/>
              <a:gdLst/>
              <a:ahLst/>
              <a:cxnLst/>
              <a:rect l="l" t="t" r="r" b="b"/>
              <a:pathLst>
                <a:path w="17954625" h="7355840">
                  <a:moveTo>
                    <a:pt x="17953990" y="2673337"/>
                  </a:moveTo>
                  <a:lnTo>
                    <a:pt x="12114200" y="2673337"/>
                  </a:lnTo>
                  <a:lnTo>
                    <a:pt x="11199343" y="5014226"/>
                  </a:lnTo>
                  <a:lnTo>
                    <a:pt x="12114301" y="7355357"/>
                  </a:lnTo>
                  <a:lnTo>
                    <a:pt x="17953990" y="7355357"/>
                  </a:lnTo>
                  <a:lnTo>
                    <a:pt x="17953990" y="2673337"/>
                  </a:lnTo>
                  <a:close/>
                </a:path>
                <a:path w="17954625" h="7355840">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pic>
          <p:nvPicPr>
            <p:cNvPr id="6" name="object 6"/>
            <p:cNvPicPr/>
            <p:nvPr/>
          </p:nvPicPr>
          <p:blipFill>
            <a:blip r:embed="rId3" cstate="print"/>
            <a:stretch>
              <a:fillRect/>
            </a:stretch>
          </p:blipFill>
          <p:spPr>
            <a:xfrm>
              <a:off x="13581148" y="2109049"/>
              <a:ext cx="1705229" cy="1705230"/>
            </a:xfrm>
            <a:prstGeom prst="rect">
              <a:avLst/>
            </a:prstGeom>
          </p:spPr>
        </p:pic>
      </p:grpSp>
      <p:sp>
        <p:nvSpPr>
          <p:cNvPr id="7" name="object 7"/>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4.</a:t>
            </a:r>
            <a:r>
              <a:rPr spc="-70" dirty="0"/>
              <a:t> </a:t>
            </a:r>
            <a:r>
              <a:rPr spc="-30" dirty="0"/>
              <a:t>Situación</a:t>
            </a:r>
            <a:r>
              <a:rPr spc="-70" dirty="0"/>
              <a:t> </a:t>
            </a:r>
            <a:r>
              <a:rPr dirty="0"/>
              <a:t>de</a:t>
            </a:r>
            <a:r>
              <a:rPr spc="-65" dirty="0"/>
              <a:t> </a:t>
            </a:r>
            <a:r>
              <a:rPr spc="-10" dirty="0"/>
              <a:t>mercados</a:t>
            </a:r>
          </a:p>
        </p:txBody>
      </p:sp>
      <p:sp>
        <p:nvSpPr>
          <p:cNvPr id="8" name="object 8"/>
          <p:cNvSpPr txBox="1"/>
          <p:nvPr/>
        </p:nvSpPr>
        <p:spPr>
          <a:xfrm>
            <a:off x="12876689" y="4254437"/>
            <a:ext cx="4372610" cy="2379980"/>
          </a:xfrm>
          <a:prstGeom prst="rect">
            <a:avLst/>
          </a:prstGeom>
        </p:spPr>
        <p:txBody>
          <a:bodyPr vert="horz" wrap="square" lIns="0" tIns="11430" rIns="0" bIns="0" rtlCol="0">
            <a:spAutoFit/>
          </a:bodyPr>
          <a:lstStyle/>
          <a:p>
            <a:pPr marL="12700" marR="5080">
              <a:lnSpc>
                <a:spcPct val="110300"/>
              </a:lnSpc>
              <a:spcBef>
                <a:spcPts val="90"/>
              </a:spcBef>
            </a:pPr>
            <a:r>
              <a:rPr sz="2800" b="1" spc="185" dirty="0">
                <a:solidFill>
                  <a:srgbClr val="FFFFFF"/>
                </a:solidFill>
                <a:latin typeface="Arial"/>
                <a:cs typeface="Arial"/>
              </a:rPr>
              <a:t>Argentina,</a:t>
            </a:r>
            <a:r>
              <a:rPr sz="2800" b="1" spc="-40" dirty="0">
                <a:solidFill>
                  <a:srgbClr val="FFFFFF"/>
                </a:solidFill>
                <a:latin typeface="Arial"/>
                <a:cs typeface="Arial"/>
              </a:rPr>
              <a:t> </a:t>
            </a:r>
            <a:r>
              <a:rPr sz="2800" b="1" spc="85" dirty="0">
                <a:solidFill>
                  <a:srgbClr val="FFFFFF"/>
                </a:solidFill>
                <a:latin typeface="Arial"/>
                <a:cs typeface="Arial"/>
              </a:rPr>
              <a:t>Brasil,</a:t>
            </a:r>
            <a:r>
              <a:rPr sz="2800" b="1" spc="-35" dirty="0">
                <a:solidFill>
                  <a:srgbClr val="FFFFFF"/>
                </a:solidFill>
                <a:latin typeface="Arial"/>
                <a:cs typeface="Arial"/>
              </a:rPr>
              <a:t> </a:t>
            </a:r>
            <a:r>
              <a:rPr sz="2800" b="1" spc="125" dirty="0">
                <a:solidFill>
                  <a:srgbClr val="FFFFFF"/>
                </a:solidFill>
                <a:latin typeface="Arial"/>
                <a:cs typeface="Arial"/>
              </a:rPr>
              <a:t>Perú, </a:t>
            </a:r>
            <a:r>
              <a:rPr sz="2800" b="1" spc="100" dirty="0">
                <a:solidFill>
                  <a:srgbClr val="FFFFFF"/>
                </a:solidFill>
                <a:latin typeface="Arial"/>
                <a:cs typeface="Arial"/>
              </a:rPr>
              <a:t>Bolivia</a:t>
            </a:r>
            <a:r>
              <a:rPr sz="2800" b="1" spc="-40" dirty="0">
                <a:solidFill>
                  <a:srgbClr val="FFFFFF"/>
                </a:solidFill>
                <a:latin typeface="Arial"/>
                <a:cs typeface="Arial"/>
              </a:rPr>
              <a:t> </a:t>
            </a:r>
            <a:r>
              <a:rPr sz="2800" b="1" spc="229" dirty="0">
                <a:solidFill>
                  <a:srgbClr val="FFFFFF"/>
                </a:solidFill>
                <a:latin typeface="Arial"/>
                <a:cs typeface="Arial"/>
              </a:rPr>
              <a:t>y</a:t>
            </a:r>
            <a:r>
              <a:rPr sz="2800" b="1" spc="-35" dirty="0">
                <a:solidFill>
                  <a:srgbClr val="FFFFFF"/>
                </a:solidFill>
                <a:latin typeface="Arial"/>
                <a:cs typeface="Arial"/>
              </a:rPr>
              <a:t> </a:t>
            </a:r>
            <a:r>
              <a:rPr sz="2800" b="1" spc="-70" dirty="0">
                <a:solidFill>
                  <a:srgbClr val="FFFFFF"/>
                </a:solidFill>
                <a:latin typeface="Arial"/>
                <a:cs typeface="Arial"/>
              </a:rPr>
              <a:t>EEUU</a:t>
            </a:r>
            <a:r>
              <a:rPr sz="2800" b="1" spc="-35" dirty="0">
                <a:solidFill>
                  <a:srgbClr val="FFFFFF"/>
                </a:solidFill>
                <a:latin typeface="Arial"/>
                <a:cs typeface="Arial"/>
              </a:rPr>
              <a:t> </a:t>
            </a:r>
            <a:r>
              <a:rPr sz="2800" b="1" dirty="0">
                <a:solidFill>
                  <a:srgbClr val="FFFFFF"/>
                </a:solidFill>
                <a:latin typeface="Arial"/>
                <a:cs typeface="Arial"/>
              </a:rPr>
              <a:t>son</a:t>
            </a:r>
            <a:r>
              <a:rPr sz="2800" b="1" spc="-35" dirty="0">
                <a:solidFill>
                  <a:srgbClr val="FFFFFF"/>
                </a:solidFill>
                <a:latin typeface="Arial"/>
                <a:cs typeface="Arial"/>
              </a:rPr>
              <a:t> </a:t>
            </a:r>
            <a:r>
              <a:rPr sz="2800" b="1" spc="-25" dirty="0">
                <a:solidFill>
                  <a:srgbClr val="FFFFFF"/>
                </a:solidFill>
                <a:latin typeface="Arial"/>
                <a:cs typeface="Arial"/>
              </a:rPr>
              <a:t>los </a:t>
            </a:r>
            <a:r>
              <a:rPr sz="2800" b="1" spc="100" dirty="0">
                <a:solidFill>
                  <a:srgbClr val="FFFFFF"/>
                </a:solidFill>
                <a:latin typeface="Arial"/>
                <a:cs typeface="Arial"/>
              </a:rPr>
              <a:t>principales</a:t>
            </a:r>
            <a:r>
              <a:rPr sz="2800" b="1" spc="-45" dirty="0">
                <a:solidFill>
                  <a:srgbClr val="FFFFFF"/>
                </a:solidFill>
                <a:latin typeface="Arial"/>
                <a:cs typeface="Arial"/>
              </a:rPr>
              <a:t> </a:t>
            </a:r>
            <a:r>
              <a:rPr sz="2800" b="1" spc="114" dirty="0">
                <a:solidFill>
                  <a:srgbClr val="FFFFFF"/>
                </a:solidFill>
                <a:latin typeface="Arial"/>
                <a:cs typeface="Arial"/>
              </a:rPr>
              <a:t>mercados </a:t>
            </a:r>
            <a:r>
              <a:rPr sz="2800" b="1" spc="170" dirty="0">
                <a:solidFill>
                  <a:srgbClr val="FFFFFF"/>
                </a:solidFill>
                <a:latin typeface="Arial"/>
                <a:cs typeface="Arial"/>
              </a:rPr>
              <a:t>de</a:t>
            </a:r>
            <a:r>
              <a:rPr sz="2800" b="1" spc="-45" dirty="0">
                <a:solidFill>
                  <a:srgbClr val="FFFFFF"/>
                </a:solidFill>
                <a:latin typeface="Arial"/>
                <a:cs typeface="Arial"/>
              </a:rPr>
              <a:t> </a:t>
            </a:r>
            <a:r>
              <a:rPr sz="2800" b="1" spc="114" dirty="0">
                <a:solidFill>
                  <a:srgbClr val="FFFFFF"/>
                </a:solidFill>
                <a:latin typeface="Arial"/>
                <a:cs typeface="Arial"/>
              </a:rPr>
              <a:t>turismo </a:t>
            </a:r>
            <a:r>
              <a:rPr sz="2800" b="1" spc="135" dirty="0">
                <a:solidFill>
                  <a:srgbClr val="FFFFFF"/>
                </a:solidFill>
                <a:latin typeface="Arial"/>
                <a:cs typeface="Arial"/>
              </a:rPr>
              <a:t>internacional</a:t>
            </a:r>
            <a:r>
              <a:rPr sz="2800" b="1" spc="-20" dirty="0">
                <a:solidFill>
                  <a:srgbClr val="FFFFFF"/>
                </a:solidFill>
                <a:latin typeface="Arial"/>
                <a:cs typeface="Arial"/>
              </a:rPr>
              <a:t> </a:t>
            </a:r>
            <a:r>
              <a:rPr sz="2800" b="1" spc="170" dirty="0">
                <a:solidFill>
                  <a:srgbClr val="FFFFFF"/>
                </a:solidFill>
                <a:latin typeface="Arial"/>
                <a:cs typeface="Arial"/>
              </a:rPr>
              <a:t>de</a:t>
            </a:r>
            <a:r>
              <a:rPr sz="2800" b="1" spc="-15" dirty="0">
                <a:solidFill>
                  <a:srgbClr val="FFFFFF"/>
                </a:solidFill>
                <a:latin typeface="Arial"/>
                <a:cs typeface="Arial"/>
              </a:rPr>
              <a:t> </a:t>
            </a:r>
            <a:r>
              <a:rPr sz="2800" b="1" spc="70" dirty="0">
                <a:solidFill>
                  <a:srgbClr val="FFFFFF"/>
                </a:solidFill>
                <a:latin typeface="Arial"/>
                <a:cs typeface="Arial"/>
              </a:rPr>
              <a:t>Chile</a:t>
            </a:r>
            <a:endParaRPr sz="2800">
              <a:latin typeface="Arial"/>
              <a:cs typeface="Arial"/>
            </a:endParaRPr>
          </a:p>
        </p:txBody>
      </p:sp>
      <p:grpSp>
        <p:nvGrpSpPr>
          <p:cNvPr id="9" name="object 9"/>
          <p:cNvGrpSpPr/>
          <p:nvPr/>
        </p:nvGrpSpPr>
        <p:grpSpPr>
          <a:xfrm>
            <a:off x="6316243" y="3952175"/>
            <a:ext cx="1853564" cy="1853564"/>
            <a:chOff x="6316243" y="3952175"/>
            <a:chExt cx="1853564" cy="1853564"/>
          </a:xfrm>
        </p:grpSpPr>
        <p:sp>
          <p:nvSpPr>
            <p:cNvPr id="10" name="object 10"/>
            <p:cNvSpPr/>
            <p:nvPr/>
          </p:nvSpPr>
          <p:spPr>
            <a:xfrm>
              <a:off x="6316243" y="3952175"/>
              <a:ext cx="1853564" cy="1853564"/>
            </a:xfrm>
            <a:custGeom>
              <a:avLst/>
              <a:gdLst/>
              <a:ahLst/>
              <a:cxnLst/>
              <a:rect l="l" t="t" r="r" b="b"/>
              <a:pathLst>
                <a:path w="1853565" h="1853564">
                  <a:moveTo>
                    <a:pt x="926636" y="1853263"/>
                  </a:moveTo>
                  <a:lnTo>
                    <a:pt x="878947" y="1852058"/>
                  </a:lnTo>
                  <a:lnTo>
                    <a:pt x="831889" y="1848479"/>
                  </a:lnTo>
                  <a:lnTo>
                    <a:pt x="785514" y="1842587"/>
                  </a:lnTo>
                  <a:lnTo>
                    <a:pt x="739883" y="1834438"/>
                  </a:lnTo>
                  <a:lnTo>
                    <a:pt x="695051" y="1824091"/>
                  </a:lnTo>
                  <a:lnTo>
                    <a:pt x="651079" y="1811604"/>
                  </a:lnTo>
                  <a:lnTo>
                    <a:pt x="608024" y="1797036"/>
                  </a:lnTo>
                  <a:lnTo>
                    <a:pt x="565944" y="1780444"/>
                  </a:lnTo>
                  <a:lnTo>
                    <a:pt x="524898" y="1761887"/>
                  </a:lnTo>
                  <a:lnTo>
                    <a:pt x="484943" y="1741424"/>
                  </a:lnTo>
                  <a:lnTo>
                    <a:pt x="446139" y="1719112"/>
                  </a:lnTo>
                  <a:lnTo>
                    <a:pt x="408542" y="1695009"/>
                  </a:lnTo>
                  <a:lnTo>
                    <a:pt x="372212" y="1669174"/>
                  </a:lnTo>
                  <a:lnTo>
                    <a:pt x="337207" y="1641666"/>
                  </a:lnTo>
                  <a:lnTo>
                    <a:pt x="303585" y="1612541"/>
                  </a:lnTo>
                  <a:lnTo>
                    <a:pt x="271403" y="1581859"/>
                  </a:lnTo>
                  <a:lnTo>
                    <a:pt x="240721" y="1549678"/>
                  </a:lnTo>
                  <a:lnTo>
                    <a:pt x="211597" y="1516055"/>
                  </a:lnTo>
                  <a:lnTo>
                    <a:pt x="184088" y="1481050"/>
                  </a:lnTo>
                  <a:lnTo>
                    <a:pt x="158253" y="1444720"/>
                  </a:lnTo>
                  <a:lnTo>
                    <a:pt x="134151" y="1407124"/>
                  </a:lnTo>
                  <a:lnTo>
                    <a:pt x="111839" y="1368319"/>
                  </a:lnTo>
                  <a:lnTo>
                    <a:pt x="91375" y="1328365"/>
                  </a:lnTo>
                  <a:lnTo>
                    <a:pt x="72818" y="1287318"/>
                  </a:lnTo>
                  <a:lnTo>
                    <a:pt x="56227" y="1245239"/>
                  </a:lnTo>
                  <a:lnTo>
                    <a:pt x="41659" y="1202183"/>
                  </a:lnTo>
                  <a:lnTo>
                    <a:pt x="29172" y="1158211"/>
                  </a:lnTo>
                  <a:lnTo>
                    <a:pt x="18825" y="1113380"/>
                  </a:lnTo>
                  <a:lnTo>
                    <a:pt x="10676" y="1067748"/>
                  </a:lnTo>
                  <a:lnTo>
                    <a:pt x="4783" y="1021374"/>
                  </a:lnTo>
                  <a:lnTo>
                    <a:pt x="1205" y="974316"/>
                  </a:lnTo>
                  <a:lnTo>
                    <a:pt x="0" y="926616"/>
                  </a:lnTo>
                  <a:lnTo>
                    <a:pt x="1205" y="878947"/>
                  </a:lnTo>
                  <a:lnTo>
                    <a:pt x="4783" y="831889"/>
                  </a:lnTo>
                  <a:lnTo>
                    <a:pt x="10676" y="785515"/>
                  </a:lnTo>
                  <a:lnTo>
                    <a:pt x="18825" y="739883"/>
                  </a:lnTo>
                  <a:lnTo>
                    <a:pt x="29172" y="695052"/>
                  </a:lnTo>
                  <a:lnTo>
                    <a:pt x="41659" y="651079"/>
                  </a:lnTo>
                  <a:lnTo>
                    <a:pt x="56227" y="608024"/>
                  </a:lnTo>
                  <a:lnTo>
                    <a:pt x="72818" y="565944"/>
                  </a:lnTo>
                  <a:lnTo>
                    <a:pt x="91375" y="524898"/>
                  </a:lnTo>
                  <a:lnTo>
                    <a:pt x="111839" y="484944"/>
                  </a:lnTo>
                  <a:lnTo>
                    <a:pt x="134151" y="446139"/>
                  </a:lnTo>
                  <a:lnTo>
                    <a:pt x="158253" y="408543"/>
                  </a:lnTo>
                  <a:lnTo>
                    <a:pt x="184088" y="372213"/>
                  </a:lnTo>
                  <a:lnTo>
                    <a:pt x="211597" y="337207"/>
                  </a:lnTo>
                  <a:lnTo>
                    <a:pt x="240721" y="303585"/>
                  </a:lnTo>
                  <a:lnTo>
                    <a:pt x="271403" y="271404"/>
                  </a:lnTo>
                  <a:lnTo>
                    <a:pt x="303585" y="240722"/>
                  </a:lnTo>
                  <a:lnTo>
                    <a:pt x="337207" y="211597"/>
                  </a:lnTo>
                  <a:lnTo>
                    <a:pt x="372212" y="184088"/>
                  </a:lnTo>
                  <a:lnTo>
                    <a:pt x="408542" y="158254"/>
                  </a:lnTo>
                  <a:lnTo>
                    <a:pt x="446139" y="134151"/>
                  </a:lnTo>
                  <a:lnTo>
                    <a:pt x="484943" y="111839"/>
                  </a:lnTo>
                  <a:lnTo>
                    <a:pt x="524898" y="91375"/>
                  </a:lnTo>
                  <a:lnTo>
                    <a:pt x="565944" y="72819"/>
                  </a:lnTo>
                  <a:lnTo>
                    <a:pt x="608024" y="56227"/>
                  </a:lnTo>
                  <a:lnTo>
                    <a:pt x="651079" y="41659"/>
                  </a:lnTo>
                  <a:lnTo>
                    <a:pt x="695051" y="29172"/>
                  </a:lnTo>
                  <a:lnTo>
                    <a:pt x="739883" y="18825"/>
                  </a:lnTo>
                  <a:lnTo>
                    <a:pt x="785514" y="10676"/>
                  </a:lnTo>
                  <a:lnTo>
                    <a:pt x="831889" y="4783"/>
                  </a:lnTo>
                  <a:lnTo>
                    <a:pt x="878947" y="1205"/>
                  </a:lnTo>
                  <a:lnTo>
                    <a:pt x="926627" y="0"/>
                  </a:lnTo>
                  <a:lnTo>
                    <a:pt x="974316" y="1205"/>
                  </a:lnTo>
                  <a:lnTo>
                    <a:pt x="1021374" y="4783"/>
                  </a:lnTo>
                  <a:lnTo>
                    <a:pt x="1067748" y="10676"/>
                  </a:lnTo>
                  <a:lnTo>
                    <a:pt x="1113380" y="18825"/>
                  </a:lnTo>
                  <a:lnTo>
                    <a:pt x="1158211" y="29172"/>
                  </a:lnTo>
                  <a:lnTo>
                    <a:pt x="1202183" y="41659"/>
                  </a:lnTo>
                  <a:lnTo>
                    <a:pt x="1245238" y="56227"/>
                  </a:lnTo>
                  <a:lnTo>
                    <a:pt x="1287318" y="72819"/>
                  </a:lnTo>
                  <a:lnTo>
                    <a:pt x="1328365" y="91375"/>
                  </a:lnTo>
                  <a:lnTo>
                    <a:pt x="1368319" y="111839"/>
                  </a:lnTo>
                  <a:lnTo>
                    <a:pt x="1407124" y="134151"/>
                  </a:lnTo>
                  <a:lnTo>
                    <a:pt x="1444720" y="158254"/>
                  </a:lnTo>
                  <a:lnTo>
                    <a:pt x="1481050" y="184088"/>
                  </a:lnTo>
                  <a:lnTo>
                    <a:pt x="1516055" y="211597"/>
                  </a:lnTo>
                  <a:lnTo>
                    <a:pt x="1549678" y="240722"/>
                  </a:lnTo>
                  <a:lnTo>
                    <a:pt x="1581859" y="271404"/>
                  </a:lnTo>
                  <a:lnTo>
                    <a:pt x="1612541" y="303585"/>
                  </a:lnTo>
                  <a:lnTo>
                    <a:pt x="1641666" y="337207"/>
                  </a:lnTo>
                  <a:lnTo>
                    <a:pt x="1669174" y="372213"/>
                  </a:lnTo>
                  <a:lnTo>
                    <a:pt x="1695009" y="408543"/>
                  </a:lnTo>
                  <a:lnTo>
                    <a:pt x="1719112" y="446139"/>
                  </a:lnTo>
                  <a:lnTo>
                    <a:pt x="1741424" y="484944"/>
                  </a:lnTo>
                  <a:lnTo>
                    <a:pt x="1761887" y="524898"/>
                  </a:lnTo>
                  <a:lnTo>
                    <a:pt x="1780444" y="565944"/>
                  </a:lnTo>
                  <a:lnTo>
                    <a:pt x="1797036" y="608024"/>
                  </a:lnTo>
                  <a:lnTo>
                    <a:pt x="1811604" y="651079"/>
                  </a:lnTo>
                  <a:lnTo>
                    <a:pt x="1824091" y="695052"/>
                  </a:lnTo>
                  <a:lnTo>
                    <a:pt x="1834438" y="739883"/>
                  </a:lnTo>
                  <a:lnTo>
                    <a:pt x="1842587" y="785515"/>
                  </a:lnTo>
                  <a:lnTo>
                    <a:pt x="1848479" y="831889"/>
                  </a:lnTo>
                  <a:lnTo>
                    <a:pt x="1852058" y="878947"/>
                  </a:lnTo>
                  <a:lnTo>
                    <a:pt x="1853263" y="926636"/>
                  </a:lnTo>
                  <a:lnTo>
                    <a:pt x="1852058" y="974316"/>
                  </a:lnTo>
                  <a:lnTo>
                    <a:pt x="1848479" y="1021374"/>
                  </a:lnTo>
                  <a:lnTo>
                    <a:pt x="1842587" y="1067748"/>
                  </a:lnTo>
                  <a:lnTo>
                    <a:pt x="1834438" y="1113380"/>
                  </a:lnTo>
                  <a:lnTo>
                    <a:pt x="1824091" y="1158211"/>
                  </a:lnTo>
                  <a:lnTo>
                    <a:pt x="1811604" y="1202183"/>
                  </a:lnTo>
                  <a:lnTo>
                    <a:pt x="1797036" y="1245239"/>
                  </a:lnTo>
                  <a:lnTo>
                    <a:pt x="1780444" y="1287318"/>
                  </a:lnTo>
                  <a:lnTo>
                    <a:pt x="1761887" y="1328365"/>
                  </a:lnTo>
                  <a:lnTo>
                    <a:pt x="1741424" y="1368319"/>
                  </a:lnTo>
                  <a:lnTo>
                    <a:pt x="1719112" y="1407124"/>
                  </a:lnTo>
                  <a:lnTo>
                    <a:pt x="1695009" y="1444720"/>
                  </a:lnTo>
                  <a:lnTo>
                    <a:pt x="1669174" y="1481050"/>
                  </a:lnTo>
                  <a:lnTo>
                    <a:pt x="1641666" y="1516055"/>
                  </a:lnTo>
                  <a:lnTo>
                    <a:pt x="1612541" y="1549678"/>
                  </a:lnTo>
                  <a:lnTo>
                    <a:pt x="1581859" y="1581859"/>
                  </a:lnTo>
                  <a:lnTo>
                    <a:pt x="1549678" y="1612541"/>
                  </a:lnTo>
                  <a:lnTo>
                    <a:pt x="1516055" y="1641666"/>
                  </a:lnTo>
                  <a:lnTo>
                    <a:pt x="1481050" y="1669174"/>
                  </a:lnTo>
                  <a:lnTo>
                    <a:pt x="1444720" y="1695009"/>
                  </a:lnTo>
                  <a:lnTo>
                    <a:pt x="1407124" y="1719112"/>
                  </a:lnTo>
                  <a:lnTo>
                    <a:pt x="1368319" y="1741424"/>
                  </a:lnTo>
                  <a:lnTo>
                    <a:pt x="1328365" y="1761887"/>
                  </a:lnTo>
                  <a:lnTo>
                    <a:pt x="1287318" y="1780444"/>
                  </a:lnTo>
                  <a:lnTo>
                    <a:pt x="1245238" y="1797036"/>
                  </a:lnTo>
                  <a:lnTo>
                    <a:pt x="1202183" y="1811604"/>
                  </a:lnTo>
                  <a:lnTo>
                    <a:pt x="1158211" y="1824091"/>
                  </a:lnTo>
                  <a:lnTo>
                    <a:pt x="1113380" y="1834438"/>
                  </a:lnTo>
                  <a:lnTo>
                    <a:pt x="1067748" y="1842587"/>
                  </a:lnTo>
                  <a:lnTo>
                    <a:pt x="1021374" y="1848479"/>
                  </a:lnTo>
                  <a:lnTo>
                    <a:pt x="974316" y="1852058"/>
                  </a:lnTo>
                  <a:lnTo>
                    <a:pt x="926636" y="1853263"/>
                  </a:lnTo>
                  <a:close/>
                </a:path>
              </a:pathLst>
            </a:custGeom>
            <a:solidFill>
              <a:srgbClr val="FFFFFF"/>
            </a:solidFill>
          </p:spPr>
          <p:txBody>
            <a:bodyPr wrap="square" lIns="0" tIns="0" rIns="0" bIns="0" rtlCol="0"/>
            <a:lstStyle/>
            <a:p>
              <a:endParaRPr/>
            </a:p>
          </p:txBody>
        </p:sp>
        <p:sp>
          <p:nvSpPr>
            <p:cNvPr id="11" name="object 11"/>
            <p:cNvSpPr/>
            <p:nvPr/>
          </p:nvSpPr>
          <p:spPr>
            <a:xfrm>
              <a:off x="6645014" y="4345864"/>
              <a:ext cx="1191260" cy="864235"/>
            </a:xfrm>
            <a:custGeom>
              <a:avLst/>
              <a:gdLst/>
              <a:ahLst/>
              <a:cxnLst/>
              <a:rect l="l" t="t" r="r" b="b"/>
              <a:pathLst>
                <a:path w="1191259" h="864235">
                  <a:moveTo>
                    <a:pt x="1058770" y="863956"/>
                  </a:moveTo>
                  <a:lnTo>
                    <a:pt x="132346" y="863956"/>
                  </a:lnTo>
                  <a:lnTo>
                    <a:pt x="90516" y="857179"/>
                  </a:lnTo>
                  <a:lnTo>
                    <a:pt x="54186" y="838309"/>
                  </a:lnTo>
                  <a:lnTo>
                    <a:pt x="25536" y="809536"/>
                  </a:lnTo>
                  <a:lnTo>
                    <a:pt x="6747" y="773050"/>
                  </a:lnTo>
                  <a:lnTo>
                    <a:pt x="0" y="731040"/>
                  </a:lnTo>
                  <a:lnTo>
                    <a:pt x="0" y="132916"/>
                  </a:lnTo>
                  <a:lnTo>
                    <a:pt x="6747" y="90906"/>
                  </a:lnTo>
                  <a:lnTo>
                    <a:pt x="25536" y="54419"/>
                  </a:lnTo>
                  <a:lnTo>
                    <a:pt x="54186" y="25646"/>
                  </a:lnTo>
                  <a:lnTo>
                    <a:pt x="90516" y="6776"/>
                  </a:lnTo>
                  <a:lnTo>
                    <a:pt x="132346" y="0"/>
                  </a:lnTo>
                  <a:lnTo>
                    <a:pt x="1058770" y="0"/>
                  </a:lnTo>
                  <a:lnTo>
                    <a:pt x="1100600" y="6776"/>
                  </a:lnTo>
                  <a:lnTo>
                    <a:pt x="1136930" y="25646"/>
                  </a:lnTo>
                  <a:lnTo>
                    <a:pt x="1165580" y="54419"/>
                  </a:lnTo>
                  <a:lnTo>
                    <a:pt x="1184368" y="90906"/>
                  </a:lnTo>
                  <a:lnTo>
                    <a:pt x="1191116" y="132916"/>
                  </a:lnTo>
                  <a:lnTo>
                    <a:pt x="1191116" y="731040"/>
                  </a:lnTo>
                  <a:lnTo>
                    <a:pt x="1184368" y="773050"/>
                  </a:lnTo>
                  <a:lnTo>
                    <a:pt x="1165580" y="809536"/>
                  </a:lnTo>
                  <a:lnTo>
                    <a:pt x="1136930" y="838309"/>
                  </a:lnTo>
                  <a:lnTo>
                    <a:pt x="1100600" y="857179"/>
                  </a:lnTo>
                  <a:lnTo>
                    <a:pt x="1058770" y="863956"/>
                  </a:lnTo>
                  <a:close/>
                </a:path>
              </a:pathLst>
            </a:custGeom>
            <a:solidFill>
              <a:srgbClr val="009A3A"/>
            </a:solidFill>
          </p:spPr>
          <p:txBody>
            <a:bodyPr wrap="square" lIns="0" tIns="0" rIns="0" bIns="0" rtlCol="0"/>
            <a:lstStyle/>
            <a:p>
              <a:endParaRPr/>
            </a:p>
          </p:txBody>
        </p:sp>
        <p:sp>
          <p:nvSpPr>
            <p:cNvPr id="12" name="object 12"/>
            <p:cNvSpPr/>
            <p:nvPr/>
          </p:nvSpPr>
          <p:spPr>
            <a:xfrm>
              <a:off x="6753273" y="4408169"/>
              <a:ext cx="974725" cy="739775"/>
            </a:xfrm>
            <a:custGeom>
              <a:avLst/>
              <a:gdLst/>
              <a:ahLst/>
              <a:cxnLst/>
              <a:rect l="l" t="t" r="r" b="b"/>
              <a:pathLst>
                <a:path w="974725" h="739775">
                  <a:moveTo>
                    <a:pt x="487299" y="739314"/>
                  </a:moveTo>
                  <a:lnTo>
                    <a:pt x="0" y="369673"/>
                  </a:lnTo>
                  <a:lnTo>
                    <a:pt x="487299" y="0"/>
                  </a:lnTo>
                  <a:lnTo>
                    <a:pt x="974598" y="369673"/>
                  </a:lnTo>
                  <a:lnTo>
                    <a:pt x="487299" y="739314"/>
                  </a:lnTo>
                  <a:close/>
                </a:path>
              </a:pathLst>
            </a:custGeom>
            <a:solidFill>
              <a:srgbClr val="FEDE00"/>
            </a:solidFill>
          </p:spPr>
          <p:txBody>
            <a:bodyPr wrap="square" lIns="0" tIns="0" rIns="0" bIns="0" rtlCol="0"/>
            <a:lstStyle/>
            <a:p>
              <a:endParaRPr/>
            </a:p>
          </p:txBody>
        </p:sp>
        <p:sp>
          <p:nvSpPr>
            <p:cNvPr id="13" name="object 13"/>
            <p:cNvSpPr/>
            <p:nvPr/>
          </p:nvSpPr>
          <p:spPr>
            <a:xfrm>
              <a:off x="7026105" y="4560724"/>
              <a:ext cx="427355" cy="429259"/>
            </a:xfrm>
            <a:custGeom>
              <a:avLst/>
              <a:gdLst/>
              <a:ahLst/>
              <a:cxnLst/>
              <a:rect l="l" t="t" r="r" b="b"/>
              <a:pathLst>
                <a:path w="427354" h="429260">
                  <a:moveTo>
                    <a:pt x="220671" y="429186"/>
                  </a:moveTo>
                  <a:lnTo>
                    <a:pt x="178851" y="426434"/>
                  </a:lnTo>
                  <a:lnTo>
                    <a:pt x="138369" y="415541"/>
                  </a:lnTo>
                  <a:lnTo>
                    <a:pt x="100781" y="396926"/>
                  </a:lnTo>
                  <a:lnTo>
                    <a:pt x="67531" y="371303"/>
                  </a:lnTo>
                  <a:lnTo>
                    <a:pt x="39898" y="339658"/>
                  </a:lnTo>
                  <a:lnTo>
                    <a:pt x="18942" y="303208"/>
                  </a:lnTo>
                  <a:lnTo>
                    <a:pt x="5470" y="263351"/>
                  </a:lnTo>
                  <a:lnTo>
                    <a:pt x="0" y="221621"/>
                  </a:lnTo>
                  <a:lnTo>
                    <a:pt x="342" y="200553"/>
                  </a:lnTo>
                  <a:lnTo>
                    <a:pt x="7169" y="159025"/>
                  </a:lnTo>
                  <a:lnTo>
                    <a:pt x="21931" y="119633"/>
                  </a:lnTo>
                  <a:lnTo>
                    <a:pt x="44062" y="83889"/>
                  </a:lnTo>
                  <a:lnTo>
                    <a:pt x="72710" y="53169"/>
                  </a:lnTo>
                  <a:lnTo>
                    <a:pt x="106776" y="28651"/>
                  </a:lnTo>
                  <a:lnTo>
                    <a:pt x="144950" y="11280"/>
                  </a:lnTo>
                  <a:lnTo>
                    <a:pt x="185765" y="1722"/>
                  </a:lnTo>
                  <a:lnTo>
                    <a:pt x="206674" y="0"/>
                  </a:lnTo>
                  <a:lnTo>
                    <a:pt x="227652" y="344"/>
                  </a:lnTo>
                  <a:lnTo>
                    <a:pt x="269002" y="7200"/>
                  </a:lnTo>
                  <a:lnTo>
                    <a:pt x="308226" y="22025"/>
                  </a:lnTo>
                  <a:lnTo>
                    <a:pt x="343816" y="44251"/>
                  </a:lnTo>
                  <a:lnTo>
                    <a:pt x="374404" y="73023"/>
                  </a:lnTo>
                  <a:lnTo>
                    <a:pt x="398816" y="107236"/>
                  </a:lnTo>
                  <a:lnTo>
                    <a:pt x="416113" y="145574"/>
                  </a:lnTo>
                  <a:lnTo>
                    <a:pt x="425631" y="186565"/>
                  </a:lnTo>
                  <a:lnTo>
                    <a:pt x="427346" y="207565"/>
                  </a:lnTo>
                  <a:lnTo>
                    <a:pt x="427346" y="214593"/>
                  </a:lnTo>
                  <a:lnTo>
                    <a:pt x="420176" y="270161"/>
                  </a:lnTo>
                  <a:lnTo>
                    <a:pt x="405414" y="309553"/>
                  </a:lnTo>
                  <a:lnTo>
                    <a:pt x="383284" y="345297"/>
                  </a:lnTo>
                  <a:lnTo>
                    <a:pt x="354635" y="376017"/>
                  </a:lnTo>
                  <a:lnTo>
                    <a:pt x="320569" y="400534"/>
                  </a:lnTo>
                  <a:lnTo>
                    <a:pt x="282395" y="417906"/>
                  </a:lnTo>
                  <a:lnTo>
                    <a:pt x="241581" y="427464"/>
                  </a:lnTo>
                  <a:lnTo>
                    <a:pt x="220671" y="429186"/>
                  </a:lnTo>
                  <a:close/>
                </a:path>
              </a:pathLst>
            </a:custGeom>
            <a:solidFill>
              <a:srgbClr val="002675"/>
            </a:solidFill>
          </p:spPr>
          <p:txBody>
            <a:bodyPr wrap="square" lIns="0" tIns="0" rIns="0" bIns="0" rtlCol="0"/>
            <a:lstStyle/>
            <a:p>
              <a:endParaRPr/>
            </a:p>
          </p:txBody>
        </p:sp>
        <p:sp>
          <p:nvSpPr>
            <p:cNvPr id="14" name="object 14"/>
            <p:cNvSpPr/>
            <p:nvPr/>
          </p:nvSpPr>
          <p:spPr>
            <a:xfrm>
              <a:off x="7028984" y="4674401"/>
              <a:ext cx="417830" cy="220345"/>
            </a:xfrm>
            <a:custGeom>
              <a:avLst/>
              <a:gdLst/>
              <a:ahLst/>
              <a:cxnLst/>
              <a:rect l="l" t="t" r="r" b="b"/>
              <a:pathLst>
                <a:path w="417829" h="220345">
                  <a:moveTo>
                    <a:pt x="388568" y="219910"/>
                  </a:moveTo>
                  <a:lnTo>
                    <a:pt x="359317" y="190692"/>
                  </a:lnTo>
                  <a:lnTo>
                    <a:pt x="323711" y="163294"/>
                  </a:lnTo>
                  <a:lnTo>
                    <a:pt x="282983" y="138249"/>
                  </a:lnTo>
                  <a:lnTo>
                    <a:pt x="238363" y="116089"/>
                  </a:lnTo>
                  <a:lnTo>
                    <a:pt x="191084" y="97348"/>
                  </a:lnTo>
                  <a:lnTo>
                    <a:pt x="142377" y="82558"/>
                  </a:lnTo>
                  <a:lnTo>
                    <a:pt x="93473" y="72252"/>
                  </a:lnTo>
                  <a:lnTo>
                    <a:pt x="45603" y="66962"/>
                  </a:lnTo>
                  <a:lnTo>
                    <a:pt x="0" y="67222"/>
                  </a:lnTo>
                  <a:lnTo>
                    <a:pt x="3520" y="49527"/>
                  </a:lnTo>
                  <a:lnTo>
                    <a:pt x="8412" y="32377"/>
                  </a:lnTo>
                  <a:lnTo>
                    <a:pt x="14656" y="15844"/>
                  </a:lnTo>
                  <a:lnTo>
                    <a:pt x="22234" y="0"/>
                  </a:lnTo>
                  <a:lnTo>
                    <a:pt x="67858" y="2045"/>
                  </a:lnTo>
                  <a:lnTo>
                    <a:pt x="115084" y="8383"/>
                  </a:lnTo>
                  <a:lnTo>
                    <a:pt x="163046" y="18778"/>
                  </a:lnTo>
                  <a:lnTo>
                    <a:pt x="210879" y="32998"/>
                  </a:lnTo>
                  <a:lnTo>
                    <a:pt x="257715" y="50810"/>
                  </a:lnTo>
                  <a:lnTo>
                    <a:pt x="302690" y="71981"/>
                  </a:lnTo>
                  <a:lnTo>
                    <a:pt x="344937" y="96278"/>
                  </a:lnTo>
                  <a:lnTo>
                    <a:pt x="383590" y="123468"/>
                  </a:lnTo>
                  <a:lnTo>
                    <a:pt x="417784" y="153319"/>
                  </a:lnTo>
                  <a:lnTo>
                    <a:pt x="412535" y="171050"/>
                  </a:lnTo>
                  <a:lnTo>
                    <a:pt x="405893" y="188109"/>
                  </a:lnTo>
                  <a:lnTo>
                    <a:pt x="397893" y="204421"/>
                  </a:lnTo>
                  <a:lnTo>
                    <a:pt x="388568" y="219910"/>
                  </a:lnTo>
                  <a:close/>
                </a:path>
              </a:pathLst>
            </a:custGeom>
            <a:solidFill>
              <a:srgbClr val="CBE8D4"/>
            </a:solidFill>
          </p:spPr>
          <p:txBody>
            <a:bodyPr wrap="square" lIns="0" tIns="0" rIns="0" bIns="0" rtlCol="0"/>
            <a:lstStyle/>
            <a:p>
              <a:endParaRPr/>
            </a:p>
          </p:txBody>
        </p:sp>
        <p:sp>
          <p:nvSpPr>
            <p:cNvPr id="15" name="object 15"/>
            <p:cNvSpPr/>
            <p:nvPr/>
          </p:nvSpPr>
          <p:spPr>
            <a:xfrm>
              <a:off x="7042048" y="4785588"/>
              <a:ext cx="66675" cy="99695"/>
            </a:xfrm>
            <a:custGeom>
              <a:avLst/>
              <a:gdLst/>
              <a:ahLst/>
              <a:cxnLst/>
              <a:rect l="l" t="t" r="r" b="b"/>
              <a:pathLst>
                <a:path w="66675" h="99695">
                  <a:moveTo>
                    <a:pt x="33083" y="0"/>
                  </a:moveTo>
                  <a:lnTo>
                    <a:pt x="0" y="0"/>
                  </a:lnTo>
                  <a:lnTo>
                    <a:pt x="0" y="33235"/>
                  </a:lnTo>
                  <a:lnTo>
                    <a:pt x="33083" y="33235"/>
                  </a:lnTo>
                  <a:lnTo>
                    <a:pt x="33083" y="0"/>
                  </a:lnTo>
                  <a:close/>
                </a:path>
                <a:path w="66675" h="99695">
                  <a:moveTo>
                    <a:pt x="66167" y="66459"/>
                  </a:moveTo>
                  <a:lnTo>
                    <a:pt x="33083" y="66459"/>
                  </a:lnTo>
                  <a:lnTo>
                    <a:pt x="33083" y="99695"/>
                  </a:lnTo>
                  <a:lnTo>
                    <a:pt x="66167" y="99695"/>
                  </a:lnTo>
                  <a:lnTo>
                    <a:pt x="66167" y="66459"/>
                  </a:lnTo>
                  <a:close/>
                </a:path>
              </a:pathLst>
            </a:custGeom>
            <a:solidFill>
              <a:srgbClr val="87C8F9"/>
            </a:solidFill>
          </p:spPr>
          <p:txBody>
            <a:bodyPr wrap="square" lIns="0" tIns="0" rIns="0" bIns="0" rtlCol="0"/>
            <a:lstStyle/>
            <a:p>
              <a:endParaRPr/>
            </a:p>
          </p:txBody>
        </p:sp>
        <p:sp>
          <p:nvSpPr>
            <p:cNvPr id="16" name="object 16"/>
            <p:cNvSpPr/>
            <p:nvPr/>
          </p:nvSpPr>
          <p:spPr>
            <a:xfrm>
              <a:off x="7141311" y="4719129"/>
              <a:ext cx="231775" cy="233045"/>
            </a:xfrm>
            <a:custGeom>
              <a:avLst/>
              <a:gdLst/>
              <a:ahLst/>
              <a:cxnLst/>
              <a:rect l="l" t="t" r="r" b="b"/>
              <a:pathLst>
                <a:path w="231775" h="233045">
                  <a:moveTo>
                    <a:pt x="33083" y="66459"/>
                  </a:moveTo>
                  <a:lnTo>
                    <a:pt x="0" y="66459"/>
                  </a:lnTo>
                  <a:lnTo>
                    <a:pt x="0" y="99695"/>
                  </a:lnTo>
                  <a:lnTo>
                    <a:pt x="33083" y="99695"/>
                  </a:lnTo>
                  <a:lnTo>
                    <a:pt x="33083" y="66459"/>
                  </a:lnTo>
                  <a:close/>
                </a:path>
                <a:path w="231775" h="233045">
                  <a:moveTo>
                    <a:pt x="99250" y="99695"/>
                  </a:moveTo>
                  <a:lnTo>
                    <a:pt x="66167" y="99695"/>
                  </a:lnTo>
                  <a:lnTo>
                    <a:pt x="66167" y="132918"/>
                  </a:lnTo>
                  <a:lnTo>
                    <a:pt x="99250" y="132918"/>
                  </a:lnTo>
                  <a:lnTo>
                    <a:pt x="99250" y="99695"/>
                  </a:lnTo>
                  <a:close/>
                </a:path>
                <a:path w="231775" h="233045">
                  <a:moveTo>
                    <a:pt x="132346" y="199377"/>
                  </a:moveTo>
                  <a:lnTo>
                    <a:pt x="99250" y="199377"/>
                  </a:lnTo>
                  <a:lnTo>
                    <a:pt x="99250" y="232613"/>
                  </a:lnTo>
                  <a:lnTo>
                    <a:pt x="132346" y="232613"/>
                  </a:lnTo>
                  <a:lnTo>
                    <a:pt x="132346" y="199377"/>
                  </a:lnTo>
                  <a:close/>
                </a:path>
                <a:path w="231775" h="233045">
                  <a:moveTo>
                    <a:pt x="231597" y="166154"/>
                  </a:moveTo>
                  <a:lnTo>
                    <a:pt x="198513" y="166154"/>
                  </a:lnTo>
                  <a:lnTo>
                    <a:pt x="198513" y="199377"/>
                  </a:lnTo>
                  <a:lnTo>
                    <a:pt x="231597" y="199377"/>
                  </a:lnTo>
                  <a:lnTo>
                    <a:pt x="231597" y="166154"/>
                  </a:lnTo>
                  <a:close/>
                </a:path>
                <a:path w="231775" h="233045">
                  <a:moveTo>
                    <a:pt x="231597" y="0"/>
                  </a:moveTo>
                  <a:lnTo>
                    <a:pt x="198513" y="0"/>
                  </a:lnTo>
                  <a:lnTo>
                    <a:pt x="198513" y="33235"/>
                  </a:lnTo>
                  <a:lnTo>
                    <a:pt x="231597" y="33235"/>
                  </a:lnTo>
                  <a:lnTo>
                    <a:pt x="231597" y="0"/>
                  </a:lnTo>
                  <a:close/>
                </a:path>
              </a:pathLst>
            </a:custGeom>
            <a:solidFill>
              <a:srgbClr val="54ABED"/>
            </a:solidFill>
          </p:spPr>
          <p:txBody>
            <a:bodyPr wrap="square" lIns="0" tIns="0" rIns="0" bIns="0" rtlCol="0"/>
            <a:lstStyle/>
            <a:p>
              <a:endParaRPr/>
            </a:p>
          </p:txBody>
        </p:sp>
        <p:sp>
          <p:nvSpPr>
            <p:cNvPr id="17" name="object 17"/>
            <p:cNvSpPr/>
            <p:nvPr/>
          </p:nvSpPr>
          <p:spPr>
            <a:xfrm>
              <a:off x="7273659" y="4852043"/>
              <a:ext cx="33655" cy="33655"/>
            </a:xfrm>
            <a:custGeom>
              <a:avLst/>
              <a:gdLst/>
              <a:ahLst/>
              <a:cxnLst/>
              <a:rect l="l" t="t" r="r" b="b"/>
              <a:pathLst>
                <a:path w="33654" h="33654">
                  <a:moveTo>
                    <a:pt x="33086" y="33229"/>
                  </a:moveTo>
                  <a:lnTo>
                    <a:pt x="0" y="33229"/>
                  </a:lnTo>
                  <a:lnTo>
                    <a:pt x="0" y="0"/>
                  </a:lnTo>
                  <a:lnTo>
                    <a:pt x="33086" y="0"/>
                  </a:lnTo>
                  <a:lnTo>
                    <a:pt x="33086" y="33229"/>
                  </a:lnTo>
                  <a:close/>
                </a:path>
              </a:pathLst>
            </a:custGeom>
            <a:solidFill>
              <a:srgbClr val="3B87C2"/>
            </a:solidFill>
          </p:spPr>
          <p:txBody>
            <a:bodyPr wrap="square" lIns="0" tIns="0" rIns="0" bIns="0" rtlCol="0"/>
            <a:lstStyle/>
            <a:p>
              <a:endParaRPr/>
            </a:p>
          </p:txBody>
        </p:sp>
      </p:grpSp>
      <p:sp>
        <p:nvSpPr>
          <p:cNvPr id="18" name="object 18"/>
          <p:cNvSpPr txBox="1"/>
          <p:nvPr/>
        </p:nvSpPr>
        <p:spPr>
          <a:xfrm>
            <a:off x="6901402" y="5258411"/>
            <a:ext cx="616585" cy="300355"/>
          </a:xfrm>
          <a:prstGeom prst="rect">
            <a:avLst/>
          </a:prstGeom>
        </p:spPr>
        <p:txBody>
          <a:bodyPr vert="horz" wrap="square" lIns="0" tIns="12700" rIns="0" bIns="0" rtlCol="0">
            <a:spAutoFit/>
          </a:bodyPr>
          <a:lstStyle/>
          <a:p>
            <a:pPr marL="12700">
              <a:lnSpc>
                <a:spcPct val="100000"/>
              </a:lnSpc>
              <a:spcBef>
                <a:spcPts val="100"/>
              </a:spcBef>
            </a:pPr>
            <a:r>
              <a:rPr sz="1800" b="1" spc="-10" dirty="0">
                <a:solidFill>
                  <a:srgbClr val="737373"/>
                </a:solidFill>
                <a:latin typeface="Roboto"/>
                <a:cs typeface="Roboto"/>
              </a:rPr>
              <a:t>Brasil</a:t>
            </a:r>
            <a:endParaRPr sz="1800">
              <a:latin typeface="Roboto"/>
              <a:cs typeface="Roboto"/>
            </a:endParaRPr>
          </a:p>
        </p:txBody>
      </p:sp>
      <p:grpSp>
        <p:nvGrpSpPr>
          <p:cNvPr id="19" name="object 19"/>
          <p:cNvGrpSpPr/>
          <p:nvPr/>
        </p:nvGrpSpPr>
        <p:grpSpPr>
          <a:xfrm>
            <a:off x="6868025" y="6961995"/>
            <a:ext cx="1823085" cy="1823085"/>
            <a:chOff x="6868025" y="6961995"/>
            <a:chExt cx="1823085" cy="1823085"/>
          </a:xfrm>
        </p:grpSpPr>
        <p:sp>
          <p:nvSpPr>
            <p:cNvPr id="20" name="object 20"/>
            <p:cNvSpPr/>
            <p:nvPr/>
          </p:nvSpPr>
          <p:spPr>
            <a:xfrm>
              <a:off x="6868025" y="6961995"/>
              <a:ext cx="1823085" cy="1823085"/>
            </a:xfrm>
            <a:custGeom>
              <a:avLst/>
              <a:gdLst/>
              <a:ahLst/>
              <a:cxnLst/>
              <a:rect l="l" t="t" r="r" b="b"/>
              <a:pathLst>
                <a:path w="1823084" h="1823084">
                  <a:moveTo>
                    <a:pt x="911348" y="1822674"/>
                  </a:moveTo>
                  <a:lnTo>
                    <a:pt x="862937" y="1821411"/>
                  </a:lnTo>
                  <a:lnTo>
                    <a:pt x="815195" y="1817664"/>
                  </a:lnTo>
                  <a:lnTo>
                    <a:pt x="768174" y="1811494"/>
                  </a:lnTo>
                  <a:lnTo>
                    <a:pt x="721936" y="1802967"/>
                  </a:lnTo>
                  <a:lnTo>
                    <a:pt x="676546" y="1792143"/>
                  </a:lnTo>
                  <a:lnTo>
                    <a:pt x="632065" y="1779087"/>
                  </a:lnTo>
                  <a:lnTo>
                    <a:pt x="588558" y="1763862"/>
                  </a:lnTo>
                  <a:lnTo>
                    <a:pt x="546086" y="1746530"/>
                  </a:lnTo>
                  <a:lnTo>
                    <a:pt x="504713" y="1727154"/>
                  </a:lnTo>
                  <a:lnTo>
                    <a:pt x="464502" y="1705798"/>
                  </a:lnTo>
                  <a:lnTo>
                    <a:pt x="425516" y="1682524"/>
                  </a:lnTo>
                  <a:lnTo>
                    <a:pt x="387818" y="1657396"/>
                  </a:lnTo>
                  <a:lnTo>
                    <a:pt x="351470" y="1630476"/>
                  </a:lnTo>
                  <a:lnTo>
                    <a:pt x="316536" y="1601827"/>
                  </a:lnTo>
                  <a:lnTo>
                    <a:pt x="283079" y="1571512"/>
                  </a:lnTo>
                  <a:lnTo>
                    <a:pt x="251162" y="1539595"/>
                  </a:lnTo>
                  <a:lnTo>
                    <a:pt x="220847" y="1506138"/>
                  </a:lnTo>
                  <a:lnTo>
                    <a:pt x="192198" y="1471204"/>
                  </a:lnTo>
                  <a:lnTo>
                    <a:pt x="165278" y="1434856"/>
                  </a:lnTo>
                  <a:lnTo>
                    <a:pt x="140150" y="1397158"/>
                  </a:lnTo>
                  <a:lnTo>
                    <a:pt x="116876" y="1358172"/>
                  </a:lnTo>
                  <a:lnTo>
                    <a:pt x="95519" y="1317961"/>
                  </a:lnTo>
                  <a:lnTo>
                    <a:pt x="76144" y="1276588"/>
                  </a:lnTo>
                  <a:lnTo>
                    <a:pt x="58812" y="1234116"/>
                  </a:lnTo>
                  <a:lnTo>
                    <a:pt x="43586" y="1190609"/>
                  </a:lnTo>
                  <a:lnTo>
                    <a:pt x="30531" y="1146128"/>
                  </a:lnTo>
                  <a:lnTo>
                    <a:pt x="19707" y="1100738"/>
                  </a:lnTo>
                  <a:lnTo>
                    <a:pt x="11179" y="1054501"/>
                  </a:lnTo>
                  <a:lnTo>
                    <a:pt x="5010" y="1007479"/>
                  </a:lnTo>
                  <a:lnTo>
                    <a:pt x="1263" y="959737"/>
                  </a:lnTo>
                  <a:lnTo>
                    <a:pt x="0" y="911345"/>
                  </a:lnTo>
                  <a:lnTo>
                    <a:pt x="1263" y="862937"/>
                  </a:lnTo>
                  <a:lnTo>
                    <a:pt x="5010" y="815195"/>
                  </a:lnTo>
                  <a:lnTo>
                    <a:pt x="11179" y="768173"/>
                  </a:lnTo>
                  <a:lnTo>
                    <a:pt x="19707" y="721936"/>
                  </a:lnTo>
                  <a:lnTo>
                    <a:pt x="30531" y="676546"/>
                  </a:lnTo>
                  <a:lnTo>
                    <a:pt x="43586" y="632065"/>
                  </a:lnTo>
                  <a:lnTo>
                    <a:pt x="58812" y="588558"/>
                  </a:lnTo>
                  <a:lnTo>
                    <a:pt x="76144" y="546086"/>
                  </a:lnTo>
                  <a:lnTo>
                    <a:pt x="95519" y="504713"/>
                  </a:lnTo>
                  <a:lnTo>
                    <a:pt x="116876" y="464502"/>
                  </a:lnTo>
                  <a:lnTo>
                    <a:pt x="140150" y="425516"/>
                  </a:lnTo>
                  <a:lnTo>
                    <a:pt x="165278" y="387818"/>
                  </a:lnTo>
                  <a:lnTo>
                    <a:pt x="192198" y="351470"/>
                  </a:lnTo>
                  <a:lnTo>
                    <a:pt x="220847" y="316536"/>
                  </a:lnTo>
                  <a:lnTo>
                    <a:pt x="251162" y="283079"/>
                  </a:lnTo>
                  <a:lnTo>
                    <a:pt x="283079" y="251162"/>
                  </a:lnTo>
                  <a:lnTo>
                    <a:pt x="316536" y="220847"/>
                  </a:lnTo>
                  <a:lnTo>
                    <a:pt x="351470" y="192198"/>
                  </a:lnTo>
                  <a:lnTo>
                    <a:pt x="387818" y="165278"/>
                  </a:lnTo>
                  <a:lnTo>
                    <a:pt x="425516" y="140150"/>
                  </a:lnTo>
                  <a:lnTo>
                    <a:pt x="464502" y="116876"/>
                  </a:lnTo>
                  <a:lnTo>
                    <a:pt x="504713" y="95520"/>
                  </a:lnTo>
                  <a:lnTo>
                    <a:pt x="546086" y="76144"/>
                  </a:lnTo>
                  <a:lnTo>
                    <a:pt x="588558" y="58812"/>
                  </a:lnTo>
                  <a:lnTo>
                    <a:pt x="632065" y="43587"/>
                  </a:lnTo>
                  <a:lnTo>
                    <a:pt x="676546" y="30531"/>
                  </a:lnTo>
                  <a:lnTo>
                    <a:pt x="721936" y="19707"/>
                  </a:lnTo>
                  <a:lnTo>
                    <a:pt x="768174" y="11180"/>
                  </a:lnTo>
                  <a:lnTo>
                    <a:pt x="815195" y="5010"/>
                  </a:lnTo>
                  <a:lnTo>
                    <a:pt x="862937" y="1263"/>
                  </a:lnTo>
                  <a:lnTo>
                    <a:pt x="911338" y="0"/>
                  </a:lnTo>
                  <a:lnTo>
                    <a:pt x="959737" y="1263"/>
                  </a:lnTo>
                  <a:lnTo>
                    <a:pt x="1007480" y="5010"/>
                  </a:lnTo>
                  <a:lnTo>
                    <a:pt x="1054501" y="11180"/>
                  </a:lnTo>
                  <a:lnTo>
                    <a:pt x="1100738" y="19707"/>
                  </a:lnTo>
                  <a:lnTo>
                    <a:pt x="1146128" y="30531"/>
                  </a:lnTo>
                  <a:lnTo>
                    <a:pt x="1190609" y="43587"/>
                  </a:lnTo>
                  <a:lnTo>
                    <a:pt x="1234116" y="58812"/>
                  </a:lnTo>
                  <a:lnTo>
                    <a:pt x="1276588" y="76144"/>
                  </a:lnTo>
                  <a:lnTo>
                    <a:pt x="1317961" y="95520"/>
                  </a:lnTo>
                  <a:lnTo>
                    <a:pt x="1358172" y="116876"/>
                  </a:lnTo>
                  <a:lnTo>
                    <a:pt x="1397158" y="140150"/>
                  </a:lnTo>
                  <a:lnTo>
                    <a:pt x="1434856" y="165278"/>
                  </a:lnTo>
                  <a:lnTo>
                    <a:pt x="1471204" y="192198"/>
                  </a:lnTo>
                  <a:lnTo>
                    <a:pt x="1506138" y="220847"/>
                  </a:lnTo>
                  <a:lnTo>
                    <a:pt x="1539595" y="251162"/>
                  </a:lnTo>
                  <a:lnTo>
                    <a:pt x="1571512" y="283079"/>
                  </a:lnTo>
                  <a:lnTo>
                    <a:pt x="1601827" y="316536"/>
                  </a:lnTo>
                  <a:lnTo>
                    <a:pt x="1630475" y="351470"/>
                  </a:lnTo>
                  <a:lnTo>
                    <a:pt x="1657396" y="387818"/>
                  </a:lnTo>
                  <a:lnTo>
                    <a:pt x="1682524" y="425516"/>
                  </a:lnTo>
                  <a:lnTo>
                    <a:pt x="1705798" y="464502"/>
                  </a:lnTo>
                  <a:lnTo>
                    <a:pt x="1727154" y="504713"/>
                  </a:lnTo>
                  <a:lnTo>
                    <a:pt x="1746530" y="546086"/>
                  </a:lnTo>
                  <a:lnTo>
                    <a:pt x="1763862" y="588558"/>
                  </a:lnTo>
                  <a:lnTo>
                    <a:pt x="1779087" y="632065"/>
                  </a:lnTo>
                  <a:lnTo>
                    <a:pt x="1792143" y="676546"/>
                  </a:lnTo>
                  <a:lnTo>
                    <a:pt x="1802966" y="721936"/>
                  </a:lnTo>
                  <a:lnTo>
                    <a:pt x="1811494" y="768173"/>
                  </a:lnTo>
                  <a:lnTo>
                    <a:pt x="1817663" y="815195"/>
                  </a:lnTo>
                  <a:lnTo>
                    <a:pt x="1821411" y="862937"/>
                  </a:lnTo>
                  <a:lnTo>
                    <a:pt x="1822674" y="911345"/>
                  </a:lnTo>
                  <a:lnTo>
                    <a:pt x="1821411" y="959737"/>
                  </a:lnTo>
                  <a:lnTo>
                    <a:pt x="1817663" y="1007479"/>
                  </a:lnTo>
                  <a:lnTo>
                    <a:pt x="1811494" y="1054501"/>
                  </a:lnTo>
                  <a:lnTo>
                    <a:pt x="1802966" y="1100738"/>
                  </a:lnTo>
                  <a:lnTo>
                    <a:pt x="1792143" y="1146128"/>
                  </a:lnTo>
                  <a:lnTo>
                    <a:pt x="1779087" y="1190609"/>
                  </a:lnTo>
                  <a:lnTo>
                    <a:pt x="1763862" y="1234116"/>
                  </a:lnTo>
                  <a:lnTo>
                    <a:pt x="1746530" y="1276588"/>
                  </a:lnTo>
                  <a:lnTo>
                    <a:pt x="1727154" y="1317961"/>
                  </a:lnTo>
                  <a:lnTo>
                    <a:pt x="1705798" y="1358172"/>
                  </a:lnTo>
                  <a:lnTo>
                    <a:pt x="1682524" y="1397158"/>
                  </a:lnTo>
                  <a:lnTo>
                    <a:pt x="1657396" y="1434856"/>
                  </a:lnTo>
                  <a:lnTo>
                    <a:pt x="1630475" y="1471204"/>
                  </a:lnTo>
                  <a:lnTo>
                    <a:pt x="1601827" y="1506138"/>
                  </a:lnTo>
                  <a:lnTo>
                    <a:pt x="1571512" y="1539595"/>
                  </a:lnTo>
                  <a:lnTo>
                    <a:pt x="1539595" y="1571512"/>
                  </a:lnTo>
                  <a:lnTo>
                    <a:pt x="1506138" y="1601827"/>
                  </a:lnTo>
                  <a:lnTo>
                    <a:pt x="1471204" y="1630476"/>
                  </a:lnTo>
                  <a:lnTo>
                    <a:pt x="1434856" y="1657396"/>
                  </a:lnTo>
                  <a:lnTo>
                    <a:pt x="1397158" y="1682524"/>
                  </a:lnTo>
                  <a:lnTo>
                    <a:pt x="1358172" y="1705798"/>
                  </a:lnTo>
                  <a:lnTo>
                    <a:pt x="1317961" y="1727154"/>
                  </a:lnTo>
                  <a:lnTo>
                    <a:pt x="1276588" y="1746530"/>
                  </a:lnTo>
                  <a:lnTo>
                    <a:pt x="1234116" y="1763862"/>
                  </a:lnTo>
                  <a:lnTo>
                    <a:pt x="1190609" y="1779087"/>
                  </a:lnTo>
                  <a:lnTo>
                    <a:pt x="1146128" y="1792143"/>
                  </a:lnTo>
                  <a:lnTo>
                    <a:pt x="1100738" y="1802967"/>
                  </a:lnTo>
                  <a:lnTo>
                    <a:pt x="1054501" y="1811494"/>
                  </a:lnTo>
                  <a:lnTo>
                    <a:pt x="1007480" y="1817664"/>
                  </a:lnTo>
                  <a:lnTo>
                    <a:pt x="959737" y="1821411"/>
                  </a:lnTo>
                  <a:lnTo>
                    <a:pt x="911348" y="1822674"/>
                  </a:lnTo>
                  <a:close/>
                </a:path>
              </a:pathLst>
            </a:custGeom>
            <a:solidFill>
              <a:srgbClr val="FFFFFF"/>
            </a:solidFill>
          </p:spPr>
          <p:txBody>
            <a:bodyPr wrap="square" lIns="0" tIns="0" rIns="0" bIns="0" rtlCol="0"/>
            <a:lstStyle/>
            <a:p>
              <a:endParaRPr/>
            </a:p>
          </p:txBody>
        </p:sp>
        <p:sp>
          <p:nvSpPr>
            <p:cNvPr id="21" name="object 21"/>
            <p:cNvSpPr/>
            <p:nvPr/>
          </p:nvSpPr>
          <p:spPr>
            <a:xfrm>
              <a:off x="7191371" y="7312843"/>
              <a:ext cx="1180465" cy="852169"/>
            </a:xfrm>
            <a:custGeom>
              <a:avLst/>
              <a:gdLst/>
              <a:ahLst/>
              <a:cxnLst/>
              <a:rect l="l" t="t" r="r" b="b"/>
              <a:pathLst>
                <a:path w="1180465" h="852170">
                  <a:moveTo>
                    <a:pt x="1048776" y="851855"/>
                  </a:moveTo>
                  <a:lnTo>
                    <a:pt x="131097" y="851855"/>
                  </a:lnTo>
                  <a:lnTo>
                    <a:pt x="80070" y="841555"/>
                  </a:lnTo>
                  <a:lnTo>
                    <a:pt x="38399" y="813468"/>
                  </a:lnTo>
                  <a:lnTo>
                    <a:pt x="10302" y="771811"/>
                  </a:lnTo>
                  <a:lnTo>
                    <a:pt x="0" y="720800"/>
                  </a:lnTo>
                  <a:lnTo>
                    <a:pt x="0" y="131054"/>
                  </a:lnTo>
                  <a:lnTo>
                    <a:pt x="10302" y="80044"/>
                  </a:lnTo>
                  <a:lnTo>
                    <a:pt x="38399" y="38386"/>
                  </a:lnTo>
                  <a:lnTo>
                    <a:pt x="80070" y="10299"/>
                  </a:lnTo>
                  <a:lnTo>
                    <a:pt x="131097" y="0"/>
                  </a:lnTo>
                  <a:lnTo>
                    <a:pt x="1048776" y="0"/>
                  </a:lnTo>
                  <a:lnTo>
                    <a:pt x="1099803" y="10299"/>
                  </a:lnTo>
                  <a:lnTo>
                    <a:pt x="1141474" y="38386"/>
                  </a:lnTo>
                  <a:lnTo>
                    <a:pt x="1169571" y="80044"/>
                  </a:lnTo>
                  <a:lnTo>
                    <a:pt x="1179873" y="131054"/>
                  </a:lnTo>
                  <a:lnTo>
                    <a:pt x="1179873" y="720800"/>
                  </a:lnTo>
                  <a:lnTo>
                    <a:pt x="1169571" y="771811"/>
                  </a:lnTo>
                  <a:lnTo>
                    <a:pt x="1141474" y="813468"/>
                  </a:lnTo>
                  <a:lnTo>
                    <a:pt x="1099803" y="841555"/>
                  </a:lnTo>
                  <a:lnTo>
                    <a:pt x="1048776" y="851855"/>
                  </a:lnTo>
                  <a:close/>
                </a:path>
              </a:pathLst>
            </a:custGeom>
            <a:solidFill>
              <a:srgbClr val="74AADA"/>
            </a:solidFill>
          </p:spPr>
          <p:txBody>
            <a:bodyPr wrap="square" lIns="0" tIns="0" rIns="0" bIns="0" rtlCol="0"/>
            <a:lstStyle/>
            <a:p>
              <a:endParaRPr/>
            </a:p>
          </p:txBody>
        </p:sp>
        <p:sp>
          <p:nvSpPr>
            <p:cNvPr id="22" name="object 22"/>
            <p:cNvSpPr/>
            <p:nvPr/>
          </p:nvSpPr>
          <p:spPr>
            <a:xfrm>
              <a:off x="7191371" y="7574952"/>
              <a:ext cx="1180465" cy="327660"/>
            </a:xfrm>
            <a:custGeom>
              <a:avLst/>
              <a:gdLst/>
              <a:ahLst/>
              <a:cxnLst/>
              <a:rect l="l" t="t" r="r" b="b"/>
              <a:pathLst>
                <a:path w="1180465" h="327659">
                  <a:moveTo>
                    <a:pt x="1179873" y="327636"/>
                  </a:moveTo>
                  <a:lnTo>
                    <a:pt x="0" y="327636"/>
                  </a:lnTo>
                  <a:lnTo>
                    <a:pt x="0" y="0"/>
                  </a:lnTo>
                  <a:lnTo>
                    <a:pt x="1179873" y="0"/>
                  </a:lnTo>
                  <a:lnTo>
                    <a:pt x="1179873" y="327636"/>
                  </a:lnTo>
                  <a:close/>
                </a:path>
              </a:pathLst>
            </a:custGeom>
            <a:solidFill>
              <a:srgbClr val="EDEDED"/>
            </a:solidFill>
          </p:spPr>
          <p:txBody>
            <a:bodyPr wrap="square" lIns="0" tIns="0" rIns="0" bIns="0" rtlCol="0"/>
            <a:lstStyle/>
            <a:p>
              <a:endParaRPr/>
            </a:p>
          </p:txBody>
        </p:sp>
        <p:sp>
          <p:nvSpPr>
            <p:cNvPr id="23" name="object 23"/>
            <p:cNvSpPr/>
            <p:nvPr/>
          </p:nvSpPr>
          <p:spPr>
            <a:xfrm>
              <a:off x="7617436" y="7574952"/>
              <a:ext cx="328295" cy="327660"/>
            </a:xfrm>
            <a:custGeom>
              <a:avLst/>
              <a:gdLst/>
              <a:ahLst/>
              <a:cxnLst/>
              <a:rect l="l" t="t" r="r" b="b"/>
              <a:pathLst>
                <a:path w="328295" h="327659">
                  <a:moveTo>
                    <a:pt x="163871" y="327636"/>
                  </a:moveTo>
                  <a:lnTo>
                    <a:pt x="147877" y="244154"/>
                  </a:lnTo>
                  <a:lnTo>
                    <a:pt x="101174" y="315153"/>
                  </a:lnTo>
                  <a:lnTo>
                    <a:pt x="118347" y="231901"/>
                  </a:lnTo>
                  <a:lnTo>
                    <a:pt x="47981" y="279637"/>
                  </a:lnTo>
                  <a:lnTo>
                    <a:pt x="95733" y="209327"/>
                  </a:lnTo>
                  <a:lnTo>
                    <a:pt x="12486" y="226528"/>
                  </a:lnTo>
                  <a:lnTo>
                    <a:pt x="83508" y="179806"/>
                  </a:lnTo>
                  <a:lnTo>
                    <a:pt x="0" y="163818"/>
                  </a:lnTo>
                  <a:lnTo>
                    <a:pt x="83508" y="147829"/>
                  </a:lnTo>
                  <a:lnTo>
                    <a:pt x="12487" y="101141"/>
                  </a:lnTo>
                  <a:lnTo>
                    <a:pt x="95733" y="118309"/>
                  </a:lnTo>
                  <a:lnTo>
                    <a:pt x="47981" y="47966"/>
                  </a:lnTo>
                  <a:lnTo>
                    <a:pt x="118347" y="95702"/>
                  </a:lnTo>
                  <a:lnTo>
                    <a:pt x="101174" y="12482"/>
                  </a:lnTo>
                  <a:lnTo>
                    <a:pt x="147877" y="83481"/>
                  </a:lnTo>
                  <a:lnTo>
                    <a:pt x="163871" y="0"/>
                  </a:lnTo>
                  <a:lnTo>
                    <a:pt x="179865" y="83481"/>
                  </a:lnTo>
                  <a:lnTo>
                    <a:pt x="226601" y="12482"/>
                  </a:lnTo>
                  <a:lnTo>
                    <a:pt x="209394" y="95702"/>
                  </a:lnTo>
                  <a:lnTo>
                    <a:pt x="279728" y="47966"/>
                  </a:lnTo>
                  <a:lnTo>
                    <a:pt x="231976" y="118309"/>
                  </a:lnTo>
                  <a:lnTo>
                    <a:pt x="315255" y="101141"/>
                  </a:lnTo>
                  <a:lnTo>
                    <a:pt x="244233" y="147829"/>
                  </a:lnTo>
                  <a:lnTo>
                    <a:pt x="327742" y="163818"/>
                  </a:lnTo>
                  <a:lnTo>
                    <a:pt x="244233" y="179807"/>
                  </a:lnTo>
                  <a:lnTo>
                    <a:pt x="315255" y="226528"/>
                  </a:lnTo>
                  <a:lnTo>
                    <a:pt x="231976" y="209327"/>
                  </a:lnTo>
                  <a:lnTo>
                    <a:pt x="279728" y="279637"/>
                  </a:lnTo>
                  <a:lnTo>
                    <a:pt x="209394" y="231901"/>
                  </a:lnTo>
                  <a:lnTo>
                    <a:pt x="226601" y="315153"/>
                  </a:lnTo>
                  <a:lnTo>
                    <a:pt x="179865" y="244154"/>
                  </a:lnTo>
                  <a:lnTo>
                    <a:pt x="163871" y="327636"/>
                  </a:lnTo>
                  <a:close/>
                </a:path>
              </a:pathLst>
            </a:custGeom>
            <a:solidFill>
              <a:srgbClr val="FBBE49"/>
            </a:solidFill>
          </p:spPr>
          <p:txBody>
            <a:bodyPr wrap="square" lIns="0" tIns="0" rIns="0" bIns="0" rtlCol="0"/>
            <a:lstStyle/>
            <a:p>
              <a:endParaRPr/>
            </a:p>
          </p:txBody>
        </p:sp>
        <p:sp>
          <p:nvSpPr>
            <p:cNvPr id="24" name="object 24"/>
            <p:cNvSpPr/>
            <p:nvPr/>
          </p:nvSpPr>
          <p:spPr>
            <a:xfrm>
              <a:off x="7617436" y="7574952"/>
              <a:ext cx="328295" cy="327660"/>
            </a:xfrm>
            <a:custGeom>
              <a:avLst/>
              <a:gdLst/>
              <a:ahLst/>
              <a:cxnLst/>
              <a:rect l="l" t="t" r="r" b="b"/>
              <a:pathLst>
                <a:path w="328295" h="327659">
                  <a:moveTo>
                    <a:pt x="156211" y="83481"/>
                  </a:moveTo>
                  <a:lnTo>
                    <a:pt x="147877" y="83481"/>
                  </a:lnTo>
                  <a:lnTo>
                    <a:pt x="163871" y="0"/>
                  </a:lnTo>
                  <a:lnTo>
                    <a:pt x="172223" y="43575"/>
                  </a:lnTo>
                  <a:lnTo>
                    <a:pt x="163871" y="43575"/>
                  </a:lnTo>
                  <a:lnTo>
                    <a:pt x="156211" y="83481"/>
                  </a:lnTo>
                  <a:close/>
                </a:path>
                <a:path w="328295" h="327659">
                  <a:moveTo>
                    <a:pt x="189712" y="83449"/>
                  </a:moveTo>
                  <a:lnTo>
                    <a:pt x="179865" y="83449"/>
                  </a:lnTo>
                  <a:lnTo>
                    <a:pt x="226601" y="12450"/>
                  </a:lnTo>
                  <a:lnTo>
                    <a:pt x="218272" y="52749"/>
                  </a:lnTo>
                  <a:lnTo>
                    <a:pt x="209919" y="52749"/>
                  </a:lnTo>
                  <a:lnTo>
                    <a:pt x="189712" y="83449"/>
                  </a:lnTo>
                  <a:close/>
                </a:path>
                <a:path w="328295" h="327659">
                  <a:moveTo>
                    <a:pt x="126658" y="95735"/>
                  </a:moveTo>
                  <a:lnTo>
                    <a:pt x="118347" y="95735"/>
                  </a:lnTo>
                  <a:lnTo>
                    <a:pt x="101174" y="12482"/>
                  </a:lnTo>
                  <a:lnTo>
                    <a:pt x="127661" y="52749"/>
                  </a:lnTo>
                  <a:lnTo>
                    <a:pt x="117790" y="52749"/>
                  </a:lnTo>
                  <a:lnTo>
                    <a:pt x="126658" y="95735"/>
                  </a:lnTo>
                  <a:close/>
                </a:path>
                <a:path w="328295" h="327659">
                  <a:moveTo>
                    <a:pt x="175604" y="104843"/>
                  </a:moveTo>
                  <a:lnTo>
                    <a:pt x="163871" y="43575"/>
                  </a:lnTo>
                  <a:lnTo>
                    <a:pt x="172223" y="43575"/>
                  </a:lnTo>
                  <a:lnTo>
                    <a:pt x="179865" y="83449"/>
                  </a:lnTo>
                  <a:lnTo>
                    <a:pt x="189712" y="83449"/>
                  </a:lnTo>
                  <a:lnTo>
                    <a:pt x="175604" y="104843"/>
                  </a:lnTo>
                  <a:close/>
                </a:path>
                <a:path w="328295" h="327659">
                  <a:moveTo>
                    <a:pt x="224036" y="95702"/>
                  </a:moveTo>
                  <a:lnTo>
                    <a:pt x="209394" y="95702"/>
                  </a:lnTo>
                  <a:lnTo>
                    <a:pt x="279728" y="47966"/>
                  </a:lnTo>
                  <a:lnTo>
                    <a:pt x="258777" y="78829"/>
                  </a:lnTo>
                  <a:lnTo>
                    <a:pt x="248920" y="78829"/>
                  </a:lnTo>
                  <a:lnTo>
                    <a:pt x="224036" y="95702"/>
                  </a:lnTo>
                  <a:close/>
                </a:path>
                <a:path w="328295" h="327659">
                  <a:moveTo>
                    <a:pt x="105636" y="118342"/>
                  </a:moveTo>
                  <a:lnTo>
                    <a:pt x="95733" y="118342"/>
                  </a:lnTo>
                  <a:lnTo>
                    <a:pt x="47981" y="47998"/>
                  </a:lnTo>
                  <a:lnTo>
                    <a:pt x="93330" y="78763"/>
                  </a:lnTo>
                  <a:lnTo>
                    <a:pt x="78756" y="78763"/>
                  </a:lnTo>
                  <a:lnTo>
                    <a:pt x="105636" y="118342"/>
                  </a:lnTo>
                  <a:close/>
                </a:path>
                <a:path w="328295" h="327659">
                  <a:moveTo>
                    <a:pt x="152105" y="104876"/>
                  </a:moveTo>
                  <a:lnTo>
                    <a:pt x="117790" y="52749"/>
                  </a:lnTo>
                  <a:lnTo>
                    <a:pt x="127661" y="52749"/>
                  </a:lnTo>
                  <a:lnTo>
                    <a:pt x="147877" y="83481"/>
                  </a:lnTo>
                  <a:lnTo>
                    <a:pt x="156211" y="83481"/>
                  </a:lnTo>
                  <a:lnTo>
                    <a:pt x="152105" y="104876"/>
                  </a:lnTo>
                  <a:close/>
                </a:path>
                <a:path w="328295" h="327659">
                  <a:moveTo>
                    <a:pt x="197268" y="113853"/>
                  </a:moveTo>
                  <a:lnTo>
                    <a:pt x="209919" y="52749"/>
                  </a:lnTo>
                  <a:lnTo>
                    <a:pt x="218272" y="52749"/>
                  </a:lnTo>
                  <a:lnTo>
                    <a:pt x="209394" y="95702"/>
                  </a:lnTo>
                  <a:lnTo>
                    <a:pt x="224036" y="95702"/>
                  </a:lnTo>
                  <a:lnTo>
                    <a:pt x="197268" y="113853"/>
                  </a:lnTo>
                  <a:close/>
                </a:path>
                <a:path w="328295" h="327659">
                  <a:moveTo>
                    <a:pt x="130408" y="113820"/>
                  </a:moveTo>
                  <a:lnTo>
                    <a:pt x="78756" y="78763"/>
                  </a:lnTo>
                  <a:lnTo>
                    <a:pt x="93330" y="78763"/>
                  </a:lnTo>
                  <a:lnTo>
                    <a:pt x="118347" y="95735"/>
                  </a:lnTo>
                  <a:lnTo>
                    <a:pt x="126658" y="95735"/>
                  </a:lnTo>
                  <a:lnTo>
                    <a:pt x="130408" y="113820"/>
                  </a:lnTo>
                  <a:close/>
                </a:path>
                <a:path w="328295" h="327659">
                  <a:moveTo>
                    <a:pt x="213884" y="130464"/>
                  </a:moveTo>
                  <a:lnTo>
                    <a:pt x="248920" y="78829"/>
                  </a:lnTo>
                  <a:lnTo>
                    <a:pt x="258777" y="78829"/>
                  </a:lnTo>
                  <a:lnTo>
                    <a:pt x="231976" y="118309"/>
                  </a:lnTo>
                  <a:lnTo>
                    <a:pt x="272781" y="118309"/>
                  </a:lnTo>
                  <a:lnTo>
                    <a:pt x="213884" y="130464"/>
                  </a:lnTo>
                  <a:close/>
                </a:path>
                <a:path w="328295" h="327659">
                  <a:moveTo>
                    <a:pt x="272781" y="118309"/>
                  </a:moveTo>
                  <a:lnTo>
                    <a:pt x="231976" y="118309"/>
                  </a:lnTo>
                  <a:lnTo>
                    <a:pt x="315255" y="101141"/>
                  </a:lnTo>
                  <a:lnTo>
                    <a:pt x="289837" y="117850"/>
                  </a:lnTo>
                  <a:lnTo>
                    <a:pt x="275008" y="117850"/>
                  </a:lnTo>
                  <a:lnTo>
                    <a:pt x="272781" y="118309"/>
                  </a:lnTo>
                  <a:close/>
                </a:path>
                <a:path w="328295" h="327659">
                  <a:moveTo>
                    <a:pt x="12487" y="226528"/>
                  </a:moveTo>
                  <a:lnTo>
                    <a:pt x="83508" y="179807"/>
                  </a:lnTo>
                  <a:lnTo>
                    <a:pt x="0" y="163818"/>
                  </a:lnTo>
                  <a:lnTo>
                    <a:pt x="83508" y="147862"/>
                  </a:lnTo>
                  <a:lnTo>
                    <a:pt x="12486" y="101174"/>
                  </a:lnTo>
                  <a:lnTo>
                    <a:pt x="93032" y="117785"/>
                  </a:lnTo>
                  <a:lnTo>
                    <a:pt x="52733" y="117785"/>
                  </a:lnTo>
                  <a:lnTo>
                    <a:pt x="104877" y="152088"/>
                  </a:lnTo>
                  <a:lnTo>
                    <a:pt x="43589" y="163818"/>
                  </a:lnTo>
                  <a:lnTo>
                    <a:pt x="104812" y="175547"/>
                  </a:lnTo>
                  <a:lnTo>
                    <a:pt x="52701" y="209851"/>
                  </a:lnTo>
                  <a:lnTo>
                    <a:pt x="93196" y="209851"/>
                  </a:lnTo>
                  <a:lnTo>
                    <a:pt x="12487" y="226528"/>
                  </a:lnTo>
                  <a:close/>
                </a:path>
                <a:path w="328295" h="327659">
                  <a:moveTo>
                    <a:pt x="113825" y="130399"/>
                  </a:moveTo>
                  <a:lnTo>
                    <a:pt x="52733" y="117785"/>
                  </a:lnTo>
                  <a:lnTo>
                    <a:pt x="93032" y="117785"/>
                  </a:lnTo>
                  <a:lnTo>
                    <a:pt x="95733" y="118342"/>
                  </a:lnTo>
                  <a:lnTo>
                    <a:pt x="105636" y="118342"/>
                  </a:lnTo>
                  <a:lnTo>
                    <a:pt x="113825" y="130399"/>
                  </a:lnTo>
                  <a:close/>
                </a:path>
                <a:path w="328295" h="327659">
                  <a:moveTo>
                    <a:pt x="289905" y="209851"/>
                  </a:moveTo>
                  <a:lnTo>
                    <a:pt x="274976" y="209851"/>
                  </a:lnTo>
                  <a:lnTo>
                    <a:pt x="222865" y="175547"/>
                  </a:lnTo>
                  <a:lnTo>
                    <a:pt x="284152" y="163818"/>
                  </a:lnTo>
                  <a:lnTo>
                    <a:pt x="222865" y="152088"/>
                  </a:lnTo>
                  <a:lnTo>
                    <a:pt x="275008" y="117850"/>
                  </a:lnTo>
                  <a:lnTo>
                    <a:pt x="289837" y="117850"/>
                  </a:lnTo>
                  <a:lnTo>
                    <a:pt x="244233" y="147829"/>
                  </a:lnTo>
                  <a:lnTo>
                    <a:pt x="327742" y="163818"/>
                  </a:lnTo>
                  <a:lnTo>
                    <a:pt x="244233" y="179806"/>
                  </a:lnTo>
                  <a:lnTo>
                    <a:pt x="289905" y="209851"/>
                  </a:lnTo>
                  <a:close/>
                </a:path>
                <a:path w="328295" h="327659">
                  <a:moveTo>
                    <a:pt x="93196" y="209851"/>
                  </a:moveTo>
                  <a:lnTo>
                    <a:pt x="52701" y="209851"/>
                  </a:lnTo>
                  <a:lnTo>
                    <a:pt x="113825" y="197204"/>
                  </a:lnTo>
                  <a:lnTo>
                    <a:pt x="105599" y="209327"/>
                  </a:lnTo>
                  <a:lnTo>
                    <a:pt x="95733" y="209327"/>
                  </a:lnTo>
                  <a:lnTo>
                    <a:pt x="93196" y="209851"/>
                  </a:lnTo>
                  <a:close/>
                </a:path>
                <a:path w="328295" h="327659">
                  <a:moveTo>
                    <a:pt x="258789" y="248807"/>
                  </a:moveTo>
                  <a:lnTo>
                    <a:pt x="248855" y="248807"/>
                  </a:lnTo>
                  <a:lnTo>
                    <a:pt x="213819" y="197204"/>
                  </a:lnTo>
                  <a:lnTo>
                    <a:pt x="272441" y="209327"/>
                  </a:lnTo>
                  <a:lnTo>
                    <a:pt x="231976" y="209327"/>
                  </a:lnTo>
                  <a:lnTo>
                    <a:pt x="258789" y="248807"/>
                  </a:lnTo>
                  <a:close/>
                </a:path>
                <a:path w="328295" h="327659">
                  <a:moveTo>
                    <a:pt x="315255" y="226528"/>
                  </a:moveTo>
                  <a:lnTo>
                    <a:pt x="231976" y="209327"/>
                  </a:lnTo>
                  <a:lnTo>
                    <a:pt x="272441" y="209327"/>
                  </a:lnTo>
                  <a:lnTo>
                    <a:pt x="274976" y="209851"/>
                  </a:lnTo>
                  <a:lnTo>
                    <a:pt x="289905" y="209851"/>
                  </a:lnTo>
                  <a:lnTo>
                    <a:pt x="315255" y="226528"/>
                  </a:lnTo>
                  <a:close/>
                </a:path>
                <a:path w="328295" h="327659">
                  <a:moveTo>
                    <a:pt x="47981" y="279637"/>
                  </a:moveTo>
                  <a:lnTo>
                    <a:pt x="95733" y="209327"/>
                  </a:lnTo>
                  <a:lnTo>
                    <a:pt x="105599" y="209327"/>
                  </a:lnTo>
                  <a:lnTo>
                    <a:pt x="78789" y="248840"/>
                  </a:lnTo>
                  <a:lnTo>
                    <a:pt x="93379" y="248840"/>
                  </a:lnTo>
                  <a:lnTo>
                    <a:pt x="47981" y="279637"/>
                  </a:lnTo>
                  <a:close/>
                </a:path>
                <a:path w="328295" h="327659">
                  <a:moveTo>
                    <a:pt x="218285" y="274919"/>
                  </a:moveTo>
                  <a:lnTo>
                    <a:pt x="209886" y="274919"/>
                  </a:lnTo>
                  <a:lnTo>
                    <a:pt x="197235" y="213783"/>
                  </a:lnTo>
                  <a:lnTo>
                    <a:pt x="223938" y="231901"/>
                  </a:lnTo>
                  <a:lnTo>
                    <a:pt x="209394" y="231901"/>
                  </a:lnTo>
                  <a:lnTo>
                    <a:pt x="218285" y="274919"/>
                  </a:lnTo>
                  <a:close/>
                </a:path>
                <a:path w="328295" h="327659">
                  <a:moveTo>
                    <a:pt x="93379" y="248840"/>
                  </a:moveTo>
                  <a:lnTo>
                    <a:pt x="78789" y="248840"/>
                  </a:lnTo>
                  <a:lnTo>
                    <a:pt x="130441" y="213815"/>
                  </a:lnTo>
                  <a:lnTo>
                    <a:pt x="126691" y="231901"/>
                  </a:lnTo>
                  <a:lnTo>
                    <a:pt x="118347" y="231901"/>
                  </a:lnTo>
                  <a:lnTo>
                    <a:pt x="93379" y="248840"/>
                  </a:lnTo>
                  <a:close/>
                </a:path>
                <a:path w="328295" h="327659">
                  <a:moveTo>
                    <a:pt x="127640" y="274919"/>
                  </a:moveTo>
                  <a:lnTo>
                    <a:pt x="117823" y="274919"/>
                  </a:lnTo>
                  <a:lnTo>
                    <a:pt x="152138" y="222792"/>
                  </a:lnTo>
                  <a:lnTo>
                    <a:pt x="156229" y="244154"/>
                  </a:lnTo>
                  <a:lnTo>
                    <a:pt x="147877" y="244154"/>
                  </a:lnTo>
                  <a:lnTo>
                    <a:pt x="127640" y="274919"/>
                  </a:lnTo>
                  <a:close/>
                </a:path>
                <a:path w="328295" h="327659">
                  <a:moveTo>
                    <a:pt x="172219" y="284061"/>
                  </a:moveTo>
                  <a:lnTo>
                    <a:pt x="163871" y="284061"/>
                  </a:lnTo>
                  <a:lnTo>
                    <a:pt x="175604" y="222792"/>
                  </a:lnTo>
                  <a:lnTo>
                    <a:pt x="189636" y="244154"/>
                  </a:lnTo>
                  <a:lnTo>
                    <a:pt x="179865" y="244154"/>
                  </a:lnTo>
                  <a:lnTo>
                    <a:pt x="172219" y="284061"/>
                  </a:lnTo>
                  <a:close/>
                </a:path>
                <a:path w="328295" h="327659">
                  <a:moveTo>
                    <a:pt x="279728" y="279637"/>
                  </a:moveTo>
                  <a:lnTo>
                    <a:pt x="209394" y="231901"/>
                  </a:lnTo>
                  <a:lnTo>
                    <a:pt x="223938" y="231901"/>
                  </a:lnTo>
                  <a:lnTo>
                    <a:pt x="248855" y="248807"/>
                  </a:lnTo>
                  <a:lnTo>
                    <a:pt x="258789" y="248807"/>
                  </a:lnTo>
                  <a:lnTo>
                    <a:pt x="279728" y="279637"/>
                  </a:lnTo>
                  <a:close/>
                </a:path>
                <a:path w="328295" h="327659">
                  <a:moveTo>
                    <a:pt x="101174" y="315153"/>
                  </a:moveTo>
                  <a:lnTo>
                    <a:pt x="118347" y="231901"/>
                  </a:lnTo>
                  <a:lnTo>
                    <a:pt x="126691" y="231901"/>
                  </a:lnTo>
                  <a:lnTo>
                    <a:pt x="117823" y="274919"/>
                  </a:lnTo>
                  <a:lnTo>
                    <a:pt x="127640" y="274919"/>
                  </a:lnTo>
                  <a:lnTo>
                    <a:pt x="101174" y="315153"/>
                  </a:lnTo>
                  <a:close/>
                </a:path>
                <a:path w="328295" h="327659">
                  <a:moveTo>
                    <a:pt x="226601" y="315153"/>
                  </a:moveTo>
                  <a:lnTo>
                    <a:pt x="179865" y="244154"/>
                  </a:lnTo>
                  <a:lnTo>
                    <a:pt x="189636" y="244154"/>
                  </a:lnTo>
                  <a:lnTo>
                    <a:pt x="209886" y="274919"/>
                  </a:lnTo>
                  <a:lnTo>
                    <a:pt x="218285" y="274919"/>
                  </a:lnTo>
                  <a:lnTo>
                    <a:pt x="226601" y="315153"/>
                  </a:lnTo>
                  <a:close/>
                </a:path>
                <a:path w="328295" h="327659">
                  <a:moveTo>
                    <a:pt x="163871" y="327636"/>
                  </a:moveTo>
                  <a:lnTo>
                    <a:pt x="147877" y="244154"/>
                  </a:lnTo>
                  <a:lnTo>
                    <a:pt x="156229" y="244154"/>
                  </a:lnTo>
                  <a:lnTo>
                    <a:pt x="163871" y="284061"/>
                  </a:lnTo>
                  <a:lnTo>
                    <a:pt x="172219" y="284061"/>
                  </a:lnTo>
                  <a:lnTo>
                    <a:pt x="163871" y="327636"/>
                  </a:lnTo>
                  <a:close/>
                </a:path>
              </a:pathLst>
            </a:custGeom>
            <a:solidFill>
              <a:srgbClr val="833411"/>
            </a:solidFill>
          </p:spPr>
          <p:txBody>
            <a:bodyPr wrap="square" lIns="0" tIns="0" rIns="0" bIns="0" rtlCol="0"/>
            <a:lstStyle/>
            <a:p>
              <a:endParaRPr/>
            </a:p>
          </p:txBody>
        </p:sp>
        <p:pic>
          <p:nvPicPr>
            <p:cNvPr id="25" name="object 25"/>
            <p:cNvPicPr/>
            <p:nvPr/>
          </p:nvPicPr>
          <p:blipFill>
            <a:blip r:embed="rId4" cstate="print"/>
            <a:stretch>
              <a:fillRect/>
            </a:stretch>
          </p:blipFill>
          <p:spPr>
            <a:xfrm>
              <a:off x="7711662" y="7669148"/>
              <a:ext cx="139290" cy="139245"/>
            </a:xfrm>
            <a:prstGeom prst="rect">
              <a:avLst/>
            </a:prstGeom>
          </p:spPr>
        </p:pic>
      </p:grpSp>
      <p:sp>
        <p:nvSpPr>
          <p:cNvPr id="26" name="object 26"/>
          <p:cNvSpPr txBox="1"/>
          <p:nvPr/>
        </p:nvSpPr>
        <p:spPr>
          <a:xfrm>
            <a:off x="7243925" y="8213195"/>
            <a:ext cx="1017905" cy="295910"/>
          </a:xfrm>
          <a:prstGeom prst="rect">
            <a:avLst/>
          </a:prstGeom>
        </p:spPr>
        <p:txBody>
          <a:bodyPr vert="horz" wrap="square" lIns="0" tIns="15240" rIns="0" bIns="0" rtlCol="0">
            <a:spAutoFit/>
          </a:bodyPr>
          <a:lstStyle/>
          <a:p>
            <a:pPr marL="12700">
              <a:lnSpc>
                <a:spcPct val="100000"/>
              </a:lnSpc>
              <a:spcBef>
                <a:spcPts val="120"/>
              </a:spcBef>
            </a:pPr>
            <a:r>
              <a:rPr sz="1750" b="1" spc="-10" dirty="0">
                <a:solidFill>
                  <a:srgbClr val="737373"/>
                </a:solidFill>
                <a:latin typeface="Roboto"/>
                <a:cs typeface="Roboto"/>
              </a:rPr>
              <a:t>Argentina</a:t>
            </a:r>
            <a:endParaRPr sz="1750">
              <a:latin typeface="Roboto"/>
              <a:cs typeface="Roboto"/>
            </a:endParaRPr>
          </a:p>
        </p:txBody>
      </p:sp>
      <p:grpSp>
        <p:nvGrpSpPr>
          <p:cNvPr id="27" name="object 27"/>
          <p:cNvGrpSpPr/>
          <p:nvPr/>
        </p:nvGrpSpPr>
        <p:grpSpPr>
          <a:xfrm>
            <a:off x="2952932" y="4685993"/>
            <a:ext cx="1789430" cy="1789430"/>
            <a:chOff x="2952932" y="4685993"/>
            <a:chExt cx="1789430" cy="1789430"/>
          </a:xfrm>
        </p:grpSpPr>
        <p:sp>
          <p:nvSpPr>
            <p:cNvPr id="28" name="object 28"/>
            <p:cNvSpPr/>
            <p:nvPr/>
          </p:nvSpPr>
          <p:spPr>
            <a:xfrm>
              <a:off x="2952932" y="4685993"/>
              <a:ext cx="1789430" cy="1789430"/>
            </a:xfrm>
            <a:custGeom>
              <a:avLst/>
              <a:gdLst/>
              <a:ahLst/>
              <a:cxnLst/>
              <a:rect l="l" t="t" r="r" b="b"/>
              <a:pathLst>
                <a:path w="1789429" h="1789429">
                  <a:moveTo>
                    <a:pt x="894534" y="1789069"/>
                  </a:moveTo>
                  <a:lnTo>
                    <a:pt x="847026" y="1787829"/>
                  </a:lnTo>
                  <a:lnTo>
                    <a:pt x="800164" y="1784150"/>
                  </a:lnTo>
                  <a:lnTo>
                    <a:pt x="754010" y="1778095"/>
                  </a:lnTo>
                  <a:lnTo>
                    <a:pt x="708625" y="1769724"/>
                  </a:lnTo>
                  <a:lnTo>
                    <a:pt x="664072" y="1759100"/>
                  </a:lnTo>
                  <a:lnTo>
                    <a:pt x="620411" y="1746285"/>
                  </a:lnTo>
                  <a:lnTo>
                    <a:pt x="577706" y="1731341"/>
                  </a:lnTo>
                  <a:lnTo>
                    <a:pt x="536017" y="1714328"/>
                  </a:lnTo>
                  <a:lnTo>
                    <a:pt x="495407" y="1695310"/>
                  </a:lnTo>
                  <a:lnTo>
                    <a:pt x="455938" y="1674347"/>
                  </a:lnTo>
                  <a:lnTo>
                    <a:pt x="417670" y="1651503"/>
                  </a:lnTo>
                  <a:lnTo>
                    <a:pt x="380667" y="1626837"/>
                  </a:lnTo>
                  <a:lnTo>
                    <a:pt x="344990" y="1600413"/>
                  </a:lnTo>
                  <a:lnTo>
                    <a:pt x="310700" y="1572293"/>
                  </a:lnTo>
                  <a:lnTo>
                    <a:pt x="277860" y="1542537"/>
                  </a:lnTo>
                  <a:lnTo>
                    <a:pt x="246531" y="1511208"/>
                  </a:lnTo>
                  <a:lnTo>
                    <a:pt x="216775" y="1478368"/>
                  </a:lnTo>
                  <a:lnTo>
                    <a:pt x="188655" y="1444078"/>
                  </a:lnTo>
                  <a:lnTo>
                    <a:pt x="162231" y="1408401"/>
                  </a:lnTo>
                  <a:lnTo>
                    <a:pt x="137566" y="1371398"/>
                  </a:lnTo>
                  <a:lnTo>
                    <a:pt x="114721" y="1333130"/>
                  </a:lnTo>
                  <a:lnTo>
                    <a:pt x="93758" y="1293661"/>
                  </a:lnTo>
                  <a:lnTo>
                    <a:pt x="74740" y="1253051"/>
                  </a:lnTo>
                  <a:lnTo>
                    <a:pt x="57728" y="1211362"/>
                  </a:lnTo>
                  <a:lnTo>
                    <a:pt x="42783" y="1168657"/>
                  </a:lnTo>
                  <a:lnTo>
                    <a:pt x="29968" y="1124996"/>
                  </a:lnTo>
                  <a:lnTo>
                    <a:pt x="19344" y="1080443"/>
                  </a:lnTo>
                  <a:lnTo>
                    <a:pt x="10974" y="1035058"/>
                  </a:lnTo>
                  <a:lnTo>
                    <a:pt x="4918" y="988904"/>
                  </a:lnTo>
                  <a:lnTo>
                    <a:pt x="1239" y="942042"/>
                  </a:lnTo>
                  <a:lnTo>
                    <a:pt x="0" y="894534"/>
                  </a:lnTo>
                  <a:lnTo>
                    <a:pt x="1239" y="847026"/>
                  </a:lnTo>
                  <a:lnTo>
                    <a:pt x="4918" y="800164"/>
                  </a:lnTo>
                  <a:lnTo>
                    <a:pt x="10974" y="754010"/>
                  </a:lnTo>
                  <a:lnTo>
                    <a:pt x="19344" y="708625"/>
                  </a:lnTo>
                  <a:lnTo>
                    <a:pt x="29968" y="664072"/>
                  </a:lnTo>
                  <a:lnTo>
                    <a:pt x="42783" y="620411"/>
                  </a:lnTo>
                  <a:lnTo>
                    <a:pt x="57728" y="577706"/>
                  </a:lnTo>
                  <a:lnTo>
                    <a:pt x="74740" y="536017"/>
                  </a:lnTo>
                  <a:lnTo>
                    <a:pt x="93758" y="495407"/>
                  </a:lnTo>
                  <a:lnTo>
                    <a:pt x="114721" y="455938"/>
                  </a:lnTo>
                  <a:lnTo>
                    <a:pt x="137566" y="417670"/>
                  </a:lnTo>
                  <a:lnTo>
                    <a:pt x="162231" y="380667"/>
                  </a:lnTo>
                  <a:lnTo>
                    <a:pt x="188655" y="344989"/>
                  </a:lnTo>
                  <a:lnTo>
                    <a:pt x="216775" y="310700"/>
                  </a:lnTo>
                  <a:lnTo>
                    <a:pt x="246531" y="277860"/>
                  </a:lnTo>
                  <a:lnTo>
                    <a:pt x="277860" y="246531"/>
                  </a:lnTo>
                  <a:lnTo>
                    <a:pt x="310700" y="216775"/>
                  </a:lnTo>
                  <a:lnTo>
                    <a:pt x="344990" y="188654"/>
                  </a:lnTo>
                  <a:lnTo>
                    <a:pt x="380667" y="162231"/>
                  </a:lnTo>
                  <a:lnTo>
                    <a:pt x="417670" y="137565"/>
                  </a:lnTo>
                  <a:lnTo>
                    <a:pt x="455938" y="114721"/>
                  </a:lnTo>
                  <a:lnTo>
                    <a:pt x="495407" y="93758"/>
                  </a:lnTo>
                  <a:lnTo>
                    <a:pt x="536017" y="74740"/>
                  </a:lnTo>
                  <a:lnTo>
                    <a:pt x="577706" y="57727"/>
                  </a:lnTo>
                  <a:lnTo>
                    <a:pt x="620411" y="42783"/>
                  </a:lnTo>
                  <a:lnTo>
                    <a:pt x="664072" y="29968"/>
                  </a:lnTo>
                  <a:lnTo>
                    <a:pt x="708625" y="19344"/>
                  </a:lnTo>
                  <a:lnTo>
                    <a:pt x="754010" y="10973"/>
                  </a:lnTo>
                  <a:lnTo>
                    <a:pt x="800164" y="4918"/>
                  </a:lnTo>
                  <a:lnTo>
                    <a:pt x="847026" y="1239"/>
                  </a:lnTo>
                  <a:lnTo>
                    <a:pt x="894545" y="0"/>
                  </a:lnTo>
                  <a:lnTo>
                    <a:pt x="942042" y="1239"/>
                  </a:lnTo>
                  <a:lnTo>
                    <a:pt x="988904" y="4918"/>
                  </a:lnTo>
                  <a:lnTo>
                    <a:pt x="1035058" y="10973"/>
                  </a:lnTo>
                  <a:lnTo>
                    <a:pt x="1080443" y="19344"/>
                  </a:lnTo>
                  <a:lnTo>
                    <a:pt x="1124996" y="29968"/>
                  </a:lnTo>
                  <a:lnTo>
                    <a:pt x="1168657" y="42783"/>
                  </a:lnTo>
                  <a:lnTo>
                    <a:pt x="1211362" y="57727"/>
                  </a:lnTo>
                  <a:lnTo>
                    <a:pt x="1253051" y="74740"/>
                  </a:lnTo>
                  <a:lnTo>
                    <a:pt x="1293661" y="93758"/>
                  </a:lnTo>
                  <a:lnTo>
                    <a:pt x="1333130" y="114721"/>
                  </a:lnTo>
                  <a:lnTo>
                    <a:pt x="1371398" y="137565"/>
                  </a:lnTo>
                  <a:lnTo>
                    <a:pt x="1408401" y="162231"/>
                  </a:lnTo>
                  <a:lnTo>
                    <a:pt x="1444079" y="188654"/>
                  </a:lnTo>
                  <a:lnTo>
                    <a:pt x="1478368" y="216775"/>
                  </a:lnTo>
                  <a:lnTo>
                    <a:pt x="1511208" y="246531"/>
                  </a:lnTo>
                  <a:lnTo>
                    <a:pt x="1542537" y="277860"/>
                  </a:lnTo>
                  <a:lnTo>
                    <a:pt x="1572293" y="310700"/>
                  </a:lnTo>
                  <a:lnTo>
                    <a:pt x="1600414" y="344989"/>
                  </a:lnTo>
                  <a:lnTo>
                    <a:pt x="1626837" y="380667"/>
                  </a:lnTo>
                  <a:lnTo>
                    <a:pt x="1651503" y="417670"/>
                  </a:lnTo>
                  <a:lnTo>
                    <a:pt x="1674347" y="455938"/>
                  </a:lnTo>
                  <a:lnTo>
                    <a:pt x="1695310" y="495407"/>
                  </a:lnTo>
                  <a:lnTo>
                    <a:pt x="1714328" y="536017"/>
                  </a:lnTo>
                  <a:lnTo>
                    <a:pt x="1731341" y="577706"/>
                  </a:lnTo>
                  <a:lnTo>
                    <a:pt x="1746285" y="620411"/>
                  </a:lnTo>
                  <a:lnTo>
                    <a:pt x="1759101" y="664072"/>
                  </a:lnTo>
                  <a:lnTo>
                    <a:pt x="1769724" y="708625"/>
                  </a:lnTo>
                  <a:lnTo>
                    <a:pt x="1778095" y="754010"/>
                  </a:lnTo>
                  <a:lnTo>
                    <a:pt x="1784150" y="800164"/>
                  </a:lnTo>
                  <a:lnTo>
                    <a:pt x="1787829" y="847026"/>
                  </a:lnTo>
                  <a:lnTo>
                    <a:pt x="1789069" y="894534"/>
                  </a:lnTo>
                  <a:lnTo>
                    <a:pt x="1787829" y="942042"/>
                  </a:lnTo>
                  <a:lnTo>
                    <a:pt x="1784150" y="988904"/>
                  </a:lnTo>
                  <a:lnTo>
                    <a:pt x="1778095" y="1035058"/>
                  </a:lnTo>
                  <a:lnTo>
                    <a:pt x="1769724" y="1080443"/>
                  </a:lnTo>
                  <a:lnTo>
                    <a:pt x="1759101" y="1124996"/>
                  </a:lnTo>
                  <a:lnTo>
                    <a:pt x="1746285" y="1168657"/>
                  </a:lnTo>
                  <a:lnTo>
                    <a:pt x="1731341" y="1211362"/>
                  </a:lnTo>
                  <a:lnTo>
                    <a:pt x="1714328" y="1253051"/>
                  </a:lnTo>
                  <a:lnTo>
                    <a:pt x="1695310" y="1293661"/>
                  </a:lnTo>
                  <a:lnTo>
                    <a:pt x="1674347" y="1333130"/>
                  </a:lnTo>
                  <a:lnTo>
                    <a:pt x="1651503" y="1371398"/>
                  </a:lnTo>
                  <a:lnTo>
                    <a:pt x="1626837" y="1408401"/>
                  </a:lnTo>
                  <a:lnTo>
                    <a:pt x="1600414" y="1444078"/>
                  </a:lnTo>
                  <a:lnTo>
                    <a:pt x="1572293" y="1478368"/>
                  </a:lnTo>
                  <a:lnTo>
                    <a:pt x="1542537" y="1511208"/>
                  </a:lnTo>
                  <a:lnTo>
                    <a:pt x="1511208" y="1542537"/>
                  </a:lnTo>
                  <a:lnTo>
                    <a:pt x="1478368" y="1572293"/>
                  </a:lnTo>
                  <a:lnTo>
                    <a:pt x="1444079" y="1600413"/>
                  </a:lnTo>
                  <a:lnTo>
                    <a:pt x="1408401" y="1626837"/>
                  </a:lnTo>
                  <a:lnTo>
                    <a:pt x="1371398" y="1651503"/>
                  </a:lnTo>
                  <a:lnTo>
                    <a:pt x="1333130" y="1674347"/>
                  </a:lnTo>
                  <a:lnTo>
                    <a:pt x="1293661" y="1695310"/>
                  </a:lnTo>
                  <a:lnTo>
                    <a:pt x="1253051" y="1714328"/>
                  </a:lnTo>
                  <a:lnTo>
                    <a:pt x="1211362" y="1731341"/>
                  </a:lnTo>
                  <a:lnTo>
                    <a:pt x="1168657" y="1746285"/>
                  </a:lnTo>
                  <a:lnTo>
                    <a:pt x="1124996" y="1759100"/>
                  </a:lnTo>
                  <a:lnTo>
                    <a:pt x="1080443" y="1769724"/>
                  </a:lnTo>
                  <a:lnTo>
                    <a:pt x="1035058" y="1778095"/>
                  </a:lnTo>
                  <a:lnTo>
                    <a:pt x="988904" y="1784150"/>
                  </a:lnTo>
                  <a:lnTo>
                    <a:pt x="942042" y="1787829"/>
                  </a:lnTo>
                  <a:lnTo>
                    <a:pt x="894534" y="1789069"/>
                  </a:lnTo>
                  <a:close/>
                </a:path>
              </a:pathLst>
            </a:custGeom>
            <a:solidFill>
              <a:srgbClr val="FFFFFF"/>
            </a:solidFill>
          </p:spPr>
          <p:txBody>
            <a:bodyPr wrap="square" lIns="0" tIns="0" rIns="0" bIns="0" rtlCol="0"/>
            <a:lstStyle/>
            <a:p>
              <a:endParaRPr/>
            </a:p>
          </p:txBody>
        </p:sp>
        <p:sp>
          <p:nvSpPr>
            <p:cNvPr id="29" name="object 29"/>
            <p:cNvSpPr/>
            <p:nvPr/>
          </p:nvSpPr>
          <p:spPr>
            <a:xfrm>
              <a:off x="3270316" y="5062803"/>
              <a:ext cx="386080" cy="836294"/>
            </a:xfrm>
            <a:custGeom>
              <a:avLst/>
              <a:gdLst/>
              <a:ahLst/>
              <a:cxnLst/>
              <a:rect l="l" t="t" r="r" b="b"/>
              <a:pathLst>
                <a:path w="386079" h="836295">
                  <a:moveTo>
                    <a:pt x="386039" y="836149"/>
                  </a:moveTo>
                  <a:lnTo>
                    <a:pt x="128679" y="836149"/>
                  </a:lnTo>
                  <a:lnTo>
                    <a:pt x="78593" y="826039"/>
                  </a:lnTo>
                  <a:lnTo>
                    <a:pt x="37691" y="798470"/>
                  </a:lnTo>
                  <a:lnTo>
                    <a:pt x="10112" y="757580"/>
                  </a:lnTo>
                  <a:lnTo>
                    <a:pt x="0" y="707510"/>
                  </a:lnTo>
                  <a:lnTo>
                    <a:pt x="0" y="128638"/>
                  </a:lnTo>
                  <a:lnTo>
                    <a:pt x="10112" y="78568"/>
                  </a:lnTo>
                  <a:lnTo>
                    <a:pt x="37691" y="37678"/>
                  </a:lnTo>
                  <a:lnTo>
                    <a:pt x="78593" y="10109"/>
                  </a:lnTo>
                  <a:lnTo>
                    <a:pt x="128679" y="0"/>
                  </a:lnTo>
                  <a:lnTo>
                    <a:pt x="386039" y="0"/>
                  </a:lnTo>
                  <a:lnTo>
                    <a:pt x="386039" y="836149"/>
                  </a:lnTo>
                  <a:close/>
                </a:path>
              </a:pathLst>
            </a:custGeom>
            <a:solidFill>
              <a:srgbClr val="D90F23"/>
            </a:solidFill>
          </p:spPr>
          <p:txBody>
            <a:bodyPr wrap="square" lIns="0" tIns="0" rIns="0" bIns="0" rtlCol="0"/>
            <a:lstStyle/>
            <a:p>
              <a:endParaRPr/>
            </a:p>
          </p:txBody>
        </p:sp>
        <p:sp>
          <p:nvSpPr>
            <p:cNvPr id="30" name="object 30"/>
            <p:cNvSpPr/>
            <p:nvPr/>
          </p:nvSpPr>
          <p:spPr>
            <a:xfrm>
              <a:off x="3656356" y="5062803"/>
              <a:ext cx="386080" cy="836294"/>
            </a:xfrm>
            <a:custGeom>
              <a:avLst/>
              <a:gdLst/>
              <a:ahLst/>
              <a:cxnLst/>
              <a:rect l="l" t="t" r="r" b="b"/>
              <a:pathLst>
                <a:path w="386079" h="836295">
                  <a:moveTo>
                    <a:pt x="386039" y="836149"/>
                  </a:moveTo>
                  <a:lnTo>
                    <a:pt x="0" y="836149"/>
                  </a:lnTo>
                  <a:lnTo>
                    <a:pt x="0" y="0"/>
                  </a:lnTo>
                  <a:lnTo>
                    <a:pt x="386039" y="0"/>
                  </a:lnTo>
                  <a:lnTo>
                    <a:pt x="386039" y="836149"/>
                  </a:lnTo>
                  <a:close/>
                </a:path>
              </a:pathLst>
            </a:custGeom>
            <a:solidFill>
              <a:srgbClr val="EDEDED"/>
            </a:solidFill>
          </p:spPr>
          <p:txBody>
            <a:bodyPr wrap="square" lIns="0" tIns="0" rIns="0" bIns="0" rtlCol="0"/>
            <a:lstStyle/>
            <a:p>
              <a:endParaRPr/>
            </a:p>
          </p:txBody>
        </p:sp>
        <p:sp>
          <p:nvSpPr>
            <p:cNvPr id="31" name="object 31"/>
            <p:cNvSpPr/>
            <p:nvPr/>
          </p:nvSpPr>
          <p:spPr>
            <a:xfrm>
              <a:off x="4042396" y="5062803"/>
              <a:ext cx="386080" cy="836294"/>
            </a:xfrm>
            <a:custGeom>
              <a:avLst/>
              <a:gdLst/>
              <a:ahLst/>
              <a:cxnLst/>
              <a:rect l="l" t="t" r="r" b="b"/>
              <a:pathLst>
                <a:path w="386079" h="836295">
                  <a:moveTo>
                    <a:pt x="257359" y="836149"/>
                  </a:moveTo>
                  <a:lnTo>
                    <a:pt x="0" y="836149"/>
                  </a:lnTo>
                  <a:lnTo>
                    <a:pt x="0" y="0"/>
                  </a:lnTo>
                  <a:lnTo>
                    <a:pt x="257359" y="0"/>
                  </a:lnTo>
                  <a:lnTo>
                    <a:pt x="307446" y="10109"/>
                  </a:lnTo>
                  <a:lnTo>
                    <a:pt x="348348" y="37678"/>
                  </a:lnTo>
                  <a:lnTo>
                    <a:pt x="375927" y="78568"/>
                  </a:lnTo>
                  <a:lnTo>
                    <a:pt x="386039" y="128638"/>
                  </a:lnTo>
                  <a:lnTo>
                    <a:pt x="386039" y="707510"/>
                  </a:lnTo>
                  <a:lnTo>
                    <a:pt x="375927" y="757580"/>
                  </a:lnTo>
                  <a:lnTo>
                    <a:pt x="348348" y="798470"/>
                  </a:lnTo>
                  <a:lnTo>
                    <a:pt x="307446" y="826039"/>
                  </a:lnTo>
                  <a:lnTo>
                    <a:pt x="257359" y="836149"/>
                  </a:lnTo>
                  <a:close/>
                </a:path>
              </a:pathLst>
            </a:custGeom>
            <a:solidFill>
              <a:srgbClr val="D90F23"/>
            </a:solidFill>
          </p:spPr>
          <p:txBody>
            <a:bodyPr wrap="square" lIns="0" tIns="0" rIns="0" bIns="0" rtlCol="0"/>
            <a:lstStyle/>
            <a:p>
              <a:endParaRPr/>
            </a:p>
          </p:txBody>
        </p:sp>
      </p:grpSp>
      <p:sp>
        <p:nvSpPr>
          <p:cNvPr id="32" name="object 32"/>
          <p:cNvSpPr txBox="1"/>
          <p:nvPr/>
        </p:nvSpPr>
        <p:spPr>
          <a:xfrm>
            <a:off x="3594866" y="5949294"/>
            <a:ext cx="491490" cy="290830"/>
          </a:xfrm>
          <a:prstGeom prst="rect">
            <a:avLst/>
          </a:prstGeom>
        </p:spPr>
        <p:txBody>
          <a:bodyPr vert="horz" wrap="square" lIns="0" tIns="17780" rIns="0" bIns="0" rtlCol="0">
            <a:spAutoFit/>
          </a:bodyPr>
          <a:lstStyle/>
          <a:p>
            <a:pPr marL="12700">
              <a:lnSpc>
                <a:spcPct val="100000"/>
              </a:lnSpc>
              <a:spcBef>
                <a:spcPts val="140"/>
              </a:spcBef>
            </a:pPr>
            <a:r>
              <a:rPr sz="1700" b="1" spc="-20" dirty="0">
                <a:solidFill>
                  <a:srgbClr val="737373"/>
                </a:solidFill>
                <a:latin typeface="Roboto"/>
                <a:cs typeface="Roboto"/>
              </a:rPr>
              <a:t>Perú</a:t>
            </a:r>
            <a:endParaRPr sz="1700">
              <a:latin typeface="Roboto"/>
              <a:cs typeface="Roboto"/>
            </a:endParaRPr>
          </a:p>
        </p:txBody>
      </p:sp>
      <p:grpSp>
        <p:nvGrpSpPr>
          <p:cNvPr id="33" name="object 33"/>
          <p:cNvGrpSpPr/>
          <p:nvPr/>
        </p:nvGrpSpPr>
        <p:grpSpPr>
          <a:xfrm>
            <a:off x="1482165" y="2211877"/>
            <a:ext cx="1826895" cy="1826895"/>
            <a:chOff x="1482165" y="2211877"/>
            <a:chExt cx="1826895" cy="1826895"/>
          </a:xfrm>
        </p:grpSpPr>
        <p:sp>
          <p:nvSpPr>
            <p:cNvPr id="34" name="object 34"/>
            <p:cNvSpPr/>
            <p:nvPr/>
          </p:nvSpPr>
          <p:spPr>
            <a:xfrm>
              <a:off x="1482165" y="2211877"/>
              <a:ext cx="1826895" cy="1826895"/>
            </a:xfrm>
            <a:custGeom>
              <a:avLst/>
              <a:gdLst/>
              <a:ahLst/>
              <a:cxnLst/>
              <a:rect l="l" t="t" r="r" b="b"/>
              <a:pathLst>
                <a:path w="1826895" h="1826895">
                  <a:moveTo>
                    <a:pt x="913214" y="1826413"/>
                  </a:moveTo>
                  <a:lnTo>
                    <a:pt x="864707" y="1825147"/>
                  </a:lnTo>
                  <a:lnTo>
                    <a:pt x="816866" y="1821392"/>
                  </a:lnTo>
                  <a:lnTo>
                    <a:pt x="769749" y="1815210"/>
                  </a:lnTo>
                  <a:lnTo>
                    <a:pt x="723417" y="1806665"/>
                  </a:lnTo>
                  <a:lnTo>
                    <a:pt x="677933" y="1795819"/>
                  </a:lnTo>
                  <a:lnTo>
                    <a:pt x="633361" y="1782736"/>
                  </a:lnTo>
                  <a:lnTo>
                    <a:pt x="589765" y="1767480"/>
                  </a:lnTo>
                  <a:lnTo>
                    <a:pt x="547206" y="1750112"/>
                  </a:lnTo>
                  <a:lnTo>
                    <a:pt x="505748" y="1730697"/>
                  </a:lnTo>
                  <a:lnTo>
                    <a:pt x="465455" y="1709297"/>
                  </a:lnTo>
                  <a:lnTo>
                    <a:pt x="426388" y="1685975"/>
                  </a:lnTo>
                  <a:lnTo>
                    <a:pt x="388613" y="1660795"/>
                  </a:lnTo>
                  <a:lnTo>
                    <a:pt x="352191" y="1633820"/>
                  </a:lnTo>
                  <a:lnTo>
                    <a:pt x="317185" y="1605112"/>
                  </a:lnTo>
                  <a:lnTo>
                    <a:pt x="283660" y="1574735"/>
                  </a:lnTo>
                  <a:lnTo>
                    <a:pt x="251677" y="1542753"/>
                  </a:lnTo>
                  <a:lnTo>
                    <a:pt x="221300" y="1509227"/>
                  </a:lnTo>
                  <a:lnTo>
                    <a:pt x="192592" y="1474221"/>
                  </a:lnTo>
                  <a:lnTo>
                    <a:pt x="165617" y="1437799"/>
                  </a:lnTo>
                  <a:lnTo>
                    <a:pt x="140437" y="1400024"/>
                  </a:lnTo>
                  <a:lnTo>
                    <a:pt x="117115" y="1360957"/>
                  </a:lnTo>
                  <a:lnTo>
                    <a:pt x="95715" y="1320664"/>
                  </a:lnTo>
                  <a:lnTo>
                    <a:pt x="76300" y="1279206"/>
                  </a:lnTo>
                  <a:lnTo>
                    <a:pt x="58932" y="1236647"/>
                  </a:lnTo>
                  <a:lnTo>
                    <a:pt x="43676" y="1193051"/>
                  </a:lnTo>
                  <a:lnTo>
                    <a:pt x="30593" y="1148479"/>
                  </a:lnTo>
                  <a:lnTo>
                    <a:pt x="19748" y="1102996"/>
                  </a:lnTo>
                  <a:lnTo>
                    <a:pt x="11202" y="1056663"/>
                  </a:lnTo>
                  <a:lnTo>
                    <a:pt x="5021" y="1009546"/>
                  </a:lnTo>
                  <a:lnTo>
                    <a:pt x="1265" y="961706"/>
                  </a:lnTo>
                  <a:lnTo>
                    <a:pt x="0" y="913200"/>
                  </a:lnTo>
                  <a:lnTo>
                    <a:pt x="1265" y="864707"/>
                  </a:lnTo>
                  <a:lnTo>
                    <a:pt x="5021" y="816867"/>
                  </a:lnTo>
                  <a:lnTo>
                    <a:pt x="11202" y="769749"/>
                  </a:lnTo>
                  <a:lnTo>
                    <a:pt x="19748" y="723417"/>
                  </a:lnTo>
                  <a:lnTo>
                    <a:pt x="30593" y="677933"/>
                  </a:lnTo>
                  <a:lnTo>
                    <a:pt x="43676" y="633362"/>
                  </a:lnTo>
                  <a:lnTo>
                    <a:pt x="58932" y="589765"/>
                  </a:lnTo>
                  <a:lnTo>
                    <a:pt x="76300" y="547206"/>
                  </a:lnTo>
                  <a:lnTo>
                    <a:pt x="95715" y="505748"/>
                  </a:lnTo>
                  <a:lnTo>
                    <a:pt x="117115" y="465455"/>
                  </a:lnTo>
                  <a:lnTo>
                    <a:pt x="140437" y="426389"/>
                  </a:lnTo>
                  <a:lnTo>
                    <a:pt x="165617" y="388613"/>
                  </a:lnTo>
                  <a:lnTo>
                    <a:pt x="192592" y="352191"/>
                  </a:lnTo>
                  <a:lnTo>
                    <a:pt x="221300" y="317185"/>
                  </a:lnTo>
                  <a:lnTo>
                    <a:pt x="251677" y="283660"/>
                  </a:lnTo>
                  <a:lnTo>
                    <a:pt x="283660" y="251677"/>
                  </a:lnTo>
                  <a:lnTo>
                    <a:pt x="317185" y="221300"/>
                  </a:lnTo>
                  <a:lnTo>
                    <a:pt x="352191" y="192593"/>
                  </a:lnTo>
                  <a:lnTo>
                    <a:pt x="388613" y="165617"/>
                  </a:lnTo>
                  <a:lnTo>
                    <a:pt x="426388" y="140437"/>
                  </a:lnTo>
                  <a:lnTo>
                    <a:pt x="465455" y="117115"/>
                  </a:lnTo>
                  <a:lnTo>
                    <a:pt x="505748" y="95715"/>
                  </a:lnTo>
                  <a:lnTo>
                    <a:pt x="547206" y="76300"/>
                  </a:lnTo>
                  <a:lnTo>
                    <a:pt x="589765" y="58933"/>
                  </a:lnTo>
                  <a:lnTo>
                    <a:pt x="633361" y="43676"/>
                  </a:lnTo>
                  <a:lnTo>
                    <a:pt x="677933" y="30593"/>
                  </a:lnTo>
                  <a:lnTo>
                    <a:pt x="723417" y="19748"/>
                  </a:lnTo>
                  <a:lnTo>
                    <a:pt x="769749" y="11203"/>
                  </a:lnTo>
                  <a:lnTo>
                    <a:pt x="816866" y="5021"/>
                  </a:lnTo>
                  <a:lnTo>
                    <a:pt x="864707" y="1265"/>
                  </a:lnTo>
                  <a:lnTo>
                    <a:pt x="913206" y="0"/>
                  </a:lnTo>
                  <a:lnTo>
                    <a:pt x="961705" y="1265"/>
                  </a:lnTo>
                  <a:lnTo>
                    <a:pt x="1009546" y="5021"/>
                  </a:lnTo>
                  <a:lnTo>
                    <a:pt x="1056663" y="11203"/>
                  </a:lnTo>
                  <a:lnTo>
                    <a:pt x="1102995" y="19748"/>
                  </a:lnTo>
                  <a:lnTo>
                    <a:pt x="1148479" y="30593"/>
                  </a:lnTo>
                  <a:lnTo>
                    <a:pt x="1193051" y="43676"/>
                  </a:lnTo>
                  <a:lnTo>
                    <a:pt x="1236647" y="58933"/>
                  </a:lnTo>
                  <a:lnTo>
                    <a:pt x="1279206" y="76300"/>
                  </a:lnTo>
                  <a:lnTo>
                    <a:pt x="1320664" y="95715"/>
                  </a:lnTo>
                  <a:lnTo>
                    <a:pt x="1360957" y="117115"/>
                  </a:lnTo>
                  <a:lnTo>
                    <a:pt x="1400024" y="140437"/>
                  </a:lnTo>
                  <a:lnTo>
                    <a:pt x="1437799" y="165617"/>
                  </a:lnTo>
                  <a:lnTo>
                    <a:pt x="1474221" y="192593"/>
                  </a:lnTo>
                  <a:lnTo>
                    <a:pt x="1509227" y="221300"/>
                  </a:lnTo>
                  <a:lnTo>
                    <a:pt x="1542752" y="251677"/>
                  </a:lnTo>
                  <a:lnTo>
                    <a:pt x="1574735" y="283660"/>
                  </a:lnTo>
                  <a:lnTo>
                    <a:pt x="1605112" y="317185"/>
                  </a:lnTo>
                  <a:lnTo>
                    <a:pt x="1633820" y="352191"/>
                  </a:lnTo>
                  <a:lnTo>
                    <a:pt x="1660795" y="388613"/>
                  </a:lnTo>
                  <a:lnTo>
                    <a:pt x="1685975" y="426389"/>
                  </a:lnTo>
                  <a:lnTo>
                    <a:pt x="1709297" y="465455"/>
                  </a:lnTo>
                  <a:lnTo>
                    <a:pt x="1730697" y="505748"/>
                  </a:lnTo>
                  <a:lnTo>
                    <a:pt x="1750112" y="547206"/>
                  </a:lnTo>
                  <a:lnTo>
                    <a:pt x="1767480" y="589765"/>
                  </a:lnTo>
                  <a:lnTo>
                    <a:pt x="1782736" y="633362"/>
                  </a:lnTo>
                  <a:lnTo>
                    <a:pt x="1795819" y="677933"/>
                  </a:lnTo>
                  <a:lnTo>
                    <a:pt x="1806664" y="723417"/>
                  </a:lnTo>
                  <a:lnTo>
                    <a:pt x="1815210" y="769749"/>
                  </a:lnTo>
                  <a:lnTo>
                    <a:pt x="1821392" y="816867"/>
                  </a:lnTo>
                  <a:lnTo>
                    <a:pt x="1825147" y="864707"/>
                  </a:lnTo>
                  <a:lnTo>
                    <a:pt x="1826412" y="913206"/>
                  </a:lnTo>
                  <a:lnTo>
                    <a:pt x="1825147" y="961706"/>
                  </a:lnTo>
                  <a:lnTo>
                    <a:pt x="1821392" y="1009546"/>
                  </a:lnTo>
                  <a:lnTo>
                    <a:pt x="1815210" y="1056663"/>
                  </a:lnTo>
                  <a:lnTo>
                    <a:pt x="1806664" y="1102996"/>
                  </a:lnTo>
                  <a:lnTo>
                    <a:pt x="1795819" y="1148479"/>
                  </a:lnTo>
                  <a:lnTo>
                    <a:pt x="1782736" y="1193051"/>
                  </a:lnTo>
                  <a:lnTo>
                    <a:pt x="1767480" y="1236647"/>
                  </a:lnTo>
                  <a:lnTo>
                    <a:pt x="1750112" y="1279206"/>
                  </a:lnTo>
                  <a:lnTo>
                    <a:pt x="1730697" y="1320664"/>
                  </a:lnTo>
                  <a:lnTo>
                    <a:pt x="1709297" y="1360957"/>
                  </a:lnTo>
                  <a:lnTo>
                    <a:pt x="1685975" y="1400024"/>
                  </a:lnTo>
                  <a:lnTo>
                    <a:pt x="1660795" y="1437799"/>
                  </a:lnTo>
                  <a:lnTo>
                    <a:pt x="1633820" y="1474221"/>
                  </a:lnTo>
                  <a:lnTo>
                    <a:pt x="1605112" y="1509227"/>
                  </a:lnTo>
                  <a:lnTo>
                    <a:pt x="1574735" y="1542753"/>
                  </a:lnTo>
                  <a:lnTo>
                    <a:pt x="1542752" y="1574735"/>
                  </a:lnTo>
                  <a:lnTo>
                    <a:pt x="1509227" y="1605112"/>
                  </a:lnTo>
                  <a:lnTo>
                    <a:pt x="1474221" y="1633820"/>
                  </a:lnTo>
                  <a:lnTo>
                    <a:pt x="1437799" y="1660795"/>
                  </a:lnTo>
                  <a:lnTo>
                    <a:pt x="1400024" y="1685975"/>
                  </a:lnTo>
                  <a:lnTo>
                    <a:pt x="1360957" y="1709297"/>
                  </a:lnTo>
                  <a:lnTo>
                    <a:pt x="1320664" y="1730697"/>
                  </a:lnTo>
                  <a:lnTo>
                    <a:pt x="1279206" y="1750112"/>
                  </a:lnTo>
                  <a:lnTo>
                    <a:pt x="1236647" y="1767480"/>
                  </a:lnTo>
                  <a:lnTo>
                    <a:pt x="1193051" y="1782736"/>
                  </a:lnTo>
                  <a:lnTo>
                    <a:pt x="1148479" y="1795819"/>
                  </a:lnTo>
                  <a:lnTo>
                    <a:pt x="1102995" y="1806665"/>
                  </a:lnTo>
                  <a:lnTo>
                    <a:pt x="1056663" y="1815210"/>
                  </a:lnTo>
                  <a:lnTo>
                    <a:pt x="1009546" y="1821392"/>
                  </a:lnTo>
                  <a:lnTo>
                    <a:pt x="961705" y="1825147"/>
                  </a:lnTo>
                  <a:lnTo>
                    <a:pt x="913214" y="1826413"/>
                  </a:lnTo>
                  <a:close/>
                </a:path>
              </a:pathLst>
            </a:custGeom>
            <a:solidFill>
              <a:srgbClr val="FFFFFF"/>
            </a:solidFill>
          </p:spPr>
          <p:txBody>
            <a:bodyPr wrap="square" lIns="0" tIns="0" rIns="0" bIns="0" rtlCol="0"/>
            <a:lstStyle/>
            <a:p>
              <a:endParaRPr/>
            </a:p>
          </p:txBody>
        </p:sp>
        <p:pic>
          <p:nvPicPr>
            <p:cNvPr id="35" name="object 35"/>
            <p:cNvPicPr/>
            <p:nvPr/>
          </p:nvPicPr>
          <p:blipFill>
            <a:blip r:embed="rId5" cstate="print"/>
            <a:stretch>
              <a:fillRect/>
            </a:stretch>
          </p:blipFill>
          <p:spPr>
            <a:xfrm>
              <a:off x="1505639" y="2410060"/>
              <a:ext cx="1784388" cy="1368395"/>
            </a:xfrm>
            <a:prstGeom prst="rect">
              <a:avLst/>
            </a:prstGeom>
          </p:spPr>
        </p:pic>
      </p:grpSp>
      <p:sp>
        <p:nvSpPr>
          <p:cNvPr id="36" name="object 36"/>
          <p:cNvSpPr txBox="1"/>
          <p:nvPr/>
        </p:nvSpPr>
        <p:spPr>
          <a:xfrm>
            <a:off x="2105399" y="3494325"/>
            <a:ext cx="575945" cy="296545"/>
          </a:xfrm>
          <a:prstGeom prst="rect">
            <a:avLst/>
          </a:prstGeom>
        </p:spPr>
        <p:txBody>
          <a:bodyPr vert="horz" wrap="square" lIns="0" tIns="15875" rIns="0" bIns="0" rtlCol="0">
            <a:spAutoFit/>
          </a:bodyPr>
          <a:lstStyle/>
          <a:p>
            <a:pPr marL="12700">
              <a:lnSpc>
                <a:spcPct val="100000"/>
              </a:lnSpc>
              <a:spcBef>
                <a:spcPts val="125"/>
              </a:spcBef>
            </a:pPr>
            <a:r>
              <a:rPr sz="1750" b="1" spc="-20" dirty="0">
                <a:solidFill>
                  <a:srgbClr val="737373"/>
                </a:solidFill>
                <a:latin typeface="Roboto"/>
                <a:cs typeface="Roboto"/>
              </a:rPr>
              <a:t>EEUU</a:t>
            </a:r>
            <a:endParaRPr sz="1750">
              <a:latin typeface="Roboto"/>
              <a:cs typeface="Roboto"/>
            </a:endParaRPr>
          </a:p>
        </p:txBody>
      </p:sp>
      <p:pic>
        <p:nvPicPr>
          <p:cNvPr id="37" name="object 37"/>
          <p:cNvPicPr/>
          <p:nvPr/>
        </p:nvPicPr>
        <p:blipFill>
          <a:blip r:embed="rId6" cstate="print"/>
          <a:stretch>
            <a:fillRect/>
          </a:stretch>
        </p:blipFill>
        <p:spPr>
          <a:xfrm>
            <a:off x="3440798" y="6614624"/>
            <a:ext cx="1851377" cy="1851377"/>
          </a:xfrm>
          <a:prstGeom prst="rect">
            <a:avLst/>
          </a:prstGeom>
        </p:spPr>
      </p:pic>
      <p:sp>
        <p:nvSpPr>
          <p:cNvPr id="38" name="object 38"/>
          <p:cNvSpPr txBox="1"/>
          <p:nvPr/>
        </p:nvSpPr>
        <p:spPr>
          <a:xfrm>
            <a:off x="4016427" y="7964550"/>
            <a:ext cx="720725" cy="300355"/>
          </a:xfrm>
          <a:prstGeom prst="rect">
            <a:avLst/>
          </a:prstGeom>
        </p:spPr>
        <p:txBody>
          <a:bodyPr vert="horz" wrap="square" lIns="0" tIns="12700" rIns="0" bIns="0" rtlCol="0">
            <a:spAutoFit/>
          </a:bodyPr>
          <a:lstStyle/>
          <a:p>
            <a:pPr marL="12700">
              <a:lnSpc>
                <a:spcPct val="100000"/>
              </a:lnSpc>
              <a:spcBef>
                <a:spcPts val="100"/>
              </a:spcBef>
            </a:pPr>
            <a:r>
              <a:rPr sz="1800" b="1" spc="-10" dirty="0">
                <a:solidFill>
                  <a:srgbClr val="737373"/>
                </a:solidFill>
                <a:latin typeface="Roboto"/>
                <a:cs typeface="Roboto"/>
              </a:rPr>
              <a:t>Bolivia</a:t>
            </a:r>
            <a:endParaRPr sz="1800">
              <a:latin typeface="Roboto"/>
              <a:cs typeface="Roboto"/>
            </a:endParaRPr>
          </a:p>
        </p:txBody>
      </p:sp>
      <p:grpSp>
        <p:nvGrpSpPr>
          <p:cNvPr id="39" name="object 39"/>
          <p:cNvGrpSpPr/>
          <p:nvPr/>
        </p:nvGrpSpPr>
        <p:grpSpPr>
          <a:xfrm>
            <a:off x="12493906" y="237491"/>
            <a:ext cx="5565775" cy="4377690"/>
            <a:chOff x="12493906" y="237491"/>
            <a:chExt cx="5565775" cy="4377690"/>
          </a:xfrm>
        </p:grpSpPr>
        <p:pic>
          <p:nvPicPr>
            <p:cNvPr id="40" name="object 40"/>
            <p:cNvPicPr/>
            <p:nvPr/>
          </p:nvPicPr>
          <p:blipFill>
            <a:blip r:embed="rId7" cstate="print"/>
            <a:stretch>
              <a:fillRect/>
            </a:stretch>
          </p:blipFill>
          <p:spPr>
            <a:xfrm>
              <a:off x="12493906" y="4474544"/>
              <a:ext cx="140553" cy="140556"/>
            </a:xfrm>
            <a:prstGeom prst="rect">
              <a:avLst/>
            </a:prstGeom>
          </p:spPr>
        </p:pic>
        <p:pic>
          <p:nvPicPr>
            <p:cNvPr id="41" name="object 41"/>
            <p:cNvPicPr/>
            <p:nvPr/>
          </p:nvPicPr>
          <p:blipFill>
            <a:blip r:embed="rId8" cstate="print"/>
            <a:stretch>
              <a:fillRect/>
            </a:stretch>
          </p:blipFill>
          <p:spPr>
            <a:xfrm>
              <a:off x="17316449" y="237491"/>
              <a:ext cx="742949" cy="819149"/>
            </a:xfrm>
            <a:prstGeom prst="rect">
              <a:avLst/>
            </a:prstGeom>
          </p:spPr>
        </p:pic>
      </p:grpSp>
      <p:sp>
        <p:nvSpPr>
          <p:cNvPr id="42" name="object 42"/>
          <p:cNvSpPr txBox="1"/>
          <p:nvPr/>
        </p:nvSpPr>
        <p:spPr>
          <a:xfrm rot="16680000">
            <a:off x="5243815" y="7735901"/>
            <a:ext cx="859446" cy="273050"/>
          </a:xfrm>
          <a:prstGeom prst="rect">
            <a:avLst/>
          </a:prstGeom>
        </p:spPr>
        <p:txBody>
          <a:bodyPr vert="horz" wrap="square" lIns="0" tIns="0" rIns="0" bIns="0" rtlCol="0">
            <a:spAutoFit/>
          </a:bodyPr>
          <a:lstStyle/>
          <a:p>
            <a:pPr>
              <a:lnSpc>
                <a:spcPts val="1985"/>
              </a:lnSpc>
            </a:pPr>
            <a:r>
              <a:rPr sz="2150" b="1" spc="-25" dirty="0">
                <a:solidFill>
                  <a:srgbClr val="E3112B"/>
                </a:solidFill>
                <a:latin typeface="Arial"/>
                <a:cs typeface="Arial"/>
              </a:rPr>
              <a:t>CH</a:t>
            </a:r>
            <a:r>
              <a:rPr sz="3225" b="1" spc="-37" baseline="1291" dirty="0">
                <a:solidFill>
                  <a:srgbClr val="E3112B"/>
                </a:solidFill>
                <a:latin typeface="Arial"/>
                <a:cs typeface="Arial"/>
              </a:rPr>
              <a:t>ILE</a:t>
            </a:r>
            <a:endParaRPr sz="3225" baseline="1291">
              <a:latin typeface="Arial"/>
              <a:cs typeface="Arial"/>
            </a:endParaRPr>
          </a:p>
        </p:txBody>
      </p:sp>
      <p:sp>
        <p:nvSpPr>
          <p:cNvPr id="43" name="object 43"/>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44" name="object 44"/>
          <p:cNvSpPr txBox="1"/>
          <p:nvPr/>
        </p:nvSpPr>
        <p:spPr>
          <a:xfrm>
            <a:off x="17811802" y="9932972"/>
            <a:ext cx="229235"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06</a:t>
            </a:r>
            <a:endParaRPr sz="900">
              <a:latin typeface="Arial"/>
              <a:cs typeface="Aria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113694"/>
            <a:ext cx="17954625" cy="8676005"/>
            <a:chOff x="166956" y="1113694"/>
            <a:chExt cx="17954625" cy="8676005"/>
          </a:xfrm>
        </p:grpSpPr>
        <p:sp>
          <p:nvSpPr>
            <p:cNvPr id="3" name="object 3"/>
            <p:cNvSpPr/>
            <p:nvPr/>
          </p:nvSpPr>
          <p:spPr>
            <a:xfrm>
              <a:off x="4391353" y="1113694"/>
              <a:ext cx="13729969" cy="8675370"/>
            </a:xfrm>
            <a:custGeom>
              <a:avLst/>
              <a:gdLst/>
              <a:ahLst/>
              <a:cxnLst/>
              <a:rect l="l" t="t" r="r" b="b"/>
              <a:pathLst>
                <a:path w="13729969" h="8675370">
                  <a:moveTo>
                    <a:pt x="0" y="8675017"/>
                  </a:moveTo>
                  <a:lnTo>
                    <a:pt x="13729632" y="8675017"/>
                  </a:lnTo>
                  <a:lnTo>
                    <a:pt x="13729632"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6" y="1113694"/>
              <a:ext cx="4224655" cy="8676005"/>
            </a:xfrm>
            <a:custGeom>
              <a:avLst/>
              <a:gdLst/>
              <a:ahLst/>
              <a:cxnLst/>
              <a:rect l="l" t="t" r="r" b="b"/>
              <a:pathLst>
                <a:path w="4224655" h="8676005">
                  <a:moveTo>
                    <a:pt x="0" y="8675687"/>
                  </a:moveTo>
                  <a:lnTo>
                    <a:pt x="4224396" y="8675687"/>
                  </a:lnTo>
                  <a:lnTo>
                    <a:pt x="4224396" y="0"/>
                  </a:lnTo>
                  <a:lnTo>
                    <a:pt x="0" y="0"/>
                  </a:lnTo>
                  <a:lnTo>
                    <a:pt x="0" y="8675687"/>
                  </a:lnTo>
                  <a:close/>
                </a:path>
              </a:pathLst>
            </a:custGeom>
            <a:solidFill>
              <a:srgbClr val="FFFFFF"/>
            </a:solidFill>
          </p:spPr>
          <p:txBody>
            <a:bodyPr wrap="square" lIns="0" tIns="0" rIns="0" bIns="0" rtlCol="0"/>
            <a:lstStyle/>
            <a:p>
              <a:endParaRPr/>
            </a:p>
          </p:txBody>
        </p:sp>
      </p:grpSp>
      <p:grpSp>
        <p:nvGrpSpPr>
          <p:cNvPr id="5" name="object 5"/>
          <p:cNvGrpSpPr/>
          <p:nvPr/>
        </p:nvGrpSpPr>
        <p:grpSpPr>
          <a:xfrm>
            <a:off x="166956" y="177465"/>
            <a:ext cx="17954625" cy="1388745"/>
            <a:chOff x="166956" y="177465"/>
            <a:chExt cx="17954625" cy="1388745"/>
          </a:xfrm>
        </p:grpSpPr>
        <p:sp>
          <p:nvSpPr>
            <p:cNvPr id="6" name="object 6"/>
            <p:cNvSpPr/>
            <p:nvPr/>
          </p:nvSpPr>
          <p:spPr>
            <a:xfrm>
              <a:off x="166956" y="177465"/>
              <a:ext cx="4224655" cy="7620"/>
            </a:xfrm>
            <a:custGeom>
              <a:avLst/>
              <a:gdLst/>
              <a:ahLst/>
              <a:cxnLst/>
              <a:rect l="l" t="t" r="r" b="b"/>
              <a:pathLst>
                <a:path w="4224655" h="7619">
                  <a:moveTo>
                    <a:pt x="0" y="7366"/>
                  </a:moveTo>
                  <a:lnTo>
                    <a:pt x="4224396" y="7366"/>
                  </a:lnTo>
                  <a:lnTo>
                    <a:pt x="4224396" y="0"/>
                  </a:lnTo>
                  <a:lnTo>
                    <a:pt x="0" y="0"/>
                  </a:lnTo>
                  <a:lnTo>
                    <a:pt x="0" y="7366"/>
                  </a:lnTo>
                  <a:close/>
                </a:path>
              </a:pathLst>
            </a:custGeom>
            <a:solidFill>
              <a:srgbClr val="FFFFFF"/>
            </a:solidFill>
          </p:spPr>
          <p:txBody>
            <a:bodyPr wrap="square" lIns="0" tIns="0" rIns="0" bIns="0" rtlCol="0"/>
            <a:lstStyle/>
            <a:p>
              <a:endParaRPr/>
            </a:p>
          </p:txBody>
        </p:sp>
        <p:sp>
          <p:nvSpPr>
            <p:cNvPr id="7" name="object 7"/>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grpSp>
      <p:grpSp>
        <p:nvGrpSpPr>
          <p:cNvPr id="8" name="object 8"/>
          <p:cNvGrpSpPr/>
          <p:nvPr/>
        </p:nvGrpSpPr>
        <p:grpSpPr>
          <a:xfrm>
            <a:off x="0" y="1832339"/>
            <a:ext cx="18288000" cy="7468234"/>
            <a:chOff x="0" y="1832339"/>
            <a:chExt cx="18288000" cy="7468234"/>
          </a:xfrm>
        </p:grpSpPr>
        <p:pic>
          <p:nvPicPr>
            <p:cNvPr id="9" name="object 9"/>
            <p:cNvPicPr/>
            <p:nvPr/>
          </p:nvPicPr>
          <p:blipFill>
            <a:blip r:embed="rId2" cstate="print"/>
            <a:stretch>
              <a:fillRect/>
            </a:stretch>
          </p:blipFill>
          <p:spPr>
            <a:xfrm>
              <a:off x="4583169" y="2585067"/>
              <a:ext cx="13704829" cy="6715124"/>
            </a:xfrm>
            <a:prstGeom prst="rect">
              <a:avLst/>
            </a:prstGeom>
          </p:spPr>
        </p:pic>
        <p:sp>
          <p:nvSpPr>
            <p:cNvPr id="10" name="object 10"/>
            <p:cNvSpPr/>
            <p:nvPr/>
          </p:nvSpPr>
          <p:spPr>
            <a:xfrm>
              <a:off x="0" y="1832339"/>
              <a:ext cx="5568950" cy="2882900"/>
            </a:xfrm>
            <a:custGeom>
              <a:avLst/>
              <a:gdLst/>
              <a:ahLst/>
              <a:cxnLst/>
              <a:rect l="l" t="t" r="r" b="b"/>
              <a:pathLst>
                <a:path w="5568950" h="2882900">
                  <a:moveTo>
                    <a:pt x="4797216" y="2882859"/>
                  </a:moveTo>
                  <a:lnTo>
                    <a:pt x="0" y="2882859"/>
                  </a:lnTo>
                  <a:lnTo>
                    <a:pt x="0" y="0"/>
                  </a:lnTo>
                  <a:lnTo>
                    <a:pt x="4797216" y="0"/>
                  </a:lnTo>
                  <a:lnTo>
                    <a:pt x="5568741" y="1441429"/>
                  </a:lnTo>
                  <a:lnTo>
                    <a:pt x="4797216" y="2882859"/>
                  </a:lnTo>
                  <a:close/>
                </a:path>
              </a:pathLst>
            </a:custGeom>
            <a:solidFill>
              <a:srgbClr val="0090AE"/>
            </a:solidFill>
          </p:spPr>
          <p:txBody>
            <a:bodyPr wrap="square" lIns="0" tIns="0" rIns="0" bIns="0" rtlCol="0"/>
            <a:lstStyle/>
            <a:p>
              <a:endParaRPr/>
            </a:p>
          </p:txBody>
        </p:sp>
      </p:grpSp>
      <p:sp>
        <p:nvSpPr>
          <p:cNvPr id="11" name="object 11"/>
          <p:cNvSpPr txBox="1"/>
          <p:nvPr/>
        </p:nvSpPr>
        <p:spPr>
          <a:xfrm>
            <a:off x="773660" y="2282825"/>
            <a:ext cx="3841750" cy="2089150"/>
          </a:xfrm>
          <a:prstGeom prst="rect">
            <a:avLst/>
          </a:prstGeom>
        </p:spPr>
        <p:txBody>
          <a:bodyPr vert="horz" wrap="square" lIns="0" tIns="17780" rIns="0" bIns="0" rtlCol="0">
            <a:spAutoFit/>
          </a:bodyPr>
          <a:lstStyle/>
          <a:p>
            <a:pPr marL="12700" marR="62230">
              <a:lnSpc>
                <a:spcPct val="100000"/>
              </a:lnSpc>
              <a:spcBef>
                <a:spcPts val="140"/>
              </a:spcBef>
            </a:pPr>
            <a:r>
              <a:rPr sz="2250" spc="-10" dirty="0">
                <a:solidFill>
                  <a:srgbClr val="FFFFFF"/>
                </a:solidFill>
                <a:latin typeface="Roboto"/>
                <a:cs typeface="Roboto"/>
              </a:rPr>
              <a:t>EEUU </a:t>
            </a:r>
            <a:r>
              <a:rPr sz="2250" dirty="0">
                <a:solidFill>
                  <a:srgbClr val="FFFFFF"/>
                </a:solidFill>
                <a:latin typeface="Roboto"/>
                <a:cs typeface="Roboto"/>
              </a:rPr>
              <a:t>es</a:t>
            </a:r>
            <a:r>
              <a:rPr sz="2250" spc="-5" dirty="0">
                <a:solidFill>
                  <a:srgbClr val="FFFFFF"/>
                </a:solidFill>
                <a:latin typeface="Roboto"/>
                <a:cs typeface="Roboto"/>
              </a:rPr>
              <a:t> </a:t>
            </a:r>
            <a:r>
              <a:rPr sz="2250" dirty="0">
                <a:solidFill>
                  <a:srgbClr val="FFFFFF"/>
                </a:solidFill>
                <a:latin typeface="Roboto"/>
                <a:cs typeface="Roboto"/>
              </a:rPr>
              <a:t>el</a:t>
            </a:r>
            <a:r>
              <a:rPr sz="2250" spc="-5" dirty="0">
                <a:solidFill>
                  <a:srgbClr val="FFFFFF"/>
                </a:solidFill>
                <a:latin typeface="Roboto"/>
                <a:cs typeface="Roboto"/>
              </a:rPr>
              <a:t> </a:t>
            </a:r>
            <a:r>
              <a:rPr sz="2250" dirty="0">
                <a:solidFill>
                  <a:srgbClr val="FFFFFF"/>
                </a:solidFill>
                <a:latin typeface="Roboto"/>
                <a:cs typeface="Roboto"/>
              </a:rPr>
              <a:t>4º</a:t>
            </a:r>
            <a:r>
              <a:rPr sz="2250" spc="-5" dirty="0">
                <a:solidFill>
                  <a:srgbClr val="FFFFFF"/>
                </a:solidFill>
                <a:latin typeface="Roboto"/>
                <a:cs typeface="Roboto"/>
              </a:rPr>
              <a:t> </a:t>
            </a:r>
            <a:r>
              <a:rPr sz="2250" dirty="0">
                <a:solidFill>
                  <a:srgbClr val="FFFFFF"/>
                </a:solidFill>
                <a:latin typeface="Roboto"/>
                <a:cs typeface="Roboto"/>
              </a:rPr>
              <a:t>mercado</a:t>
            </a:r>
            <a:r>
              <a:rPr sz="2250" spc="-5" dirty="0">
                <a:solidFill>
                  <a:srgbClr val="FFFFFF"/>
                </a:solidFill>
                <a:latin typeface="Roboto"/>
                <a:cs typeface="Roboto"/>
              </a:rPr>
              <a:t> </a:t>
            </a:r>
            <a:r>
              <a:rPr sz="2250" spc="-25" dirty="0">
                <a:solidFill>
                  <a:srgbClr val="FFFFFF"/>
                </a:solidFill>
                <a:latin typeface="Roboto"/>
                <a:cs typeface="Roboto"/>
              </a:rPr>
              <a:t>en </a:t>
            </a:r>
            <a:r>
              <a:rPr sz="2250" dirty="0">
                <a:solidFill>
                  <a:srgbClr val="FFFFFF"/>
                </a:solidFill>
                <a:latin typeface="Roboto"/>
                <a:cs typeface="Roboto"/>
              </a:rPr>
              <a:t>volumen</a:t>
            </a:r>
            <a:r>
              <a:rPr sz="2250" spc="-20" dirty="0">
                <a:solidFill>
                  <a:srgbClr val="FFFFFF"/>
                </a:solidFill>
                <a:latin typeface="Roboto"/>
                <a:cs typeface="Roboto"/>
              </a:rPr>
              <a:t> </a:t>
            </a:r>
            <a:r>
              <a:rPr sz="2250" dirty="0">
                <a:solidFill>
                  <a:srgbClr val="FFFFFF"/>
                </a:solidFill>
                <a:latin typeface="Roboto"/>
                <a:cs typeface="Roboto"/>
              </a:rPr>
              <a:t>de</a:t>
            </a:r>
            <a:r>
              <a:rPr sz="2250" spc="-20" dirty="0">
                <a:solidFill>
                  <a:srgbClr val="FFFFFF"/>
                </a:solidFill>
                <a:latin typeface="Roboto"/>
                <a:cs typeface="Roboto"/>
              </a:rPr>
              <a:t> </a:t>
            </a:r>
            <a:r>
              <a:rPr sz="2250" spc="-10" dirty="0">
                <a:solidFill>
                  <a:srgbClr val="FFFFFF"/>
                </a:solidFill>
                <a:latin typeface="Roboto"/>
                <a:cs typeface="Roboto"/>
              </a:rPr>
              <a:t>visitantes</a:t>
            </a:r>
            <a:r>
              <a:rPr sz="2250" spc="-20" dirty="0">
                <a:solidFill>
                  <a:srgbClr val="FFFFFF"/>
                </a:solidFill>
                <a:latin typeface="Roboto"/>
                <a:cs typeface="Roboto"/>
              </a:rPr>
              <a:t> </a:t>
            </a:r>
            <a:r>
              <a:rPr sz="2250" dirty="0">
                <a:solidFill>
                  <a:srgbClr val="FFFFFF"/>
                </a:solidFill>
                <a:latin typeface="Roboto"/>
                <a:cs typeface="Roboto"/>
              </a:rPr>
              <a:t>a</a:t>
            </a:r>
            <a:r>
              <a:rPr sz="2250" spc="-20" dirty="0">
                <a:solidFill>
                  <a:srgbClr val="FFFFFF"/>
                </a:solidFill>
                <a:latin typeface="Roboto"/>
                <a:cs typeface="Roboto"/>
              </a:rPr>
              <a:t> </a:t>
            </a:r>
            <a:r>
              <a:rPr sz="2250" spc="-10" dirty="0">
                <a:solidFill>
                  <a:srgbClr val="FFFFFF"/>
                </a:solidFill>
                <a:latin typeface="Roboto"/>
                <a:cs typeface="Roboto"/>
              </a:rPr>
              <a:t>Chile</a:t>
            </a:r>
            <a:endParaRPr sz="2250">
              <a:latin typeface="Roboto"/>
              <a:cs typeface="Roboto"/>
            </a:endParaRPr>
          </a:p>
          <a:p>
            <a:pPr>
              <a:lnSpc>
                <a:spcPct val="100000"/>
              </a:lnSpc>
              <a:spcBef>
                <a:spcPts val="60"/>
              </a:spcBef>
            </a:pPr>
            <a:endParaRPr sz="2000">
              <a:latin typeface="Roboto"/>
              <a:cs typeface="Roboto"/>
            </a:endParaRPr>
          </a:p>
          <a:p>
            <a:pPr marL="12700" marR="5080">
              <a:lnSpc>
                <a:spcPct val="100000"/>
              </a:lnSpc>
            </a:pPr>
            <a:r>
              <a:rPr sz="2250" dirty="0">
                <a:solidFill>
                  <a:srgbClr val="FFFFFF"/>
                </a:solidFill>
                <a:latin typeface="Roboto"/>
                <a:cs typeface="Roboto"/>
              </a:rPr>
              <a:t>Sin</a:t>
            </a:r>
            <a:r>
              <a:rPr sz="2250" spc="-25" dirty="0">
                <a:solidFill>
                  <a:srgbClr val="FFFFFF"/>
                </a:solidFill>
                <a:latin typeface="Roboto"/>
                <a:cs typeface="Roboto"/>
              </a:rPr>
              <a:t> </a:t>
            </a:r>
            <a:r>
              <a:rPr sz="2250" dirty="0">
                <a:solidFill>
                  <a:srgbClr val="FFFFFF"/>
                </a:solidFill>
                <a:latin typeface="Roboto"/>
                <a:cs typeface="Roboto"/>
              </a:rPr>
              <a:t>embargo</a:t>
            </a:r>
            <a:r>
              <a:rPr sz="2250" spc="-20" dirty="0">
                <a:solidFill>
                  <a:srgbClr val="FFFFFF"/>
                </a:solidFill>
                <a:latin typeface="Roboto"/>
                <a:cs typeface="Roboto"/>
              </a:rPr>
              <a:t> </a:t>
            </a:r>
            <a:r>
              <a:rPr sz="2250" dirty="0">
                <a:solidFill>
                  <a:srgbClr val="FFFFFF"/>
                </a:solidFill>
                <a:latin typeface="Roboto"/>
                <a:cs typeface="Roboto"/>
              </a:rPr>
              <a:t>este</a:t>
            </a:r>
            <a:r>
              <a:rPr sz="2250" spc="-20" dirty="0">
                <a:solidFill>
                  <a:srgbClr val="FFFFFF"/>
                </a:solidFill>
                <a:latin typeface="Roboto"/>
                <a:cs typeface="Roboto"/>
              </a:rPr>
              <a:t> </a:t>
            </a:r>
            <a:r>
              <a:rPr sz="2250" spc="-10" dirty="0">
                <a:solidFill>
                  <a:srgbClr val="FFFFFF"/>
                </a:solidFill>
                <a:latin typeface="Roboto"/>
                <a:cs typeface="Roboto"/>
              </a:rPr>
              <a:t>mercado </a:t>
            </a:r>
            <a:r>
              <a:rPr sz="2250" dirty="0">
                <a:solidFill>
                  <a:srgbClr val="FFFFFF"/>
                </a:solidFill>
                <a:latin typeface="Roboto"/>
                <a:cs typeface="Roboto"/>
              </a:rPr>
              <a:t>elige</a:t>
            </a:r>
            <a:r>
              <a:rPr sz="2250" spc="35" dirty="0">
                <a:solidFill>
                  <a:srgbClr val="FFFFFF"/>
                </a:solidFill>
                <a:latin typeface="Roboto"/>
                <a:cs typeface="Roboto"/>
              </a:rPr>
              <a:t> </a:t>
            </a:r>
            <a:r>
              <a:rPr sz="2250" dirty="0">
                <a:solidFill>
                  <a:srgbClr val="FFFFFF"/>
                </a:solidFill>
                <a:latin typeface="Roboto"/>
                <a:cs typeface="Roboto"/>
              </a:rPr>
              <a:t>a</a:t>
            </a:r>
            <a:r>
              <a:rPr sz="2250" spc="35" dirty="0">
                <a:solidFill>
                  <a:srgbClr val="FFFFFF"/>
                </a:solidFill>
                <a:latin typeface="Roboto"/>
                <a:cs typeface="Roboto"/>
              </a:rPr>
              <a:t> </a:t>
            </a:r>
            <a:r>
              <a:rPr sz="2250" b="1" dirty="0">
                <a:solidFill>
                  <a:srgbClr val="FFFFFF"/>
                </a:solidFill>
                <a:latin typeface="Roboto"/>
                <a:cs typeface="Roboto"/>
              </a:rPr>
              <a:t>Chile</a:t>
            </a:r>
            <a:r>
              <a:rPr sz="2250" b="1" spc="40" dirty="0">
                <a:solidFill>
                  <a:srgbClr val="FFFFFF"/>
                </a:solidFill>
                <a:latin typeface="Roboto"/>
                <a:cs typeface="Roboto"/>
              </a:rPr>
              <a:t> </a:t>
            </a:r>
            <a:r>
              <a:rPr sz="2250" b="1" dirty="0">
                <a:solidFill>
                  <a:srgbClr val="FFFFFF"/>
                </a:solidFill>
                <a:latin typeface="Roboto"/>
                <a:cs typeface="Roboto"/>
              </a:rPr>
              <a:t>en</a:t>
            </a:r>
            <a:r>
              <a:rPr sz="2250" b="1" spc="35" dirty="0">
                <a:solidFill>
                  <a:srgbClr val="FFFFFF"/>
                </a:solidFill>
                <a:latin typeface="Roboto"/>
                <a:cs typeface="Roboto"/>
              </a:rPr>
              <a:t> </a:t>
            </a:r>
            <a:r>
              <a:rPr sz="2250" b="1" dirty="0">
                <a:solidFill>
                  <a:srgbClr val="FFFFFF"/>
                </a:solidFill>
                <a:latin typeface="Roboto"/>
                <a:cs typeface="Roboto"/>
              </a:rPr>
              <a:t>8º</a:t>
            </a:r>
            <a:r>
              <a:rPr sz="2250" b="1" spc="35" dirty="0">
                <a:solidFill>
                  <a:srgbClr val="FFFFFF"/>
                </a:solidFill>
                <a:latin typeface="Roboto"/>
                <a:cs typeface="Roboto"/>
              </a:rPr>
              <a:t> </a:t>
            </a:r>
            <a:r>
              <a:rPr sz="2250" b="1" dirty="0">
                <a:solidFill>
                  <a:srgbClr val="FFFFFF"/>
                </a:solidFill>
                <a:latin typeface="Roboto"/>
                <a:cs typeface="Roboto"/>
              </a:rPr>
              <a:t>lugar</a:t>
            </a:r>
            <a:r>
              <a:rPr sz="2250" b="1" spc="35" dirty="0">
                <a:solidFill>
                  <a:srgbClr val="FFFFFF"/>
                </a:solidFill>
                <a:latin typeface="Roboto"/>
                <a:cs typeface="Roboto"/>
              </a:rPr>
              <a:t> </a:t>
            </a:r>
            <a:r>
              <a:rPr sz="2250" spc="-10" dirty="0">
                <a:solidFill>
                  <a:srgbClr val="FFFFFF"/>
                </a:solidFill>
                <a:latin typeface="Roboto"/>
                <a:cs typeface="Roboto"/>
              </a:rPr>
              <a:t>entre </a:t>
            </a:r>
            <a:r>
              <a:rPr sz="2250" dirty="0">
                <a:solidFill>
                  <a:srgbClr val="FFFFFF"/>
                </a:solidFill>
                <a:latin typeface="Roboto"/>
                <a:cs typeface="Roboto"/>
              </a:rPr>
              <a:t>nueve</a:t>
            </a:r>
            <a:r>
              <a:rPr sz="2250" spc="-40" dirty="0">
                <a:solidFill>
                  <a:srgbClr val="FFFFFF"/>
                </a:solidFill>
                <a:latin typeface="Roboto"/>
                <a:cs typeface="Roboto"/>
              </a:rPr>
              <a:t> </a:t>
            </a:r>
            <a:r>
              <a:rPr sz="2250" dirty="0">
                <a:solidFill>
                  <a:srgbClr val="FFFFFF"/>
                </a:solidFill>
                <a:latin typeface="Roboto"/>
                <a:cs typeface="Roboto"/>
              </a:rPr>
              <a:t>países</a:t>
            </a:r>
            <a:r>
              <a:rPr sz="2250" spc="-40" dirty="0">
                <a:solidFill>
                  <a:srgbClr val="FFFFFF"/>
                </a:solidFill>
                <a:latin typeface="Roboto"/>
                <a:cs typeface="Roboto"/>
              </a:rPr>
              <a:t> </a:t>
            </a:r>
            <a:r>
              <a:rPr sz="2250" spc="-10" dirty="0">
                <a:solidFill>
                  <a:srgbClr val="FFFFFF"/>
                </a:solidFill>
                <a:latin typeface="Roboto"/>
                <a:cs typeface="Roboto"/>
              </a:rPr>
              <a:t>competidores</a:t>
            </a:r>
            <a:endParaRPr sz="2250">
              <a:latin typeface="Roboto"/>
              <a:cs typeface="Roboto"/>
            </a:endParaRPr>
          </a:p>
        </p:txBody>
      </p:sp>
      <p:grpSp>
        <p:nvGrpSpPr>
          <p:cNvPr id="12" name="object 12"/>
          <p:cNvGrpSpPr/>
          <p:nvPr/>
        </p:nvGrpSpPr>
        <p:grpSpPr>
          <a:xfrm>
            <a:off x="378453" y="4915218"/>
            <a:ext cx="1620520" cy="4018279"/>
            <a:chOff x="378453" y="4915218"/>
            <a:chExt cx="1620520" cy="4018279"/>
          </a:xfrm>
        </p:grpSpPr>
        <p:sp>
          <p:nvSpPr>
            <p:cNvPr id="13" name="object 13"/>
            <p:cNvSpPr/>
            <p:nvPr/>
          </p:nvSpPr>
          <p:spPr>
            <a:xfrm>
              <a:off x="1124060" y="8466300"/>
              <a:ext cx="638175" cy="466725"/>
            </a:xfrm>
            <a:custGeom>
              <a:avLst/>
              <a:gdLst/>
              <a:ahLst/>
              <a:cxnLst/>
              <a:rect l="l" t="t" r="r" b="b"/>
              <a:pathLst>
                <a:path w="638175" h="466725">
                  <a:moveTo>
                    <a:pt x="567266" y="466591"/>
                  </a:moveTo>
                  <a:lnTo>
                    <a:pt x="70908" y="466591"/>
                  </a:lnTo>
                  <a:lnTo>
                    <a:pt x="43308" y="460949"/>
                  </a:lnTo>
                  <a:lnTo>
                    <a:pt x="20769" y="445565"/>
                  </a:lnTo>
                  <a:lnTo>
                    <a:pt x="5572" y="422748"/>
                  </a:lnTo>
                  <a:lnTo>
                    <a:pt x="0" y="394808"/>
                  </a:lnTo>
                  <a:lnTo>
                    <a:pt x="0" y="71783"/>
                  </a:lnTo>
                  <a:lnTo>
                    <a:pt x="5572" y="43843"/>
                  </a:lnTo>
                  <a:lnTo>
                    <a:pt x="20769" y="21025"/>
                  </a:lnTo>
                  <a:lnTo>
                    <a:pt x="43308" y="5641"/>
                  </a:lnTo>
                  <a:lnTo>
                    <a:pt x="70908" y="0"/>
                  </a:lnTo>
                  <a:lnTo>
                    <a:pt x="567266" y="0"/>
                  </a:lnTo>
                  <a:lnTo>
                    <a:pt x="594866" y="5641"/>
                  </a:lnTo>
                  <a:lnTo>
                    <a:pt x="617405" y="21025"/>
                  </a:lnTo>
                  <a:lnTo>
                    <a:pt x="632602" y="43843"/>
                  </a:lnTo>
                  <a:lnTo>
                    <a:pt x="638174" y="71783"/>
                  </a:lnTo>
                  <a:lnTo>
                    <a:pt x="638174" y="394808"/>
                  </a:lnTo>
                  <a:lnTo>
                    <a:pt x="632602" y="422748"/>
                  </a:lnTo>
                  <a:lnTo>
                    <a:pt x="617405" y="445565"/>
                  </a:lnTo>
                  <a:lnTo>
                    <a:pt x="594866" y="460949"/>
                  </a:lnTo>
                  <a:lnTo>
                    <a:pt x="567266" y="466591"/>
                  </a:lnTo>
                  <a:close/>
                </a:path>
              </a:pathLst>
            </a:custGeom>
            <a:solidFill>
              <a:srgbClr val="74AADA"/>
            </a:solidFill>
          </p:spPr>
          <p:txBody>
            <a:bodyPr wrap="square" lIns="0" tIns="0" rIns="0" bIns="0" rtlCol="0"/>
            <a:lstStyle/>
            <a:p>
              <a:endParaRPr/>
            </a:p>
          </p:txBody>
        </p:sp>
        <p:sp>
          <p:nvSpPr>
            <p:cNvPr id="14" name="object 14"/>
            <p:cNvSpPr/>
            <p:nvPr/>
          </p:nvSpPr>
          <p:spPr>
            <a:xfrm>
              <a:off x="1124060" y="8609867"/>
              <a:ext cx="638175" cy="179705"/>
            </a:xfrm>
            <a:custGeom>
              <a:avLst/>
              <a:gdLst/>
              <a:ahLst/>
              <a:cxnLst/>
              <a:rect l="l" t="t" r="r" b="b"/>
              <a:pathLst>
                <a:path w="638175" h="179704">
                  <a:moveTo>
                    <a:pt x="638174" y="179458"/>
                  </a:moveTo>
                  <a:lnTo>
                    <a:pt x="0" y="179458"/>
                  </a:lnTo>
                  <a:lnTo>
                    <a:pt x="0" y="0"/>
                  </a:lnTo>
                  <a:lnTo>
                    <a:pt x="638174" y="0"/>
                  </a:lnTo>
                  <a:lnTo>
                    <a:pt x="638174" y="179458"/>
                  </a:lnTo>
                  <a:close/>
                </a:path>
              </a:pathLst>
            </a:custGeom>
            <a:solidFill>
              <a:srgbClr val="EDEDED"/>
            </a:solidFill>
          </p:spPr>
          <p:txBody>
            <a:bodyPr wrap="square" lIns="0" tIns="0" rIns="0" bIns="0" rtlCol="0"/>
            <a:lstStyle/>
            <a:p>
              <a:endParaRPr/>
            </a:p>
          </p:txBody>
        </p:sp>
        <p:pic>
          <p:nvPicPr>
            <p:cNvPr id="15" name="object 15"/>
            <p:cNvPicPr/>
            <p:nvPr/>
          </p:nvPicPr>
          <p:blipFill>
            <a:blip r:embed="rId3" cstate="print"/>
            <a:stretch>
              <a:fillRect/>
            </a:stretch>
          </p:blipFill>
          <p:spPr>
            <a:xfrm>
              <a:off x="1354512" y="8609867"/>
              <a:ext cx="177270" cy="179458"/>
            </a:xfrm>
            <a:prstGeom prst="rect">
              <a:avLst/>
            </a:prstGeom>
          </p:spPr>
        </p:pic>
        <p:sp>
          <p:nvSpPr>
            <p:cNvPr id="16" name="object 16"/>
            <p:cNvSpPr/>
            <p:nvPr/>
          </p:nvSpPr>
          <p:spPr>
            <a:xfrm>
              <a:off x="1145183" y="7674427"/>
              <a:ext cx="638175" cy="466725"/>
            </a:xfrm>
            <a:custGeom>
              <a:avLst/>
              <a:gdLst/>
              <a:ahLst/>
              <a:cxnLst/>
              <a:rect l="l" t="t" r="r" b="b"/>
              <a:pathLst>
                <a:path w="638175" h="466725">
                  <a:moveTo>
                    <a:pt x="567266" y="466591"/>
                  </a:moveTo>
                  <a:lnTo>
                    <a:pt x="70908" y="466591"/>
                  </a:lnTo>
                  <a:lnTo>
                    <a:pt x="43308" y="460949"/>
                  </a:lnTo>
                  <a:lnTo>
                    <a:pt x="20769" y="445565"/>
                  </a:lnTo>
                  <a:lnTo>
                    <a:pt x="5572" y="422748"/>
                  </a:lnTo>
                  <a:lnTo>
                    <a:pt x="0" y="394808"/>
                  </a:lnTo>
                  <a:lnTo>
                    <a:pt x="0" y="71783"/>
                  </a:lnTo>
                  <a:lnTo>
                    <a:pt x="5572" y="43843"/>
                  </a:lnTo>
                  <a:lnTo>
                    <a:pt x="20769" y="21025"/>
                  </a:lnTo>
                  <a:lnTo>
                    <a:pt x="43308" y="5641"/>
                  </a:lnTo>
                  <a:lnTo>
                    <a:pt x="70908" y="0"/>
                  </a:lnTo>
                  <a:lnTo>
                    <a:pt x="567266" y="0"/>
                  </a:lnTo>
                  <a:lnTo>
                    <a:pt x="594866" y="5641"/>
                  </a:lnTo>
                  <a:lnTo>
                    <a:pt x="617405" y="21025"/>
                  </a:lnTo>
                  <a:lnTo>
                    <a:pt x="632602" y="43843"/>
                  </a:lnTo>
                  <a:lnTo>
                    <a:pt x="638174" y="71783"/>
                  </a:lnTo>
                  <a:lnTo>
                    <a:pt x="638174" y="394808"/>
                  </a:lnTo>
                  <a:lnTo>
                    <a:pt x="632602" y="422748"/>
                  </a:lnTo>
                  <a:lnTo>
                    <a:pt x="617405" y="445565"/>
                  </a:lnTo>
                  <a:lnTo>
                    <a:pt x="594866" y="460949"/>
                  </a:lnTo>
                  <a:lnTo>
                    <a:pt x="567266" y="466591"/>
                  </a:lnTo>
                  <a:close/>
                </a:path>
              </a:pathLst>
            </a:custGeom>
            <a:solidFill>
              <a:srgbClr val="009A3A"/>
            </a:solidFill>
          </p:spPr>
          <p:txBody>
            <a:bodyPr wrap="square" lIns="0" tIns="0" rIns="0" bIns="0" rtlCol="0"/>
            <a:lstStyle/>
            <a:p>
              <a:endParaRPr/>
            </a:p>
          </p:txBody>
        </p:sp>
        <p:sp>
          <p:nvSpPr>
            <p:cNvPr id="17" name="object 17"/>
            <p:cNvSpPr/>
            <p:nvPr/>
          </p:nvSpPr>
          <p:spPr>
            <a:xfrm>
              <a:off x="1203186" y="7708076"/>
              <a:ext cx="522605" cy="399415"/>
            </a:xfrm>
            <a:custGeom>
              <a:avLst/>
              <a:gdLst/>
              <a:ahLst/>
              <a:cxnLst/>
              <a:rect l="l" t="t" r="r" b="b"/>
              <a:pathLst>
                <a:path w="522605" h="399415">
                  <a:moveTo>
                    <a:pt x="261084" y="399276"/>
                  </a:moveTo>
                  <a:lnTo>
                    <a:pt x="0" y="199647"/>
                  </a:lnTo>
                  <a:lnTo>
                    <a:pt x="261084" y="0"/>
                  </a:lnTo>
                  <a:lnTo>
                    <a:pt x="522168" y="199647"/>
                  </a:lnTo>
                  <a:lnTo>
                    <a:pt x="261084" y="399276"/>
                  </a:lnTo>
                  <a:close/>
                </a:path>
              </a:pathLst>
            </a:custGeom>
            <a:solidFill>
              <a:srgbClr val="FEDE00"/>
            </a:solidFill>
          </p:spPr>
          <p:txBody>
            <a:bodyPr wrap="square" lIns="0" tIns="0" rIns="0" bIns="0" rtlCol="0"/>
            <a:lstStyle/>
            <a:p>
              <a:endParaRPr/>
            </a:p>
          </p:txBody>
        </p:sp>
        <p:pic>
          <p:nvPicPr>
            <p:cNvPr id="18" name="object 18"/>
            <p:cNvPicPr/>
            <p:nvPr/>
          </p:nvPicPr>
          <p:blipFill>
            <a:blip r:embed="rId4" cstate="print"/>
            <a:stretch>
              <a:fillRect/>
            </a:stretch>
          </p:blipFill>
          <p:spPr>
            <a:xfrm>
              <a:off x="1349364" y="7790465"/>
              <a:ext cx="228963" cy="231788"/>
            </a:xfrm>
            <a:prstGeom prst="rect">
              <a:avLst/>
            </a:prstGeom>
          </p:spPr>
        </p:pic>
        <p:sp>
          <p:nvSpPr>
            <p:cNvPr id="19" name="object 19"/>
            <p:cNvSpPr/>
            <p:nvPr/>
          </p:nvSpPr>
          <p:spPr>
            <a:xfrm>
              <a:off x="1153655" y="6789799"/>
              <a:ext cx="212725" cy="466725"/>
            </a:xfrm>
            <a:custGeom>
              <a:avLst/>
              <a:gdLst/>
              <a:ahLst/>
              <a:cxnLst/>
              <a:rect l="l" t="t" r="r" b="b"/>
              <a:pathLst>
                <a:path w="212725" h="466725">
                  <a:moveTo>
                    <a:pt x="212724" y="466591"/>
                  </a:moveTo>
                  <a:lnTo>
                    <a:pt x="70908" y="466591"/>
                  </a:lnTo>
                  <a:lnTo>
                    <a:pt x="43308" y="460949"/>
                  </a:lnTo>
                  <a:lnTo>
                    <a:pt x="20769" y="445565"/>
                  </a:lnTo>
                  <a:lnTo>
                    <a:pt x="5572" y="422748"/>
                  </a:lnTo>
                  <a:lnTo>
                    <a:pt x="0" y="394808"/>
                  </a:lnTo>
                  <a:lnTo>
                    <a:pt x="0" y="71783"/>
                  </a:lnTo>
                  <a:lnTo>
                    <a:pt x="5572" y="43843"/>
                  </a:lnTo>
                  <a:lnTo>
                    <a:pt x="20769" y="21025"/>
                  </a:lnTo>
                  <a:lnTo>
                    <a:pt x="43308" y="5641"/>
                  </a:lnTo>
                  <a:lnTo>
                    <a:pt x="70908" y="0"/>
                  </a:lnTo>
                  <a:lnTo>
                    <a:pt x="212724" y="0"/>
                  </a:lnTo>
                  <a:lnTo>
                    <a:pt x="212724" y="466591"/>
                  </a:lnTo>
                  <a:close/>
                </a:path>
              </a:pathLst>
            </a:custGeom>
            <a:solidFill>
              <a:srgbClr val="D90F23"/>
            </a:solidFill>
          </p:spPr>
          <p:txBody>
            <a:bodyPr wrap="square" lIns="0" tIns="0" rIns="0" bIns="0" rtlCol="0"/>
            <a:lstStyle/>
            <a:p>
              <a:endParaRPr/>
            </a:p>
          </p:txBody>
        </p:sp>
        <p:sp>
          <p:nvSpPr>
            <p:cNvPr id="20" name="object 20"/>
            <p:cNvSpPr/>
            <p:nvPr/>
          </p:nvSpPr>
          <p:spPr>
            <a:xfrm>
              <a:off x="1366380" y="6789799"/>
              <a:ext cx="212725" cy="466725"/>
            </a:xfrm>
            <a:custGeom>
              <a:avLst/>
              <a:gdLst/>
              <a:ahLst/>
              <a:cxnLst/>
              <a:rect l="l" t="t" r="r" b="b"/>
              <a:pathLst>
                <a:path w="212725" h="466725">
                  <a:moveTo>
                    <a:pt x="212724" y="466591"/>
                  </a:moveTo>
                  <a:lnTo>
                    <a:pt x="0" y="466591"/>
                  </a:lnTo>
                  <a:lnTo>
                    <a:pt x="0" y="0"/>
                  </a:lnTo>
                  <a:lnTo>
                    <a:pt x="212724" y="0"/>
                  </a:lnTo>
                  <a:lnTo>
                    <a:pt x="212724" y="466591"/>
                  </a:lnTo>
                  <a:close/>
                </a:path>
              </a:pathLst>
            </a:custGeom>
            <a:solidFill>
              <a:srgbClr val="EDEDED"/>
            </a:solidFill>
          </p:spPr>
          <p:txBody>
            <a:bodyPr wrap="square" lIns="0" tIns="0" rIns="0" bIns="0" rtlCol="0"/>
            <a:lstStyle/>
            <a:p>
              <a:endParaRPr/>
            </a:p>
          </p:txBody>
        </p:sp>
        <p:sp>
          <p:nvSpPr>
            <p:cNvPr id="21" name="object 21"/>
            <p:cNvSpPr/>
            <p:nvPr/>
          </p:nvSpPr>
          <p:spPr>
            <a:xfrm>
              <a:off x="1579105" y="6789799"/>
              <a:ext cx="212725" cy="466725"/>
            </a:xfrm>
            <a:custGeom>
              <a:avLst/>
              <a:gdLst/>
              <a:ahLst/>
              <a:cxnLst/>
              <a:rect l="l" t="t" r="r" b="b"/>
              <a:pathLst>
                <a:path w="212725" h="466725">
                  <a:moveTo>
                    <a:pt x="141816" y="466591"/>
                  </a:moveTo>
                  <a:lnTo>
                    <a:pt x="0" y="466591"/>
                  </a:lnTo>
                  <a:lnTo>
                    <a:pt x="0" y="0"/>
                  </a:lnTo>
                  <a:lnTo>
                    <a:pt x="141816" y="0"/>
                  </a:lnTo>
                  <a:lnTo>
                    <a:pt x="169416" y="5641"/>
                  </a:lnTo>
                  <a:lnTo>
                    <a:pt x="191955" y="21025"/>
                  </a:lnTo>
                  <a:lnTo>
                    <a:pt x="207152" y="43843"/>
                  </a:lnTo>
                  <a:lnTo>
                    <a:pt x="212724" y="71783"/>
                  </a:lnTo>
                  <a:lnTo>
                    <a:pt x="212724" y="394808"/>
                  </a:lnTo>
                  <a:lnTo>
                    <a:pt x="207152" y="422748"/>
                  </a:lnTo>
                  <a:lnTo>
                    <a:pt x="191955" y="445565"/>
                  </a:lnTo>
                  <a:lnTo>
                    <a:pt x="169416" y="460949"/>
                  </a:lnTo>
                  <a:lnTo>
                    <a:pt x="141816" y="466591"/>
                  </a:lnTo>
                  <a:close/>
                </a:path>
              </a:pathLst>
            </a:custGeom>
            <a:solidFill>
              <a:srgbClr val="D90F23"/>
            </a:solidFill>
          </p:spPr>
          <p:txBody>
            <a:bodyPr wrap="square" lIns="0" tIns="0" rIns="0" bIns="0" rtlCol="0"/>
            <a:lstStyle/>
            <a:p>
              <a:endParaRPr/>
            </a:p>
          </p:txBody>
        </p:sp>
        <p:pic>
          <p:nvPicPr>
            <p:cNvPr id="22" name="object 22"/>
            <p:cNvPicPr/>
            <p:nvPr/>
          </p:nvPicPr>
          <p:blipFill>
            <a:blip r:embed="rId5" cstate="print"/>
            <a:stretch>
              <a:fillRect/>
            </a:stretch>
          </p:blipFill>
          <p:spPr>
            <a:xfrm>
              <a:off x="1046267" y="4915218"/>
              <a:ext cx="952499" cy="666749"/>
            </a:xfrm>
            <a:prstGeom prst="rect">
              <a:avLst/>
            </a:prstGeom>
          </p:spPr>
        </p:pic>
        <p:sp>
          <p:nvSpPr>
            <p:cNvPr id="23" name="object 23"/>
            <p:cNvSpPr/>
            <p:nvPr/>
          </p:nvSpPr>
          <p:spPr>
            <a:xfrm>
              <a:off x="1170041" y="5916333"/>
              <a:ext cx="657225" cy="238125"/>
            </a:xfrm>
            <a:custGeom>
              <a:avLst/>
              <a:gdLst/>
              <a:ahLst/>
              <a:cxnLst/>
              <a:rect l="l" t="t" r="r" b="b"/>
              <a:pathLst>
                <a:path w="657225" h="238125">
                  <a:moveTo>
                    <a:pt x="657225" y="238066"/>
                  </a:moveTo>
                  <a:lnTo>
                    <a:pt x="0" y="238066"/>
                  </a:lnTo>
                  <a:lnTo>
                    <a:pt x="0" y="73251"/>
                  </a:lnTo>
                  <a:lnTo>
                    <a:pt x="5739" y="44739"/>
                  </a:lnTo>
                  <a:lnTo>
                    <a:pt x="21389" y="21455"/>
                  </a:lnTo>
                  <a:lnTo>
                    <a:pt x="44601" y="5756"/>
                  </a:lnTo>
                  <a:lnTo>
                    <a:pt x="73025" y="0"/>
                  </a:lnTo>
                  <a:lnTo>
                    <a:pt x="584200" y="0"/>
                  </a:lnTo>
                  <a:lnTo>
                    <a:pt x="612623" y="5756"/>
                  </a:lnTo>
                  <a:lnTo>
                    <a:pt x="635835" y="21455"/>
                  </a:lnTo>
                  <a:lnTo>
                    <a:pt x="651485" y="44739"/>
                  </a:lnTo>
                  <a:lnTo>
                    <a:pt x="657225" y="73251"/>
                  </a:lnTo>
                  <a:lnTo>
                    <a:pt x="657225" y="238066"/>
                  </a:lnTo>
                  <a:close/>
                </a:path>
              </a:pathLst>
            </a:custGeom>
            <a:solidFill>
              <a:srgbClr val="FAD016"/>
            </a:solidFill>
          </p:spPr>
          <p:txBody>
            <a:bodyPr wrap="square" lIns="0" tIns="0" rIns="0" bIns="0" rtlCol="0"/>
            <a:lstStyle/>
            <a:p>
              <a:endParaRPr/>
            </a:p>
          </p:txBody>
        </p:sp>
        <p:sp>
          <p:nvSpPr>
            <p:cNvPr id="24" name="object 24"/>
            <p:cNvSpPr/>
            <p:nvPr/>
          </p:nvSpPr>
          <p:spPr>
            <a:xfrm>
              <a:off x="1170041" y="6154400"/>
              <a:ext cx="657225" cy="128270"/>
            </a:xfrm>
            <a:custGeom>
              <a:avLst/>
              <a:gdLst/>
              <a:ahLst/>
              <a:cxnLst/>
              <a:rect l="l" t="t" r="r" b="b"/>
              <a:pathLst>
                <a:path w="657225" h="128270">
                  <a:moveTo>
                    <a:pt x="657225" y="128189"/>
                  </a:moveTo>
                  <a:lnTo>
                    <a:pt x="0" y="128189"/>
                  </a:lnTo>
                  <a:lnTo>
                    <a:pt x="0" y="0"/>
                  </a:lnTo>
                  <a:lnTo>
                    <a:pt x="657225" y="0"/>
                  </a:lnTo>
                  <a:lnTo>
                    <a:pt x="657225" y="128189"/>
                  </a:lnTo>
                  <a:close/>
                </a:path>
              </a:pathLst>
            </a:custGeom>
            <a:solidFill>
              <a:srgbClr val="21408B"/>
            </a:solidFill>
          </p:spPr>
          <p:txBody>
            <a:bodyPr wrap="square" lIns="0" tIns="0" rIns="0" bIns="0" rtlCol="0"/>
            <a:lstStyle/>
            <a:p>
              <a:endParaRPr/>
            </a:p>
          </p:txBody>
        </p:sp>
        <p:sp>
          <p:nvSpPr>
            <p:cNvPr id="25" name="object 25"/>
            <p:cNvSpPr/>
            <p:nvPr/>
          </p:nvSpPr>
          <p:spPr>
            <a:xfrm>
              <a:off x="1170041" y="6282589"/>
              <a:ext cx="657225" cy="110489"/>
            </a:xfrm>
            <a:custGeom>
              <a:avLst/>
              <a:gdLst/>
              <a:ahLst/>
              <a:cxnLst/>
              <a:rect l="l" t="t" r="r" b="b"/>
              <a:pathLst>
                <a:path w="657225" h="110489">
                  <a:moveTo>
                    <a:pt x="584200" y="109876"/>
                  </a:moveTo>
                  <a:lnTo>
                    <a:pt x="73025" y="109876"/>
                  </a:lnTo>
                  <a:lnTo>
                    <a:pt x="44601" y="104120"/>
                  </a:lnTo>
                  <a:lnTo>
                    <a:pt x="21389" y="88421"/>
                  </a:lnTo>
                  <a:lnTo>
                    <a:pt x="5739" y="65137"/>
                  </a:lnTo>
                  <a:lnTo>
                    <a:pt x="0" y="36625"/>
                  </a:lnTo>
                  <a:lnTo>
                    <a:pt x="0" y="0"/>
                  </a:lnTo>
                  <a:lnTo>
                    <a:pt x="657225" y="0"/>
                  </a:lnTo>
                  <a:lnTo>
                    <a:pt x="657225" y="36625"/>
                  </a:lnTo>
                  <a:lnTo>
                    <a:pt x="651485" y="65137"/>
                  </a:lnTo>
                  <a:lnTo>
                    <a:pt x="635835" y="88421"/>
                  </a:lnTo>
                  <a:lnTo>
                    <a:pt x="612623" y="104120"/>
                  </a:lnTo>
                  <a:lnTo>
                    <a:pt x="584200" y="109876"/>
                  </a:lnTo>
                  <a:close/>
                </a:path>
              </a:pathLst>
            </a:custGeom>
            <a:solidFill>
              <a:srgbClr val="CD2028"/>
            </a:solidFill>
          </p:spPr>
          <p:txBody>
            <a:bodyPr wrap="square" lIns="0" tIns="0" rIns="0" bIns="0" rtlCol="0"/>
            <a:lstStyle/>
            <a:p>
              <a:endParaRPr/>
            </a:p>
          </p:txBody>
        </p:sp>
        <p:sp>
          <p:nvSpPr>
            <p:cNvPr id="26" name="object 26"/>
            <p:cNvSpPr/>
            <p:nvPr/>
          </p:nvSpPr>
          <p:spPr>
            <a:xfrm>
              <a:off x="378453" y="5008608"/>
              <a:ext cx="481330" cy="481330"/>
            </a:xfrm>
            <a:custGeom>
              <a:avLst/>
              <a:gdLst/>
              <a:ahLst/>
              <a:cxnLst/>
              <a:rect l="l" t="t" r="r" b="b"/>
              <a:pathLst>
                <a:path w="481330" h="481329">
                  <a:moveTo>
                    <a:pt x="240449" y="480898"/>
                  </a:moveTo>
                  <a:lnTo>
                    <a:pt x="191990" y="476013"/>
                  </a:lnTo>
                  <a:lnTo>
                    <a:pt x="146855" y="462003"/>
                  </a:lnTo>
                  <a:lnTo>
                    <a:pt x="106011" y="439833"/>
                  </a:lnTo>
                  <a:lnTo>
                    <a:pt x="70425" y="410472"/>
                  </a:lnTo>
                  <a:lnTo>
                    <a:pt x="41064" y="374886"/>
                  </a:lnTo>
                  <a:lnTo>
                    <a:pt x="18895" y="334043"/>
                  </a:lnTo>
                  <a:lnTo>
                    <a:pt x="4884" y="288908"/>
                  </a:lnTo>
                  <a:lnTo>
                    <a:pt x="0" y="240448"/>
                  </a:lnTo>
                  <a:lnTo>
                    <a:pt x="4884" y="191990"/>
                  </a:lnTo>
                  <a:lnTo>
                    <a:pt x="18895" y="146855"/>
                  </a:lnTo>
                  <a:lnTo>
                    <a:pt x="41064" y="106011"/>
                  </a:lnTo>
                  <a:lnTo>
                    <a:pt x="70425" y="70426"/>
                  </a:lnTo>
                  <a:lnTo>
                    <a:pt x="106011" y="41065"/>
                  </a:lnTo>
                  <a:lnTo>
                    <a:pt x="146855" y="18895"/>
                  </a:lnTo>
                  <a:lnTo>
                    <a:pt x="191990" y="4885"/>
                  </a:lnTo>
                  <a:lnTo>
                    <a:pt x="240449" y="0"/>
                  </a:lnTo>
                  <a:lnTo>
                    <a:pt x="288908" y="4885"/>
                  </a:lnTo>
                  <a:lnTo>
                    <a:pt x="334043" y="18895"/>
                  </a:lnTo>
                  <a:lnTo>
                    <a:pt x="374886" y="41065"/>
                  </a:lnTo>
                  <a:lnTo>
                    <a:pt x="410472" y="70426"/>
                  </a:lnTo>
                  <a:lnTo>
                    <a:pt x="439833" y="106011"/>
                  </a:lnTo>
                  <a:lnTo>
                    <a:pt x="462003" y="146855"/>
                  </a:lnTo>
                  <a:lnTo>
                    <a:pt x="476013" y="191990"/>
                  </a:lnTo>
                  <a:lnTo>
                    <a:pt x="480898" y="240449"/>
                  </a:lnTo>
                  <a:lnTo>
                    <a:pt x="476013" y="288908"/>
                  </a:lnTo>
                  <a:lnTo>
                    <a:pt x="462003" y="334043"/>
                  </a:lnTo>
                  <a:lnTo>
                    <a:pt x="439833" y="374886"/>
                  </a:lnTo>
                  <a:lnTo>
                    <a:pt x="410472" y="410472"/>
                  </a:lnTo>
                  <a:lnTo>
                    <a:pt x="374886" y="439833"/>
                  </a:lnTo>
                  <a:lnTo>
                    <a:pt x="334043" y="462003"/>
                  </a:lnTo>
                  <a:lnTo>
                    <a:pt x="288908" y="476013"/>
                  </a:lnTo>
                  <a:lnTo>
                    <a:pt x="240449" y="480898"/>
                  </a:lnTo>
                  <a:close/>
                </a:path>
              </a:pathLst>
            </a:custGeom>
            <a:solidFill>
              <a:srgbClr val="0090AE"/>
            </a:solidFill>
          </p:spPr>
          <p:txBody>
            <a:bodyPr wrap="square" lIns="0" tIns="0" rIns="0" bIns="0" rtlCol="0"/>
            <a:lstStyle/>
            <a:p>
              <a:endParaRPr/>
            </a:p>
          </p:txBody>
        </p:sp>
      </p:grpSp>
      <p:sp>
        <p:nvSpPr>
          <p:cNvPr id="27" name="object 27"/>
          <p:cNvSpPr txBox="1"/>
          <p:nvPr/>
        </p:nvSpPr>
        <p:spPr>
          <a:xfrm>
            <a:off x="550151" y="5110207"/>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1</a:t>
            </a:r>
            <a:endParaRPr sz="1500">
              <a:latin typeface="OpenSans-ExtraBold"/>
              <a:cs typeface="OpenSans-ExtraBold"/>
            </a:endParaRPr>
          </a:p>
        </p:txBody>
      </p:sp>
      <p:sp>
        <p:nvSpPr>
          <p:cNvPr id="28" name="object 28"/>
          <p:cNvSpPr/>
          <p:nvPr/>
        </p:nvSpPr>
        <p:spPr>
          <a:xfrm>
            <a:off x="2482696" y="5008608"/>
            <a:ext cx="481330" cy="481330"/>
          </a:xfrm>
          <a:custGeom>
            <a:avLst/>
            <a:gdLst/>
            <a:ahLst/>
            <a:cxnLst/>
            <a:rect l="l" t="t" r="r" b="b"/>
            <a:pathLst>
              <a:path w="481330" h="481329">
                <a:moveTo>
                  <a:pt x="240449" y="480898"/>
                </a:moveTo>
                <a:lnTo>
                  <a:pt x="191990" y="476013"/>
                </a:lnTo>
                <a:lnTo>
                  <a:pt x="146855" y="462003"/>
                </a:lnTo>
                <a:lnTo>
                  <a:pt x="106011" y="439833"/>
                </a:lnTo>
                <a:lnTo>
                  <a:pt x="70425" y="410472"/>
                </a:lnTo>
                <a:lnTo>
                  <a:pt x="41064" y="374886"/>
                </a:lnTo>
                <a:lnTo>
                  <a:pt x="18895" y="334043"/>
                </a:lnTo>
                <a:lnTo>
                  <a:pt x="4885" y="288908"/>
                </a:lnTo>
                <a:lnTo>
                  <a:pt x="0" y="240448"/>
                </a:lnTo>
                <a:lnTo>
                  <a:pt x="4885" y="191990"/>
                </a:lnTo>
                <a:lnTo>
                  <a:pt x="18895" y="146855"/>
                </a:lnTo>
                <a:lnTo>
                  <a:pt x="41064" y="106011"/>
                </a:lnTo>
                <a:lnTo>
                  <a:pt x="70425" y="70426"/>
                </a:lnTo>
                <a:lnTo>
                  <a:pt x="106011" y="41065"/>
                </a:lnTo>
                <a:lnTo>
                  <a:pt x="146855" y="18895"/>
                </a:lnTo>
                <a:lnTo>
                  <a:pt x="191990" y="4885"/>
                </a:lnTo>
                <a:lnTo>
                  <a:pt x="240449" y="0"/>
                </a:lnTo>
                <a:lnTo>
                  <a:pt x="288908" y="4885"/>
                </a:lnTo>
                <a:lnTo>
                  <a:pt x="334043" y="18895"/>
                </a:lnTo>
                <a:lnTo>
                  <a:pt x="374886" y="41065"/>
                </a:lnTo>
                <a:lnTo>
                  <a:pt x="410472" y="70426"/>
                </a:lnTo>
                <a:lnTo>
                  <a:pt x="439833" y="106011"/>
                </a:lnTo>
                <a:lnTo>
                  <a:pt x="462003" y="146855"/>
                </a:lnTo>
                <a:lnTo>
                  <a:pt x="476013" y="191990"/>
                </a:lnTo>
                <a:lnTo>
                  <a:pt x="480898" y="240449"/>
                </a:lnTo>
                <a:lnTo>
                  <a:pt x="476013" y="288908"/>
                </a:lnTo>
                <a:lnTo>
                  <a:pt x="462003" y="334043"/>
                </a:lnTo>
                <a:lnTo>
                  <a:pt x="439833" y="374886"/>
                </a:lnTo>
                <a:lnTo>
                  <a:pt x="410472" y="410472"/>
                </a:lnTo>
                <a:lnTo>
                  <a:pt x="374886" y="439833"/>
                </a:lnTo>
                <a:lnTo>
                  <a:pt x="334043" y="462003"/>
                </a:lnTo>
                <a:lnTo>
                  <a:pt x="288908" y="476013"/>
                </a:lnTo>
                <a:lnTo>
                  <a:pt x="240449" y="480898"/>
                </a:lnTo>
                <a:close/>
              </a:path>
            </a:pathLst>
          </a:custGeom>
          <a:solidFill>
            <a:srgbClr val="0090AE"/>
          </a:solidFill>
        </p:spPr>
        <p:txBody>
          <a:bodyPr wrap="square" lIns="0" tIns="0" rIns="0" bIns="0" rtlCol="0"/>
          <a:lstStyle/>
          <a:p>
            <a:endParaRPr/>
          </a:p>
        </p:txBody>
      </p:sp>
      <p:sp>
        <p:nvSpPr>
          <p:cNvPr id="29" name="object 29"/>
          <p:cNvSpPr txBox="1"/>
          <p:nvPr/>
        </p:nvSpPr>
        <p:spPr>
          <a:xfrm>
            <a:off x="2654393" y="5110207"/>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6</a:t>
            </a:r>
            <a:endParaRPr sz="1500">
              <a:latin typeface="OpenSans-ExtraBold"/>
              <a:cs typeface="OpenSans-ExtraBold"/>
            </a:endParaRPr>
          </a:p>
        </p:txBody>
      </p:sp>
      <p:sp>
        <p:nvSpPr>
          <p:cNvPr id="30" name="object 30"/>
          <p:cNvSpPr/>
          <p:nvPr/>
        </p:nvSpPr>
        <p:spPr>
          <a:xfrm>
            <a:off x="378453" y="5918906"/>
            <a:ext cx="481330" cy="481330"/>
          </a:xfrm>
          <a:custGeom>
            <a:avLst/>
            <a:gdLst/>
            <a:ahLst/>
            <a:cxnLst/>
            <a:rect l="l" t="t" r="r" b="b"/>
            <a:pathLst>
              <a:path w="481330" h="481329">
                <a:moveTo>
                  <a:pt x="240450" y="480898"/>
                </a:moveTo>
                <a:lnTo>
                  <a:pt x="191990" y="476013"/>
                </a:lnTo>
                <a:lnTo>
                  <a:pt x="146855" y="462003"/>
                </a:lnTo>
                <a:lnTo>
                  <a:pt x="106011" y="439833"/>
                </a:lnTo>
                <a:lnTo>
                  <a:pt x="70425" y="410472"/>
                </a:lnTo>
                <a:lnTo>
                  <a:pt x="41064" y="374887"/>
                </a:lnTo>
                <a:lnTo>
                  <a:pt x="18895" y="334043"/>
                </a:lnTo>
                <a:lnTo>
                  <a:pt x="4884" y="288908"/>
                </a:lnTo>
                <a:lnTo>
                  <a:pt x="0" y="240450"/>
                </a:lnTo>
                <a:lnTo>
                  <a:pt x="4884" y="191990"/>
                </a:lnTo>
                <a:lnTo>
                  <a:pt x="18895" y="146855"/>
                </a:lnTo>
                <a:lnTo>
                  <a:pt x="41064" y="106011"/>
                </a:lnTo>
                <a:lnTo>
                  <a:pt x="70425" y="70426"/>
                </a:lnTo>
                <a:lnTo>
                  <a:pt x="106011" y="41065"/>
                </a:lnTo>
                <a:lnTo>
                  <a:pt x="146855" y="18895"/>
                </a:lnTo>
                <a:lnTo>
                  <a:pt x="191990" y="4885"/>
                </a:lnTo>
                <a:lnTo>
                  <a:pt x="240448" y="0"/>
                </a:lnTo>
                <a:lnTo>
                  <a:pt x="288908" y="4885"/>
                </a:lnTo>
                <a:lnTo>
                  <a:pt x="334043" y="18895"/>
                </a:lnTo>
                <a:lnTo>
                  <a:pt x="374886" y="41065"/>
                </a:lnTo>
                <a:lnTo>
                  <a:pt x="410472" y="70426"/>
                </a:lnTo>
                <a:lnTo>
                  <a:pt x="439833" y="106011"/>
                </a:lnTo>
                <a:lnTo>
                  <a:pt x="462003" y="146855"/>
                </a:lnTo>
                <a:lnTo>
                  <a:pt x="476013" y="191990"/>
                </a:lnTo>
                <a:lnTo>
                  <a:pt x="480898" y="240448"/>
                </a:lnTo>
                <a:lnTo>
                  <a:pt x="476013" y="288908"/>
                </a:lnTo>
                <a:lnTo>
                  <a:pt x="462003" y="334043"/>
                </a:lnTo>
                <a:lnTo>
                  <a:pt x="439833" y="374887"/>
                </a:lnTo>
                <a:lnTo>
                  <a:pt x="410472" y="410472"/>
                </a:lnTo>
                <a:lnTo>
                  <a:pt x="374886" y="439833"/>
                </a:lnTo>
                <a:lnTo>
                  <a:pt x="334043" y="462003"/>
                </a:lnTo>
                <a:lnTo>
                  <a:pt x="288908" y="476013"/>
                </a:lnTo>
                <a:lnTo>
                  <a:pt x="240450" y="480898"/>
                </a:lnTo>
                <a:close/>
              </a:path>
            </a:pathLst>
          </a:custGeom>
          <a:solidFill>
            <a:srgbClr val="0090AE"/>
          </a:solidFill>
        </p:spPr>
        <p:txBody>
          <a:bodyPr wrap="square" lIns="0" tIns="0" rIns="0" bIns="0" rtlCol="0"/>
          <a:lstStyle/>
          <a:p>
            <a:endParaRPr/>
          </a:p>
        </p:txBody>
      </p:sp>
      <p:sp>
        <p:nvSpPr>
          <p:cNvPr id="31" name="object 31"/>
          <p:cNvSpPr txBox="1"/>
          <p:nvPr/>
        </p:nvSpPr>
        <p:spPr>
          <a:xfrm>
            <a:off x="550151" y="6020506"/>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2</a:t>
            </a:r>
            <a:endParaRPr sz="1500">
              <a:latin typeface="OpenSans-ExtraBold"/>
              <a:cs typeface="OpenSans-ExtraBold"/>
            </a:endParaRPr>
          </a:p>
        </p:txBody>
      </p:sp>
      <p:sp>
        <p:nvSpPr>
          <p:cNvPr id="32" name="object 32"/>
          <p:cNvSpPr/>
          <p:nvPr/>
        </p:nvSpPr>
        <p:spPr>
          <a:xfrm>
            <a:off x="2482696" y="5918906"/>
            <a:ext cx="481330" cy="481330"/>
          </a:xfrm>
          <a:custGeom>
            <a:avLst/>
            <a:gdLst/>
            <a:ahLst/>
            <a:cxnLst/>
            <a:rect l="l" t="t" r="r" b="b"/>
            <a:pathLst>
              <a:path w="481330" h="481329">
                <a:moveTo>
                  <a:pt x="240450" y="480898"/>
                </a:moveTo>
                <a:lnTo>
                  <a:pt x="191990" y="476013"/>
                </a:lnTo>
                <a:lnTo>
                  <a:pt x="146855" y="462003"/>
                </a:lnTo>
                <a:lnTo>
                  <a:pt x="106011" y="439833"/>
                </a:lnTo>
                <a:lnTo>
                  <a:pt x="70425" y="410472"/>
                </a:lnTo>
                <a:lnTo>
                  <a:pt x="41064" y="374887"/>
                </a:lnTo>
                <a:lnTo>
                  <a:pt x="18895" y="334043"/>
                </a:lnTo>
                <a:lnTo>
                  <a:pt x="4885" y="288908"/>
                </a:lnTo>
                <a:lnTo>
                  <a:pt x="0" y="240449"/>
                </a:lnTo>
                <a:lnTo>
                  <a:pt x="4885" y="191990"/>
                </a:lnTo>
                <a:lnTo>
                  <a:pt x="18895" y="146855"/>
                </a:lnTo>
                <a:lnTo>
                  <a:pt x="41064" y="106011"/>
                </a:lnTo>
                <a:lnTo>
                  <a:pt x="70425" y="70426"/>
                </a:lnTo>
                <a:lnTo>
                  <a:pt x="106011" y="41065"/>
                </a:lnTo>
                <a:lnTo>
                  <a:pt x="146855" y="18895"/>
                </a:lnTo>
                <a:lnTo>
                  <a:pt x="191990" y="4885"/>
                </a:lnTo>
                <a:lnTo>
                  <a:pt x="240448" y="0"/>
                </a:lnTo>
                <a:lnTo>
                  <a:pt x="288908" y="4885"/>
                </a:lnTo>
                <a:lnTo>
                  <a:pt x="334043" y="18895"/>
                </a:lnTo>
                <a:lnTo>
                  <a:pt x="374886" y="41065"/>
                </a:lnTo>
                <a:lnTo>
                  <a:pt x="410472" y="70426"/>
                </a:lnTo>
                <a:lnTo>
                  <a:pt x="439833" y="106011"/>
                </a:lnTo>
                <a:lnTo>
                  <a:pt x="462003" y="146855"/>
                </a:lnTo>
                <a:lnTo>
                  <a:pt x="476013" y="191990"/>
                </a:lnTo>
                <a:lnTo>
                  <a:pt x="480898" y="240448"/>
                </a:lnTo>
                <a:lnTo>
                  <a:pt x="476013" y="288908"/>
                </a:lnTo>
                <a:lnTo>
                  <a:pt x="462003" y="334043"/>
                </a:lnTo>
                <a:lnTo>
                  <a:pt x="439833" y="374887"/>
                </a:lnTo>
                <a:lnTo>
                  <a:pt x="410472" y="410472"/>
                </a:lnTo>
                <a:lnTo>
                  <a:pt x="374886" y="439833"/>
                </a:lnTo>
                <a:lnTo>
                  <a:pt x="334043" y="462003"/>
                </a:lnTo>
                <a:lnTo>
                  <a:pt x="288908" y="476013"/>
                </a:lnTo>
                <a:lnTo>
                  <a:pt x="240450" y="480898"/>
                </a:lnTo>
                <a:close/>
              </a:path>
            </a:pathLst>
          </a:custGeom>
          <a:solidFill>
            <a:srgbClr val="0090AE"/>
          </a:solidFill>
        </p:spPr>
        <p:txBody>
          <a:bodyPr wrap="square" lIns="0" tIns="0" rIns="0" bIns="0" rtlCol="0"/>
          <a:lstStyle/>
          <a:p>
            <a:endParaRPr/>
          </a:p>
        </p:txBody>
      </p:sp>
      <p:sp>
        <p:nvSpPr>
          <p:cNvPr id="33" name="object 33"/>
          <p:cNvSpPr txBox="1"/>
          <p:nvPr/>
        </p:nvSpPr>
        <p:spPr>
          <a:xfrm>
            <a:off x="2654393" y="6020506"/>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7</a:t>
            </a:r>
            <a:endParaRPr sz="1500">
              <a:latin typeface="OpenSans-ExtraBold"/>
              <a:cs typeface="OpenSans-ExtraBold"/>
            </a:endParaRPr>
          </a:p>
        </p:txBody>
      </p:sp>
      <p:sp>
        <p:nvSpPr>
          <p:cNvPr id="34" name="object 34"/>
          <p:cNvSpPr/>
          <p:nvPr/>
        </p:nvSpPr>
        <p:spPr>
          <a:xfrm>
            <a:off x="378453" y="6775742"/>
            <a:ext cx="481330" cy="481330"/>
          </a:xfrm>
          <a:custGeom>
            <a:avLst/>
            <a:gdLst/>
            <a:ahLst/>
            <a:cxnLst/>
            <a:rect l="l" t="t" r="r" b="b"/>
            <a:pathLst>
              <a:path w="481330" h="481329">
                <a:moveTo>
                  <a:pt x="240449" y="480898"/>
                </a:moveTo>
                <a:lnTo>
                  <a:pt x="191990" y="476013"/>
                </a:lnTo>
                <a:lnTo>
                  <a:pt x="146855" y="462002"/>
                </a:lnTo>
                <a:lnTo>
                  <a:pt x="106011" y="439833"/>
                </a:lnTo>
                <a:lnTo>
                  <a:pt x="70425" y="410472"/>
                </a:lnTo>
                <a:lnTo>
                  <a:pt x="41064" y="374887"/>
                </a:lnTo>
                <a:lnTo>
                  <a:pt x="18895" y="334043"/>
                </a:lnTo>
                <a:lnTo>
                  <a:pt x="4884" y="288908"/>
                </a:lnTo>
                <a:lnTo>
                  <a:pt x="0" y="240448"/>
                </a:lnTo>
                <a:lnTo>
                  <a:pt x="4884" y="191990"/>
                </a:lnTo>
                <a:lnTo>
                  <a:pt x="18895" y="146855"/>
                </a:lnTo>
                <a:lnTo>
                  <a:pt x="41064" y="106011"/>
                </a:lnTo>
                <a:lnTo>
                  <a:pt x="70425" y="70425"/>
                </a:lnTo>
                <a:lnTo>
                  <a:pt x="106011" y="41064"/>
                </a:lnTo>
                <a:lnTo>
                  <a:pt x="146855" y="18895"/>
                </a:lnTo>
                <a:lnTo>
                  <a:pt x="191990" y="4885"/>
                </a:lnTo>
                <a:lnTo>
                  <a:pt x="240449" y="0"/>
                </a:lnTo>
                <a:lnTo>
                  <a:pt x="288908" y="4885"/>
                </a:lnTo>
                <a:lnTo>
                  <a:pt x="334043" y="18895"/>
                </a:lnTo>
                <a:lnTo>
                  <a:pt x="374886" y="41064"/>
                </a:lnTo>
                <a:lnTo>
                  <a:pt x="410472" y="70425"/>
                </a:lnTo>
                <a:lnTo>
                  <a:pt x="439833" y="106011"/>
                </a:lnTo>
                <a:lnTo>
                  <a:pt x="462003" y="146855"/>
                </a:lnTo>
                <a:lnTo>
                  <a:pt x="476013" y="191990"/>
                </a:lnTo>
                <a:lnTo>
                  <a:pt x="480898" y="240449"/>
                </a:lnTo>
                <a:lnTo>
                  <a:pt x="476013" y="288908"/>
                </a:lnTo>
                <a:lnTo>
                  <a:pt x="462003" y="334043"/>
                </a:lnTo>
                <a:lnTo>
                  <a:pt x="439833" y="374887"/>
                </a:lnTo>
                <a:lnTo>
                  <a:pt x="410472" y="410472"/>
                </a:lnTo>
                <a:lnTo>
                  <a:pt x="374886" y="439833"/>
                </a:lnTo>
                <a:lnTo>
                  <a:pt x="334043" y="462002"/>
                </a:lnTo>
                <a:lnTo>
                  <a:pt x="288908" y="476013"/>
                </a:lnTo>
                <a:lnTo>
                  <a:pt x="240449" y="480898"/>
                </a:lnTo>
                <a:close/>
              </a:path>
            </a:pathLst>
          </a:custGeom>
          <a:solidFill>
            <a:srgbClr val="0090AE"/>
          </a:solidFill>
        </p:spPr>
        <p:txBody>
          <a:bodyPr wrap="square" lIns="0" tIns="0" rIns="0" bIns="0" rtlCol="0"/>
          <a:lstStyle/>
          <a:p>
            <a:endParaRPr/>
          </a:p>
        </p:txBody>
      </p:sp>
      <p:sp>
        <p:nvSpPr>
          <p:cNvPr id="35" name="object 35"/>
          <p:cNvSpPr txBox="1"/>
          <p:nvPr/>
        </p:nvSpPr>
        <p:spPr>
          <a:xfrm>
            <a:off x="550151" y="6877343"/>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3</a:t>
            </a:r>
            <a:endParaRPr sz="1500">
              <a:latin typeface="OpenSans-ExtraBold"/>
              <a:cs typeface="OpenSans-ExtraBold"/>
            </a:endParaRPr>
          </a:p>
        </p:txBody>
      </p:sp>
      <p:sp>
        <p:nvSpPr>
          <p:cNvPr id="36" name="object 36"/>
          <p:cNvSpPr/>
          <p:nvPr/>
        </p:nvSpPr>
        <p:spPr>
          <a:xfrm>
            <a:off x="378453" y="7628120"/>
            <a:ext cx="481330" cy="481330"/>
          </a:xfrm>
          <a:custGeom>
            <a:avLst/>
            <a:gdLst/>
            <a:ahLst/>
            <a:cxnLst/>
            <a:rect l="l" t="t" r="r" b="b"/>
            <a:pathLst>
              <a:path w="481330" h="481329">
                <a:moveTo>
                  <a:pt x="240449" y="480898"/>
                </a:moveTo>
                <a:lnTo>
                  <a:pt x="191990" y="476013"/>
                </a:lnTo>
                <a:lnTo>
                  <a:pt x="146855" y="462002"/>
                </a:lnTo>
                <a:lnTo>
                  <a:pt x="106011" y="439833"/>
                </a:lnTo>
                <a:lnTo>
                  <a:pt x="70425" y="410472"/>
                </a:lnTo>
                <a:lnTo>
                  <a:pt x="41064" y="374886"/>
                </a:lnTo>
                <a:lnTo>
                  <a:pt x="18895" y="334043"/>
                </a:lnTo>
                <a:lnTo>
                  <a:pt x="4884" y="288908"/>
                </a:lnTo>
                <a:lnTo>
                  <a:pt x="0" y="240448"/>
                </a:lnTo>
                <a:lnTo>
                  <a:pt x="4884" y="191990"/>
                </a:lnTo>
                <a:lnTo>
                  <a:pt x="18895" y="146855"/>
                </a:lnTo>
                <a:lnTo>
                  <a:pt x="41064" y="106011"/>
                </a:lnTo>
                <a:lnTo>
                  <a:pt x="70425" y="70425"/>
                </a:lnTo>
                <a:lnTo>
                  <a:pt x="106011" y="41064"/>
                </a:lnTo>
                <a:lnTo>
                  <a:pt x="146855" y="18895"/>
                </a:lnTo>
                <a:lnTo>
                  <a:pt x="191990" y="4885"/>
                </a:lnTo>
                <a:lnTo>
                  <a:pt x="240449" y="0"/>
                </a:lnTo>
                <a:lnTo>
                  <a:pt x="288908" y="4885"/>
                </a:lnTo>
                <a:lnTo>
                  <a:pt x="334043" y="18895"/>
                </a:lnTo>
                <a:lnTo>
                  <a:pt x="374886" y="41064"/>
                </a:lnTo>
                <a:lnTo>
                  <a:pt x="410472" y="70425"/>
                </a:lnTo>
                <a:lnTo>
                  <a:pt x="439833" y="106011"/>
                </a:lnTo>
                <a:lnTo>
                  <a:pt x="462003" y="146855"/>
                </a:lnTo>
                <a:lnTo>
                  <a:pt x="476013" y="191990"/>
                </a:lnTo>
                <a:lnTo>
                  <a:pt x="480898" y="240449"/>
                </a:lnTo>
                <a:lnTo>
                  <a:pt x="476013" y="288908"/>
                </a:lnTo>
                <a:lnTo>
                  <a:pt x="462003" y="334043"/>
                </a:lnTo>
                <a:lnTo>
                  <a:pt x="439833" y="374886"/>
                </a:lnTo>
                <a:lnTo>
                  <a:pt x="410472" y="410472"/>
                </a:lnTo>
                <a:lnTo>
                  <a:pt x="374886" y="439833"/>
                </a:lnTo>
                <a:lnTo>
                  <a:pt x="334043" y="462002"/>
                </a:lnTo>
                <a:lnTo>
                  <a:pt x="288908" y="476013"/>
                </a:lnTo>
                <a:lnTo>
                  <a:pt x="240449" y="480898"/>
                </a:lnTo>
                <a:close/>
              </a:path>
            </a:pathLst>
          </a:custGeom>
          <a:solidFill>
            <a:srgbClr val="0090AE"/>
          </a:solidFill>
        </p:spPr>
        <p:txBody>
          <a:bodyPr wrap="square" lIns="0" tIns="0" rIns="0" bIns="0" rtlCol="0"/>
          <a:lstStyle/>
          <a:p>
            <a:endParaRPr/>
          </a:p>
        </p:txBody>
      </p:sp>
      <p:sp>
        <p:nvSpPr>
          <p:cNvPr id="37" name="object 37"/>
          <p:cNvSpPr txBox="1"/>
          <p:nvPr/>
        </p:nvSpPr>
        <p:spPr>
          <a:xfrm>
            <a:off x="550151" y="7729719"/>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4</a:t>
            </a:r>
            <a:endParaRPr sz="1500">
              <a:latin typeface="OpenSans-ExtraBold"/>
              <a:cs typeface="OpenSans-ExtraBold"/>
            </a:endParaRPr>
          </a:p>
        </p:txBody>
      </p:sp>
      <p:sp>
        <p:nvSpPr>
          <p:cNvPr id="38" name="object 38"/>
          <p:cNvSpPr/>
          <p:nvPr/>
        </p:nvSpPr>
        <p:spPr>
          <a:xfrm>
            <a:off x="2482696" y="7628120"/>
            <a:ext cx="481330" cy="481330"/>
          </a:xfrm>
          <a:custGeom>
            <a:avLst/>
            <a:gdLst/>
            <a:ahLst/>
            <a:cxnLst/>
            <a:rect l="l" t="t" r="r" b="b"/>
            <a:pathLst>
              <a:path w="481330" h="481329">
                <a:moveTo>
                  <a:pt x="240449" y="480898"/>
                </a:moveTo>
                <a:lnTo>
                  <a:pt x="191990" y="476013"/>
                </a:lnTo>
                <a:lnTo>
                  <a:pt x="146855" y="462002"/>
                </a:lnTo>
                <a:lnTo>
                  <a:pt x="106011" y="439833"/>
                </a:lnTo>
                <a:lnTo>
                  <a:pt x="70425" y="410472"/>
                </a:lnTo>
                <a:lnTo>
                  <a:pt x="41064" y="374886"/>
                </a:lnTo>
                <a:lnTo>
                  <a:pt x="18895" y="334043"/>
                </a:lnTo>
                <a:lnTo>
                  <a:pt x="4885" y="288908"/>
                </a:lnTo>
                <a:lnTo>
                  <a:pt x="0" y="240449"/>
                </a:lnTo>
                <a:lnTo>
                  <a:pt x="4885" y="191990"/>
                </a:lnTo>
                <a:lnTo>
                  <a:pt x="18895" y="146855"/>
                </a:lnTo>
                <a:lnTo>
                  <a:pt x="41064" y="106011"/>
                </a:lnTo>
                <a:lnTo>
                  <a:pt x="70425" y="70425"/>
                </a:lnTo>
                <a:lnTo>
                  <a:pt x="106011" y="41064"/>
                </a:lnTo>
                <a:lnTo>
                  <a:pt x="146855" y="18895"/>
                </a:lnTo>
                <a:lnTo>
                  <a:pt x="191990" y="4885"/>
                </a:lnTo>
                <a:lnTo>
                  <a:pt x="240449" y="0"/>
                </a:lnTo>
                <a:lnTo>
                  <a:pt x="288908" y="4885"/>
                </a:lnTo>
                <a:lnTo>
                  <a:pt x="334043" y="18895"/>
                </a:lnTo>
                <a:lnTo>
                  <a:pt x="374886" y="41064"/>
                </a:lnTo>
                <a:lnTo>
                  <a:pt x="410472" y="70425"/>
                </a:lnTo>
                <a:lnTo>
                  <a:pt x="439833" y="106011"/>
                </a:lnTo>
                <a:lnTo>
                  <a:pt x="462003" y="146855"/>
                </a:lnTo>
                <a:lnTo>
                  <a:pt x="476013" y="191990"/>
                </a:lnTo>
                <a:lnTo>
                  <a:pt x="480898" y="240449"/>
                </a:lnTo>
                <a:lnTo>
                  <a:pt x="476013" y="288908"/>
                </a:lnTo>
                <a:lnTo>
                  <a:pt x="462003" y="334043"/>
                </a:lnTo>
                <a:lnTo>
                  <a:pt x="439833" y="374886"/>
                </a:lnTo>
                <a:lnTo>
                  <a:pt x="410472" y="410472"/>
                </a:lnTo>
                <a:lnTo>
                  <a:pt x="374886" y="439833"/>
                </a:lnTo>
                <a:lnTo>
                  <a:pt x="334043" y="462002"/>
                </a:lnTo>
                <a:lnTo>
                  <a:pt x="288908" y="476013"/>
                </a:lnTo>
                <a:lnTo>
                  <a:pt x="240449" y="480898"/>
                </a:lnTo>
                <a:close/>
              </a:path>
            </a:pathLst>
          </a:custGeom>
          <a:solidFill>
            <a:srgbClr val="0090AE"/>
          </a:solidFill>
        </p:spPr>
        <p:txBody>
          <a:bodyPr wrap="square" lIns="0" tIns="0" rIns="0" bIns="0" rtlCol="0"/>
          <a:lstStyle/>
          <a:p>
            <a:endParaRPr/>
          </a:p>
        </p:txBody>
      </p:sp>
      <p:sp>
        <p:nvSpPr>
          <p:cNvPr id="39" name="object 39"/>
          <p:cNvSpPr txBox="1"/>
          <p:nvPr/>
        </p:nvSpPr>
        <p:spPr>
          <a:xfrm>
            <a:off x="2654393" y="7729719"/>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9</a:t>
            </a:r>
            <a:endParaRPr sz="1500">
              <a:latin typeface="OpenSans-ExtraBold"/>
              <a:cs typeface="OpenSans-ExtraBold"/>
            </a:endParaRPr>
          </a:p>
        </p:txBody>
      </p:sp>
      <p:sp>
        <p:nvSpPr>
          <p:cNvPr id="40" name="object 40"/>
          <p:cNvSpPr/>
          <p:nvPr/>
        </p:nvSpPr>
        <p:spPr>
          <a:xfrm>
            <a:off x="378453" y="8480491"/>
            <a:ext cx="481330" cy="481330"/>
          </a:xfrm>
          <a:custGeom>
            <a:avLst/>
            <a:gdLst/>
            <a:ahLst/>
            <a:cxnLst/>
            <a:rect l="l" t="t" r="r" b="b"/>
            <a:pathLst>
              <a:path w="481330" h="481329">
                <a:moveTo>
                  <a:pt x="240449" y="480898"/>
                </a:moveTo>
                <a:lnTo>
                  <a:pt x="191990" y="476013"/>
                </a:lnTo>
                <a:lnTo>
                  <a:pt x="146855" y="462002"/>
                </a:lnTo>
                <a:lnTo>
                  <a:pt x="106011" y="439833"/>
                </a:lnTo>
                <a:lnTo>
                  <a:pt x="70425" y="410472"/>
                </a:lnTo>
                <a:lnTo>
                  <a:pt x="41064" y="374886"/>
                </a:lnTo>
                <a:lnTo>
                  <a:pt x="18895" y="334043"/>
                </a:lnTo>
                <a:lnTo>
                  <a:pt x="4884" y="288908"/>
                </a:lnTo>
                <a:lnTo>
                  <a:pt x="0" y="240448"/>
                </a:lnTo>
                <a:lnTo>
                  <a:pt x="4884" y="191990"/>
                </a:lnTo>
                <a:lnTo>
                  <a:pt x="18895" y="146855"/>
                </a:lnTo>
                <a:lnTo>
                  <a:pt x="41064" y="106011"/>
                </a:lnTo>
                <a:lnTo>
                  <a:pt x="70425" y="70425"/>
                </a:lnTo>
                <a:lnTo>
                  <a:pt x="106011" y="41064"/>
                </a:lnTo>
                <a:lnTo>
                  <a:pt x="146855" y="18895"/>
                </a:lnTo>
                <a:lnTo>
                  <a:pt x="191990" y="4885"/>
                </a:lnTo>
                <a:lnTo>
                  <a:pt x="240449" y="0"/>
                </a:lnTo>
                <a:lnTo>
                  <a:pt x="288908" y="4885"/>
                </a:lnTo>
                <a:lnTo>
                  <a:pt x="334043" y="18895"/>
                </a:lnTo>
                <a:lnTo>
                  <a:pt x="374886" y="41064"/>
                </a:lnTo>
                <a:lnTo>
                  <a:pt x="410472" y="70425"/>
                </a:lnTo>
                <a:lnTo>
                  <a:pt x="439833" y="106011"/>
                </a:lnTo>
                <a:lnTo>
                  <a:pt x="462003" y="146855"/>
                </a:lnTo>
                <a:lnTo>
                  <a:pt x="476013" y="191990"/>
                </a:lnTo>
                <a:lnTo>
                  <a:pt x="480898" y="240449"/>
                </a:lnTo>
                <a:lnTo>
                  <a:pt x="476013" y="288908"/>
                </a:lnTo>
                <a:lnTo>
                  <a:pt x="462003" y="334043"/>
                </a:lnTo>
                <a:lnTo>
                  <a:pt x="439833" y="374886"/>
                </a:lnTo>
                <a:lnTo>
                  <a:pt x="410472" y="410472"/>
                </a:lnTo>
                <a:lnTo>
                  <a:pt x="374886" y="439833"/>
                </a:lnTo>
                <a:lnTo>
                  <a:pt x="334043" y="462002"/>
                </a:lnTo>
                <a:lnTo>
                  <a:pt x="288908" y="476013"/>
                </a:lnTo>
                <a:lnTo>
                  <a:pt x="240449" y="480898"/>
                </a:lnTo>
                <a:close/>
              </a:path>
            </a:pathLst>
          </a:custGeom>
          <a:solidFill>
            <a:srgbClr val="0090AE"/>
          </a:solidFill>
        </p:spPr>
        <p:txBody>
          <a:bodyPr wrap="square" lIns="0" tIns="0" rIns="0" bIns="0" rtlCol="0"/>
          <a:lstStyle/>
          <a:p>
            <a:endParaRPr/>
          </a:p>
        </p:txBody>
      </p:sp>
      <p:sp>
        <p:nvSpPr>
          <p:cNvPr id="41" name="object 41"/>
          <p:cNvSpPr txBox="1"/>
          <p:nvPr/>
        </p:nvSpPr>
        <p:spPr>
          <a:xfrm>
            <a:off x="550151" y="8582090"/>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5</a:t>
            </a:r>
            <a:endParaRPr sz="1500">
              <a:latin typeface="OpenSans-ExtraBold"/>
              <a:cs typeface="OpenSans-ExtraBold"/>
            </a:endParaRPr>
          </a:p>
        </p:txBody>
      </p:sp>
      <p:grpSp>
        <p:nvGrpSpPr>
          <p:cNvPr id="42" name="object 42"/>
          <p:cNvGrpSpPr/>
          <p:nvPr/>
        </p:nvGrpSpPr>
        <p:grpSpPr>
          <a:xfrm>
            <a:off x="2172538" y="4288909"/>
            <a:ext cx="8227059" cy="4995545"/>
            <a:chOff x="2172538" y="4288909"/>
            <a:chExt cx="8227059" cy="4995545"/>
          </a:xfrm>
        </p:grpSpPr>
        <p:sp>
          <p:nvSpPr>
            <p:cNvPr id="43" name="object 43"/>
            <p:cNvSpPr/>
            <p:nvPr/>
          </p:nvSpPr>
          <p:spPr>
            <a:xfrm>
              <a:off x="3249550" y="7646809"/>
              <a:ext cx="638175" cy="466725"/>
            </a:xfrm>
            <a:custGeom>
              <a:avLst/>
              <a:gdLst/>
              <a:ahLst/>
              <a:cxnLst/>
              <a:rect l="l" t="t" r="r" b="b"/>
              <a:pathLst>
                <a:path w="638175" h="466725">
                  <a:moveTo>
                    <a:pt x="566901" y="466725"/>
                  </a:moveTo>
                  <a:lnTo>
                    <a:pt x="70862" y="466725"/>
                  </a:lnTo>
                  <a:lnTo>
                    <a:pt x="43280" y="461081"/>
                  </a:lnTo>
                  <a:lnTo>
                    <a:pt x="20756" y="445693"/>
                  </a:lnTo>
                  <a:lnTo>
                    <a:pt x="5569" y="422869"/>
                  </a:lnTo>
                  <a:lnTo>
                    <a:pt x="0" y="394921"/>
                  </a:lnTo>
                  <a:lnTo>
                    <a:pt x="0" y="71803"/>
                  </a:lnTo>
                  <a:lnTo>
                    <a:pt x="5569" y="43855"/>
                  </a:lnTo>
                  <a:lnTo>
                    <a:pt x="20756" y="21031"/>
                  </a:lnTo>
                  <a:lnTo>
                    <a:pt x="43280" y="5643"/>
                  </a:lnTo>
                  <a:lnTo>
                    <a:pt x="70862" y="0"/>
                  </a:lnTo>
                  <a:lnTo>
                    <a:pt x="566901" y="0"/>
                  </a:lnTo>
                  <a:lnTo>
                    <a:pt x="594483" y="5643"/>
                  </a:lnTo>
                  <a:lnTo>
                    <a:pt x="617008" y="21031"/>
                  </a:lnTo>
                  <a:lnTo>
                    <a:pt x="632195" y="43855"/>
                  </a:lnTo>
                  <a:lnTo>
                    <a:pt x="637764" y="71803"/>
                  </a:lnTo>
                  <a:lnTo>
                    <a:pt x="637764" y="394921"/>
                  </a:lnTo>
                  <a:lnTo>
                    <a:pt x="632195" y="422869"/>
                  </a:lnTo>
                  <a:lnTo>
                    <a:pt x="617008" y="445693"/>
                  </a:lnTo>
                  <a:lnTo>
                    <a:pt x="594483" y="461081"/>
                  </a:lnTo>
                  <a:lnTo>
                    <a:pt x="566901" y="466725"/>
                  </a:lnTo>
                  <a:close/>
                </a:path>
              </a:pathLst>
            </a:custGeom>
            <a:solidFill>
              <a:srgbClr val="007833"/>
            </a:solidFill>
          </p:spPr>
          <p:txBody>
            <a:bodyPr wrap="square" lIns="0" tIns="0" rIns="0" bIns="0" rtlCol="0"/>
            <a:lstStyle/>
            <a:p>
              <a:endParaRPr/>
            </a:p>
          </p:txBody>
        </p:sp>
        <p:sp>
          <p:nvSpPr>
            <p:cNvPr id="44" name="object 44"/>
            <p:cNvSpPr/>
            <p:nvPr/>
          </p:nvSpPr>
          <p:spPr>
            <a:xfrm>
              <a:off x="3249550" y="7790417"/>
              <a:ext cx="638175" cy="179705"/>
            </a:xfrm>
            <a:custGeom>
              <a:avLst/>
              <a:gdLst/>
              <a:ahLst/>
              <a:cxnLst/>
              <a:rect l="l" t="t" r="r" b="b"/>
              <a:pathLst>
                <a:path w="638175" h="179704">
                  <a:moveTo>
                    <a:pt x="637764" y="179509"/>
                  </a:moveTo>
                  <a:lnTo>
                    <a:pt x="0" y="179509"/>
                  </a:lnTo>
                  <a:lnTo>
                    <a:pt x="0" y="0"/>
                  </a:lnTo>
                  <a:lnTo>
                    <a:pt x="637764" y="0"/>
                  </a:lnTo>
                  <a:lnTo>
                    <a:pt x="637764" y="179509"/>
                  </a:lnTo>
                  <a:close/>
                </a:path>
              </a:pathLst>
            </a:custGeom>
            <a:solidFill>
              <a:srgbClr val="FFDF00"/>
            </a:solidFill>
          </p:spPr>
          <p:txBody>
            <a:bodyPr wrap="square" lIns="0" tIns="0" rIns="0" bIns="0" rtlCol="0"/>
            <a:lstStyle/>
            <a:p>
              <a:endParaRPr/>
            </a:p>
          </p:txBody>
        </p:sp>
        <p:sp>
          <p:nvSpPr>
            <p:cNvPr id="45" name="object 45"/>
            <p:cNvSpPr/>
            <p:nvPr/>
          </p:nvSpPr>
          <p:spPr>
            <a:xfrm>
              <a:off x="3249550" y="7646809"/>
              <a:ext cx="638175" cy="144145"/>
            </a:xfrm>
            <a:custGeom>
              <a:avLst/>
              <a:gdLst/>
              <a:ahLst/>
              <a:cxnLst/>
              <a:rect l="l" t="t" r="r" b="b"/>
              <a:pathLst>
                <a:path w="638175" h="144145">
                  <a:moveTo>
                    <a:pt x="637764" y="143607"/>
                  </a:moveTo>
                  <a:lnTo>
                    <a:pt x="0" y="143607"/>
                  </a:lnTo>
                  <a:lnTo>
                    <a:pt x="0" y="71803"/>
                  </a:lnTo>
                  <a:lnTo>
                    <a:pt x="5569" y="43855"/>
                  </a:lnTo>
                  <a:lnTo>
                    <a:pt x="20756" y="21031"/>
                  </a:lnTo>
                  <a:lnTo>
                    <a:pt x="43280" y="5643"/>
                  </a:lnTo>
                  <a:lnTo>
                    <a:pt x="70862" y="0"/>
                  </a:lnTo>
                  <a:lnTo>
                    <a:pt x="566901" y="0"/>
                  </a:lnTo>
                  <a:lnTo>
                    <a:pt x="594483" y="5643"/>
                  </a:lnTo>
                  <a:lnTo>
                    <a:pt x="617008" y="21031"/>
                  </a:lnTo>
                  <a:lnTo>
                    <a:pt x="632195" y="43855"/>
                  </a:lnTo>
                  <a:lnTo>
                    <a:pt x="637764" y="71803"/>
                  </a:lnTo>
                  <a:lnTo>
                    <a:pt x="637764" y="143607"/>
                  </a:lnTo>
                  <a:close/>
                </a:path>
              </a:pathLst>
            </a:custGeom>
            <a:solidFill>
              <a:srgbClr val="D52A1D"/>
            </a:solidFill>
          </p:spPr>
          <p:txBody>
            <a:bodyPr wrap="square" lIns="0" tIns="0" rIns="0" bIns="0" rtlCol="0"/>
            <a:lstStyle/>
            <a:p>
              <a:endParaRPr/>
            </a:p>
          </p:txBody>
        </p:sp>
        <p:pic>
          <p:nvPicPr>
            <p:cNvPr id="46" name="object 46"/>
            <p:cNvPicPr/>
            <p:nvPr/>
          </p:nvPicPr>
          <p:blipFill>
            <a:blip r:embed="rId6" cstate="print"/>
            <a:stretch>
              <a:fillRect/>
            </a:stretch>
          </p:blipFill>
          <p:spPr>
            <a:xfrm>
              <a:off x="3477976" y="7799106"/>
              <a:ext cx="180894" cy="162294"/>
            </a:xfrm>
            <a:prstGeom prst="rect">
              <a:avLst/>
            </a:prstGeom>
          </p:spPr>
        </p:pic>
        <p:sp>
          <p:nvSpPr>
            <p:cNvPr id="47" name="object 47"/>
            <p:cNvSpPr/>
            <p:nvPr/>
          </p:nvSpPr>
          <p:spPr>
            <a:xfrm>
              <a:off x="3277919" y="5936234"/>
              <a:ext cx="619125" cy="447675"/>
            </a:xfrm>
            <a:custGeom>
              <a:avLst/>
              <a:gdLst/>
              <a:ahLst/>
              <a:cxnLst/>
              <a:rect l="l" t="t" r="r" b="b"/>
              <a:pathLst>
                <a:path w="619125" h="447675">
                  <a:moveTo>
                    <a:pt x="550333" y="447517"/>
                  </a:moveTo>
                  <a:lnTo>
                    <a:pt x="68791" y="447517"/>
                  </a:lnTo>
                  <a:lnTo>
                    <a:pt x="42015" y="442106"/>
                  </a:lnTo>
                  <a:lnTo>
                    <a:pt x="20149" y="427351"/>
                  </a:lnTo>
                  <a:lnTo>
                    <a:pt x="5406" y="405466"/>
                  </a:lnTo>
                  <a:lnTo>
                    <a:pt x="0" y="378668"/>
                  </a:lnTo>
                  <a:lnTo>
                    <a:pt x="0" y="68848"/>
                  </a:lnTo>
                  <a:lnTo>
                    <a:pt x="767" y="58530"/>
                  </a:lnTo>
                  <a:lnTo>
                    <a:pt x="2996" y="48691"/>
                  </a:lnTo>
                  <a:lnTo>
                    <a:pt x="6573" y="39442"/>
                  </a:lnTo>
                  <a:lnTo>
                    <a:pt x="11385" y="30895"/>
                  </a:lnTo>
                  <a:lnTo>
                    <a:pt x="58335" y="30964"/>
                  </a:lnTo>
                  <a:lnTo>
                    <a:pt x="58404" y="774"/>
                  </a:lnTo>
                  <a:lnTo>
                    <a:pt x="65266" y="0"/>
                  </a:lnTo>
                  <a:lnTo>
                    <a:pt x="550333" y="0"/>
                  </a:lnTo>
                  <a:lnTo>
                    <a:pt x="577109" y="5410"/>
                  </a:lnTo>
                  <a:lnTo>
                    <a:pt x="598975" y="20166"/>
                  </a:lnTo>
                  <a:lnTo>
                    <a:pt x="613718" y="42050"/>
                  </a:lnTo>
                  <a:lnTo>
                    <a:pt x="619124" y="68848"/>
                  </a:lnTo>
                  <a:lnTo>
                    <a:pt x="619124" y="378668"/>
                  </a:lnTo>
                  <a:lnTo>
                    <a:pt x="613718" y="405466"/>
                  </a:lnTo>
                  <a:lnTo>
                    <a:pt x="598975" y="427351"/>
                  </a:lnTo>
                  <a:lnTo>
                    <a:pt x="577109" y="442106"/>
                  </a:lnTo>
                  <a:lnTo>
                    <a:pt x="550333" y="447517"/>
                  </a:lnTo>
                  <a:close/>
                </a:path>
              </a:pathLst>
            </a:custGeom>
            <a:solidFill>
              <a:srgbClr val="00247D"/>
            </a:solidFill>
          </p:spPr>
          <p:txBody>
            <a:bodyPr wrap="square" lIns="0" tIns="0" rIns="0" bIns="0" rtlCol="0"/>
            <a:lstStyle/>
            <a:p>
              <a:endParaRPr/>
            </a:p>
          </p:txBody>
        </p:sp>
        <p:sp>
          <p:nvSpPr>
            <p:cNvPr id="48" name="object 48"/>
            <p:cNvSpPr/>
            <p:nvPr/>
          </p:nvSpPr>
          <p:spPr>
            <a:xfrm>
              <a:off x="3385475" y="5967165"/>
              <a:ext cx="490220" cy="370205"/>
            </a:xfrm>
            <a:custGeom>
              <a:avLst/>
              <a:gdLst/>
              <a:ahLst/>
              <a:cxnLst/>
              <a:rect l="l" t="t" r="r" b="b"/>
              <a:pathLst>
                <a:path w="490220" h="370204">
                  <a:moveTo>
                    <a:pt x="57750" y="284844"/>
                  </a:moveTo>
                  <a:lnTo>
                    <a:pt x="36717" y="284844"/>
                  </a:lnTo>
                  <a:lnTo>
                    <a:pt x="47225" y="258183"/>
                  </a:lnTo>
                  <a:lnTo>
                    <a:pt x="57750" y="284844"/>
                  </a:lnTo>
                  <a:close/>
                </a:path>
                <a:path w="490220" h="370204">
                  <a:moveTo>
                    <a:pt x="26209" y="350354"/>
                  </a:moveTo>
                  <a:lnTo>
                    <a:pt x="28290" y="321782"/>
                  </a:lnTo>
                  <a:lnTo>
                    <a:pt x="0" y="317461"/>
                  </a:lnTo>
                  <a:lnTo>
                    <a:pt x="23612" y="301282"/>
                  </a:lnTo>
                  <a:lnTo>
                    <a:pt x="9355" y="276445"/>
                  </a:lnTo>
                  <a:lnTo>
                    <a:pt x="36717" y="284844"/>
                  </a:lnTo>
                  <a:lnTo>
                    <a:pt x="80285" y="284844"/>
                  </a:lnTo>
                  <a:lnTo>
                    <a:pt x="70838" y="301282"/>
                  </a:lnTo>
                  <a:lnTo>
                    <a:pt x="94468" y="317461"/>
                  </a:lnTo>
                  <a:lnTo>
                    <a:pt x="66177" y="321782"/>
                  </a:lnTo>
                  <a:lnTo>
                    <a:pt x="66843" y="330921"/>
                  </a:lnTo>
                  <a:lnTo>
                    <a:pt x="47225" y="330921"/>
                  </a:lnTo>
                  <a:lnTo>
                    <a:pt x="26209" y="350354"/>
                  </a:lnTo>
                  <a:close/>
                </a:path>
                <a:path w="490220" h="370204">
                  <a:moveTo>
                    <a:pt x="80285" y="284844"/>
                  </a:moveTo>
                  <a:lnTo>
                    <a:pt x="57750" y="284844"/>
                  </a:lnTo>
                  <a:lnTo>
                    <a:pt x="85112" y="276445"/>
                  </a:lnTo>
                  <a:lnTo>
                    <a:pt x="80285" y="284844"/>
                  </a:lnTo>
                  <a:close/>
                </a:path>
                <a:path w="490220" h="370204">
                  <a:moveTo>
                    <a:pt x="68258" y="350354"/>
                  </a:moveTo>
                  <a:lnTo>
                    <a:pt x="47225" y="330921"/>
                  </a:lnTo>
                  <a:lnTo>
                    <a:pt x="66843" y="330921"/>
                  </a:lnTo>
                  <a:lnTo>
                    <a:pt x="68258" y="350354"/>
                  </a:lnTo>
                  <a:close/>
                </a:path>
                <a:path w="490220" h="370204">
                  <a:moveTo>
                    <a:pt x="380022" y="17435"/>
                  </a:moveTo>
                  <a:lnTo>
                    <a:pt x="366246" y="17435"/>
                  </a:lnTo>
                  <a:lnTo>
                    <a:pt x="373126" y="0"/>
                  </a:lnTo>
                  <a:lnTo>
                    <a:pt x="380022" y="17435"/>
                  </a:lnTo>
                  <a:close/>
                </a:path>
                <a:path w="490220" h="370204">
                  <a:moveTo>
                    <a:pt x="359384" y="60294"/>
                  </a:moveTo>
                  <a:lnTo>
                    <a:pt x="360743" y="41601"/>
                  </a:lnTo>
                  <a:lnTo>
                    <a:pt x="342221" y="38779"/>
                  </a:lnTo>
                  <a:lnTo>
                    <a:pt x="357682" y="28193"/>
                  </a:lnTo>
                  <a:lnTo>
                    <a:pt x="348361" y="11945"/>
                  </a:lnTo>
                  <a:lnTo>
                    <a:pt x="366246" y="17435"/>
                  </a:lnTo>
                  <a:lnTo>
                    <a:pt x="394769" y="17435"/>
                  </a:lnTo>
                  <a:lnTo>
                    <a:pt x="388586" y="28193"/>
                  </a:lnTo>
                  <a:lnTo>
                    <a:pt x="404030" y="38779"/>
                  </a:lnTo>
                  <a:lnTo>
                    <a:pt x="385525" y="41601"/>
                  </a:lnTo>
                  <a:lnTo>
                    <a:pt x="385961" y="47591"/>
                  </a:lnTo>
                  <a:lnTo>
                    <a:pt x="373126" y="47591"/>
                  </a:lnTo>
                  <a:lnTo>
                    <a:pt x="359384" y="60294"/>
                  </a:lnTo>
                  <a:close/>
                </a:path>
                <a:path w="490220" h="370204">
                  <a:moveTo>
                    <a:pt x="394769" y="17435"/>
                  </a:moveTo>
                  <a:lnTo>
                    <a:pt x="380022" y="17435"/>
                  </a:lnTo>
                  <a:lnTo>
                    <a:pt x="397925" y="11945"/>
                  </a:lnTo>
                  <a:lnTo>
                    <a:pt x="394769" y="17435"/>
                  </a:lnTo>
                  <a:close/>
                </a:path>
                <a:path w="490220" h="370204">
                  <a:moveTo>
                    <a:pt x="386884" y="60294"/>
                  </a:moveTo>
                  <a:lnTo>
                    <a:pt x="373126" y="47591"/>
                  </a:lnTo>
                  <a:lnTo>
                    <a:pt x="385961" y="47591"/>
                  </a:lnTo>
                  <a:lnTo>
                    <a:pt x="386884" y="60294"/>
                  </a:lnTo>
                  <a:close/>
                </a:path>
                <a:path w="490220" h="370204">
                  <a:moveTo>
                    <a:pt x="311230" y="120709"/>
                  </a:moveTo>
                  <a:lnTo>
                    <a:pt x="297455" y="120709"/>
                  </a:lnTo>
                  <a:lnTo>
                    <a:pt x="304334" y="103273"/>
                  </a:lnTo>
                  <a:lnTo>
                    <a:pt x="311230" y="120709"/>
                  </a:lnTo>
                  <a:close/>
                </a:path>
                <a:path w="490220" h="370204">
                  <a:moveTo>
                    <a:pt x="290593" y="163584"/>
                  </a:moveTo>
                  <a:lnTo>
                    <a:pt x="291951" y="144892"/>
                  </a:lnTo>
                  <a:lnTo>
                    <a:pt x="273429" y="142069"/>
                  </a:lnTo>
                  <a:lnTo>
                    <a:pt x="288890" y="131466"/>
                  </a:lnTo>
                  <a:lnTo>
                    <a:pt x="279569" y="115218"/>
                  </a:lnTo>
                  <a:lnTo>
                    <a:pt x="297455" y="120709"/>
                  </a:lnTo>
                  <a:lnTo>
                    <a:pt x="311230" y="120709"/>
                  </a:lnTo>
                  <a:lnTo>
                    <a:pt x="325978" y="120709"/>
                  </a:lnTo>
                  <a:lnTo>
                    <a:pt x="319795" y="131466"/>
                  </a:lnTo>
                  <a:lnTo>
                    <a:pt x="335239" y="142069"/>
                  </a:lnTo>
                  <a:lnTo>
                    <a:pt x="316734" y="144892"/>
                  </a:lnTo>
                  <a:lnTo>
                    <a:pt x="317168" y="150864"/>
                  </a:lnTo>
                  <a:lnTo>
                    <a:pt x="304334" y="150864"/>
                  </a:lnTo>
                  <a:lnTo>
                    <a:pt x="290593" y="163584"/>
                  </a:lnTo>
                  <a:close/>
                </a:path>
                <a:path w="490220" h="370204">
                  <a:moveTo>
                    <a:pt x="325978" y="120709"/>
                  </a:moveTo>
                  <a:lnTo>
                    <a:pt x="311230" y="120709"/>
                  </a:lnTo>
                  <a:lnTo>
                    <a:pt x="329133" y="115218"/>
                  </a:lnTo>
                  <a:lnTo>
                    <a:pt x="325978" y="120709"/>
                  </a:lnTo>
                  <a:close/>
                </a:path>
                <a:path w="490220" h="370204">
                  <a:moveTo>
                    <a:pt x="318092" y="163584"/>
                  </a:moveTo>
                  <a:lnTo>
                    <a:pt x="304334" y="150864"/>
                  </a:lnTo>
                  <a:lnTo>
                    <a:pt x="317168" y="150864"/>
                  </a:lnTo>
                  <a:lnTo>
                    <a:pt x="318092" y="163584"/>
                  </a:lnTo>
                  <a:close/>
                </a:path>
                <a:path w="490220" h="370204">
                  <a:moveTo>
                    <a:pt x="466011" y="86284"/>
                  </a:moveTo>
                  <a:lnTo>
                    <a:pt x="452236" y="86284"/>
                  </a:lnTo>
                  <a:lnTo>
                    <a:pt x="459115" y="68848"/>
                  </a:lnTo>
                  <a:lnTo>
                    <a:pt x="466011" y="86284"/>
                  </a:lnTo>
                  <a:close/>
                </a:path>
                <a:path w="490220" h="370204">
                  <a:moveTo>
                    <a:pt x="445374" y="129160"/>
                  </a:moveTo>
                  <a:lnTo>
                    <a:pt x="446733" y="110467"/>
                  </a:lnTo>
                  <a:lnTo>
                    <a:pt x="428210" y="107645"/>
                  </a:lnTo>
                  <a:lnTo>
                    <a:pt x="443671" y="97042"/>
                  </a:lnTo>
                  <a:lnTo>
                    <a:pt x="434350" y="80794"/>
                  </a:lnTo>
                  <a:lnTo>
                    <a:pt x="452236" y="86284"/>
                  </a:lnTo>
                  <a:lnTo>
                    <a:pt x="466011" y="86284"/>
                  </a:lnTo>
                  <a:lnTo>
                    <a:pt x="480759" y="86284"/>
                  </a:lnTo>
                  <a:lnTo>
                    <a:pt x="474576" y="97042"/>
                  </a:lnTo>
                  <a:lnTo>
                    <a:pt x="490020" y="107645"/>
                  </a:lnTo>
                  <a:lnTo>
                    <a:pt x="471515" y="110467"/>
                  </a:lnTo>
                  <a:lnTo>
                    <a:pt x="471949" y="116440"/>
                  </a:lnTo>
                  <a:lnTo>
                    <a:pt x="459115" y="116440"/>
                  </a:lnTo>
                  <a:lnTo>
                    <a:pt x="445374" y="129160"/>
                  </a:lnTo>
                  <a:close/>
                </a:path>
                <a:path w="490220" h="370204">
                  <a:moveTo>
                    <a:pt x="480759" y="86284"/>
                  </a:moveTo>
                  <a:lnTo>
                    <a:pt x="466011" y="86284"/>
                  </a:lnTo>
                  <a:lnTo>
                    <a:pt x="483915" y="80794"/>
                  </a:lnTo>
                  <a:lnTo>
                    <a:pt x="480759" y="86284"/>
                  </a:lnTo>
                  <a:close/>
                </a:path>
                <a:path w="490220" h="370204">
                  <a:moveTo>
                    <a:pt x="472873" y="129160"/>
                  </a:moveTo>
                  <a:lnTo>
                    <a:pt x="459115" y="116440"/>
                  </a:lnTo>
                  <a:lnTo>
                    <a:pt x="471949" y="116440"/>
                  </a:lnTo>
                  <a:lnTo>
                    <a:pt x="472873" y="129160"/>
                  </a:lnTo>
                  <a:close/>
                </a:path>
                <a:path w="490220" h="370204">
                  <a:moveTo>
                    <a:pt x="380022" y="327255"/>
                  </a:moveTo>
                  <a:lnTo>
                    <a:pt x="366246" y="327255"/>
                  </a:lnTo>
                  <a:lnTo>
                    <a:pt x="373126" y="309819"/>
                  </a:lnTo>
                  <a:lnTo>
                    <a:pt x="380022" y="327255"/>
                  </a:lnTo>
                  <a:close/>
                </a:path>
                <a:path w="490220" h="370204">
                  <a:moveTo>
                    <a:pt x="359384" y="370131"/>
                  </a:moveTo>
                  <a:lnTo>
                    <a:pt x="360743" y="351438"/>
                  </a:lnTo>
                  <a:lnTo>
                    <a:pt x="342221" y="348616"/>
                  </a:lnTo>
                  <a:lnTo>
                    <a:pt x="357682" y="338013"/>
                  </a:lnTo>
                  <a:lnTo>
                    <a:pt x="348361" y="321765"/>
                  </a:lnTo>
                  <a:lnTo>
                    <a:pt x="366246" y="327255"/>
                  </a:lnTo>
                  <a:lnTo>
                    <a:pt x="394769" y="327255"/>
                  </a:lnTo>
                  <a:lnTo>
                    <a:pt x="388586" y="338013"/>
                  </a:lnTo>
                  <a:lnTo>
                    <a:pt x="404030" y="348616"/>
                  </a:lnTo>
                  <a:lnTo>
                    <a:pt x="385525" y="351438"/>
                  </a:lnTo>
                  <a:lnTo>
                    <a:pt x="385959" y="357411"/>
                  </a:lnTo>
                  <a:lnTo>
                    <a:pt x="373126" y="357411"/>
                  </a:lnTo>
                  <a:lnTo>
                    <a:pt x="359384" y="370131"/>
                  </a:lnTo>
                  <a:close/>
                </a:path>
                <a:path w="490220" h="370204">
                  <a:moveTo>
                    <a:pt x="394769" y="327255"/>
                  </a:moveTo>
                  <a:lnTo>
                    <a:pt x="380022" y="327255"/>
                  </a:lnTo>
                  <a:lnTo>
                    <a:pt x="397925" y="321765"/>
                  </a:lnTo>
                  <a:lnTo>
                    <a:pt x="394769" y="327255"/>
                  </a:lnTo>
                  <a:close/>
                </a:path>
                <a:path w="490220" h="370204">
                  <a:moveTo>
                    <a:pt x="386884" y="370131"/>
                  </a:moveTo>
                  <a:lnTo>
                    <a:pt x="373126" y="357411"/>
                  </a:lnTo>
                  <a:lnTo>
                    <a:pt x="385959" y="357411"/>
                  </a:lnTo>
                  <a:lnTo>
                    <a:pt x="386884" y="370131"/>
                  </a:lnTo>
                  <a:close/>
                </a:path>
                <a:path w="490220" h="370204">
                  <a:moveTo>
                    <a:pt x="415467" y="189540"/>
                  </a:moveTo>
                  <a:lnTo>
                    <a:pt x="417393" y="178266"/>
                  </a:lnTo>
                  <a:lnTo>
                    <a:pt x="409224" y="170297"/>
                  </a:lnTo>
                  <a:lnTo>
                    <a:pt x="420523" y="168662"/>
                  </a:lnTo>
                  <a:lnTo>
                    <a:pt x="425579" y="158403"/>
                  </a:lnTo>
                  <a:lnTo>
                    <a:pt x="430635" y="168662"/>
                  </a:lnTo>
                  <a:lnTo>
                    <a:pt x="441934" y="170297"/>
                  </a:lnTo>
                  <a:lnTo>
                    <a:pt x="433765" y="178266"/>
                  </a:lnTo>
                  <a:lnTo>
                    <a:pt x="434783" y="184222"/>
                  </a:lnTo>
                  <a:lnTo>
                    <a:pt x="425579" y="184222"/>
                  </a:lnTo>
                  <a:lnTo>
                    <a:pt x="415467" y="189540"/>
                  </a:lnTo>
                  <a:close/>
                </a:path>
                <a:path w="490220" h="370204">
                  <a:moveTo>
                    <a:pt x="435691" y="189540"/>
                  </a:moveTo>
                  <a:lnTo>
                    <a:pt x="425579" y="184222"/>
                  </a:lnTo>
                  <a:lnTo>
                    <a:pt x="434783" y="184222"/>
                  </a:lnTo>
                  <a:lnTo>
                    <a:pt x="435691" y="189540"/>
                  </a:lnTo>
                  <a:close/>
                </a:path>
              </a:pathLst>
            </a:custGeom>
            <a:solidFill>
              <a:srgbClr val="FFFFFF"/>
            </a:solidFill>
          </p:spPr>
          <p:txBody>
            <a:bodyPr wrap="square" lIns="0" tIns="0" rIns="0" bIns="0" rtlCol="0"/>
            <a:lstStyle/>
            <a:p>
              <a:endParaRPr/>
            </a:p>
          </p:txBody>
        </p:sp>
        <p:sp>
          <p:nvSpPr>
            <p:cNvPr id="49" name="object 49"/>
            <p:cNvSpPr/>
            <p:nvPr/>
          </p:nvSpPr>
          <p:spPr>
            <a:xfrm>
              <a:off x="3277919" y="5936234"/>
              <a:ext cx="327025" cy="224154"/>
            </a:xfrm>
            <a:custGeom>
              <a:avLst/>
              <a:gdLst/>
              <a:ahLst/>
              <a:cxnLst/>
              <a:rect l="l" t="t" r="r" b="b"/>
              <a:pathLst>
                <a:path w="327025" h="224154">
                  <a:moveTo>
                    <a:pt x="326760" y="30964"/>
                  </a:moveTo>
                  <a:lnTo>
                    <a:pt x="58335" y="30964"/>
                  </a:lnTo>
                  <a:lnTo>
                    <a:pt x="58404" y="774"/>
                  </a:lnTo>
                  <a:lnTo>
                    <a:pt x="63288" y="0"/>
                  </a:lnTo>
                  <a:lnTo>
                    <a:pt x="326760" y="0"/>
                  </a:lnTo>
                  <a:lnTo>
                    <a:pt x="326760" y="30964"/>
                  </a:lnTo>
                  <a:close/>
                </a:path>
                <a:path w="327025" h="224154">
                  <a:moveTo>
                    <a:pt x="326760" y="223758"/>
                  </a:moveTo>
                  <a:lnTo>
                    <a:pt x="0" y="223758"/>
                  </a:lnTo>
                  <a:lnTo>
                    <a:pt x="0" y="68848"/>
                  </a:lnTo>
                  <a:lnTo>
                    <a:pt x="10662" y="31911"/>
                  </a:lnTo>
                  <a:lnTo>
                    <a:pt x="11385" y="30895"/>
                  </a:lnTo>
                  <a:lnTo>
                    <a:pt x="326760" y="30964"/>
                  </a:lnTo>
                  <a:lnTo>
                    <a:pt x="326760" y="223758"/>
                  </a:lnTo>
                  <a:close/>
                </a:path>
              </a:pathLst>
            </a:custGeom>
            <a:solidFill>
              <a:srgbClr val="00247D"/>
            </a:solidFill>
          </p:spPr>
          <p:txBody>
            <a:bodyPr wrap="square" lIns="0" tIns="0" rIns="0" bIns="0" rtlCol="0"/>
            <a:lstStyle/>
            <a:p>
              <a:endParaRPr/>
            </a:p>
          </p:txBody>
        </p:sp>
        <p:sp>
          <p:nvSpPr>
            <p:cNvPr id="50" name="object 50"/>
            <p:cNvSpPr/>
            <p:nvPr/>
          </p:nvSpPr>
          <p:spPr>
            <a:xfrm>
              <a:off x="3277919" y="5936234"/>
              <a:ext cx="327025" cy="224154"/>
            </a:xfrm>
            <a:custGeom>
              <a:avLst/>
              <a:gdLst/>
              <a:ahLst/>
              <a:cxnLst/>
              <a:rect l="l" t="t" r="r" b="b"/>
              <a:pathLst>
                <a:path w="327025" h="224154">
                  <a:moveTo>
                    <a:pt x="326760" y="223758"/>
                  </a:moveTo>
                  <a:lnTo>
                    <a:pt x="286654" y="223758"/>
                  </a:lnTo>
                  <a:lnTo>
                    <a:pt x="206374" y="167491"/>
                  </a:lnTo>
                  <a:lnTo>
                    <a:pt x="206374" y="223758"/>
                  </a:lnTo>
                  <a:lnTo>
                    <a:pt x="120385" y="223758"/>
                  </a:lnTo>
                  <a:lnTo>
                    <a:pt x="120385" y="179557"/>
                  </a:lnTo>
                  <a:lnTo>
                    <a:pt x="57303" y="223758"/>
                  </a:lnTo>
                  <a:lnTo>
                    <a:pt x="0" y="223758"/>
                  </a:lnTo>
                  <a:lnTo>
                    <a:pt x="0" y="202518"/>
                  </a:lnTo>
                  <a:lnTo>
                    <a:pt x="66813" y="154909"/>
                  </a:lnTo>
                  <a:lnTo>
                    <a:pt x="0" y="154909"/>
                  </a:lnTo>
                  <a:lnTo>
                    <a:pt x="0" y="68848"/>
                  </a:lnTo>
                  <a:lnTo>
                    <a:pt x="65575" y="68848"/>
                  </a:lnTo>
                  <a:lnTo>
                    <a:pt x="11385" y="30895"/>
                  </a:lnTo>
                  <a:lnTo>
                    <a:pt x="13001" y="28451"/>
                  </a:lnTo>
                  <a:lnTo>
                    <a:pt x="16630" y="23942"/>
                  </a:lnTo>
                  <a:lnTo>
                    <a:pt x="80658" y="68848"/>
                  </a:lnTo>
                  <a:lnTo>
                    <a:pt x="110513" y="68848"/>
                  </a:lnTo>
                  <a:lnTo>
                    <a:pt x="29649" y="12220"/>
                  </a:lnTo>
                  <a:lnTo>
                    <a:pt x="36154" y="8190"/>
                  </a:lnTo>
                  <a:lnTo>
                    <a:pt x="43175" y="4909"/>
                  </a:lnTo>
                  <a:lnTo>
                    <a:pt x="50622" y="2422"/>
                  </a:lnTo>
                  <a:lnTo>
                    <a:pt x="58404" y="774"/>
                  </a:lnTo>
                  <a:lnTo>
                    <a:pt x="120385" y="44218"/>
                  </a:lnTo>
                  <a:lnTo>
                    <a:pt x="120385" y="0"/>
                  </a:lnTo>
                  <a:lnTo>
                    <a:pt x="206374" y="0"/>
                  </a:lnTo>
                  <a:lnTo>
                    <a:pt x="206374" y="56266"/>
                  </a:lnTo>
                  <a:lnTo>
                    <a:pt x="286672" y="0"/>
                  </a:lnTo>
                  <a:lnTo>
                    <a:pt x="326760" y="0"/>
                  </a:lnTo>
                  <a:lnTo>
                    <a:pt x="326760" y="34923"/>
                  </a:lnTo>
                  <a:lnTo>
                    <a:pt x="278365" y="68848"/>
                  </a:lnTo>
                  <a:lnTo>
                    <a:pt x="326760" y="68848"/>
                  </a:lnTo>
                  <a:lnTo>
                    <a:pt x="326760" y="154909"/>
                  </a:lnTo>
                  <a:lnTo>
                    <a:pt x="278348" y="154909"/>
                  </a:lnTo>
                  <a:lnTo>
                    <a:pt x="326760" y="188835"/>
                  </a:lnTo>
                  <a:lnTo>
                    <a:pt x="326760" y="223758"/>
                  </a:lnTo>
                  <a:close/>
                </a:path>
              </a:pathLst>
            </a:custGeom>
            <a:solidFill>
              <a:srgbClr val="EDEDED"/>
            </a:solidFill>
          </p:spPr>
          <p:txBody>
            <a:bodyPr wrap="square" lIns="0" tIns="0" rIns="0" bIns="0" rtlCol="0"/>
            <a:lstStyle/>
            <a:p>
              <a:endParaRPr/>
            </a:p>
          </p:txBody>
        </p:sp>
        <p:sp>
          <p:nvSpPr>
            <p:cNvPr id="51" name="object 51"/>
            <p:cNvSpPr/>
            <p:nvPr/>
          </p:nvSpPr>
          <p:spPr>
            <a:xfrm>
              <a:off x="3277908" y="5936246"/>
              <a:ext cx="327025" cy="224154"/>
            </a:xfrm>
            <a:custGeom>
              <a:avLst/>
              <a:gdLst/>
              <a:ahLst/>
              <a:cxnLst/>
              <a:rect l="l" t="t" r="r" b="b"/>
              <a:pathLst>
                <a:path w="327025" h="224154">
                  <a:moveTo>
                    <a:pt x="110502" y="68846"/>
                  </a:moveTo>
                  <a:lnTo>
                    <a:pt x="29654" y="12217"/>
                  </a:lnTo>
                  <a:lnTo>
                    <a:pt x="24815" y="15570"/>
                  </a:lnTo>
                  <a:lnTo>
                    <a:pt x="20472" y="19494"/>
                  </a:lnTo>
                  <a:lnTo>
                    <a:pt x="16637" y="23939"/>
                  </a:lnTo>
                  <a:lnTo>
                    <a:pt x="80657" y="68846"/>
                  </a:lnTo>
                  <a:lnTo>
                    <a:pt x="110502" y="68846"/>
                  </a:lnTo>
                  <a:close/>
                </a:path>
                <a:path w="327025" h="224154">
                  <a:moveTo>
                    <a:pt x="120396" y="154901"/>
                  </a:moveTo>
                  <a:lnTo>
                    <a:pt x="110705" y="154901"/>
                  </a:lnTo>
                  <a:lnTo>
                    <a:pt x="12623" y="223748"/>
                  </a:lnTo>
                  <a:lnTo>
                    <a:pt x="42329" y="223748"/>
                  </a:lnTo>
                  <a:lnTo>
                    <a:pt x="120396" y="169049"/>
                  </a:lnTo>
                  <a:lnTo>
                    <a:pt x="120396" y="154901"/>
                  </a:lnTo>
                  <a:close/>
                </a:path>
                <a:path w="327025" h="224154">
                  <a:moveTo>
                    <a:pt x="326771" y="199351"/>
                  </a:moveTo>
                  <a:lnTo>
                    <a:pt x="263359" y="154901"/>
                  </a:lnTo>
                  <a:lnTo>
                    <a:pt x="233375" y="154901"/>
                  </a:lnTo>
                  <a:lnTo>
                    <a:pt x="326771" y="220345"/>
                  </a:lnTo>
                  <a:lnTo>
                    <a:pt x="326771" y="199351"/>
                  </a:lnTo>
                  <a:close/>
                </a:path>
                <a:path w="327025" h="224154">
                  <a:moveTo>
                    <a:pt x="326771" y="85458"/>
                  </a:moveTo>
                  <a:lnTo>
                    <a:pt x="189179" y="85458"/>
                  </a:lnTo>
                  <a:lnTo>
                    <a:pt x="189179" y="330"/>
                  </a:lnTo>
                  <a:lnTo>
                    <a:pt x="137591" y="330"/>
                  </a:lnTo>
                  <a:lnTo>
                    <a:pt x="137591" y="85458"/>
                  </a:lnTo>
                  <a:lnTo>
                    <a:pt x="0" y="85458"/>
                  </a:lnTo>
                  <a:lnTo>
                    <a:pt x="0" y="137541"/>
                  </a:lnTo>
                  <a:lnTo>
                    <a:pt x="137591" y="137541"/>
                  </a:lnTo>
                  <a:lnTo>
                    <a:pt x="137591" y="223939"/>
                  </a:lnTo>
                  <a:lnTo>
                    <a:pt x="189179" y="223939"/>
                  </a:lnTo>
                  <a:lnTo>
                    <a:pt x="189179" y="137541"/>
                  </a:lnTo>
                  <a:lnTo>
                    <a:pt x="326771" y="137541"/>
                  </a:lnTo>
                  <a:lnTo>
                    <a:pt x="326771" y="85458"/>
                  </a:lnTo>
                  <a:close/>
                </a:path>
                <a:path w="327025" h="224154">
                  <a:moveTo>
                    <a:pt x="326771" y="0"/>
                  </a:moveTo>
                  <a:lnTo>
                    <a:pt x="301637" y="0"/>
                  </a:lnTo>
                  <a:lnTo>
                    <a:pt x="206375" y="66763"/>
                  </a:lnTo>
                  <a:lnTo>
                    <a:pt x="206375" y="68846"/>
                  </a:lnTo>
                  <a:lnTo>
                    <a:pt x="233400" y="68846"/>
                  </a:lnTo>
                  <a:lnTo>
                    <a:pt x="326771" y="3403"/>
                  </a:lnTo>
                  <a:lnTo>
                    <a:pt x="326771" y="0"/>
                  </a:lnTo>
                  <a:close/>
                </a:path>
              </a:pathLst>
            </a:custGeom>
            <a:solidFill>
              <a:srgbClr val="CF1B2A"/>
            </a:solidFill>
          </p:spPr>
          <p:txBody>
            <a:bodyPr wrap="square" lIns="0" tIns="0" rIns="0" bIns="0" rtlCol="0"/>
            <a:lstStyle/>
            <a:p>
              <a:endParaRPr/>
            </a:p>
          </p:txBody>
        </p:sp>
        <p:sp>
          <p:nvSpPr>
            <p:cNvPr id="52" name="object 52"/>
            <p:cNvSpPr/>
            <p:nvPr/>
          </p:nvSpPr>
          <p:spPr>
            <a:xfrm>
              <a:off x="3274518" y="4984390"/>
              <a:ext cx="647700" cy="466725"/>
            </a:xfrm>
            <a:custGeom>
              <a:avLst/>
              <a:gdLst/>
              <a:ahLst/>
              <a:cxnLst/>
              <a:rect l="l" t="t" r="r" b="b"/>
              <a:pathLst>
                <a:path w="647700" h="466725">
                  <a:moveTo>
                    <a:pt x="575316" y="466724"/>
                  </a:moveTo>
                  <a:lnTo>
                    <a:pt x="71914" y="466724"/>
                  </a:lnTo>
                  <a:lnTo>
                    <a:pt x="43923" y="461081"/>
                  </a:lnTo>
                  <a:lnTo>
                    <a:pt x="21064" y="445693"/>
                  </a:lnTo>
                  <a:lnTo>
                    <a:pt x="5651" y="422869"/>
                  </a:lnTo>
                  <a:lnTo>
                    <a:pt x="0" y="394921"/>
                  </a:lnTo>
                  <a:lnTo>
                    <a:pt x="0" y="71803"/>
                  </a:lnTo>
                  <a:lnTo>
                    <a:pt x="5651" y="43855"/>
                  </a:lnTo>
                  <a:lnTo>
                    <a:pt x="21064" y="21031"/>
                  </a:lnTo>
                  <a:lnTo>
                    <a:pt x="43923" y="5643"/>
                  </a:lnTo>
                  <a:lnTo>
                    <a:pt x="71914" y="0"/>
                  </a:lnTo>
                  <a:lnTo>
                    <a:pt x="575316" y="0"/>
                  </a:lnTo>
                  <a:lnTo>
                    <a:pt x="603307" y="5643"/>
                  </a:lnTo>
                  <a:lnTo>
                    <a:pt x="626166" y="21031"/>
                  </a:lnTo>
                  <a:lnTo>
                    <a:pt x="641579" y="43855"/>
                  </a:lnTo>
                  <a:lnTo>
                    <a:pt x="647230" y="71803"/>
                  </a:lnTo>
                  <a:lnTo>
                    <a:pt x="647230" y="394921"/>
                  </a:lnTo>
                  <a:lnTo>
                    <a:pt x="641579" y="422869"/>
                  </a:lnTo>
                  <a:lnTo>
                    <a:pt x="626166" y="445693"/>
                  </a:lnTo>
                  <a:lnTo>
                    <a:pt x="603307" y="461081"/>
                  </a:lnTo>
                  <a:lnTo>
                    <a:pt x="575316" y="466724"/>
                  </a:lnTo>
                  <a:close/>
                </a:path>
              </a:pathLst>
            </a:custGeom>
            <a:solidFill>
              <a:srgbClr val="EC1B23"/>
            </a:solidFill>
          </p:spPr>
          <p:txBody>
            <a:bodyPr wrap="square" lIns="0" tIns="0" rIns="0" bIns="0" rtlCol="0"/>
            <a:lstStyle/>
            <a:p>
              <a:endParaRPr/>
            </a:p>
          </p:txBody>
        </p:sp>
        <p:sp>
          <p:nvSpPr>
            <p:cNvPr id="53" name="object 53"/>
            <p:cNvSpPr/>
            <p:nvPr/>
          </p:nvSpPr>
          <p:spPr>
            <a:xfrm>
              <a:off x="3274518" y="5199802"/>
              <a:ext cx="647700" cy="125730"/>
            </a:xfrm>
            <a:custGeom>
              <a:avLst/>
              <a:gdLst/>
              <a:ahLst/>
              <a:cxnLst/>
              <a:rect l="l" t="t" r="r" b="b"/>
              <a:pathLst>
                <a:path w="647700" h="125729">
                  <a:moveTo>
                    <a:pt x="647230" y="125656"/>
                  </a:moveTo>
                  <a:lnTo>
                    <a:pt x="0" y="125656"/>
                  </a:lnTo>
                  <a:lnTo>
                    <a:pt x="0" y="0"/>
                  </a:lnTo>
                  <a:lnTo>
                    <a:pt x="647230" y="0"/>
                  </a:lnTo>
                  <a:lnTo>
                    <a:pt x="647230" y="125656"/>
                  </a:lnTo>
                  <a:close/>
                </a:path>
              </a:pathLst>
            </a:custGeom>
            <a:solidFill>
              <a:srgbClr val="034EA2"/>
            </a:solidFill>
          </p:spPr>
          <p:txBody>
            <a:bodyPr wrap="square" lIns="0" tIns="0" rIns="0" bIns="0" rtlCol="0"/>
            <a:lstStyle/>
            <a:p>
              <a:endParaRPr/>
            </a:p>
          </p:txBody>
        </p:sp>
        <p:sp>
          <p:nvSpPr>
            <p:cNvPr id="54" name="object 54"/>
            <p:cNvSpPr/>
            <p:nvPr/>
          </p:nvSpPr>
          <p:spPr>
            <a:xfrm>
              <a:off x="3274518" y="4984390"/>
              <a:ext cx="647700" cy="215900"/>
            </a:xfrm>
            <a:custGeom>
              <a:avLst/>
              <a:gdLst/>
              <a:ahLst/>
              <a:cxnLst/>
              <a:rect l="l" t="t" r="r" b="b"/>
              <a:pathLst>
                <a:path w="647700" h="215900">
                  <a:moveTo>
                    <a:pt x="647230" y="215411"/>
                  </a:moveTo>
                  <a:lnTo>
                    <a:pt x="0" y="215411"/>
                  </a:lnTo>
                  <a:lnTo>
                    <a:pt x="0" y="71803"/>
                  </a:lnTo>
                  <a:lnTo>
                    <a:pt x="5651" y="43855"/>
                  </a:lnTo>
                  <a:lnTo>
                    <a:pt x="21064" y="21031"/>
                  </a:lnTo>
                  <a:lnTo>
                    <a:pt x="43923" y="5643"/>
                  </a:lnTo>
                  <a:lnTo>
                    <a:pt x="71914" y="0"/>
                  </a:lnTo>
                  <a:lnTo>
                    <a:pt x="575316" y="0"/>
                  </a:lnTo>
                  <a:lnTo>
                    <a:pt x="603307" y="5643"/>
                  </a:lnTo>
                  <a:lnTo>
                    <a:pt x="626166" y="21031"/>
                  </a:lnTo>
                  <a:lnTo>
                    <a:pt x="641579" y="43855"/>
                  </a:lnTo>
                  <a:lnTo>
                    <a:pt x="647230" y="71803"/>
                  </a:lnTo>
                  <a:lnTo>
                    <a:pt x="647230" y="215411"/>
                  </a:lnTo>
                  <a:close/>
                </a:path>
              </a:pathLst>
            </a:custGeom>
            <a:solidFill>
              <a:srgbClr val="FFDD00"/>
            </a:solidFill>
          </p:spPr>
          <p:txBody>
            <a:bodyPr wrap="square" lIns="0" tIns="0" rIns="0" bIns="0" rtlCol="0"/>
            <a:lstStyle/>
            <a:p>
              <a:endParaRPr/>
            </a:p>
          </p:txBody>
        </p:sp>
        <p:pic>
          <p:nvPicPr>
            <p:cNvPr id="55" name="object 55"/>
            <p:cNvPicPr/>
            <p:nvPr/>
          </p:nvPicPr>
          <p:blipFill>
            <a:blip r:embed="rId7" cstate="print"/>
            <a:stretch>
              <a:fillRect/>
            </a:stretch>
          </p:blipFill>
          <p:spPr>
            <a:xfrm>
              <a:off x="3490262" y="5087916"/>
              <a:ext cx="215743" cy="237542"/>
            </a:xfrm>
            <a:prstGeom prst="rect">
              <a:avLst/>
            </a:prstGeom>
          </p:spPr>
        </p:pic>
        <p:pic>
          <p:nvPicPr>
            <p:cNvPr id="56" name="object 56"/>
            <p:cNvPicPr/>
            <p:nvPr/>
          </p:nvPicPr>
          <p:blipFill>
            <a:blip r:embed="rId8" cstate="print"/>
            <a:stretch>
              <a:fillRect/>
            </a:stretch>
          </p:blipFill>
          <p:spPr>
            <a:xfrm>
              <a:off x="7079102" y="4706549"/>
              <a:ext cx="885824" cy="561974"/>
            </a:xfrm>
            <a:prstGeom prst="rect">
              <a:avLst/>
            </a:prstGeom>
          </p:spPr>
        </p:pic>
        <p:sp>
          <p:nvSpPr>
            <p:cNvPr id="57" name="object 57"/>
            <p:cNvSpPr/>
            <p:nvPr/>
          </p:nvSpPr>
          <p:spPr>
            <a:xfrm>
              <a:off x="2182063" y="4988078"/>
              <a:ext cx="0" cy="4286250"/>
            </a:xfrm>
            <a:custGeom>
              <a:avLst/>
              <a:gdLst/>
              <a:ahLst/>
              <a:cxnLst/>
              <a:rect l="l" t="t" r="r" b="b"/>
              <a:pathLst>
                <a:path h="4286250">
                  <a:moveTo>
                    <a:pt x="0" y="0"/>
                  </a:moveTo>
                  <a:lnTo>
                    <a:pt x="0" y="4286253"/>
                  </a:lnTo>
                </a:path>
              </a:pathLst>
            </a:custGeom>
            <a:ln w="19067">
              <a:solidFill>
                <a:srgbClr val="D9D9D9"/>
              </a:solidFill>
            </a:ln>
          </p:spPr>
          <p:txBody>
            <a:bodyPr wrap="square" lIns="0" tIns="0" rIns="0" bIns="0" rtlCol="0"/>
            <a:lstStyle/>
            <a:p>
              <a:endParaRPr/>
            </a:p>
          </p:txBody>
        </p:sp>
        <p:pic>
          <p:nvPicPr>
            <p:cNvPr id="58" name="object 58"/>
            <p:cNvPicPr/>
            <p:nvPr/>
          </p:nvPicPr>
          <p:blipFill>
            <a:blip r:embed="rId9" cstate="print"/>
            <a:stretch>
              <a:fillRect/>
            </a:stretch>
          </p:blipFill>
          <p:spPr>
            <a:xfrm>
              <a:off x="5819108" y="5732359"/>
              <a:ext cx="2145073" cy="2176610"/>
            </a:xfrm>
            <a:prstGeom prst="rect">
              <a:avLst/>
            </a:prstGeom>
          </p:spPr>
        </p:pic>
        <p:pic>
          <p:nvPicPr>
            <p:cNvPr id="59" name="object 59"/>
            <p:cNvPicPr/>
            <p:nvPr/>
          </p:nvPicPr>
          <p:blipFill>
            <a:blip r:embed="rId10" cstate="print"/>
            <a:stretch>
              <a:fillRect/>
            </a:stretch>
          </p:blipFill>
          <p:spPr>
            <a:xfrm>
              <a:off x="8263388" y="4288909"/>
              <a:ext cx="2136127" cy="2093563"/>
            </a:xfrm>
            <a:prstGeom prst="rect">
              <a:avLst/>
            </a:prstGeom>
          </p:spPr>
        </p:pic>
        <p:pic>
          <p:nvPicPr>
            <p:cNvPr id="60" name="object 60"/>
            <p:cNvPicPr/>
            <p:nvPr/>
          </p:nvPicPr>
          <p:blipFill>
            <a:blip r:embed="rId11" cstate="print"/>
            <a:stretch>
              <a:fillRect/>
            </a:stretch>
          </p:blipFill>
          <p:spPr>
            <a:xfrm>
              <a:off x="7968172" y="5542960"/>
              <a:ext cx="1205426" cy="1145142"/>
            </a:xfrm>
            <a:prstGeom prst="rect">
              <a:avLst/>
            </a:prstGeom>
          </p:spPr>
        </p:pic>
        <p:sp>
          <p:nvSpPr>
            <p:cNvPr id="61" name="object 61"/>
            <p:cNvSpPr/>
            <p:nvPr/>
          </p:nvSpPr>
          <p:spPr>
            <a:xfrm>
              <a:off x="2482696" y="6775742"/>
              <a:ext cx="481330" cy="481330"/>
            </a:xfrm>
            <a:custGeom>
              <a:avLst/>
              <a:gdLst/>
              <a:ahLst/>
              <a:cxnLst/>
              <a:rect l="l" t="t" r="r" b="b"/>
              <a:pathLst>
                <a:path w="481330" h="481329">
                  <a:moveTo>
                    <a:pt x="240449" y="480898"/>
                  </a:moveTo>
                  <a:lnTo>
                    <a:pt x="191990" y="476013"/>
                  </a:lnTo>
                  <a:lnTo>
                    <a:pt x="146855" y="462002"/>
                  </a:lnTo>
                  <a:lnTo>
                    <a:pt x="106011" y="439833"/>
                  </a:lnTo>
                  <a:lnTo>
                    <a:pt x="70425" y="410472"/>
                  </a:lnTo>
                  <a:lnTo>
                    <a:pt x="41064" y="374887"/>
                  </a:lnTo>
                  <a:lnTo>
                    <a:pt x="18895" y="334043"/>
                  </a:lnTo>
                  <a:lnTo>
                    <a:pt x="4885" y="288908"/>
                  </a:lnTo>
                  <a:lnTo>
                    <a:pt x="0" y="240449"/>
                  </a:lnTo>
                  <a:lnTo>
                    <a:pt x="4885" y="191990"/>
                  </a:lnTo>
                  <a:lnTo>
                    <a:pt x="18895" y="146855"/>
                  </a:lnTo>
                  <a:lnTo>
                    <a:pt x="41064" y="106011"/>
                  </a:lnTo>
                  <a:lnTo>
                    <a:pt x="70425" y="70425"/>
                  </a:lnTo>
                  <a:lnTo>
                    <a:pt x="106011" y="41064"/>
                  </a:lnTo>
                  <a:lnTo>
                    <a:pt x="146855" y="18895"/>
                  </a:lnTo>
                  <a:lnTo>
                    <a:pt x="191990" y="4885"/>
                  </a:lnTo>
                  <a:lnTo>
                    <a:pt x="240449" y="0"/>
                  </a:lnTo>
                  <a:lnTo>
                    <a:pt x="288908" y="4885"/>
                  </a:lnTo>
                  <a:lnTo>
                    <a:pt x="334043" y="18895"/>
                  </a:lnTo>
                  <a:lnTo>
                    <a:pt x="374886" y="41064"/>
                  </a:lnTo>
                  <a:lnTo>
                    <a:pt x="410472" y="70425"/>
                  </a:lnTo>
                  <a:lnTo>
                    <a:pt x="439833" y="106011"/>
                  </a:lnTo>
                  <a:lnTo>
                    <a:pt x="462003" y="146855"/>
                  </a:lnTo>
                  <a:lnTo>
                    <a:pt x="476013" y="191990"/>
                  </a:lnTo>
                  <a:lnTo>
                    <a:pt x="480898" y="240449"/>
                  </a:lnTo>
                  <a:lnTo>
                    <a:pt x="476013" y="288908"/>
                  </a:lnTo>
                  <a:lnTo>
                    <a:pt x="462003" y="334043"/>
                  </a:lnTo>
                  <a:lnTo>
                    <a:pt x="439833" y="374887"/>
                  </a:lnTo>
                  <a:lnTo>
                    <a:pt x="410472" y="410472"/>
                  </a:lnTo>
                  <a:lnTo>
                    <a:pt x="374886" y="439833"/>
                  </a:lnTo>
                  <a:lnTo>
                    <a:pt x="334043" y="462002"/>
                  </a:lnTo>
                  <a:lnTo>
                    <a:pt x="288908" y="476013"/>
                  </a:lnTo>
                  <a:lnTo>
                    <a:pt x="240449" y="480898"/>
                  </a:lnTo>
                  <a:close/>
                </a:path>
              </a:pathLst>
            </a:custGeom>
            <a:solidFill>
              <a:srgbClr val="CD2028"/>
            </a:solidFill>
          </p:spPr>
          <p:txBody>
            <a:bodyPr wrap="square" lIns="0" tIns="0" rIns="0" bIns="0" rtlCol="0"/>
            <a:lstStyle/>
            <a:p>
              <a:endParaRPr/>
            </a:p>
          </p:txBody>
        </p:sp>
      </p:grpSp>
      <p:sp>
        <p:nvSpPr>
          <p:cNvPr id="62" name="object 62"/>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4.</a:t>
            </a:r>
            <a:r>
              <a:rPr spc="-70" dirty="0"/>
              <a:t> </a:t>
            </a:r>
            <a:r>
              <a:rPr spc="-30" dirty="0"/>
              <a:t>Situación</a:t>
            </a:r>
            <a:r>
              <a:rPr spc="-70" dirty="0"/>
              <a:t> </a:t>
            </a:r>
            <a:r>
              <a:rPr dirty="0"/>
              <a:t>de</a:t>
            </a:r>
            <a:r>
              <a:rPr spc="-65" dirty="0"/>
              <a:t> </a:t>
            </a:r>
            <a:r>
              <a:rPr spc="-10" dirty="0"/>
              <a:t>mercados</a:t>
            </a:r>
          </a:p>
        </p:txBody>
      </p:sp>
      <p:sp>
        <p:nvSpPr>
          <p:cNvPr id="63" name="object 63"/>
          <p:cNvSpPr txBox="1"/>
          <p:nvPr/>
        </p:nvSpPr>
        <p:spPr>
          <a:xfrm>
            <a:off x="1181694" y="5542497"/>
            <a:ext cx="615315" cy="172720"/>
          </a:xfrm>
          <a:prstGeom prst="rect">
            <a:avLst/>
          </a:prstGeom>
        </p:spPr>
        <p:txBody>
          <a:bodyPr vert="horz" wrap="square" lIns="0" tIns="14605" rIns="0" bIns="0" rtlCol="0">
            <a:spAutoFit/>
          </a:bodyPr>
          <a:lstStyle/>
          <a:p>
            <a:pPr marL="12700">
              <a:lnSpc>
                <a:spcPct val="100000"/>
              </a:lnSpc>
              <a:spcBef>
                <a:spcPts val="115"/>
              </a:spcBef>
            </a:pPr>
            <a:r>
              <a:rPr sz="950" b="1" dirty="0">
                <a:solidFill>
                  <a:srgbClr val="737373"/>
                </a:solidFill>
                <a:latin typeface="Roboto"/>
                <a:cs typeface="Roboto"/>
              </a:rPr>
              <a:t>Costa</a:t>
            </a:r>
            <a:r>
              <a:rPr sz="950" b="1" spc="5" dirty="0">
                <a:solidFill>
                  <a:srgbClr val="737373"/>
                </a:solidFill>
                <a:latin typeface="Roboto"/>
                <a:cs typeface="Roboto"/>
              </a:rPr>
              <a:t> </a:t>
            </a:r>
            <a:r>
              <a:rPr sz="950" b="1" spc="-20" dirty="0">
                <a:solidFill>
                  <a:srgbClr val="737373"/>
                </a:solidFill>
                <a:latin typeface="Roboto"/>
                <a:cs typeface="Roboto"/>
              </a:rPr>
              <a:t>Rica</a:t>
            </a:r>
            <a:endParaRPr sz="950">
              <a:latin typeface="Roboto"/>
              <a:cs typeface="Roboto"/>
            </a:endParaRPr>
          </a:p>
        </p:txBody>
      </p:sp>
      <p:sp>
        <p:nvSpPr>
          <p:cNvPr id="64" name="object 64"/>
          <p:cNvSpPr txBox="1"/>
          <p:nvPr/>
        </p:nvSpPr>
        <p:spPr>
          <a:xfrm>
            <a:off x="3372671" y="5542497"/>
            <a:ext cx="475615"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Ecuador</a:t>
            </a:r>
            <a:endParaRPr sz="950">
              <a:latin typeface="Roboto"/>
              <a:cs typeface="Roboto"/>
            </a:endParaRPr>
          </a:p>
        </p:txBody>
      </p:sp>
      <p:sp>
        <p:nvSpPr>
          <p:cNvPr id="65" name="object 65"/>
          <p:cNvSpPr txBox="1"/>
          <p:nvPr/>
        </p:nvSpPr>
        <p:spPr>
          <a:xfrm>
            <a:off x="1335776" y="7300586"/>
            <a:ext cx="283845" cy="172720"/>
          </a:xfrm>
          <a:prstGeom prst="rect">
            <a:avLst/>
          </a:prstGeom>
        </p:spPr>
        <p:txBody>
          <a:bodyPr vert="horz" wrap="square" lIns="0" tIns="14605" rIns="0" bIns="0" rtlCol="0">
            <a:spAutoFit/>
          </a:bodyPr>
          <a:lstStyle/>
          <a:p>
            <a:pPr marL="12700">
              <a:lnSpc>
                <a:spcPct val="100000"/>
              </a:lnSpc>
              <a:spcBef>
                <a:spcPts val="115"/>
              </a:spcBef>
            </a:pPr>
            <a:r>
              <a:rPr sz="950" b="1" spc="-20" dirty="0">
                <a:solidFill>
                  <a:srgbClr val="737373"/>
                </a:solidFill>
                <a:latin typeface="Roboto"/>
                <a:cs typeface="Roboto"/>
              </a:rPr>
              <a:t>Perú</a:t>
            </a:r>
            <a:endParaRPr sz="950">
              <a:latin typeface="Roboto"/>
              <a:cs typeface="Roboto"/>
            </a:endParaRPr>
          </a:p>
        </p:txBody>
      </p:sp>
      <p:sp>
        <p:nvSpPr>
          <p:cNvPr id="66" name="object 66"/>
          <p:cNvSpPr txBox="1"/>
          <p:nvPr/>
        </p:nvSpPr>
        <p:spPr>
          <a:xfrm>
            <a:off x="2654393" y="6877343"/>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8</a:t>
            </a:r>
            <a:endParaRPr sz="1500">
              <a:latin typeface="OpenSans-ExtraBold"/>
              <a:cs typeface="OpenSans-ExtraBold"/>
            </a:endParaRPr>
          </a:p>
        </p:txBody>
      </p:sp>
      <p:grpSp>
        <p:nvGrpSpPr>
          <p:cNvPr id="67" name="object 67"/>
          <p:cNvGrpSpPr/>
          <p:nvPr/>
        </p:nvGrpSpPr>
        <p:grpSpPr>
          <a:xfrm>
            <a:off x="514127" y="2441031"/>
            <a:ext cx="3379470" cy="4796790"/>
            <a:chOff x="514127" y="2441031"/>
            <a:chExt cx="3379470" cy="4796790"/>
          </a:xfrm>
        </p:grpSpPr>
        <p:pic>
          <p:nvPicPr>
            <p:cNvPr id="68" name="object 68"/>
            <p:cNvPicPr/>
            <p:nvPr/>
          </p:nvPicPr>
          <p:blipFill>
            <a:blip r:embed="rId12" cstate="print"/>
            <a:stretch>
              <a:fillRect/>
            </a:stretch>
          </p:blipFill>
          <p:spPr>
            <a:xfrm>
              <a:off x="3274284" y="6789810"/>
              <a:ext cx="223572" cy="223758"/>
            </a:xfrm>
            <a:prstGeom prst="rect">
              <a:avLst/>
            </a:prstGeom>
          </p:spPr>
        </p:pic>
        <p:sp>
          <p:nvSpPr>
            <p:cNvPr id="69" name="object 69"/>
            <p:cNvSpPr/>
            <p:nvPr/>
          </p:nvSpPr>
          <p:spPr>
            <a:xfrm>
              <a:off x="3497857" y="6789810"/>
              <a:ext cx="395605" cy="224154"/>
            </a:xfrm>
            <a:custGeom>
              <a:avLst/>
              <a:gdLst/>
              <a:ahLst/>
              <a:cxnLst/>
              <a:rect l="l" t="t" r="r" b="b"/>
              <a:pathLst>
                <a:path w="395604" h="224154">
                  <a:moveTo>
                    <a:pt x="395552" y="223758"/>
                  </a:moveTo>
                  <a:lnTo>
                    <a:pt x="0" y="223758"/>
                  </a:lnTo>
                  <a:lnTo>
                    <a:pt x="0" y="0"/>
                  </a:lnTo>
                  <a:lnTo>
                    <a:pt x="326760" y="0"/>
                  </a:lnTo>
                  <a:lnTo>
                    <a:pt x="353536" y="5410"/>
                  </a:lnTo>
                  <a:lnTo>
                    <a:pt x="375402" y="20166"/>
                  </a:lnTo>
                  <a:lnTo>
                    <a:pt x="390145" y="42050"/>
                  </a:lnTo>
                  <a:lnTo>
                    <a:pt x="395552" y="68848"/>
                  </a:lnTo>
                  <a:lnTo>
                    <a:pt x="395552" y="223758"/>
                  </a:lnTo>
                  <a:close/>
                </a:path>
              </a:pathLst>
            </a:custGeom>
            <a:solidFill>
              <a:srgbClr val="EDEDED"/>
            </a:solidFill>
          </p:spPr>
          <p:txBody>
            <a:bodyPr wrap="square" lIns="0" tIns="0" rIns="0" bIns="0" rtlCol="0"/>
            <a:lstStyle/>
            <a:p>
              <a:endParaRPr/>
            </a:p>
          </p:txBody>
        </p:sp>
        <p:sp>
          <p:nvSpPr>
            <p:cNvPr id="70" name="object 70"/>
            <p:cNvSpPr/>
            <p:nvPr/>
          </p:nvSpPr>
          <p:spPr>
            <a:xfrm>
              <a:off x="3274284" y="7013569"/>
              <a:ext cx="619125" cy="224154"/>
            </a:xfrm>
            <a:custGeom>
              <a:avLst/>
              <a:gdLst/>
              <a:ahLst/>
              <a:cxnLst/>
              <a:rect l="l" t="t" r="r" b="b"/>
              <a:pathLst>
                <a:path w="619125" h="224154">
                  <a:moveTo>
                    <a:pt x="550333" y="223758"/>
                  </a:moveTo>
                  <a:lnTo>
                    <a:pt x="68791" y="223758"/>
                  </a:lnTo>
                  <a:lnTo>
                    <a:pt x="42015" y="218347"/>
                  </a:lnTo>
                  <a:lnTo>
                    <a:pt x="20149" y="203592"/>
                  </a:lnTo>
                  <a:lnTo>
                    <a:pt x="5406" y="181707"/>
                  </a:lnTo>
                  <a:lnTo>
                    <a:pt x="0" y="154909"/>
                  </a:lnTo>
                  <a:lnTo>
                    <a:pt x="0" y="0"/>
                  </a:lnTo>
                  <a:lnTo>
                    <a:pt x="619124" y="0"/>
                  </a:lnTo>
                  <a:lnTo>
                    <a:pt x="619124" y="154909"/>
                  </a:lnTo>
                  <a:lnTo>
                    <a:pt x="613718" y="181707"/>
                  </a:lnTo>
                  <a:lnTo>
                    <a:pt x="598975" y="203592"/>
                  </a:lnTo>
                  <a:lnTo>
                    <a:pt x="577109" y="218347"/>
                  </a:lnTo>
                  <a:lnTo>
                    <a:pt x="550333" y="223758"/>
                  </a:lnTo>
                  <a:close/>
                </a:path>
              </a:pathLst>
            </a:custGeom>
            <a:solidFill>
              <a:srgbClr val="D42D26"/>
            </a:solidFill>
          </p:spPr>
          <p:txBody>
            <a:bodyPr wrap="square" lIns="0" tIns="0" rIns="0" bIns="0" rtlCol="0"/>
            <a:lstStyle/>
            <a:p>
              <a:endParaRPr/>
            </a:p>
          </p:txBody>
        </p:sp>
        <p:pic>
          <p:nvPicPr>
            <p:cNvPr id="71" name="object 71"/>
            <p:cNvPicPr/>
            <p:nvPr/>
          </p:nvPicPr>
          <p:blipFill>
            <a:blip r:embed="rId13" cstate="print"/>
            <a:stretch>
              <a:fillRect/>
            </a:stretch>
          </p:blipFill>
          <p:spPr>
            <a:xfrm>
              <a:off x="3332929" y="6850053"/>
              <a:ext cx="104735" cy="99693"/>
            </a:xfrm>
            <a:prstGeom prst="rect">
              <a:avLst/>
            </a:prstGeom>
          </p:spPr>
        </p:pic>
        <p:pic>
          <p:nvPicPr>
            <p:cNvPr id="72" name="object 72"/>
            <p:cNvPicPr/>
            <p:nvPr/>
          </p:nvPicPr>
          <p:blipFill>
            <a:blip r:embed="rId14" cstate="print"/>
            <a:stretch>
              <a:fillRect/>
            </a:stretch>
          </p:blipFill>
          <p:spPr>
            <a:xfrm>
              <a:off x="514127" y="2441031"/>
              <a:ext cx="140556" cy="140555"/>
            </a:xfrm>
            <a:prstGeom prst="rect">
              <a:avLst/>
            </a:prstGeom>
          </p:spPr>
        </p:pic>
        <p:pic>
          <p:nvPicPr>
            <p:cNvPr id="73" name="object 73"/>
            <p:cNvPicPr/>
            <p:nvPr/>
          </p:nvPicPr>
          <p:blipFill>
            <a:blip r:embed="rId14" cstate="print"/>
            <a:stretch>
              <a:fillRect/>
            </a:stretch>
          </p:blipFill>
          <p:spPr>
            <a:xfrm>
              <a:off x="514127" y="3459018"/>
              <a:ext cx="140556" cy="140555"/>
            </a:xfrm>
            <a:prstGeom prst="rect">
              <a:avLst/>
            </a:prstGeom>
          </p:spPr>
        </p:pic>
      </p:grpSp>
      <p:sp>
        <p:nvSpPr>
          <p:cNvPr id="74" name="object 74"/>
          <p:cNvSpPr txBox="1"/>
          <p:nvPr/>
        </p:nvSpPr>
        <p:spPr>
          <a:xfrm>
            <a:off x="3440019" y="7297370"/>
            <a:ext cx="305435"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Chile</a:t>
            </a:r>
            <a:endParaRPr sz="950">
              <a:latin typeface="Roboto"/>
              <a:cs typeface="Roboto"/>
            </a:endParaRPr>
          </a:p>
        </p:txBody>
      </p:sp>
      <p:sp>
        <p:nvSpPr>
          <p:cNvPr id="75" name="object 75"/>
          <p:cNvSpPr txBox="1"/>
          <p:nvPr/>
        </p:nvSpPr>
        <p:spPr>
          <a:xfrm>
            <a:off x="1163936" y="8985794"/>
            <a:ext cx="565150"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Argentina</a:t>
            </a:r>
            <a:endParaRPr sz="950">
              <a:latin typeface="Roboto"/>
              <a:cs typeface="Roboto"/>
            </a:endParaRPr>
          </a:p>
        </p:txBody>
      </p:sp>
      <p:sp>
        <p:nvSpPr>
          <p:cNvPr id="76" name="object 76"/>
          <p:cNvSpPr txBox="1"/>
          <p:nvPr/>
        </p:nvSpPr>
        <p:spPr>
          <a:xfrm>
            <a:off x="1259016" y="8148790"/>
            <a:ext cx="342265"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Brasil</a:t>
            </a:r>
            <a:endParaRPr sz="950">
              <a:latin typeface="Roboto"/>
              <a:cs typeface="Roboto"/>
            </a:endParaRPr>
          </a:p>
        </p:txBody>
      </p:sp>
      <p:sp>
        <p:nvSpPr>
          <p:cNvPr id="77" name="object 77"/>
          <p:cNvSpPr txBox="1"/>
          <p:nvPr/>
        </p:nvSpPr>
        <p:spPr>
          <a:xfrm>
            <a:off x="3363259" y="8147923"/>
            <a:ext cx="398145"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Bolivia</a:t>
            </a:r>
            <a:endParaRPr sz="950">
              <a:latin typeface="Roboto"/>
              <a:cs typeface="Roboto"/>
            </a:endParaRPr>
          </a:p>
        </p:txBody>
      </p:sp>
      <p:sp>
        <p:nvSpPr>
          <p:cNvPr id="78" name="object 78"/>
          <p:cNvSpPr txBox="1"/>
          <p:nvPr/>
        </p:nvSpPr>
        <p:spPr>
          <a:xfrm>
            <a:off x="1201456" y="6401968"/>
            <a:ext cx="549910"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Colombia</a:t>
            </a:r>
            <a:endParaRPr sz="950">
              <a:latin typeface="Roboto"/>
              <a:cs typeface="Roboto"/>
            </a:endParaRPr>
          </a:p>
        </p:txBody>
      </p:sp>
      <p:sp>
        <p:nvSpPr>
          <p:cNvPr id="79" name="object 79"/>
          <p:cNvSpPr txBox="1"/>
          <p:nvPr/>
        </p:nvSpPr>
        <p:spPr>
          <a:xfrm>
            <a:off x="3148091" y="6401968"/>
            <a:ext cx="846455" cy="172720"/>
          </a:xfrm>
          <a:prstGeom prst="rect">
            <a:avLst/>
          </a:prstGeom>
        </p:spPr>
        <p:txBody>
          <a:bodyPr vert="horz" wrap="square" lIns="0" tIns="14605" rIns="0" bIns="0" rtlCol="0">
            <a:spAutoFit/>
          </a:bodyPr>
          <a:lstStyle/>
          <a:p>
            <a:pPr marL="12700">
              <a:lnSpc>
                <a:spcPct val="100000"/>
              </a:lnSpc>
              <a:spcBef>
                <a:spcPts val="115"/>
              </a:spcBef>
            </a:pPr>
            <a:r>
              <a:rPr sz="950" b="1" dirty="0">
                <a:solidFill>
                  <a:srgbClr val="737373"/>
                </a:solidFill>
                <a:latin typeface="Roboto"/>
                <a:cs typeface="Roboto"/>
              </a:rPr>
              <a:t>Nueva</a:t>
            </a:r>
            <a:r>
              <a:rPr sz="950" b="1" spc="5" dirty="0">
                <a:solidFill>
                  <a:srgbClr val="737373"/>
                </a:solidFill>
                <a:latin typeface="Roboto"/>
                <a:cs typeface="Roboto"/>
              </a:rPr>
              <a:t> </a:t>
            </a:r>
            <a:r>
              <a:rPr sz="950" b="1" spc="-10" dirty="0">
                <a:solidFill>
                  <a:srgbClr val="737373"/>
                </a:solidFill>
                <a:latin typeface="Roboto"/>
                <a:cs typeface="Roboto"/>
              </a:rPr>
              <a:t>Zelanda</a:t>
            </a:r>
            <a:endParaRPr sz="950">
              <a:latin typeface="Roboto"/>
              <a:cs typeface="Roboto"/>
            </a:endParaRPr>
          </a:p>
        </p:txBody>
      </p:sp>
      <p:sp>
        <p:nvSpPr>
          <p:cNvPr id="80" name="object 80"/>
          <p:cNvSpPr txBox="1"/>
          <p:nvPr/>
        </p:nvSpPr>
        <p:spPr>
          <a:xfrm rot="16680000">
            <a:off x="7948033" y="8267792"/>
            <a:ext cx="659643" cy="209550"/>
          </a:xfrm>
          <a:prstGeom prst="rect">
            <a:avLst/>
          </a:prstGeom>
        </p:spPr>
        <p:txBody>
          <a:bodyPr vert="horz" wrap="square" lIns="0" tIns="0" rIns="0" bIns="0" rtlCol="0">
            <a:spAutoFit/>
          </a:bodyPr>
          <a:lstStyle/>
          <a:p>
            <a:pPr>
              <a:lnSpc>
                <a:spcPts val="1520"/>
              </a:lnSpc>
            </a:pPr>
            <a:r>
              <a:rPr sz="1650" b="1" spc="-15" dirty="0">
                <a:solidFill>
                  <a:srgbClr val="E3112B"/>
                </a:solidFill>
                <a:latin typeface="Arial"/>
                <a:cs typeface="Arial"/>
              </a:rPr>
              <a:t>CH</a:t>
            </a:r>
            <a:r>
              <a:rPr sz="2475" b="1" spc="-22" baseline="1683" dirty="0">
                <a:solidFill>
                  <a:srgbClr val="E3112B"/>
                </a:solidFill>
                <a:latin typeface="Arial"/>
                <a:cs typeface="Arial"/>
              </a:rPr>
              <a:t>ILE</a:t>
            </a:r>
            <a:endParaRPr sz="2475" baseline="1683">
              <a:latin typeface="Arial"/>
              <a:cs typeface="Arial"/>
            </a:endParaRPr>
          </a:p>
        </p:txBody>
      </p:sp>
      <p:pic>
        <p:nvPicPr>
          <p:cNvPr id="81" name="object 81"/>
          <p:cNvPicPr/>
          <p:nvPr/>
        </p:nvPicPr>
        <p:blipFill>
          <a:blip r:embed="rId15" cstate="print"/>
          <a:stretch>
            <a:fillRect/>
          </a:stretch>
        </p:blipFill>
        <p:spPr>
          <a:xfrm>
            <a:off x="17325975" y="237496"/>
            <a:ext cx="742949" cy="819149"/>
          </a:xfrm>
          <a:prstGeom prst="rect">
            <a:avLst/>
          </a:prstGeom>
        </p:spPr>
      </p:pic>
      <p:sp>
        <p:nvSpPr>
          <p:cNvPr id="82" name="object 82"/>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83" name="object 83"/>
          <p:cNvSpPr txBox="1"/>
          <p:nvPr/>
        </p:nvSpPr>
        <p:spPr>
          <a:xfrm>
            <a:off x="17811802" y="9932972"/>
            <a:ext cx="224154"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07</a:t>
            </a:r>
            <a:endParaRPr sz="900">
              <a:latin typeface="Arial"/>
              <a:cs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113692"/>
            <a:ext cx="17954625" cy="8676005"/>
            <a:chOff x="166956" y="1113692"/>
            <a:chExt cx="17954625" cy="8676005"/>
          </a:xfrm>
        </p:grpSpPr>
        <p:sp>
          <p:nvSpPr>
            <p:cNvPr id="3" name="object 3"/>
            <p:cNvSpPr/>
            <p:nvPr/>
          </p:nvSpPr>
          <p:spPr>
            <a:xfrm>
              <a:off x="4391353" y="1113692"/>
              <a:ext cx="13729969" cy="8675370"/>
            </a:xfrm>
            <a:custGeom>
              <a:avLst/>
              <a:gdLst/>
              <a:ahLst/>
              <a:cxnLst/>
              <a:rect l="l" t="t" r="r" b="b"/>
              <a:pathLst>
                <a:path w="13729969" h="8675370">
                  <a:moveTo>
                    <a:pt x="0" y="8675017"/>
                  </a:moveTo>
                  <a:lnTo>
                    <a:pt x="13729632" y="8675017"/>
                  </a:lnTo>
                  <a:lnTo>
                    <a:pt x="13729632"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6" y="1113692"/>
              <a:ext cx="4224655" cy="8676005"/>
            </a:xfrm>
            <a:custGeom>
              <a:avLst/>
              <a:gdLst/>
              <a:ahLst/>
              <a:cxnLst/>
              <a:rect l="l" t="t" r="r" b="b"/>
              <a:pathLst>
                <a:path w="4224655" h="8676005">
                  <a:moveTo>
                    <a:pt x="0" y="8675686"/>
                  </a:moveTo>
                  <a:lnTo>
                    <a:pt x="4224396" y="8675686"/>
                  </a:lnTo>
                  <a:lnTo>
                    <a:pt x="4224396" y="0"/>
                  </a:lnTo>
                  <a:lnTo>
                    <a:pt x="0" y="0"/>
                  </a:lnTo>
                  <a:lnTo>
                    <a:pt x="0" y="8675686"/>
                  </a:lnTo>
                  <a:close/>
                </a:path>
              </a:pathLst>
            </a:custGeom>
            <a:solidFill>
              <a:srgbClr val="FFFFFF"/>
            </a:solidFill>
          </p:spPr>
          <p:txBody>
            <a:bodyPr wrap="square" lIns="0" tIns="0" rIns="0" bIns="0" rtlCol="0"/>
            <a:lstStyle/>
            <a:p>
              <a:endParaRPr/>
            </a:p>
          </p:txBody>
        </p:sp>
      </p:grpSp>
      <p:grpSp>
        <p:nvGrpSpPr>
          <p:cNvPr id="5" name="object 5"/>
          <p:cNvGrpSpPr/>
          <p:nvPr/>
        </p:nvGrpSpPr>
        <p:grpSpPr>
          <a:xfrm>
            <a:off x="166956" y="177463"/>
            <a:ext cx="17954625" cy="1388745"/>
            <a:chOff x="166956" y="177463"/>
            <a:chExt cx="17954625" cy="1388745"/>
          </a:xfrm>
        </p:grpSpPr>
        <p:sp>
          <p:nvSpPr>
            <p:cNvPr id="6" name="object 6"/>
            <p:cNvSpPr/>
            <p:nvPr/>
          </p:nvSpPr>
          <p:spPr>
            <a:xfrm>
              <a:off x="166956" y="177463"/>
              <a:ext cx="4224655" cy="7620"/>
            </a:xfrm>
            <a:custGeom>
              <a:avLst/>
              <a:gdLst/>
              <a:ahLst/>
              <a:cxnLst/>
              <a:rect l="l" t="t" r="r" b="b"/>
              <a:pathLst>
                <a:path w="4224655" h="7619">
                  <a:moveTo>
                    <a:pt x="0" y="7367"/>
                  </a:moveTo>
                  <a:lnTo>
                    <a:pt x="4224396" y="7367"/>
                  </a:lnTo>
                  <a:lnTo>
                    <a:pt x="4224396" y="0"/>
                  </a:lnTo>
                  <a:lnTo>
                    <a:pt x="0" y="0"/>
                  </a:lnTo>
                  <a:lnTo>
                    <a:pt x="0" y="7367"/>
                  </a:lnTo>
                  <a:close/>
                </a:path>
              </a:pathLst>
            </a:custGeom>
            <a:solidFill>
              <a:srgbClr val="FFFFFF"/>
            </a:solidFill>
          </p:spPr>
          <p:txBody>
            <a:bodyPr wrap="square" lIns="0" tIns="0" rIns="0" bIns="0" rtlCol="0"/>
            <a:lstStyle/>
            <a:p>
              <a:endParaRPr/>
            </a:p>
          </p:txBody>
        </p:sp>
        <p:sp>
          <p:nvSpPr>
            <p:cNvPr id="7" name="object 7"/>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grpSp>
      <p:pic>
        <p:nvPicPr>
          <p:cNvPr id="8" name="object 8"/>
          <p:cNvPicPr/>
          <p:nvPr/>
        </p:nvPicPr>
        <p:blipFill>
          <a:blip r:embed="rId2" cstate="print"/>
          <a:stretch>
            <a:fillRect/>
          </a:stretch>
        </p:blipFill>
        <p:spPr>
          <a:xfrm>
            <a:off x="4583169" y="2585064"/>
            <a:ext cx="13704829" cy="6715124"/>
          </a:xfrm>
          <a:prstGeom prst="rect">
            <a:avLst/>
          </a:prstGeom>
        </p:spPr>
      </p:pic>
      <p:grpSp>
        <p:nvGrpSpPr>
          <p:cNvPr id="9" name="object 9"/>
          <p:cNvGrpSpPr/>
          <p:nvPr/>
        </p:nvGrpSpPr>
        <p:grpSpPr>
          <a:xfrm>
            <a:off x="1124060" y="5921730"/>
            <a:ext cx="638175" cy="466725"/>
            <a:chOff x="1124060" y="5921730"/>
            <a:chExt cx="638175" cy="466725"/>
          </a:xfrm>
        </p:grpSpPr>
        <p:sp>
          <p:nvSpPr>
            <p:cNvPr id="10" name="object 10"/>
            <p:cNvSpPr/>
            <p:nvPr/>
          </p:nvSpPr>
          <p:spPr>
            <a:xfrm>
              <a:off x="1124060" y="5921730"/>
              <a:ext cx="638175" cy="466725"/>
            </a:xfrm>
            <a:custGeom>
              <a:avLst/>
              <a:gdLst/>
              <a:ahLst/>
              <a:cxnLst/>
              <a:rect l="l" t="t" r="r" b="b"/>
              <a:pathLst>
                <a:path w="638175" h="466725">
                  <a:moveTo>
                    <a:pt x="567266" y="466591"/>
                  </a:moveTo>
                  <a:lnTo>
                    <a:pt x="70908" y="466591"/>
                  </a:lnTo>
                  <a:lnTo>
                    <a:pt x="43308" y="460949"/>
                  </a:lnTo>
                  <a:lnTo>
                    <a:pt x="20769" y="445565"/>
                  </a:lnTo>
                  <a:lnTo>
                    <a:pt x="5572" y="422748"/>
                  </a:lnTo>
                  <a:lnTo>
                    <a:pt x="0" y="394808"/>
                  </a:lnTo>
                  <a:lnTo>
                    <a:pt x="0" y="71783"/>
                  </a:lnTo>
                  <a:lnTo>
                    <a:pt x="5572" y="43843"/>
                  </a:lnTo>
                  <a:lnTo>
                    <a:pt x="20769" y="21025"/>
                  </a:lnTo>
                  <a:lnTo>
                    <a:pt x="43308" y="5641"/>
                  </a:lnTo>
                  <a:lnTo>
                    <a:pt x="70908" y="0"/>
                  </a:lnTo>
                  <a:lnTo>
                    <a:pt x="567266" y="0"/>
                  </a:lnTo>
                  <a:lnTo>
                    <a:pt x="594866" y="5641"/>
                  </a:lnTo>
                  <a:lnTo>
                    <a:pt x="617405" y="21025"/>
                  </a:lnTo>
                  <a:lnTo>
                    <a:pt x="632602" y="43843"/>
                  </a:lnTo>
                  <a:lnTo>
                    <a:pt x="638174" y="71783"/>
                  </a:lnTo>
                  <a:lnTo>
                    <a:pt x="638174" y="394808"/>
                  </a:lnTo>
                  <a:lnTo>
                    <a:pt x="632602" y="422748"/>
                  </a:lnTo>
                  <a:lnTo>
                    <a:pt x="617405" y="445565"/>
                  </a:lnTo>
                  <a:lnTo>
                    <a:pt x="594866" y="460949"/>
                  </a:lnTo>
                  <a:lnTo>
                    <a:pt x="567266" y="466591"/>
                  </a:lnTo>
                  <a:close/>
                </a:path>
              </a:pathLst>
            </a:custGeom>
            <a:solidFill>
              <a:srgbClr val="74AADA"/>
            </a:solidFill>
          </p:spPr>
          <p:txBody>
            <a:bodyPr wrap="square" lIns="0" tIns="0" rIns="0" bIns="0" rtlCol="0"/>
            <a:lstStyle/>
            <a:p>
              <a:endParaRPr/>
            </a:p>
          </p:txBody>
        </p:sp>
        <p:sp>
          <p:nvSpPr>
            <p:cNvPr id="11" name="object 11"/>
            <p:cNvSpPr/>
            <p:nvPr/>
          </p:nvSpPr>
          <p:spPr>
            <a:xfrm>
              <a:off x="1124060" y="6065297"/>
              <a:ext cx="638175" cy="179705"/>
            </a:xfrm>
            <a:custGeom>
              <a:avLst/>
              <a:gdLst/>
              <a:ahLst/>
              <a:cxnLst/>
              <a:rect l="l" t="t" r="r" b="b"/>
              <a:pathLst>
                <a:path w="638175" h="179704">
                  <a:moveTo>
                    <a:pt x="638174" y="179458"/>
                  </a:moveTo>
                  <a:lnTo>
                    <a:pt x="0" y="179458"/>
                  </a:lnTo>
                  <a:lnTo>
                    <a:pt x="0" y="0"/>
                  </a:lnTo>
                  <a:lnTo>
                    <a:pt x="638174" y="0"/>
                  </a:lnTo>
                  <a:lnTo>
                    <a:pt x="638174" y="179458"/>
                  </a:lnTo>
                  <a:close/>
                </a:path>
              </a:pathLst>
            </a:custGeom>
            <a:solidFill>
              <a:srgbClr val="EDEDED"/>
            </a:solidFill>
          </p:spPr>
          <p:txBody>
            <a:bodyPr wrap="square" lIns="0" tIns="0" rIns="0" bIns="0" rtlCol="0"/>
            <a:lstStyle/>
            <a:p>
              <a:endParaRPr/>
            </a:p>
          </p:txBody>
        </p:sp>
        <p:pic>
          <p:nvPicPr>
            <p:cNvPr id="12" name="object 12"/>
            <p:cNvPicPr/>
            <p:nvPr/>
          </p:nvPicPr>
          <p:blipFill>
            <a:blip r:embed="rId3" cstate="print"/>
            <a:stretch>
              <a:fillRect/>
            </a:stretch>
          </p:blipFill>
          <p:spPr>
            <a:xfrm>
              <a:off x="1354512" y="6065297"/>
              <a:ext cx="177270" cy="179458"/>
            </a:xfrm>
            <a:prstGeom prst="rect">
              <a:avLst/>
            </a:prstGeom>
          </p:spPr>
        </p:pic>
      </p:grpSp>
      <p:grpSp>
        <p:nvGrpSpPr>
          <p:cNvPr id="13" name="object 13"/>
          <p:cNvGrpSpPr/>
          <p:nvPr/>
        </p:nvGrpSpPr>
        <p:grpSpPr>
          <a:xfrm>
            <a:off x="1145183" y="5008674"/>
            <a:ext cx="638175" cy="466725"/>
            <a:chOff x="1145183" y="5008674"/>
            <a:chExt cx="638175" cy="466725"/>
          </a:xfrm>
        </p:grpSpPr>
        <p:sp>
          <p:nvSpPr>
            <p:cNvPr id="14" name="object 14"/>
            <p:cNvSpPr/>
            <p:nvPr/>
          </p:nvSpPr>
          <p:spPr>
            <a:xfrm>
              <a:off x="1145183" y="5008674"/>
              <a:ext cx="638175" cy="466725"/>
            </a:xfrm>
            <a:custGeom>
              <a:avLst/>
              <a:gdLst/>
              <a:ahLst/>
              <a:cxnLst/>
              <a:rect l="l" t="t" r="r" b="b"/>
              <a:pathLst>
                <a:path w="638175" h="466725">
                  <a:moveTo>
                    <a:pt x="567266" y="466591"/>
                  </a:moveTo>
                  <a:lnTo>
                    <a:pt x="70908" y="466591"/>
                  </a:lnTo>
                  <a:lnTo>
                    <a:pt x="43308" y="460949"/>
                  </a:lnTo>
                  <a:lnTo>
                    <a:pt x="20769" y="445565"/>
                  </a:lnTo>
                  <a:lnTo>
                    <a:pt x="5572" y="422748"/>
                  </a:lnTo>
                  <a:lnTo>
                    <a:pt x="0" y="394808"/>
                  </a:lnTo>
                  <a:lnTo>
                    <a:pt x="0" y="71783"/>
                  </a:lnTo>
                  <a:lnTo>
                    <a:pt x="5572" y="43843"/>
                  </a:lnTo>
                  <a:lnTo>
                    <a:pt x="20769" y="21025"/>
                  </a:lnTo>
                  <a:lnTo>
                    <a:pt x="43308" y="5641"/>
                  </a:lnTo>
                  <a:lnTo>
                    <a:pt x="70908" y="0"/>
                  </a:lnTo>
                  <a:lnTo>
                    <a:pt x="567266" y="0"/>
                  </a:lnTo>
                  <a:lnTo>
                    <a:pt x="594866" y="5641"/>
                  </a:lnTo>
                  <a:lnTo>
                    <a:pt x="617405" y="21025"/>
                  </a:lnTo>
                  <a:lnTo>
                    <a:pt x="632602" y="43843"/>
                  </a:lnTo>
                  <a:lnTo>
                    <a:pt x="638174" y="71783"/>
                  </a:lnTo>
                  <a:lnTo>
                    <a:pt x="638174" y="394808"/>
                  </a:lnTo>
                  <a:lnTo>
                    <a:pt x="632602" y="422748"/>
                  </a:lnTo>
                  <a:lnTo>
                    <a:pt x="617405" y="445565"/>
                  </a:lnTo>
                  <a:lnTo>
                    <a:pt x="594866" y="460949"/>
                  </a:lnTo>
                  <a:lnTo>
                    <a:pt x="567266" y="466591"/>
                  </a:lnTo>
                  <a:close/>
                </a:path>
              </a:pathLst>
            </a:custGeom>
            <a:solidFill>
              <a:srgbClr val="009A3A"/>
            </a:solidFill>
          </p:spPr>
          <p:txBody>
            <a:bodyPr wrap="square" lIns="0" tIns="0" rIns="0" bIns="0" rtlCol="0"/>
            <a:lstStyle/>
            <a:p>
              <a:endParaRPr/>
            </a:p>
          </p:txBody>
        </p:sp>
        <p:sp>
          <p:nvSpPr>
            <p:cNvPr id="15" name="object 15"/>
            <p:cNvSpPr/>
            <p:nvPr/>
          </p:nvSpPr>
          <p:spPr>
            <a:xfrm>
              <a:off x="1203186" y="5042323"/>
              <a:ext cx="522605" cy="399415"/>
            </a:xfrm>
            <a:custGeom>
              <a:avLst/>
              <a:gdLst/>
              <a:ahLst/>
              <a:cxnLst/>
              <a:rect l="l" t="t" r="r" b="b"/>
              <a:pathLst>
                <a:path w="522605" h="399414">
                  <a:moveTo>
                    <a:pt x="261084" y="399276"/>
                  </a:moveTo>
                  <a:lnTo>
                    <a:pt x="0" y="199647"/>
                  </a:lnTo>
                  <a:lnTo>
                    <a:pt x="261084" y="0"/>
                  </a:lnTo>
                  <a:lnTo>
                    <a:pt x="522168" y="199647"/>
                  </a:lnTo>
                  <a:lnTo>
                    <a:pt x="261084" y="399276"/>
                  </a:lnTo>
                  <a:close/>
                </a:path>
              </a:pathLst>
            </a:custGeom>
            <a:solidFill>
              <a:srgbClr val="FEDE00"/>
            </a:solidFill>
          </p:spPr>
          <p:txBody>
            <a:bodyPr wrap="square" lIns="0" tIns="0" rIns="0" bIns="0" rtlCol="0"/>
            <a:lstStyle/>
            <a:p>
              <a:endParaRPr/>
            </a:p>
          </p:txBody>
        </p:sp>
        <p:pic>
          <p:nvPicPr>
            <p:cNvPr id="16" name="object 16"/>
            <p:cNvPicPr/>
            <p:nvPr/>
          </p:nvPicPr>
          <p:blipFill>
            <a:blip r:embed="rId4" cstate="print"/>
            <a:stretch>
              <a:fillRect/>
            </a:stretch>
          </p:blipFill>
          <p:spPr>
            <a:xfrm>
              <a:off x="1349364" y="5124712"/>
              <a:ext cx="228963" cy="231788"/>
            </a:xfrm>
            <a:prstGeom prst="rect">
              <a:avLst/>
            </a:prstGeom>
          </p:spPr>
        </p:pic>
      </p:grpSp>
      <p:grpSp>
        <p:nvGrpSpPr>
          <p:cNvPr id="17" name="object 17"/>
          <p:cNvGrpSpPr/>
          <p:nvPr/>
        </p:nvGrpSpPr>
        <p:grpSpPr>
          <a:xfrm>
            <a:off x="1153655" y="6789794"/>
            <a:ext cx="638175" cy="466725"/>
            <a:chOff x="1153655" y="6789794"/>
            <a:chExt cx="638175" cy="466725"/>
          </a:xfrm>
        </p:grpSpPr>
        <p:sp>
          <p:nvSpPr>
            <p:cNvPr id="18" name="object 18"/>
            <p:cNvSpPr/>
            <p:nvPr/>
          </p:nvSpPr>
          <p:spPr>
            <a:xfrm>
              <a:off x="1153655" y="6789794"/>
              <a:ext cx="212725" cy="466725"/>
            </a:xfrm>
            <a:custGeom>
              <a:avLst/>
              <a:gdLst/>
              <a:ahLst/>
              <a:cxnLst/>
              <a:rect l="l" t="t" r="r" b="b"/>
              <a:pathLst>
                <a:path w="212725" h="466725">
                  <a:moveTo>
                    <a:pt x="212724" y="466591"/>
                  </a:moveTo>
                  <a:lnTo>
                    <a:pt x="70908" y="466591"/>
                  </a:lnTo>
                  <a:lnTo>
                    <a:pt x="43308" y="460949"/>
                  </a:lnTo>
                  <a:lnTo>
                    <a:pt x="20769" y="445565"/>
                  </a:lnTo>
                  <a:lnTo>
                    <a:pt x="5572" y="422748"/>
                  </a:lnTo>
                  <a:lnTo>
                    <a:pt x="0" y="394808"/>
                  </a:lnTo>
                  <a:lnTo>
                    <a:pt x="0" y="71783"/>
                  </a:lnTo>
                  <a:lnTo>
                    <a:pt x="5572" y="43843"/>
                  </a:lnTo>
                  <a:lnTo>
                    <a:pt x="20769" y="21025"/>
                  </a:lnTo>
                  <a:lnTo>
                    <a:pt x="43308" y="5641"/>
                  </a:lnTo>
                  <a:lnTo>
                    <a:pt x="70908" y="0"/>
                  </a:lnTo>
                  <a:lnTo>
                    <a:pt x="212724" y="0"/>
                  </a:lnTo>
                  <a:lnTo>
                    <a:pt x="212724" y="466591"/>
                  </a:lnTo>
                  <a:close/>
                </a:path>
              </a:pathLst>
            </a:custGeom>
            <a:solidFill>
              <a:srgbClr val="D90F23"/>
            </a:solidFill>
          </p:spPr>
          <p:txBody>
            <a:bodyPr wrap="square" lIns="0" tIns="0" rIns="0" bIns="0" rtlCol="0"/>
            <a:lstStyle/>
            <a:p>
              <a:endParaRPr/>
            </a:p>
          </p:txBody>
        </p:sp>
        <p:sp>
          <p:nvSpPr>
            <p:cNvPr id="19" name="object 19"/>
            <p:cNvSpPr/>
            <p:nvPr/>
          </p:nvSpPr>
          <p:spPr>
            <a:xfrm>
              <a:off x="1366380" y="6789794"/>
              <a:ext cx="212725" cy="466725"/>
            </a:xfrm>
            <a:custGeom>
              <a:avLst/>
              <a:gdLst/>
              <a:ahLst/>
              <a:cxnLst/>
              <a:rect l="l" t="t" r="r" b="b"/>
              <a:pathLst>
                <a:path w="212725" h="466725">
                  <a:moveTo>
                    <a:pt x="212724" y="466591"/>
                  </a:moveTo>
                  <a:lnTo>
                    <a:pt x="0" y="466591"/>
                  </a:lnTo>
                  <a:lnTo>
                    <a:pt x="0" y="0"/>
                  </a:lnTo>
                  <a:lnTo>
                    <a:pt x="212724" y="0"/>
                  </a:lnTo>
                  <a:lnTo>
                    <a:pt x="212724" y="466591"/>
                  </a:lnTo>
                  <a:close/>
                </a:path>
              </a:pathLst>
            </a:custGeom>
            <a:solidFill>
              <a:srgbClr val="EDEDED"/>
            </a:solidFill>
          </p:spPr>
          <p:txBody>
            <a:bodyPr wrap="square" lIns="0" tIns="0" rIns="0" bIns="0" rtlCol="0"/>
            <a:lstStyle/>
            <a:p>
              <a:endParaRPr/>
            </a:p>
          </p:txBody>
        </p:sp>
        <p:sp>
          <p:nvSpPr>
            <p:cNvPr id="20" name="object 20"/>
            <p:cNvSpPr/>
            <p:nvPr/>
          </p:nvSpPr>
          <p:spPr>
            <a:xfrm>
              <a:off x="1579105" y="6789794"/>
              <a:ext cx="212725" cy="466725"/>
            </a:xfrm>
            <a:custGeom>
              <a:avLst/>
              <a:gdLst/>
              <a:ahLst/>
              <a:cxnLst/>
              <a:rect l="l" t="t" r="r" b="b"/>
              <a:pathLst>
                <a:path w="212725" h="466725">
                  <a:moveTo>
                    <a:pt x="141816" y="466591"/>
                  </a:moveTo>
                  <a:lnTo>
                    <a:pt x="0" y="466591"/>
                  </a:lnTo>
                  <a:lnTo>
                    <a:pt x="0" y="0"/>
                  </a:lnTo>
                  <a:lnTo>
                    <a:pt x="141816" y="0"/>
                  </a:lnTo>
                  <a:lnTo>
                    <a:pt x="169416" y="5641"/>
                  </a:lnTo>
                  <a:lnTo>
                    <a:pt x="191955" y="21025"/>
                  </a:lnTo>
                  <a:lnTo>
                    <a:pt x="207152" y="43843"/>
                  </a:lnTo>
                  <a:lnTo>
                    <a:pt x="212724" y="71783"/>
                  </a:lnTo>
                  <a:lnTo>
                    <a:pt x="212724" y="394808"/>
                  </a:lnTo>
                  <a:lnTo>
                    <a:pt x="207152" y="422748"/>
                  </a:lnTo>
                  <a:lnTo>
                    <a:pt x="191955" y="445565"/>
                  </a:lnTo>
                  <a:lnTo>
                    <a:pt x="169416" y="460949"/>
                  </a:lnTo>
                  <a:lnTo>
                    <a:pt x="141816" y="466591"/>
                  </a:lnTo>
                  <a:close/>
                </a:path>
              </a:pathLst>
            </a:custGeom>
            <a:solidFill>
              <a:srgbClr val="D90F23"/>
            </a:solidFill>
          </p:spPr>
          <p:txBody>
            <a:bodyPr wrap="square" lIns="0" tIns="0" rIns="0" bIns="0" rtlCol="0"/>
            <a:lstStyle/>
            <a:p>
              <a:endParaRPr/>
            </a:p>
          </p:txBody>
        </p:sp>
      </p:grpSp>
      <p:pic>
        <p:nvPicPr>
          <p:cNvPr id="21" name="object 21"/>
          <p:cNvPicPr/>
          <p:nvPr/>
        </p:nvPicPr>
        <p:blipFill>
          <a:blip r:embed="rId5" cstate="print"/>
          <a:stretch>
            <a:fillRect/>
          </a:stretch>
        </p:blipFill>
        <p:spPr>
          <a:xfrm>
            <a:off x="3120114" y="5758838"/>
            <a:ext cx="952499" cy="666749"/>
          </a:xfrm>
          <a:prstGeom prst="rect">
            <a:avLst/>
          </a:prstGeom>
        </p:spPr>
      </p:pic>
      <p:grpSp>
        <p:nvGrpSpPr>
          <p:cNvPr id="22" name="object 22"/>
          <p:cNvGrpSpPr/>
          <p:nvPr/>
        </p:nvGrpSpPr>
        <p:grpSpPr>
          <a:xfrm>
            <a:off x="1170041" y="8480545"/>
            <a:ext cx="657225" cy="476250"/>
            <a:chOff x="1170041" y="8480545"/>
            <a:chExt cx="657225" cy="476250"/>
          </a:xfrm>
        </p:grpSpPr>
        <p:sp>
          <p:nvSpPr>
            <p:cNvPr id="23" name="object 23"/>
            <p:cNvSpPr/>
            <p:nvPr/>
          </p:nvSpPr>
          <p:spPr>
            <a:xfrm>
              <a:off x="1170041" y="8480545"/>
              <a:ext cx="657225" cy="238125"/>
            </a:xfrm>
            <a:custGeom>
              <a:avLst/>
              <a:gdLst/>
              <a:ahLst/>
              <a:cxnLst/>
              <a:rect l="l" t="t" r="r" b="b"/>
              <a:pathLst>
                <a:path w="657225" h="238125">
                  <a:moveTo>
                    <a:pt x="657225" y="238066"/>
                  </a:moveTo>
                  <a:lnTo>
                    <a:pt x="0" y="238066"/>
                  </a:lnTo>
                  <a:lnTo>
                    <a:pt x="0" y="73251"/>
                  </a:lnTo>
                  <a:lnTo>
                    <a:pt x="5739" y="44739"/>
                  </a:lnTo>
                  <a:lnTo>
                    <a:pt x="21389" y="21455"/>
                  </a:lnTo>
                  <a:lnTo>
                    <a:pt x="44601" y="5756"/>
                  </a:lnTo>
                  <a:lnTo>
                    <a:pt x="73025" y="0"/>
                  </a:lnTo>
                  <a:lnTo>
                    <a:pt x="584200" y="0"/>
                  </a:lnTo>
                  <a:lnTo>
                    <a:pt x="612623" y="5756"/>
                  </a:lnTo>
                  <a:lnTo>
                    <a:pt x="635835" y="21455"/>
                  </a:lnTo>
                  <a:lnTo>
                    <a:pt x="651485" y="44739"/>
                  </a:lnTo>
                  <a:lnTo>
                    <a:pt x="657225" y="73251"/>
                  </a:lnTo>
                  <a:lnTo>
                    <a:pt x="657225" y="238066"/>
                  </a:lnTo>
                  <a:close/>
                </a:path>
              </a:pathLst>
            </a:custGeom>
            <a:solidFill>
              <a:srgbClr val="FAD016"/>
            </a:solidFill>
          </p:spPr>
          <p:txBody>
            <a:bodyPr wrap="square" lIns="0" tIns="0" rIns="0" bIns="0" rtlCol="0"/>
            <a:lstStyle/>
            <a:p>
              <a:endParaRPr/>
            </a:p>
          </p:txBody>
        </p:sp>
        <p:sp>
          <p:nvSpPr>
            <p:cNvPr id="24" name="object 24"/>
            <p:cNvSpPr/>
            <p:nvPr/>
          </p:nvSpPr>
          <p:spPr>
            <a:xfrm>
              <a:off x="1170041" y="8718611"/>
              <a:ext cx="657225" cy="128270"/>
            </a:xfrm>
            <a:custGeom>
              <a:avLst/>
              <a:gdLst/>
              <a:ahLst/>
              <a:cxnLst/>
              <a:rect l="l" t="t" r="r" b="b"/>
              <a:pathLst>
                <a:path w="657225" h="128270">
                  <a:moveTo>
                    <a:pt x="657225" y="128189"/>
                  </a:moveTo>
                  <a:lnTo>
                    <a:pt x="0" y="128189"/>
                  </a:lnTo>
                  <a:lnTo>
                    <a:pt x="0" y="0"/>
                  </a:lnTo>
                  <a:lnTo>
                    <a:pt x="657225" y="0"/>
                  </a:lnTo>
                  <a:lnTo>
                    <a:pt x="657225" y="128189"/>
                  </a:lnTo>
                  <a:close/>
                </a:path>
              </a:pathLst>
            </a:custGeom>
            <a:solidFill>
              <a:srgbClr val="21408B"/>
            </a:solidFill>
          </p:spPr>
          <p:txBody>
            <a:bodyPr wrap="square" lIns="0" tIns="0" rIns="0" bIns="0" rtlCol="0"/>
            <a:lstStyle/>
            <a:p>
              <a:endParaRPr/>
            </a:p>
          </p:txBody>
        </p:sp>
        <p:sp>
          <p:nvSpPr>
            <p:cNvPr id="25" name="object 25"/>
            <p:cNvSpPr/>
            <p:nvPr/>
          </p:nvSpPr>
          <p:spPr>
            <a:xfrm>
              <a:off x="1170041" y="8846801"/>
              <a:ext cx="657225" cy="110489"/>
            </a:xfrm>
            <a:custGeom>
              <a:avLst/>
              <a:gdLst/>
              <a:ahLst/>
              <a:cxnLst/>
              <a:rect l="l" t="t" r="r" b="b"/>
              <a:pathLst>
                <a:path w="657225" h="110490">
                  <a:moveTo>
                    <a:pt x="584200" y="109876"/>
                  </a:moveTo>
                  <a:lnTo>
                    <a:pt x="73025" y="109876"/>
                  </a:lnTo>
                  <a:lnTo>
                    <a:pt x="44601" y="104120"/>
                  </a:lnTo>
                  <a:lnTo>
                    <a:pt x="21389" y="88421"/>
                  </a:lnTo>
                  <a:lnTo>
                    <a:pt x="5739" y="65137"/>
                  </a:lnTo>
                  <a:lnTo>
                    <a:pt x="0" y="36625"/>
                  </a:lnTo>
                  <a:lnTo>
                    <a:pt x="0" y="0"/>
                  </a:lnTo>
                  <a:lnTo>
                    <a:pt x="657225" y="0"/>
                  </a:lnTo>
                  <a:lnTo>
                    <a:pt x="657225" y="36625"/>
                  </a:lnTo>
                  <a:lnTo>
                    <a:pt x="651485" y="65137"/>
                  </a:lnTo>
                  <a:lnTo>
                    <a:pt x="635835" y="88421"/>
                  </a:lnTo>
                  <a:lnTo>
                    <a:pt x="612623" y="104120"/>
                  </a:lnTo>
                  <a:lnTo>
                    <a:pt x="584200" y="109876"/>
                  </a:lnTo>
                  <a:close/>
                </a:path>
              </a:pathLst>
            </a:custGeom>
            <a:solidFill>
              <a:srgbClr val="CD2028"/>
            </a:solidFill>
          </p:spPr>
          <p:txBody>
            <a:bodyPr wrap="square" lIns="0" tIns="0" rIns="0" bIns="0" rtlCol="0"/>
            <a:lstStyle/>
            <a:p>
              <a:endParaRPr/>
            </a:p>
          </p:txBody>
        </p:sp>
      </p:grpSp>
      <p:sp>
        <p:nvSpPr>
          <p:cNvPr id="26" name="object 26"/>
          <p:cNvSpPr/>
          <p:nvPr/>
        </p:nvSpPr>
        <p:spPr>
          <a:xfrm>
            <a:off x="378453" y="5008608"/>
            <a:ext cx="481330" cy="481330"/>
          </a:xfrm>
          <a:custGeom>
            <a:avLst/>
            <a:gdLst/>
            <a:ahLst/>
            <a:cxnLst/>
            <a:rect l="l" t="t" r="r" b="b"/>
            <a:pathLst>
              <a:path w="481330" h="481329">
                <a:moveTo>
                  <a:pt x="240449" y="480898"/>
                </a:moveTo>
                <a:lnTo>
                  <a:pt x="191990" y="476013"/>
                </a:lnTo>
                <a:lnTo>
                  <a:pt x="146855" y="462003"/>
                </a:lnTo>
                <a:lnTo>
                  <a:pt x="106011" y="439833"/>
                </a:lnTo>
                <a:lnTo>
                  <a:pt x="70425" y="410472"/>
                </a:lnTo>
                <a:lnTo>
                  <a:pt x="41064" y="374886"/>
                </a:lnTo>
                <a:lnTo>
                  <a:pt x="18895" y="334043"/>
                </a:lnTo>
                <a:lnTo>
                  <a:pt x="4884" y="288908"/>
                </a:lnTo>
                <a:lnTo>
                  <a:pt x="0" y="240448"/>
                </a:lnTo>
                <a:lnTo>
                  <a:pt x="4884" y="191990"/>
                </a:lnTo>
                <a:lnTo>
                  <a:pt x="18895" y="146855"/>
                </a:lnTo>
                <a:lnTo>
                  <a:pt x="41064" y="106011"/>
                </a:lnTo>
                <a:lnTo>
                  <a:pt x="70425" y="70426"/>
                </a:lnTo>
                <a:lnTo>
                  <a:pt x="106011" y="41065"/>
                </a:lnTo>
                <a:lnTo>
                  <a:pt x="146855" y="18895"/>
                </a:lnTo>
                <a:lnTo>
                  <a:pt x="191990" y="4885"/>
                </a:lnTo>
                <a:lnTo>
                  <a:pt x="240449" y="0"/>
                </a:lnTo>
                <a:lnTo>
                  <a:pt x="288908" y="4885"/>
                </a:lnTo>
                <a:lnTo>
                  <a:pt x="334043" y="18895"/>
                </a:lnTo>
                <a:lnTo>
                  <a:pt x="374886" y="41065"/>
                </a:lnTo>
                <a:lnTo>
                  <a:pt x="410472" y="70426"/>
                </a:lnTo>
                <a:lnTo>
                  <a:pt x="439833" y="106011"/>
                </a:lnTo>
                <a:lnTo>
                  <a:pt x="462003" y="146855"/>
                </a:lnTo>
                <a:lnTo>
                  <a:pt x="476013" y="191990"/>
                </a:lnTo>
                <a:lnTo>
                  <a:pt x="480898" y="240449"/>
                </a:lnTo>
                <a:lnTo>
                  <a:pt x="476013" y="288908"/>
                </a:lnTo>
                <a:lnTo>
                  <a:pt x="462003" y="334043"/>
                </a:lnTo>
                <a:lnTo>
                  <a:pt x="439833" y="374886"/>
                </a:lnTo>
                <a:lnTo>
                  <a:pt x="410472" y="410472"/>
                </a:lnTo>
                <a:lnTo>
                  <a:pt x="374886" y="439833"/>
                </a:lnTo>
                <a:lnTo>
                  <a:pt x="334043" y="462003"/>
                </a:lnTo>
                <a:lnTo>
                  <a:pt x="288908" y="476013"/>
                </a:lnTo>
                <a:lnTo>
                  <a:pt x="240449" y="480898"/>
                </a:lnTo>
                <a:close/>
              </a:path>
            </a:pathLst>
          </a:custGeom>
          <a:solidFill>
            <a:srgbClr val="0090AE"/>
          </a:solidFill>
        </p:spPr>
        <p:txBody>
          <a:bodyPr wrap="square" lIns="0" tIns="0" rIns="0" bIns="0" rtlCol="0"/>
          <a:lstStyle/>
          <a:p>
            <a:endParaRPr/>
          </a:p>
        </p:txBody>
      </p:sp>
      <p:sp>
        <p:nvSpPr>
          <p:cNvPr id="27" name="object 27"/>
          <p:cNvSpPr txBox="1"/>
          <p:nvPr/>
        </p:nvSpPr>
        <p:spPr>
          <a:xfrm>
            <a:off x="550151" y="5110207"/>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1</a:t>
            </a:r>
            <a:endParaRPr sz="1500">
              <a:latin typeface="OpenSans-ExtraBold"/>
              <a:cs typeface="OpenSans-ExtraBold"/>
            </a:endParaRPr>
          </a:p>
        </p:txBody>
      </p:sp>
      <p:sp>
        <p:nvSpPr>
          <p:cNvPr id="28" name="object 28"/>
          <p:cNvSpPr/>
          <p:nvPr/>
        </p:nvSpPr>
        <p:spPr>
          <a:xfrm>
            <a:off x="378453" y="5918903"/>
            <a:ext cx="481330" cy="481330"/>
          </a:xfrm>
          <a:custGeom>
            <a:avLst/>
            <a:gdLst/>
            <a:ahLst/>
            <a:cxnLst/>
            <a:rect l="l" t="t" r="r" b="b"/>
            <a:pathLst>
              <a:path w="481330" h="481329">
                <a:moveTo>
                  <a:pt x="240450" y="480898"/>
                </a:moveTo>
                <a:lnTo>
                  <a:pt x="191990" y="476013"/>
                </a:lnTo>
                <a:lnTo>
                  <a:pt x="146855" y="462003"/>
                </a:lnTo>
                <a:lnTo>
                  <a:pt x="106011" y="439833"/>
                </a:lnTo>
                <a:lnTo>
                  <a:pt x="70425" y="410472"/>
                </a:lnTo>
                <a:lnTo>
                  <a:pt x="41064" y="374886"/>
                </a:lnTo>
                <a:lnTo>
                  <a:pt x="18895" y="334042"/>
                </a:lnTo>
                <a:lnTo>
                  <a:pt x="4884" y="288908"/>
                </a:lnTo>
                <a:lnTo>
                  <a:pt x="0" y="240448"/>
                </a:lnTo>
                <a:lnTo>
                  <a:pt x="4884" y="191990"/>
                </a:lnTo>
                <a:lnTo>
                  <a:pt x="18895" y="146855"/>
                </a:lnTo>
                <a:lnTo>
                  <a:pt x="41064" y="106011"/>
                </a:lnTo>
                <a:lnTo>
                  <a:pt x="70425" y="70425"/>
                </a:lnTo>
                <a:lnTo>
                  <a:pt x="106011" y="41064"/>
                </a:lnTo>
                <a:lnTo>
                  <a:pt x="146855" y="18895"/>
                </a:lnTo>
                <a:lnTo>
                  <a:pt x="191990" y="4884"/>
                </a:lnTo>
                <a:lnTo>
                  <a:pt x="240447" y="0"/>
                </a:lnTo>
                <a:lnTo>
                  <a:pt x="288908" y="4884"/>
                </a:lnTo>
                <a:lnTo>
                  <a:pt x="334043" y="18895"/>
                </a:lnTo>
                <a:lnTo>
                  <a:pt x="374886" y="41064"/>
                </a:lnTo>
                <a:lnTo>
                  <a:pt x="410472" y="70425"/>
                </a:lnTo>
                <a:lnTo>
                  <a:pt x="439833" y="106011"/>
                </a:lnTo>
                <a:lnTo>
                  <a:pt x="462003" y="146855"/>
                </a:lnTo>
                <a:lnTo>
                  <a:pt x="476013" y="191990"/>
                </a:lnTo>
                <a:lnTo>
                  <a:pt x="480898" y="240449"/>
                </a:lnTo>
                <a:lnTo>
                  <a:pt x="476013" y="288908"/>
                </a:lnTo>
                <a:lnTo>
                  <a:pt x="462003" y="334042"/>
                </a:lnTo>
                <a:lnTo>
                  <a:pt x="439833" y="374886"/>
                </a:lnTo>
                <a:lnTo>
                  <a:pt x="410472" y="410472"/>
                </a:lnTo>
                <a:lnTo>
                  <a:pt x="374886" y="439833"/>
                </a:lnTo>
                <a:lnTo>
                  <a:pt x="334043" y="462003"/>
                </a:lnTo>
                <a:lnTo>
                  <a:pt x="288908" y="476013"/>
                </a:lnTo>
                <a:lnTo>
                  <a:pt x="240450" y="480898"/>
                </a:lnTo>
                <a:close/>
              </a:path>
            </a:pathLst>
          </a:custGeom>
          <a:solidFill>
            <a:srgbClr val="0090AE"/>
          </a:solidFill>
        </p:spPr>
        <p:txBody>
          <a:bodyPr wrap="square" lIns="0" tIns="0" rIns="0" bIns="0" rtlCol="0"/>
          <a:lstStyle/>
          <a:p>
            <a:endParaRPr/>
          </a:p>
        </p:txBody>
      </p:sp>
      <p:sp>
        <p:nvSpPr>
          <p:cNvPr id="29" name="object 29"/>
          <p:cNvSpPr txBox="1"/>
          <p:nvPr/>
        </p:nvSpPr>
        <p:spPr>
          <a:xfrm>
            <a:off x="550151" y="6020503"/>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2</a:t>
            </a:r>
            <a:endParaRPr sz="1500">
              <a:latin typeface="OpenSans-ExtraBold"/>
              <a:cs typeface="OpenSans-ExtraBold"/>
            </a:endParaRPr>
          </a:p>
        </p:txBody>
      </p:sp>
      <p:sp>
        <p:nvSpPr>
          <p:cNvPr id="30" name="object 30"/>
          <p:cNvSpPr/>
          <p:nvPr/>
        </p:nvSpPr>
        <p:spPr>
          <a:xfrm>
            <a:off x="2482696" y="5918903"/>
            <a:ext cx="481330" cy="481330"/>
          </a:xfrm>
          <a:custGeom>
            <a:avLst/>
            <a:gdLst/>
            <a:ahLst/>
            <a:cxnLst/>
            <a:rect l="l" t="t" r="r" b="b"/>
            <a:pathLst>
              <a:path w="481330" h="481329">
                <a:moveTo>
                  <a:pt x="240450" y="480898"/>
                </a:moveTo>
                <a:lnTo>
                  <a:pt x="191990" y="476013"/>
                </a:lnTo>
                <a:lnTo>
                  <a:pt x="146855" y="462003"/>
                </a:lnTo>
                <a:lnTo>
                  <a:pt x="106011" y="439833"/>
                </a:lnTo>
                <a:lnTo>
                  <a:pt x="70425" y="410472"/>
                </a:lnTo>
                <a:lnTo>
                  <a:pt x="41064" y="374886"/>
                </a:lnTo>
                <a:lnTo>
                  <a:pt x="18895" y="334042"/>
                </a:lnTo>
                <a:lnTo>
                  <a:pt x="4885" y="288908"/>
                </a:lnTo>
                <a:lnTo>
                  <a:pt x="0" y="240448"/>
                </a:lnTo>
                <a:lnTo>
                  <a:pt x="4885" y="191990"/>
                </a:lnTo>
                <a:lnTo>
                  <a:pt x="18895" y="146855"/>
                </a:lnTo>
                <a:lnTo>
                  <a:pt x="41064" y="106011"/>
                </a:lnTo>
                <a:lnTo>
                  <a:pt x="70425" y="70425"/>
                </a:lnTo>
                <a:lnTo>
                  <a:pt x="106011" y="41064"/>
                </a:lnTo>
                <a:lnTo>
                  <a:pt x="146855" y="18895"/>
                </a:lnTo>
                <a:lnTo>
                  <a:pt x="191990" y="4884"/>
                </a:lnTo>
                <a:lnTo>
                  <a:pt x="240447" y="0"/>
                </a:lnTo>
                <a:lnTo>
                  <a:pt x="288908" y="4884"/>
                </a:lnTo>
                <a:lnTo>
                  <a:pt x="334043" y="18895"/>
                </a:lnTo>
                <a:lnTo>
                  <a:pt x="374886" y="41064"/>
                </a:lnTo>
                <a:lnTo>
                  <a:pt x="410472" y="70425"/>
                </a:lnTo>
                <a:lnTo>
                  <a:pt x="439833" y="106011"/>
                </a:lnTo>
                <a:lnTo>
                  <a:pt x="462003" y="146855"/>
                </a:lnTo>
                <a:lnTo>
                  <a:pt x="476013" y="191990"/>
                </a:lnTo>
                <a:lnTo>
                  <a:pt x="480898" y="240449"/>
                </a:lnTo>
                <a:lnTo>
                  <a:pt x="476013" y="288908"/>
                </a:lnTo>
                <a:lnTo>
                  <a:pt x="462003" y="334042"/>
                </a:lnTo>
                <a:lnTo>
                  <a:pt x="439833" y="374886"/>
                </a:lnTo>
                <a:lnTo>
                  <a:pt x="410472" y="410472"/>
                </a:lnTo>
                <a:lnTo>
                  <a:pt x="374886" y="439833"/>
                </a:lnTo>
                <a:lnTo>
                  <a:pt x="334043" y="462003"/>
                </a:lnTo>
                <a:lnTo>
                  <a:pt x="288908" y="476013"/>
                </a:lnTo>
                <a:lnTo>
                  <a:pt x="240450" y="480898"/>
                </a:lnTo>
                <a:close/>
              </a:path>
            </a:pathLst>
          </a:custGeom>
          <a:solidFill>
            <a:srgbClr val="0090AE"/>
          </a:solidFill>
        </p:spPr>
        <p:txBody>
          <a:bodyPr wrap="square" lIns="0" tIns="0" rIns="0" bIns="0" rtlCol="0"/>
          <a:lstStyle/>
          <a:p>
            <a:endParaRPr/>
          </a:p>
        </p:txBody>
      </p:sp>
      <p:sp>
        <p:nvSpPr>
          <p:cNvPr id="31" name="object 31"/>
          <p:cNvSpPr txBox="1"/>
          <p:nvPr/>
        </p:nvSpPr>
        <p:spPr>
          <a:xfrm>
            <a:off x="2654393" y="6020503"/>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7</a:t>
            </a:r>
            <a:endParaRPr sz="1500">
              <a:latin typeface="OpenSans-ExtraBold"/>
              <a:cs typeface="OpenSans-ExtraBold"/>
            </a:endParaRPr>
          </a:p>
        </p:txBody>
      </p:sp>
      <p:sp>
        <p:nvSpPr>
          <p:cNvPr id="32" name="object 32"/>
          <p:cNvSpPr/>
          <p:nvPr/>
        </p:nvSpPr>
        <p:spPr>
          <a:xfrm>
            <a:off x="378453" y="6775739"/>
            <a:ext cx="481330" cy="481330"/>
          </a:xfrm>
          <a:custGeom>
            <a:avLst/>
            <a:gdLst/>
            <a:ahLst/>
            <a:cxnLst/>
            <a:rect l="l" t="t" r="r" b="b"/>
            <a:pathLst>
              <a:path w="481330" h="481329">
                <a:moveTo>
                  <a:pt x="240450" y="480898"/>
                </a:moveTo>
                <a:lnTo>
                  <a:pt x="191990" y="476013"/>
                </a:lnTo>
                <a:lnTo>
                  <a:pt x="146855" y="462003"/>
                </a:lnTo>
                <a:lnTo>
                  <a:pt x="106011" y="439833"/>
                </a:lnTo>
                <a:lnTo>
                  <a:pt x="70425" y="410472"/>
                </a:lnTo>
                <a:lnTo>
                  <a:pt x="41064" y="374887"/>
                </a:lnTo>
                <a:lnTo>
                  <a:pt x="18895" y="334043"/>
                </a:lnTo>
                <a:lnTo>
                  <a:pt x="4884" y="288908"/>
                </a:lnTo>
                <a:lnTo>
                  <a:pt x="0" y="240450"/>
                </a:lnTo>
                <a:lnTo>
                  <a:pt x="4884" y="191990"/>
                </a:lnTo>
                <a:lnTo>
                  <a:pt x="18895" y="146855"/>
                </a:lnTo>
                <a:lnTo>
                  <a:pt x="41064" y="106011"/>
                </a:lnTo>
                <a:lnTo>
                  <a:pt x="70425" y="70425"/>
                </a:lnTo>
                <a:lnTo>
                  <a:pt x="106011" y="41064"/>
                </a:lnTo>
                <a:lnTo>
                  <a:pt x="146855" y="18895"/>
                </a:lnTo>
                <a:lnTo>
                  <a:pt x="191990" y="4885"/>
                </a:lnTo>
                <a:lnTo>
                  <a:pt x="240448" y="0"/>
                </a:lnTo>
                <a:lnTo>
                  <a:pt x="288908" y="4885"/>
                </a:lnTo>
                <a:lnTo>
                  <a:pt x="334043" y="18895"/>
                </a:lnTo>
                <a:lnTo>
                  <a:pt x="374886" y="41064"/>
                </a:lnTo>
                <a:lnTo>
                  <a:pt x="410472" y="70425"/>
                </a:lnTo>
                <a:lnTo>
                  <a:pt x="439833" y="106011"/>
                </a:lnTo>
                <a:lnTo>
                  <a:pt x="462003" y="146855"/>
                </a:lnTo>
                <a:lnTo>
                  <a:pt x="476013" y="191990"/>
                </a:lnTo>
                <a:lnTo>
                  <a:pt x="480898" y="240448"/>
                </a:lnTo>
                <a:lnTo>
                  <a:pt x="476013" y="288908"/>
                </a:lnTo>
                <a:lnTo>
                  <a:pt x="462003" y="334043"/>
                </a:lnTo>
                <a:lnTo>
                  <a:pt x="439833" y="374887"/>
                </a:lnTo>
                <a:lnTo>
                  <a:pt x="410472" y="410472"/>
                </a:lnTo>
                <a:lnTo>
                  <a:pt x="374886" y="439833"/>
                </a:lnTo>
                <a:lnTo>
                  <a:pt x="334043" y="462003"/>
                </a:lnTo>
                <a:lnTo>
                  <a:pt x="288908" y="476013"/>
                </a:lnTo>
                <a:lnTo>
                  <a:pt x="240450" y="480898"/>
                </a:lnTo>
                <a:close/>
              </a:path>
            </a:pathLst>
          </a:custGeom>
          <a:solidFill>
            <a:srgbClr val="0090AE"/>
          </a:solidFill>
        </p:spPr>
        <p:txBody>
          <a:bodyPr wrap="square" lIns="0" tIns="0" rIns="0" bIns="0" rtlCol="0"/>
          <a:lstStyle/>
          <a:p>
            <a:endParaRPr/>
          </a:p>
        </p:txBody>
      </p:sp>
      <p:sp>
        <p:nvSpPr>
          <p:cNvPr id="33" name="object 33"/>
          <p:cNvSpPr txBox="1"/>
          <p:nvPr/>
        </p:nvSpPr>
        <p:spPr>
          <a:xfrm>
            <a:off x="550151" y="6877339"/>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3</a:t>
            </a:r>
            <a:endParaRPr sz="1500">
              <a:latin typeface="OpenSans-ExtraBold"/>
              <a:cs typeface="OpenSans-ExtraBold"/>
            </a:endParaRPr>
          </a:p>
        </p:txBody>
      </p:sp>
      <p:sp>
        <p:nvSpPr>
          <p:cNvPr id="34" name="object 34"/>
          <p:cNvSpPr/>
          <p:nvPr/>
        </p:nvSpPr>
        <p:spPr>
          <a:xfrm>
            <a:off x="2482696" y="6775739"/>
            <a:ext cx="481330" cy="481330"/>
          </a:xfrm>
          <a:custGeom>
            <a:avLst/>
            <a:gdLst/>
            <a:ahLst/>
            <a:cxnLst/>
            <a:rect l="l" t="t" r="r" b="b"/>
            <a:pathLst>
              <a:path w="481330" h="481329">
                <a:moveTo>
                  <a:pt x="240450" y="480898"/>
                </a:moveTo>
                <a:lnTo>
                  <a:pt x="191990" y="476013"/>
                </a:lnTo>
                <a:lnTo>
                  <a:pt x="146855" y="462003"/>
                </a:lnTo>
                <a:lnTo>
                  <a:pt x="106011" y="439833"/>
                </a:lnTo>
                <a:lnTo>
                  <a:pt x="70425" y="410472"/>
                </a:lnTo>
                <a:lnTo>
                  <a:pt x="41064" y="374887"/>
                </a:lnTo>
                <a:lnTo>
                  <a:pt x="18895" y="334043"/>
                </a:lnTo>
                <a:lnTo>
                  <a:pt x="4885" y="288908"/>
                </a:lnTo>
                <a:lnTo>
                  <a:pt x="0" y="240450"/>
                </a:lnTo>
                <a:lnTo>
                  <a:pt x="4885" y="191990"/>
                </a:lnTo>
                <a:lnTo>
                  <a:pt x="18895" y="146855"/>
                </a:lnTo>
                <a:lnTo>
                  <a:pt x="41064" y="106011"/>
                </a:lnTo>
                <a:lnTo>
                  <a:pt x="70425" y="70425"/>
                </a:lnTo>
                <a:lnTo>
                  <a:pt x="106011" y="41064"/>
                </a:lnTo>
                <a:lnTo>
                  <a:pt x="146855" y="18895"/>
                </a:lnTo>
                <a:lnTo>
                  <a:pt x="191990" y="4885"/>
                </a:lnTo>
                <a:lnTo>
                  <a:pt x="240448" y="0"/>
                </a:lnTo>
                <a:lnTo>
                  <a:pt x="288908" y="4885"/>
                </a:lnTo>
                <a:lnTo>
                  <a:pt x="334043" y="18895"/>
                </a:lnTo>
                <a:lnTo>
                  <a:pt x="374886" y="41064"/>
                </a:lnTo>
                <a:lnTo>
                  <a:pt x="410472" y="70425"/>
                </a:lnTo>
                <a:lnTo>
                  <a:pt x="439833" y="106011"/>
                </a:lnTo>
                <a:lnTo>
                  <a:pt x="462003" y="146855"/>
                </a:lnTo>
                <a:lnTo>
                  <a:pt x="476013" y="191990"/>
                </a:lnTo>
                <a:lnTo>
                  <a:pt x="480898" y="240449"/>
                </a:lnTo>
                <a:lnTo>
                  <a:pt x="476013" y="288908"/>
                </a:lnTo>
                <a:lnTo>
                  <a:pt x="462003" y="334043"/>
                </a:lnTo>
                <a:lnTo>
                  <a:pt x="439833" y="374887"/>
                </a:lnTo>
                <a:lnTo>
                  <a:pt x="410472" y="410472"/>
                </a:lnTo>
                <a:lnTo>
                  <a:pt x="374886" y="439833"/>
                </a:lnTo>
                <a:lnTo>
                  <a:pt x="334043" y="462003"/>
                </a:lnTo>
                <a:lnTo>
                  <a:pt x="288908" y="476013"/>
                </a:lnTo>
                <a:lnTo>
                  <a:pt x="240450" y="480898"/>
                </a:lnTo>
                <a:close/>
              </a:path>
            </a:pathLst>
          </a:custGeom>
          <a:solidFill>
            <a:srgbClr val="0090AE"/>
          </a:solidFill>
        </p:spPr>
        <p:txBody>
          <a:bodyPr wrap="square" lIns="0" tIns="0" rIns="0" bIns="0" rtlCol="0"/>
          <a:lstStyle/>
          <a:p>
            <a:endParaRPr/>
          </a:p>
        </p:txBody>
      </p:sp>
      <p:sp>
        <p:nvSpPr>
          <p:cNvPr id="35" name="object 35"/>
          <p:cNvSpPr txBox="1"/>
          <p:nvPr/>
        </p:nvSpPr>
        <p:spPr>
          <a:xfrm>
            <a:off x="2654393" y="6877339"/>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8</a:t>
            </a:r>
            <a:endParaRPr sz="1500">
              <a:latin typeface="OpenSans-ExtraBold"/>
              <a:cs typeface="OpenSans-ExtraBold"/>
            </a:endParaRPr>
          </a:p>
        </p:txBody>
      </p:sp>
      <p:sp>
        <p:nvSpPr>
          <p:cNvPr id="36" name="object 36"/>
          <p:cNvSpPr/>
          <p:nvPr/>
        </p:nvSpPr>
        <p:spPr>
          <a:xfrm>
            <a:off x="378453" y="7628114"/>
            <a:ext cx="481330" cy="481330"/>
          </a:xfrm>
          <a:custGeom>
            <a:avLst/>
            <a:gdLst/>
            <a:ahLst/>
            <a:cxnLst/>
            <a:rect l="l" t="t" r="r" b="b"/>
            <a:pathLst>
              <a:path w="481330" h="481329">
                <a:moveTo>
                  <a:pt x="240450" y="480898"/>
                </a:moveTo>
                <a:lnTo>
                  <a:pt x="191990" y="476013"/>
                </a:lnTo>
                <a:lnTo>
                  <a:pt x="146855" y="462003"/>
                </a:lnTo>
                <a:lnTo>
                  <a:pt x="106011" y="439833"/>
                </a:lnTo>
                <a:lnTo>
                  <a:pt x="70425" y="410472"/>
                </a:lnTo>
                <a:lnTo>
                  <a:pt x="41064" y="374887"/>
                </a:lnTo>
                <a:lnTo>
                  <a:pt x="18895" y="334043"/>
                </a:lnTo>
                <a:lnTo>
                  <a:pt x="4884" y="288908"/>
                </a:lnTo>
                <a:lnTo>
                  <a:pt x="0" y="240448"/>
                </a:lnTo>
                <a:lnTo>
                  <a:pt x="4884" y="191990"/>
                </a:lnTo>
                <a:lnTo>
                  <a:pt x="18895" y="146855"/>
                </a:lnTo>
                <a:lnTo>
                  <a:pt x="41064" y="106011"/>
                </a:lnTo>
                <a:lnTo>
                  <a:pt x="70425" y="70425"/>
                </a:lnTo>
                <a:lnTo>
                  <a:pt x="106011" y="41064"/>
                </a:lnTo>
                <a:lnTo>
                  <a:pt x="146855" y="18895"/>
                </a:lnTo>
                <a:lnTo>
                  <a:pt x="191990" y="4885"/>
                </a:lnTo>
                <a:lnTo>
                  <a:pt x="240449" y="0"/>
                </a:lnTo>
                <a:lnTo>
                  <a:pt x="288908" y="4885"/>
                </a:lnTo>
                <a:lnTo>
                  <a:pt x="334043" y="18895"/>
                </a:lnTo>
                <a:lnTo>
                  <a:pt x="374886" y="41064"/>
                </a:lnTo>
                <a:lnTo>
                  <a:pt x="410472" y="70425"/>
                </a:lnTo>
                <a:lnTo>
                  <a:pt x="439833" y="106011"/>
                </a:lnTo>
                <a:lnTo>
                  <a:pt x="462003" y="146855"/>
                </a:lnTo>
                <a:lnTo>
                  <a:pt x="476013" y="191990"/>
                </a:lnTo>
                <a:lnTo>
                  <a:pt x="480898" y="240449"/>
                </a:lnTo>
                <a:lnTo>
                  <a:pt x="476013" y="288908"/>
                </a:lnTo>
                <a:lnTo>
                  <a:pt x="462003" y="334043"/>
                </a:lnTo>
                <a:lnTo>
                  <a:pt x="439833" y="374887"/>
                </a:lnTo>
                <a:lnTo>
                  <a:pt x="410472" y="410472"/>
                </a:lnTo>
                <a:lnTo>
                  <a:pt x="374886" y="439833"/>
                </a:lnTo>
                <a:lnTo>
                  <a:pt x="334043" y="462003"/>
                </a:lnTo>
                <a:lnTo>
                  <a:pt x="288908" y="476013"/>
                </a:lnTo>
                <a:lnTo>
                  <a:pt x="240450" y="480898"/>
                </a:lnTo>
                <a:close/>
              </a:path>
            </a:pathLst>
          </a:custGeom>
          <a:solidFill>
            <a:srgbClr val="0090AE"/>
          </a:solidFill>
        </p:spPr>
        <p:txBody>
          <a:bodyPr wrap="square" lIns="0" tIns="0" rIns="0" bIns="0" rtlCol="0"/>
          <a:lstStyle/>
          <a:p>
            <a:endParaRPr/>
          </a:p>
        </p:txBody>
      </p:sp>
      <p:sp>
        <p:nvSpPr>
          <p:cNvPr id="37" name="object 37"/>
          <p:cNvSpPr txBox="1"/>
          <p:nvPr/>
        </p:nvSpPr>
        <p:spPr>
          <a:xfrm>
            <a:off x="550151" y="7729714"/>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4</a:t>
            </a:r>
            <a:endParaRPr sz="1500">
              <a:latin typeface="OpenSans-ExtraBold"/>
              <a:cs typeface="OpenSans-ExtraBold"/>
            </a:endParaRPr>
          </a:p>
        </p:txBody>
      </p:sp>
      <p:sp>
        <p:nvSpPr>
          <p:cNvPr id="38" name="object 38"/>
          <p:cNvSpPr/>
          <p:nvPr/>
        </p:nvSpPr>
        <p:spPr>
          <a:xfrm>
            <a:off x="2482696" y="7628114"/>
            <a:ext cx="481330" cy="481330"/>
          </a:xfrm>
          <a:custGeom>
            <a:avLst/>
            <a:gdLst/>
            <a:ahLst/>
            <a:cxnLst/>
            <a:rect l="l" t="t" r="r" b="b"/>
            <a:pathLst>
              <a:path w="481330" h="481329">
                <a:moveTo>
                  <a:pt x="240450" y="480898"/>
                </a:moveTo>
                <a:lnTo>
                  <a:pt x="191990" y="476013"/>
                </a:lnTo>
                <a:lnTo>
                  <a:pt x="146855" y="462003"/>
                </a:lnTo>
                <a:lnTo>
                  <a:pt x="106011" y="439833"/>
                </a:lnTo>
                <a:lnTo>
                  <a:pt x="70425" y="410472"/>
                </a:lnTo>
                <a:lnTo>
                  <a:pt x="41064" y="374887"/>
                </a:lnTo>
                <a:lnTo>
                  <a:pt x="18895" y="334043"/>
                </a:lnTo>
                <a:lnTo>
                  <a:pt x="4885" y="288908"/>
                </a:lnTo>
                <a:lnTo>
                  <a:pt x="0" y="240449"/>
                </a:lnTo>
                <a:lnTo>
                  <a:pt x="4885" y="191990"/>
                </a:lnTo>
                <a:lnTo>
                  <a:pt x="18895" y="146855"/>
                </a:lnTo>
                <a:lnTo>
                  <a:pt x="41064" y="106011"/>
                </a:lnTo>
                <a:lnTo>
                  <a:pt x="70425" y="70425"/>
                </a:lnTo>
                <a:lnTo>
                  <a:pt x="106011" y="41064"/>
                </a:lnTo>
                <a:lnTo>
                  <a:pt x="146855" y="18895"/>
                </a:lnTo>
                <a:lnTo>
                  <a:pt x="191990" y="4885"/>
                </a:lnTo>
                <a:lnTo>
                  <a:pt x="240449" y="0"/>
                </a:lnTo>
                <a:lnTo>
                  <a:pt x="288908" y="4885"/>
                </a:lnTo>
                <a:lnTo>
                  <a:pt x="334043" y="18895"/>
                </a:lnTo>
                <a:lnTo>
                  <a:pt x="374886" y="41064"/>
                </a:lnTo>
                <a:lnTo>
                  <a:pt x="410472" y="70425"/>
                </a:lnTo>
                <a:lnTo>
                  <a:pt x="439833" y="106011"/>
                </a:lnTo>
                <a:lnTo>
                  <a:pt x="462003" y="146855"/>
                </a:lnTo>
                <a:lnTo>
                  <a:pt x="476013" y="191990"/>
                </a:lnTo>
                <a:lnTo>
                  <a:pt x="480898" y="240449"/>
                </a:lnTo>
                <a:lnTo>
                  <a:pt x="476013" y="288908"/>
                </a:lnTo>
                <a:lnTo>
                  <a:pt x="462003" y="334043"/>
                </a:lnTo>
                <a:lnTo>
                  <a:pt x="439833" y="374887"/>
                </a:lnTo>
                <a:lnTo>
                  <a:pt x="410472" y="410472"/>
                </a:lnTo>
                <a:lnTo>
                  <a:pt x="374886" y="439833"/>
                </a:lnTo>
                <a:lnTo>
                  <a:pt x="334043" y="462003"/>
                </a:lnTo>
                <a:lnTo>
                  <a:pt x="288908" y="476013"/>
                </a:lnTo>
                <a:lnTo>
                  <a:pt x="240450" y="480898"/>
                </a:lnTo>
                <a:close/>
              </a:path>
            </a:pathLst>
          </a:custGeom>
          <a:solidFill>
            <a:srgbClr val="0090AE"/>
          </a:solidFill>
        </p:spPr>
        <p:txBody>
          <a:bodyPr wrap="square" lIns="0" tIns="0" rIns="0" bIns="0" rtlCol="0"/>
          <a:lstStyle/>
          <a:p>
            <a:endParaRPr/>
          </a:p>
        </p:txBody>
      </p:sp>
      <p:sp>
        <p:nvSpPr>
          <p:cNvPr id="39" name="object 39"/>
          <p:cNvSpPr txBox="1"/>
          <p:nvPr/>
        </p:nvSpPr>
        <p:spPr>
          <a:xfrm>
            <a:off x="2654393" y="7729714"/>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9</a:t>
            </a:r>
            <a:endParaRPr sz="1500">
              <a:latin typeface="OpenSans-ExtraBold"/>
              <a:cs typeface="OpenSans-ExtraBold"/>
            </a:endParaRPr>
          </a:p>
        </p:txBody>
      </p:sp>
      <p:sp>
        <p:nvSpPr>
          <p:cNvPr id="40" name="object 40"/>
          <p:cNvSpPr/>
          <p:nvPr/>
        </p:nvSpPr>
        <p:spPr>
          <a:xfrm>
            <a:off x="378453" y="8480487"/>
            <a:ext cx="481330" cy="481330"/>
          </a:xfrm>
          <a:custGeom>
            <a:avLst/>
            <a:gdLst/>
            <a:ahLst/>
            <a:cxnLst/>
            <a:rect l="l" t="t" r="r" b="b"/>
            <a:pathLst>
              <a:path w="481330" h="481329">
                <a:moveTo>
                  <a:pt x="240449" y="480898"/>
                </a:moveTo>
                <a:lnTo>
                  <a:pt x="191990" y="476013"/>
                </a:lnTo>
                <a:lnTo>
                  <a:pt x="146855" y="462002"/>
                </a:lnTo>
                <a:lnTo>
                  <a:pt x="106011" y="439833"/>
                </a:lnTo>
                <a:lnTo>
                  <a:pt x="70425" y="410472"/>
                </a:lnTo>
                <a:lnTo>
                  <a:pt x="41064" y="374886"/>
                </a:lnTo>
                <a:lnTo>
                  <a:pt x="18895" y="334043"/>
                </a:lnTo>
                <a:lnTo>
                  <a:pt x="4884" y="288908"/>
                </a:lnTo>
                <a:lnTo>
                  <a:pt x="0" y="240448"/>
                </a:lnTo>
                <a:lnTo>
                  <a:pt x="4884" y="191990"/>
                </a:lnTo>
                <a:lnTo>
                  <a:pt x="18895" y="146855"/>
                </a:lnTo>
                <a:lnTo>
                  <a:pt x="41064" y="106011"/>
                </a:lnTo>
                <a:lnTo>
                  <a:pt x="70425" y="70425"/>
                </a:lnTo>
                <a:lnTo>
                  <a:pt x="106011" y="41064"/>
                </a:lnTo>
                <a:lnTo>
                  <a:pt x="146855" y="18895"/>
                </a:lnTo>
                <a:lnTo>
                  <a:pt x="191990" y="4885"/>
                </a:lnTo>
                <a:lnTo>
                  <a:pt x="240449" y="0"/>
                </a:lnTo>
                <a:lnTo>
                  <a:pt x="288908" y="4885"/>
                </a:lnTo>
                <a:lnTo>
                  <a:pt x="334043" y="18895"/>
                </a:lnTo>
                <a:lnTo>
                  <a:pt x="374886" y="41064"/>
                </a:lnTo>
                <a:lnTo>
                  <a:pt x="410472" y="70425"/>
                </a:lnTo>
                <a:lnTo>
                  <a:pt x="439833" y="106011"/>
                </a:lnTo>
                <a:lnTo>
                  <a:pt x="462003" y="146855"/>
                </a:lnTo>
                <a:lnTo>
                  <a:pt x="476013" y="191990"/>
                </a:lnTo>
                <a:lnTo>
                  <a:pt x="480898" y="240449"/>
                </a:lnTo>
                <a:lnTo>
                  <a:pt x="476013" y="288908"/>
                </a:lnTo>
                <a:lnTo>
                  <a:pt x="462003" y="334043"/>
                </a:lnTo>
                <a:lnTo>
                  <a:pt x="439833" y="374886"/>
                </a:lnTo>
                <a:lnTo>
                  <a:pt x="410472" y="410472"/>
                </a:lnTo>
                <a:lnTo>
                  <a:pt x="374886" y="439833"/>
                </a:lnTo>
                <a:lnTo>
                  <a:pt x="334043" y="462002"/>
                </a:lnTo>
                <a:lnTo>
                  <a:pt x="288908" y="476013"/>
                </a:lnTo>
                <a:lnTo>
                  <a:pt x="240449" y="480898"/>
                </a:lnTo>
                <a:close/>
              </a:path>
            </a:pathLst>
          </a:custGeom>
          <a:solidFill>
            <a:srgbClr val="0090AE"/>
          </a:solidFill>
        </p:spPr>
        <p:txBody>
          <a:bodyPr wrap="square" lIns="0" tIns="0" rIns="0" bIns="0" rtlCol="0"/>
          <a:lstStyle/>
          <a:p>
            <a:endParaRPr/>
          </a:p>
        </p:txBody>
      </p:sp>
      <p:sp>
        <p:nvSpPr>
          <p:cNvPr id="41" name="object 41"/>
          <p:cNvSpPr txBox="1"/>
          <p:nvPr/>
        </p:nvSpPr>
        <p:spPr>
          <a:xfrm>
            <a:off x="550151" y="8582087"/>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5</a:t>
            </a:r>
            <a:endParaRPr sz="1500">
              <a:latin typeface="OpenSans-ExtraBold"/>
              <a:cs typeface="OpenSans-ExtraBold"/>
            </a:endParaRPr>
          </a:p>
        </p:txBody>
      </p:sp>
      <p:grpSp>
        <p:nvGrpSpPr>
          <p:cNvPr id="42" name="object 42"/>
          <p:cNvGrpSpPr/>
          <p:nvPr/>
        </p:nvGrpSpPr>
        <p:grpSpPr>
          <a:xfrm>
            <a:off x="3265953" y="7646806"/>
            <a:ext cx="638175" cy="466725"/>
            <a:chOff x="3265953" y="7646806"/>
            <a:chExt cx="638175" cy="466725"/>
          </a:xfrm>
        </p:grpSpPr>
        <p:sp>
          <p:nvSpPr>
            <p:cNvPr id="43" name="object 43"/>
            <p:cNvSpPr/>
            <p:nvPr/>
          </p:nvSpPr>
          <p:spPr>
            <a:xfrm>
              <a:off x="3265953" y="7646806"/>
              <a:ext cx="638175" cy="466725"/>
            </a:xfrm>
            <a:custGeom>
              <a:avLst/>
              <a:gdLst/>
              <a:ahLst/>
              <a:cxnLst/>
              <a:rect l="l" t="t" r="r" b="b"/>
              <a:pathLst>
                <a:path w="638175" h="466725">
                  <a:moveTo>
                    <a:pt x="566901" y="466725"/>
                  </a:moveTo>
                  <a:lnTo>
                    <a:pt x="70862" y="466725"/>
                  </a:lnTo>
                  <a:lnTo>
                    <a:pt x="43280" y="461081"/>
                  </a:lnTo>
                  <a:lnTo>
                    <a:pt x="20756" y="445693"/>
                  </a:lnTo>
                  <a:lnTo>
                    <a:pt x="5569" y="422869"/>
                  </a:lnTo>
                  <a:lnTo>
                    <a:pt x="0" y="394921"/>
                  </a:lnTo>
                  <a:lnTo>
                    <a:pt x="0" y="71803"/>
                  </a:lnTo>
                  <a:lnTo>
                    <a:pt x="5569" y="43855"/>
                  </a:lnTo>
                  <a:lnTo>
                    <a:pt x="20756" y="21031"/>
                  </a:lnTo>
                  <a:lnTo>
                    <a:pt x="43280" y="5643"/>
                  </a:lnTo>
                  <a:lnTo>
                    <a:pt x="70862" y="0"/>
                  </a:lnTo>
                  <a:lnTo>
                    <a:pt x="566901" y="0"/>
                  </a:lnTo>
                  <a:lnTo>
                    <a:pt x="594483" y="5643"/>
                  </a:lnTo>
                  <a:lnTo>
                    <a:pt x="617008" y="21031"/>
                  </a:lnTo>
                  <a:lnTo>
                    <a:pt x="632195" y="43855"/>
                  </a:lnTo>
                  <a:lnTo>
                    <a:pt x="637764" y="71803"/>
                  </a:lnTo>
                  <a:lnTo>
                    <a:pt x="637764" y="394921"/>
                  </a:lnTo>
                  <a:lnTo>
                    <a:pt x="632195" y="422869"/>
                  </a:lnTo>
                  <a:lnTo>
                    <a:pt x="617008" y="445693"/>
                  </a:lnTo>
                  <a:lnTo>
                    <a:pt x="594483" y="461081"/>
                  </a:lnTo>
                  <a:lnTo>
                    <a:pt x="566901" y="466725"/>
                  </a:lnTo>
                  <a:close/>
                </a:path>
              </a:pathLst>
            </a:custGeom>
            <a:solidFill>
              <a:srgbClr val="007833"/>
            </a:solidFill>
          </p:spPr>
          <p:txBody>
            <a:bodyPr wrap="square" lIns="0" tIns="0" rIns="0" bIns="0" rtlCol="0"/>
            <a:lstStyle/>
            <a:p>
              <a:endParaRPr/>
            </a:p>
          </p:txBody>
        </p:sp>
        <p:sp>
          <p:nvSpPr>
            <p:cNvPr id="44" name="object 44"/>
            <p:cNvSpPr/>
            <p:nvPr/>
          </p:nvSpPr>
          <p:spPr>
            <a:xfrm>
              <a:off x="3265953" y="7790413"/>
              <a:ext cx="638175" cy="179705"/>
            </a:xfrm>
            <a:custGeom>
              <a:avLst/>
              <a:gdLst/>
              <a:ahLst/>
              <a:cxnLst/>
              <a:rect l="l" t="t" r="r" b="b"/>
              <a:pathLst>
                <a:path w="638175" h="179704">
                  <a:moveTo>
                    <a:pt x="637764" y="179509"/>
                  </a:moveTo>
                  <a:lnTo>
                    <a:pt x="0" y="179509"/>
                  </a:lnTo>
                  <a:lnTo>
                    <a:pt x="0" y="0"/>
                  </a:lnTo>
                  <a:lnTo>
                    <a:pt x="637764" y="0"/>
                  </a:lnTo>
                  <a:lnTo>
                    <a:pt x="637764" y="179509"/>
                  </a:lnTo>
                  <a:close/>
                </a:path>
              </a:pathLst>
            </a:custGeom>
            <a:solidFill>
              <a:srgbClr val="FFDF00"/>
            </a:solidFill>
          </p:spPr>
          <p:txBody>
            <a:bodyPr wrap="square" lIns="0" tIns="0" rIns="0" bIns="0" rtlCol="0"/>
            <a:lstStyle/>
            <a:p>
              <a:endParaRPr/>
            </a:p>
          </p:txBody>
        </p:sp>
        <p:sp>
          <p:nvSpPr>
            <p:cNvPr id="45" name="object 45"/>
            <p:cNvSpPr/>
            <p:nvPr/>
          </p:nvSpPr>
          <p:spPr>
            <a:xfrm>
              <a:off x="3265953" y="7646806"/>
              <a:ext cx="638175" cy="144145"/>
            </a:xfrm>
            <a:custGeom>
              <a:avLst/>
              <a:gdLst/>
              <a:ahLst/>
              <a:cxnLst/>
              <a:rect l="l" t="t" r="r" b="b"/>
              <a:pathLst>
                <a:path w="638175" h="144145">
                  <a:moveTo>
                    <a:pt x="637764" y="143607"/>
                  </a:moveTo>
                  <a:lnTo>
                    <a:pt x="0" y="143607"/>
                  </a:lnTo>
                  <a:lnTo>
                    <a:pt x="0" y="71803"/>
                  </a:lnTo>
                  <a:lnTo>
                    <a:pt x="5569" y="43855"/>
                  </a:lnTo>
                  <a:lnTo>
                    <a:pt x="20756" y="21031"/>
                  </a:lnTo>
                  <a:lnTo>
                    <a:pt x="43280" y="5643"/>
                  </a:lnTo>
                  <a:lnTo>
                    <a:pt x="70862" y="0"/>
                  </a:lnTo>
                  <a:lnTo>
                    <a:pt x="566901" y="0"/>
                  </a:lnTo>
                  <a:lnTo>
                    <a:pt x="594483" y="5643"/>
                  </a:lnTo>
                  <a:lnTo>
                    <a:pt x="617008" y="21031"/>
                  </a:lnTo>
                  <a:lnTo>
                    <a:pt x="632195" y="43855"/>
                  </a:lnTo>
                  <a:lnTo>
                    <a:pt x="637764" y="71803"/>
                  </a:lnTo>
                  <a:lnTo>
                    <a:pt x="637764" y="143607"/>
                  </a:lnTo>
                  <a:close/>
                </a:path>
              </a:pathLst>
            </a:custGeom>
            <a:solidFill>
              <a:srgbClr val="D52A1D"/>
            </a:solidFill>
          </p:spPr>
          <p:txBody>
            <a:bodyPr wrap="square" lIns="0" tIns="0" rIns="0" bIns="0" rtlCol="0"/>
            <a:lstStyle/>
            <a:p>
              <a:endParaRPr/>
            </a:p>
          </p:txBody>
        </p:sp>
        <p:pic>
          <p:nvPicPr>
            <p:cNvPr id="46" name="object 46"/>
            <p:cNvPicPr/>
            <p:nvPr/>
          </p:nvPicPr>
          <p:blipFill>
            <a:blip r:embed="rId6" cstate="print"/>
            <a:stretch>
              <a:fillRect/>
            </a:stretch>
          </p:blipFill>
          <p:spPr>
            <a:xfrm>
              <a:off x="3494379" y="7799102"/>
              <a:ext cx="180894" cy="162294"/>
            </a:xfrm>
            <a:prstGeom prst="rect">
              <a:avLst/>
            </a:prstGeom>
          </p:spPr>
        </p:pic>
      </p:grpSp>
      <p:grpSp>
        <p:nvGrpSpPr>
          <p:cNvPr id="47" name="object 47"/>
          <p:cNvGrpSpPr/>
          <p:nvPr/>
        </p:nvGrpSpPr>
        <p:grpSpPr>
          <a:xfrm>
            <a:off x="1164595" y="7695987"/>
            <a:ext cx="619125" cy="447675"/>
            <a:chOff x="1164595" y="7695987"/>
            <a:chExt cx="619125" cy="447675"/>
          </a:xfrm>
        </p:grpSpPr>
        <p:sp>
          <p:nvSpPr>
            <p:cNvPr id="48" name="object 48"/>
            <p:cNvSpPr/>
            <p:nvPr/>
          </p:nvSpPr>
          <p:spPr>
            <a:xfrm>
              <a:off x="1164595" y="7695987"/>
              <a:ext cx="619125" cy="447675"/>
            </a:xfrm>
            <a:custGeom>
              <a:avLst/>
              <a:gdLst/>
              <a:ahLst/>
              <a:cxnLst/>
              <a:rect l="l" t="t" r="r" b="b"/>
              <a:pathLst>
                <a:path w="619125" h="447675">
                  <a:moveTo>
                    <a:pt x="550333" y="447517"/>
                  </a:moveTo>
                  <a:lnTo>
                    <a:pt x="68791" y="447517"/>
                  </a:lnTo>
                  <a:lnTo>
                    <a:pt x="42015" y="442106"/>
                  </a:lnTo>
                  <a:lnTo>
                    <a:pt x="20149" y="427351"/>
                  </a:lnTo>
                  <a:lnTo>
                    <a:pt x="5406" y="405466"/>
                  </a:lnTo>
                  <a:lnTo>
                    <a:pt x="0" y="378668"/>
                  </a:lnTo>
                  <a:lnTo>
                    <a:pt x="0" y="68848"/>
                  </a:lnTo>
                  <a:lnTo>
                    <a:pt x="767" y="58530"/>
                  </a:lnTo>
                  <a:lnTo>
                    <a:pt x="2996" y="48691"/>
                  </a:lnTo>
                  <a:lnTo>
                    <a:pt x="6573" y="39442"/>
                  </a:lnTo>
                  <a:lnTo>
                    <a:pt x="11385" y="30895"/>
                  </a:lnTo>
                  <a:lnTo>
                    <a:pt x="58335" y="30964"/>
                  </a:lnTo>
                  <a:lnTo>
                    <a:pt x="58404" y="774"/>
                  </a:lnTo>
                  <a:lnTo>
                    <a:pt x="65266" y="0"/>
                  </a:lnTo>
                  <a:lnTo>
                    <a:pt x="550333" y="0"/>
                  </a:lnTo>
                  <a:lnTo>
                    <a:pt x="577109" y="5410"/>
                  </a:lnTo>
                  <a:lnTo>
                    <a:pt x="598975" y="20166"/>
                  </a:lnTo>
                  <a:lnTo>
                    <a:pt x="613718" y="42050"/>
                  </a:lnTo>
                  <a:lnTo>
                    <a:pt x="619124" y="68848"/>
                  </a:lnTo>
                  <a:lnTo>
                    <a:pt x="619124" y="378668"/>
                  </a:lnTo>
                  <a:lnTo>
                    <a:pt x="613718" y="405466"/>
                  </a:lnTo>
                  <a:lnTo>
                    <a:pt x="598975" y="427351"/>
                  </a:lnTo>
                  <a:lnTo>
                    <a:pt x="577109" y="442106"/>
                  </a:lnTo>
                  <a:lnTo>
                    <a:pt x="550333" y="447517"/>
                  </a:lnTo>
                  <a:close/>
                </a:path>
              </a:pathLst>
            </a:custGeom>
            <a:solidFill>
              <a:srgbClr val="00247D"/>
            </a:solidFill>
          </p:spPr>
          <p:txBody>
            <a:bodyPr wrap="square" lIns="0" tIns="0" rIns="0" bIns="0" rtlCol="0"/>
            <a:lstStyle/>
            <a:p>
              <a:endParaRPr/>
            </a:p>
          </p:txBody>
        </p:sp>
        <p:sp>
          <p:nvSpPr>
            <p:cNvPr id="49" name="object 49"/>
            <p:cNvSpPr/>
            <p:nvPr/>
          </p:nvSpPr>
          <p:spPr>
            <a:xfrm>
              <a:off x="1272150" y="7726917"/>
              <a:ext cx="490220" cy="370205"/>
            </a:xfrm>
            <a:custGeom>
              <a:avLst/>
              <a:gdLst/>
              <a:ahLst/>
              <a:cxnLst/>
              <a:rect l="l" t="t" r="r" b="b"/>
              <a:pathLst>
                <a:path w="490219" h="370204">
                  <a:moveTo>
                    <a:pt x="57750" y="284844"/>
                  </a:moveTo>
                  <a:lnTo>
                    <a:pt x="36717" y="284844"/>
                  </a:lnTo>
                  <a:lnTo>
                    <a:pt x="47225" y="258183"/>
                  </a:lnTo>
                  <a:lnTo>
                    <a:pt x="57750" y="284844"/>
                  </a:lnTo>
                  <a:close/>
                </a:path>
                <a:path w="490219" h="370204">
                  <a:moveTo>
                    <a:pt x="26209" y="350354"/>
                  </a:moveTo>
                  <a:lnTo>
                    <a:pt x="28290" y="321782"/>
                  </a:lnTo>
                  <a:lnTo>
                    <a:pt x="0" y="317461"/>
                  </a:lnTo>
                  <a:lnTo>
                    <a:pt x="23612" y="301282"/>
                  </a:lnTo>
                  <a:lnTo>
                    <a:pt x="9355" y="276445"/>
                  </a:lnTo>
                  <a:lnTo>
                    <a:pt x="36717" y="284844"/>
                  </a:lnTo>
                  <a:lnTo>
                    <a:pt x="80285" y="284844"/>
                  </a:lnTo>
                  <a:lnTo>
                    <a:pt x="70838" y="301282"/>
                  </a:lnTo>
                  <a:lnTo>
                    <a:pt x="94468" y="317461"/>
                  </a:lnTo>
                  <a:lnTo>
                    <a:pt x="66177" y="321782"/>
                  </a:lnTo>
                  <a:lnTo>
                    <a:pt x="66843" y="330921"/>
                  </a:lnTo>
                  <a:lnTo>
                    <a:pt x="47225" y="330921"/>
                  </a:lnTo>
                  <a:lnTo>
                    <a:pt x="26209" y="350354"/>
                  </a:lnTo>
                  <a:close/>
                </a:path>
                <a:path w="490219" h="370204">
                  <a:moveTo>
                    <a:pt x="80285" y="284844"/>
                  </a:moveTo>
                  <a:lnTo>
                    <a:pt x="57750" y="284844"/>
                  </a:lnTo>
                  <a:lnTo>
                    <a:pt x="85112" y="276445"/>
                  </a:lnTo>
                  <a:lnTo>
                    <a:pt x="80285" y="284844"/>
                  </a:lnTo>
                  <a:close/>
                </a:path>
                <a:path w="490219" h="370204">
                  <a:moveTo>
                    <a:pt x="68258" y="350354"/>
                  </a:moveTo>
                  <a:lnTo>
                    <a:pt x="47225" y="330921"/>
                  </a:lnTo>
                  <a:lnTo>
                    <a:pt x="66843" y="330921"/>
                  </a:lnTo>
                  <a:lnTo>
                    <a:pt x="68258" y="350354"/>
                  </a:lnTo>
                  <a:close/>
                </a:path>
                <a:path w="490219" h="370204">
                  <a:moveTo>
                    <a:pt x="380022" y="17435"/>
                  </a:moveTo>
                  <a:lnTo>
                    <a:pt x="366246" y="17435"/>
                  </a:lnTo>
                  <a:lnTo>
                    <a:pt x="373126" y="0"/>
                  </a:lnTo>
                  <a:lnTo>
                    <a:pt x="380022" y="17435"/>
                  </a:lnTo>
                  <a:close/>
                </a:path>
                <a:path w="490219" h="370204">
                  <a:moveTo>
                    <a:pt x="359384" y="60294"/>
                  </a:moveTo>
                  <a:lnTo>
                    <a:pt x="360743" y="41601"/>
                  </a:lnTo>
                  <a:lnTo>
                    <a:pt x="342221" y="38779"/>
                  </a:lnTo>
                  <a:lnTo>
                    <a:pt x="357682" y="28193"/>
                  </a:lnTo>
                  <a:lnTo>
                    <a:pt x="348361" y="11945"/>
                  </a:lnTo>
                  <a:lnTo>
                    <a:pt x="366246" y="17435"/>
                  </a:lnTo>
                  <a:lnTo>
                    <a:pt x="394769" y="17435"/>
                  </a:lnTo>
                  <a:lnTo>
                    <a:pt x="388586" y="28193"/>
                  </a:lnTo>
                  <a:lnTo>
                    <a:pt x="404030" y="38779"/>
                  </a:lnTo>
                  <a:lnTo>
                    <a:pt x="385525" y="41601"/>
                  </a:lnTo>
                  <a:lnTo>
                    <a:pt x="385961" y="47591"/>
                  </a:lnTo>
                  <a:lnTo>
                    <a:pt x="373126" y="47591"/>
                  </a:lnTo>
                  <a:lnTo>
                    <a:pt x="359384" y="60294"/>
                  </a:lnTo>
                  <a:close/>
                </a:path>
                <a:path w="490219" h="370204">
                  <a:moveTo>
                    <a:pt x="394769" y="17435"/>
                  </a:moveTo>
                  <a:lnTo>
                    <a:pt x="380022" y="17435"/>
                  </a:lnTo>
                  <a:lnTo>
                    <a:pt x="397925" y="11945"/>
                  </a:lnTo>
                  <a:lnTo>
                    <a:pt x="394769" y="17435"/>
                  </a:lnTo>
                  <a:close/>
                </a:path>
                <a:path w="490219" h="370204">
                  <a:moveTo>
                    <a:pt x="386884" y="60294"/>
                  </a:moveTo>
                  <a:lnTo>
                    <a:pt x="373126" y="47591"/>
                  </a:lnTo>
                  <a:lnTo>
                    <a:pt x="385961" y="47591"/>
                  </a:lnTo>
                  <a:lnTo>
                    <a:pt x="386884" y="60294"/>
                  </a:lnTo>
                  <a:close/>
                </a:path>
                <a:path w="490219" h="370204">
                  <a:moveTo>
                    <a:pt x="311230" y="120709"/>
                  </a:moveTo>
                  <a:lnTo>
                    <a:pt x="297455" y="120709"/>
                  </a:lnTo>
                  <a:lnTo>
                    <a:pt x="304334" y="103273"/>
                  </a:lnTo>
                  <a:lnTo>
                    <a:pt x="311230" y="120709"/>
                  </a:lnTo>
                  <a:close/>
                </a:path>
                <a:path w="490219" h="370204">
                  <a:moveTo>
                    <a:pt x="290593" y="163584"/>
                  </a:moveTo>
                  <a:lnTo>
                    <a:pt x="291951" y="144892"/>
                  </a:lnTo>
                  <a:lnTo>
                    <a:pt x="273429" y="142069"/>
                  </a:lnTo>
                  <a:lnTo>
                    <a:pt x="288890" y="131466"/>
                  </a:lnTo>
                  <a:lnTo>
                    <a:pt x="279569" y="115218"/>
                  </a:lnTo>
                  <a:lnTo>
                    <a:pt x="297455" y="120709"/>
                  </a:lnTo>
                  <a:lnTo>
                    <a:pt x="311230" y="120709"/>
                  </a:lnTo>
                  <a:lnTo>
                    <a:pt x="325978" y="120709"/>
                  </a:lnTo>
                  <a:lnTo>
                    <a:pt x="319795" y="131466"/>
                  </a:lnTo>
                  <a:lnTo>
                    <a:pt x="335239" y="142069"/>
                  </a:lnTo>
                  <a:lnTo>
                    <a:pt x="316734" y="144892"/>
                  </a:lnTo>
                  <a:lnTo>
                    <a:pt x="317168" y="150864"/>
                  </a:lnTo>
                  <a:lnTo>
                    <a:pt x="304334" y="150864"/>
                  </a:lnTo>
                  <a:lnTo>
                    <a:pt x="290593" y="163584"/>
                  </a:lnTo>
                  <a:close/>
                </a:path>
                <a:path w="490219" h="370204">
                  <a:moveTo>
                    <a:pt x="325978" y="120709"/>
                  </a:moveTo>
                  <a:lnTo>
                    <a:pt x="311230" y="120709"/>
                  </a:lnTo>
                  <a:lnTo>
                    <a:pt x="329133" y="115218"/>
                  </a:lnTo>
                  <a:lnTo>
                    <a:pt x="325978" y="120709"/>
                  </a:lnTo>
                  <a:close/>
                </a:path>
                <a:path w="490219" h="370204">
                  <a:moveTo>
                    <a:pt x="318092" y="163584"/>
                  </a:moveTo>
                  <a:lnTo>
                    <a:pt x="304334" y="150864"/>
                  </a:lnTo>
                  <a:lnTo>
                    <a:pt x="317168" y="150864"/>
                  </a:lnTo>
                  <a:lnTo>
                    <a:pt x="318092" y="163584"/>
                  </a:lnTo>
                  <a:close/>
                </a:path>
                <a:path w="490219" h="370204">
                  <a:moveTo>
                    <a:pt x="466011" y="86284"/>
                  </a:moveTo>
                  <a:lnTo>
                    <a:pt x="452236" y="86284"/>
                  </a:lnTo>
                  <a:lnTo>
                    <a:pt x="459115" y="68848"/>
                  </a:lnTo>
                  <a:lnTo>
                    <a:pt x="466011" y="86284"/>
                  </a:lnTo>
                  <a:close/>
                </a:path>
                <a:path w="490219" h="370204">
                  <a:moveTo>
                    <a:pt x="445374" y="129160"/>
                  </a:moveTo>
                  <a:lnTo>
                    <a:pt x="446733" y="110467"/>
                  </a:lnTo>
                  <a:lnTo>
                    <a:pt x="428210" y="107645"/>
                  </a:lnTo>
                  <a:lnTo>
                    <a:pt x="443671" y="97042"/>
                  </a:lnTo>
                  <a:lnTo>
                    <a:pt x="434350" y="80794"/>
                  </a:lnTo>
                  <a:lnTo>
                    <a:pt x="452236" y="86284"/>
                  </a:lnTo>
                  <a:lnTo>
                    <a:pt x="466011" y="86284"/>
                  </a:lnTo>
                  <a:lnTo>
                    <a:pt x="480759" y="86284"/>
                  </a:lnTo>
                  <a:lnTo>
                    <a:pt x="474576" y="97042"/>
                  </a:lnTo>
                  <a:lnTo>
                    <a:pt x="490020" y="107645"/>
                  </a:lnTo>
                  <a:lnTo>
                    <a:pt x="471515" y="110467"/>
                  </a:lnTo>
                  <a:lnTo>
                    <a:pt x="471949" y="116440"/>
                  </a:lnTo>
                  <a:lnTo>
                    <a:pt x="459115" y="116440"/>
                  </a:lnTo>
                  <a:lnTo>
                    <a:pt x="445374" y="129160"/>
                  </a:lnTo>
                  <a:close/>
                </a:path>
                <a:path w="490219" h="370204">
                  <a:moveTo>
                    <a:pt x="480759" y="86284"/>
                  </a:moveTo>
                  <a:lnTo>
                    <a:pt x="466011" y="86284"/>
                  </a:lnTo>
                  <a:lnTo>
                    <a:pt x="483915" y="80794"/>
                  </a:lnTo>
                  <a:lnTo>
                    <a:pt x="480759" y="86284"/>
                  </a:lnTo>
                  <a:close/>
                </a:path>
                <a:path w="490219" h="370204">
                  <a:moveTo>
                    <a:pt x="472873" y="129160"/>
                  </a:moveTo>
                  <a:lnTo>
                    <a:pt x="459115" y="116440"/>
                  </a:lnTo>
                  <a:lnTo>
                    <a:pt x="471949" y="116440"/>
                  </a:lnTo>
                  <a:lnTo>
                    <a:pt x="472873" y="129160"/>
                  </a:lnTo>
                  <a:close/>
                </a:path>
                <a:path w="490219" h="370204">
                  <a:moveTo>
                    <a:pt x="380022" y="327255"/>
                  </a:moveTo>
                  <a:lnTo>
                    <a:pt x="366246" y="327255"/>
                  </a:lnTo>
                  <a:lnTo>
                    <a:pt x="373126" y="309819"/>
                  </a:lnTo>
                  <a:lnTo>
                    <a:pt x="380022" y="327255"/>
                  </a:lnTo>
                  <a:close/>
                </a:path>
                <a:path w="490219" h="370204">
                  <a:moveTo>
                    <a:pt x="359384" y="370131"/>
                  </a:moveTo>
                  <a:lnTo>
                    <a:pt x="360743" y="351438"/>
                  </a:lnTo>
                  <a:lnTo>
                    <a:pt x="342221" y="348616"/>
                  </a:lnTo>
                  <a:lnTo>
                    <a:pt x="357682" y="338013"/>
                  </a:lnTo>
                  <a:lnTo>
                    <a:pt x="348361" y="321765"/>
                  </a:lnTo>
                  <a:lnTo>
                    <a:pt x="366246" y="327255"/>
                  </a:lnTo>
                  <a:lnTo>
                    <a:pt x="394769" y="327255"/>
                  </a:lnTo>
                  <a:lnTo>
                    <a:pt x="388586" y="338013"/>
                  </a:lnTo>
                  <a:lnTo>
                    <a:pt x="404030" y="348616"/>
                  </a:lnTo>
                  <a:lnTo>
                    <a:pt x="385525" y="351438"/>
                  </a:lnTo>
                  <a:lnTo>
                    <a:pt x="385959" y="357411"/>
                  </a:lnTo>
                  <a:lnTo>
                    <a:pt x="373126" y="357411"/>
                  </a:lnTo>
                  <a:lnTo>
                    <a:pt x="359384" y="370131"/>
                  </a:lnTo>
                  <a:close/>
                </a:path>
                <a:path w="490219" h="370204">
                  <a:moveTo>
                    <a:pt x="394769" y="327255"/>
                  </a:moveTo>
                  <a:lnTo>
                    <a:pt x="380022" y="327255"/>
                  </a:lnTo>
                  <a:lnTo>
                    <a:pt x="397925" y="321765"/>
                  </a:lnTo>
                  <a:lnTo>
                    <a:pt x="394769" y="327255"/>
                  </a:lnTo>
                  <a:close/>
                </a:path>
                <a:path w="490219" h="370204">
                  <a:moveTo>
                    <a:pt x="386884" y="370131"/>
                  </a:moveTo>
                  <a:lnTo>
                    <a:pt x="373126" y="357411"/>
                  </a:lnTo>
                  <a:lnTo>
                    <a:pt x="385959" y="357411"/>
                  </a:lnTo>
                  <a:lnTo>
                    <a:pt x="386884" y="370131"/>
                  </a:lnTo>
                  <a:close/>
                </a:path>
                <a:path w="490219" h="370204">
                  <a:moveTo>
                    <a:pt x="415467" y="189540"/>
                  </a:moveTo>
                  <a:lnTo>
                    <a:pt x="417393" y="178266"/>
                  </a:lnTo>
                  <a:lnTo>
                    <a:pt x="409224" y="170297"/>
                  </a:lnTo>
                  <a:lnTo>
                    <a:pt x="420523" y="168662"/>
                  </a:lnTo>
                  <a:lnTo>
                    <a:pt x="425579" y="158403"/>
                  </a:lnTo>
                  <a:lnTo>
                    <a:pt x="430635" y="168662"/>
                  </a:lnTo>
                  <a:lnTo>
                    <a:pt x="441934" y="170297"/>
                  </a:lnTo>
                  <a:lnTo>
                    <a:pt x="433765" y="178266"/>
                  </a:lnTo>
                  <a:lnTo>
                    <a:pt x="434783" y="184222"/>
                  </a:lnTo>
                  <a:lnTo>
                    <a:pt x="425579" y="184222"/>
                  </a:lnTo>
                  <a:lnTo>
                    <a:pt x="415467" y="189540"/>
                  </a:lnTo>
                  <a:close/>
                </a:path>
                <a:path w="490219" h="370204">
                  <a:moveTo>
                    <a:pt x="435691" y="189540"/>
                  </a:moveTo>
                  <a:lnTo>
                    <a:pt x="425579" y="184222"/>
                  </a:lnTo>
                  <a:lnTo>
                    <a:pt x="434783" y="184222"/>
                  </a:lnTo>
                  <a:lnTo>
                    <a:pt x="435691" y="189540"/>
                  </a:lnTo>
                  <a:close/>
                </a:path>
              </a:pathLst>
            </a:custGeom>
            <a:solidFill>
              <a:srgbClr val="FFFFFF"/>
            </a:solidFill>
          </p:spPr>
          <p:txBody>
            <a:bodyPr wrap="square" lIns="0" tIns="0" rIns="0" bIns="0" rtlCol="0"/>
            <a:lstStyle/>
            <a:p>
              <a:endParaRPr/>
            </a:p>
          </p:txBody>
        </p:sp>
        <p:sp>
          <p:nvSpPr>
            <p:cNvPr id="50" name="object 50"/>
            <p:cNvSpPr/>
            <p:nvPr/>
          </p:nvSpPr>
          <p:spPr>
            <a:xfrm>
              <a:off x="1164595" y="7695987"/>
              <a:ext cx="327025" cy="224154"/>
            </a:xfrm>
            <a:custGeom>
              <a:avLst/>
              <a:gdLst/>
              <a:ahLst/>
              <a:cxnLst/>
              <a:rect l="l" t="t" r="r" b="b"/>
              <a:pathLst>
                <a:path w="327025" h="224154">
                  <a:moveTo>
                    <a:pt x="326760" y="30964"/>
                  </a:moveTo>
                  <a:lnTo>
                    <a:pt x="58335" y="30964"/>
                  </a:lnTo>
                  <a:lnTo>
                    <a:pt x="58404" y="774"/>
                  </a:lnTo>
                  <a:lnTo>
                    <a:pt x="63288" y="0"/>
                  </a:lnTo>
                  <a:lnTo>
                    <a:pt x="326760" y="0"/>
                  </a:lnTo>
                  <a:lnTo>
                    <a:pt x="326760" y="30964"/>
                  </a:lnTo>
                  <a:close/>
                </a:path>
                <a:path w="327025" h="224154">
                  <a:moveTo>
                    <a:pt x="326760" y="223758"/>
                  </a:moveTo>
                  <a:lnTo>
                    <a:pt x="0" y="223758"/>
                  </a:lnTo>
                  <a:lnTo>
                    <a:pt x="0" y="68848"/>
                  </a:lnTo>
                  <a:lnTo>
                    <a:pt x="10662" y="31911"/>
                  </a:lnTo>
                  <a:lnTo>
                    <a:pt x="11385" y="30895"/>
                  </a:lnTo>
                  <a:lnTo>
                    <a:pt x="326760" y="30964"/>
                  </a:lnTo>
                  <a:lnTo>
                    <a:pt x="326760" y="223758"/>
                  </a:lnTo>
                  <a:close/>
                </a:path>
              </a:pathLst>
            </a:custGeom>
            <a:solidFill>
              <a:srgbClr val="00247D"/>
            </a:solidFill>
          </p:spPr>
          <p:txBody>
            <a:bodyPr wrap="square" lIns="0" tIns="0" rIns="0" bIns="0" rtlCol="0"/>
            <a:lstStyle/>
            <a:p>
              <a:endParaRPr/>
            </a:p>
          </p:txBody>
        </p:sp>
        <p:sp>
          <p:nvSpPr>
            <p:cNvPr id="51" name="object 51"/>
            <p:cNvSpPr/>
            <p:nvPr/>
          </p:nvSpPr>
          <p:spPr>
            <a:xfrm>
              <a:off x="1164595" y="7695987"/>
              <a:ext cx="327025" cy="224154"/>
            </a:xfrm>
            <a:custGeom>
              <a:avLst/>
              <a:gdLst/>
              <a:ahLst/>
              <a:cxnLst/>
              <a:rect l="l" t="t" r="r" b="b"/>
              <a:pathLst>
                <a:path w="327025" h="224154">
                  <a:moveTo>
                    <a:pt x="326760" y="223758"/>
                  </a:moveTo>
                  <a:lnTo>
                    <a:pt x="286654" y="223758"/>
                  </a:lnTo>
                  <a:lnTo>
                    <a:pt x="206374" y="167491"/>
                  </a:lnTo>
                  <a:lnTo>
                    <a:pt x="206374" y="223758"/>
                  </a:lnTo>
                  <a:lnTo>
                    <a:pt x="120385" y="223758"/>
                  </a:lnTo>
                  <a:lnTo>
                    <a:pt x="120385" y="179557"/>
                  </a:lnTo>
                  <a:lnTo>
                    <a:pt x="57303" y="223758"/>
                  </a:lnTo>
                  <a:lnTo>
                    <a:pt x="0" y="223758"/>
                  </a:lnTo>
                  <a:lnTo>
                    <a:pt x="0" y="202518"/>
                  </a:lnTo>
                  <a:lnTo>
                    <a:pt x="66813" y="154909"/>
                  </a:lnTo>
                  <a:lnTo>
                    <a:pt x="0" y="154909"/>
                  </a:lnTo>
                  <a:lnTo>
                    <a:pt x="0" y="68848"/>
                  </a:lnTo>
                  <a:lnTo>
                    <a:pt x="65575" y="68848"/>
                  </a:lnTo>
                  <a:lnTo>
                    <a:pt x="11385" y="30895"/>
                  </a:lnTo>
                  <a:lnTo>
                    <a:pt x="13001" y="28451"/>
                  </a:lnTo>
                  <a:lnTo>
                    <a:pt x="16630" y="23942"/>
                  </a:lnTo>
                  <a:lnTo>
                    <a:pt x="80658" y="68848"/>
                  </a:lnTo>
                  <a:lnTo>
                    <a:pt x="110513" y="68848"/>
                  </a:lnTo>
                  <a:lnTo>
                    <a:pt x="29649" y="12220"/>
                  </a:lnTo>
                  <a:lnTo>
                    <a:pt x="36154" y="8190"/>
                  </a:lnTo>
                  <a:lnTo>
                    <a:pt x="43175" y="4909"/>
                  </a:lnTo>
                  <a:lnTo>
                    <a:pt x="50622" y="2422"/>
                  </a:lnTo>
                  <a:lnTo>
                    <a:pt x="58404" y="774"/>
                  </a:lnTo>
                  <a:lnTo>
                    <a:pt x="120385" y="44218"/>
                  </a:lnTo>
                  <a:lnTo>
                    <a:pt x="120385" y="0"/>
                  </a:lnTo>
                  <a:lnTo>
                    <a:pt x="206374" y="0"/>
                  </a:lnTo>
                  <a:lnTo>
                    <a:pt x="206374" y="56266"/>
                  </a:lnTo>
                  <a:lnTo>
                    <a:pt x="286672" y="0"/>
                  </a:lnTo>
                  <a:lnTo>
                    <a:pt x="326760" y="0"/>
                  </a:lnTo>
                  <a:lnTo>
                    <a:pt x="326760" y="34923"/>
                  </a:lnTo>
                  <a:lnTo>
                    <a:pt x="278365" y="68848"/>
                  </a:lnTo>
                  <a:lnTo>
                    <a:pt x="326760" y="68848"/>
                  </a:lnTo>
                  <a:lnTo>
                    <a:pt x="326760" y="154909"/>
                  </a:lnTo>
                  <a:lnTo>
                    <a:pt x="278348" y="154909"/>
                  </a:lnTo>
                  <a:lnTo>
                    <a:pt x="326760" y="188835"/>
                  </a:lnTo>
                  <a:lnTo>
                    <a:pt x="326760" y="223758"/>
                  </a:lnTo>
                  <a:close/>
                </a:path>
              </a:pathLst>
            </a:custGeom>
            <a:solidFill>
              <a:srgbClr val="EDEDED"/>
            </a:solidFill>
          </p:spPr>
          <p:txBody>
            <a:bodyPr wrap="square" lIns="0" tIns="0" rIns="0" bIns="0" rtlCol="0"/>
            <a:lstStyle/>
            <a:p>
              <a:endParaRPr/>
            </a:p>
          </p:txBody>
        </p:sp>
        <p:sp>
          <p:nvSpPr>
            <p:cNvPr id="52" name="object 52"/>
            <p:cNvSpPr/>
            <p:nvPr/>
          </p:nvSpPr>
          <p:spPr>
            <a:xfrm>
              <a:off x="1164590" y="7695996"/>
              <a:ext cx="327025" cy="224154"/>
            </a:xfrm>
            <a:custGeom>
              <a:avLst/>
              <a:gdLst/>
              <a:ahLst/>
              <a:cxnLst/>
              <a:rect l="l" t="t" r="r" b="b"/>
              <a:pathLst>
                <a:path w="327025" h="224154">
                  <a:moveTo>
                    <a:pt x="110490" y="68846"/>
                  </a:moveTo>
                  <a:lnTo>
                    <a:pt x="29641" y="12217"/>
                  </a:lnTo>
                  <a:lnTo>
                    <a:pt x="24815" y="15570"/>
                  </a:lnTo>
                  <a:lnTo>
                    <a:pt x="20459" y="19494"/>
                  </a:lnTo>
                  <a:lnTo>
                    <a:pt x="16624" y="23939"/>
                  </a:lnTo>
                  <a:lnTo>
                    <a:pt x="80657" y="68846"/>
                  </a:lnTo>
                  <a:lnTo>
                    <a:pt x="110490" y="68846"/>
                  </a:lnTo>
                  <a:close/>
                </a:path>
                <a:path w="327025" h="224154">
                  <a:moveTo>
                    <a:pt x="120383" y="154901"/>
                  </a:moveTo>
                  <a:lnTo>
                    <a:pt x="110705" y="154901"/>
                  </a:lnTo>
                  <a:lnTo>
                    <a:pt x="12623" y="223761"/>
                  </a:lnTo>
                  <a:lnTo>
                    <a:pt x="42329" y="223761"/>
                  </a:lnTo>
                  <a:lnTo>
                    <a:pt x="120383" y="169049"/>
                  </a:lnTo>
                  <a:lnTo>
                    <a:pt x="120383" y="154901"/>
                  </a:lnTo>
                  <a:close/>
                </a:path>
                <a:path w="327025" h="224154">
                  <a:moveTo>
                    <a:pt x="326758" y="199351"/>
                  </a:moveTo>
                  <a:lnTo>
                    <a:pt x="263347" y="154901"/>
                  </a:lnTo>
                  <a:lnTo>
                    <a:pt x="233375" y="154901"/>
                  </a:lnTo>
                  <a:lnTo>
                    <a:pt x="326758" y="220345"/>
                  </a:lnTo>
                  <a:lnTo>
                    <a:pt x="326758" y="199351"/>
                  </a:lnTo>
                  <a:close/>
                </a:path>
                <a:path w="327025" h="224154">
                  <a:moveTo>
                    <a:pt x="326758" y="85458"/>
                  </a:moveTo>
                  <a:lnTo>
                    <a:pt x="189179" y="85458"/>
                  </a:lnTo>
                  <a:lnTo>
                    <a:pt x="189179" y="330"/>
                  </a:lnTo>
                  <a:lnTo>
                    <a:pt x="137579" y="330"/>
                  </a:lnTo>
                  <a:lnTo>
                    <a:pt x="137579" y="85458"/>
                  </a:lnTo>
                  <a:lnTo>
                    <a:pt x="0" y="85458"/>
                  </a:lnTo>
                  <a:lnTo>
                    <a:pt x="0" y="137553"/>
                  </a:lnTo>
                  <a:lnTo>
                    <a:pt x="137579" y="137553"/>
                  </a:lnTo>
                  <a:lnTo>
                    <a:pt x="137579" y="223939"/>
                  </a:lnTo>
                  <a:lnTo>
                    <a:pt x="189179" y="223939"/>
                  </a:lnTo>
                  <a:lnTo>
                    <a:pt x="189179" y="137553"/>
                  </a:lnTo>
                  <a:lnTo>
                    <a:pt x="326758" y="137553"/>
                  </a:lnTo>
                  <a:lnTo>
                    <a:pt x="326758" y="85458"/>
                  </a:lnTo>
                  <a:close/>
                </a:path>
                <a:path w="327025" h="224154">
                  <a:moveTo>
                    <a:pt x="326758" y="0"/>
                  </a:moveTo>
                  <a:lnTo>
                    <a:pt x="301637" y="0"/>
                  </a:lnTo>
                  <a:lnTo>
                    <a:pt x="206375" y="66763"/>
                  </a:lnTo>
                  <a:lnTo>
                    <a:pt x="206375" y="68846"/>
                  </a:lnTo>
                  <a:lnTo>
                    <a:pt x="233387" y="68846"/>
                  </a:lnTo>
                  <a:lnTo>
                    <a:pt x="326758" y="3403"/>
                  </a:lnTo>
                  <a:lnTo>
                    <a:pt x="326758" y="0"/>
                  </a:lnTo>
                  <a:close/>
                </a:path>
              </a:pathLst>
            </a:custGeom>
            <a:solidFill>
              <a:srgbClr val="CF1B2A"/>
            </a:solidFill>
          </p:spPr>
          <p:txBody>
            <a:bodyPr wrap="square" lIns="0" tIns="0" rIns="0" bIns="0" rtlCol="0"/>
            <a:lstStyle/>
            <a:p>
              <a:endParaRPr/>
            </a:p>
          </p:txBody>
        </p:sp>
      </p:grpSp>
      <p:grpSp>
        <p:nvGrpSpPr>
          <p:cNvPr id="53" name="object 53"/>
          <p:cNvGrpSpPr/>
          <p:nvPr/>
        </p:nvGrpSpPr>
        <p:grpSpPr>
          <a:xfrm>
            <a:off x="3262048" y="6763263"/>
            <a:ext cx="647700" cy="466725"/>
            <a:chOff x="3262048" y="6763263"/>
            <a:chExt cx="647700" cy="466725"/>
          </a:xfrm>
        </p:grpSpPr>
        <p:sp>
          <p:nvSpPr>
            <p:cNvPr id="54" name="object 54"/>
            <p:cNvSpPr/>
            <p:nvPr/>
          </p:nvSpPr>
          <p:spPr>
            <a:xfrm>
              <a:off x="3262048" y="6763263"/>
              <a:ext cx="647700" cy="466725"/>
            </a:xfrm>
            <a:custGeom>
              <a:avLst/>
              <a:gdLst/>
              <a:ahLst/>
              <a:cxnLst/>
              <a:rect l="l" t="t" r="r" b="b"/>
              <a:pathLst>
                <a:path w="647700" h="466725">
                  <a:moveTo>
                    <a:pt x="575316" y="466724"/>
                  </a:moveTo>
                  <a:lnTo>
                    <a:pt x="71914" y="466724"/>
                  </a:lnTo>
                  <a:lnTo>
                    <a:pt x="43923" y="461081"/>
                  </a:lnTo>
                  <a:lnTo>
                    <a:pt x="21064" y="445693"/>
                  </a:lnTo>
                  <a:lnTo>
                    <a:pt x="5651" y="422869"/>
                  </a:lnTo>
                  <a:lnTo>
                    <a:pt x="0" y="394921"/>
                  </a:lnTo>
                  <a:lnTo>
                    <a:pt x="0" y="71803"/>
                  </a:lnTo>
                  <a:lnTo>
                    <a:pt x="5651" y="43855"/>
                  </a:lnTo>
                  <a:lnTo>
                    <a:pt x="21064" y="21031"/>
                  </a:lnTo>
                  <a:lnTo>
                    <a:pt x="43923" y="5643"/>
                  </a:lnTo>
                  <a:lnTo>
                    <a:pt x="71914" y="0"/>
                  </a:lnTo>
                  <a:lnTo>
                    <a:pt x="575316" y="0"/>
                  </a:lnTo>
                  <a:lnTo>
                    <a:pt x="603307" y="5643"/>
                  </a:lnTo>
                  <a:lnTo>
                    <a:pt x="626166" y="21031"/>
                  </a:lnTo>
                  <a:lnTo>
                    <a:pt x="641579" y="43855"/>
                  </a:lnTo>
                  <a:lnTo>
                    <a:pt x="647230" y="71803"/>
                  </a:lnTo>
                  <a:lnTo>
                    <a:pt x="647230" y="394921"/>
                  </a:lnTo>
                  <a:lnTo>
                    <a:pt x="641579" y="422869"/>
                  </a:lnTo>
                  <a:lnTo>
                    <a:pt x="626166" y="445693"/>
                  </a:lnTo>
                  <a:lnTo>
                    <a:pt x="603307" y="461081"/>
                  </a:lnTo>
                  <a:lnTo>
                    <a:pt x="575316" y="466724"/>
                  </a:lnTo>
                  <a:close/>
                </a:path>
              </a:pathLst>
            </a:custGeom>
            <a:solidFill>
              <a:srgbClr val="EC1B23"/>
            </a:solidFill>
          </p:spPr>
          <p:txBody>
            <a:bodyPr wrap="square" lIns="0" tIns="0" rIns="0" bIns="0" rtlCol="0"/>
            <a:lstStyle/>
            <a:p>
              <a:endParaRPr/>
            </a:p>
          </p:txBody>
        </p:sp>
        <p:sp>
          <p:nvSpPr>
            <p:cNvPr id="55" name="object 55"/>
            <p:cNvSpPr/>
            <p:nvPr/>
          </p:nvSpPr>
          <p:spPr>
            <a:xfrm>
              <a:off x="3262048" y="6978675"/>
              <a:ext cx="647700" cy="125730"/>
            </a:xfrm>
            <a:custGeom>
              <a:avLst/>
              <a:gdLst/>
              <a:ahLst/>
              <a:cxnLst/>
              <a:rect l="l" t="t" r="r" b="b"/>
              <a:pathLst>
                <a:path w="647700" h="125729">
                  <a:moveTo>
                    <a:pt x="647230" y="125656"/>
                  </a:moveTo>
                  <a:lnTo>
                    <a:pt x="0" y="125656"/>
                  </a:lnTo>
                  <a:lnTo>
                    <a:pt x="0" y="0"/>
                  </a:lnTo>
                  <a:lnTo>
                    <a:pt x="647230" y="0"/>
                  </a:lnTo>
                  <a:lnTo>
                    <a:pt x="647230" y="125656"/>
                  </a:lnTo>
                  <a:close/>
                </a:path>
              </a:pathLst>
            </a:custGeom>
            <a:solidFill>
              <a:srgbClr val="034EA2"/>
            </a:solidFill>
          </p:spPr>
          <p:txBody>
            <a:bodyPr wrap="square" lIns="0" tIns="0" rIns="0" bIns="0" rtlCol="0"/>
            <a:lstStyle/>
            <a:p>
              <a:endParaRPr/>
            </a:p>
          </p:txBody>
        </p:sp>
        <p:sp>
          <p:nvSpPr>
            <p:cNvPr id="56" name="object 56"/>
            <p:cNvSpPr/>
            <p:nvPr/>
          </p:nvSpPr>
          <p:spPr>
            <a:xfrm>
              <a:off x="3262048" y="6763263"/>
              <a:ext cx="647700" cy="215900"/>
            </a:xfrm>
            <a:custGeom>
              <a:avLst/>
              <a:gdLst/>
              <a:ahLst/>
              <a:cxnLst/>
              <a:rect l="l" t="t" r="r" b="b"/>
              <a:pathLst>
                <a:path w="647700" h="215900">
                  <a:moveTo>
                    <a:pt x="647230" y="215411"/>
                  </a:moveTo>
                  <a:lnTo>
                    <a:pt x="0" y="215411"/>
                  </a:lnTo>
                  <a:lnTo>
                    <a:pt x="0" y="71803"/>
                  </a:lnTo>
                  <a:lnTo>
                    <a:pt x="5651" y="43855"/>
                  </a:lnTo>
                  <a:lnTo>
                    <a:pt x="21064" y="21031"/>
                  </a:lnTo>
                  <a:lnTo>
                    <a:pt x="43923" y="5643"/>
                  </a:lnTo>
                  <a:lnTo>
                    <a:pt x="71914" y="0"/>
                  </a:lnTo>
                  <a:lnTo>
                    <a:pt x="575316" y="0"/>
                  </a:lnTo>
                  <a:lnTo>
                    <a:pt x="603307" y="5643"/>
                  </a:lnTo>
                  <a:lnTo>
                    <a:pt x="626166" y="21031"/>
                  </a:lnTo>
                  <a:lnTo>
                    <a:pt x="641579" y="43855"/>
                  </a:lnTo>
                  <a:lnTo>
                    <a:pt x="647230" y="71803"/>
                  </a:lnTo>
                  <a:lnTo>
                    <a:pt x="647230" y="215411"/>
                  </a:lnTo>
                  <a:close/>
                </a:path>
              </a:pathLst>
            </a:custGeom>
            <a:solidFill>
              <a:srgbClr val="FFDD00"/>
            </a:solidFill>
          </p:spPr>
          <p:txBody>
            <a:bodyPr wrap="square" lIns="0" tIns="0" rIns="0" bIns="0" rtlCol="0"/>
            <a:lstStyle/>
            <a:p>
              <a:endParaRPr/>
            </a:p>
          </p:txBody>
        </p:sp>
        <p:pic>
          <p:nvPicPr>
            <p:cNvPr id="57" name="object 57"/>
            <p:cNvPicPr/>
            <p:nvPr/>
          </p:nvPicPr>
          <p:blipFill>
            <a:blip r:embed="rId7" cstate="print"/>
            <a:stretch>
              <a:fillRect/>
            </a:stretch>
          </p:blipFill>
          <p:spPr>
            <a:xfrm>
              <a:off x="3477792" y="6866789"/>
              <a:ext cx="215743" cy="237542"/>
            </a:xfrm>
            <a:prstGeom prst="rect">
              <a:avLst/>
            </a:prstGeom>
          </p:spPr>
        </p:pic>
      </p:grpSp>
      <p:sp>
        <p:nvSpPr>
          <p:cNvPr id="58" name="object 58"/>
          <p:cNvSpPr/>
          <p:nvPr/>
        </p:nvSpPr>
        <p:spPr>
          <a:xfrm>
            <a:off x="2182063" y="4988076"/>
            <a:ext cx="0" cy="4286250"/>
          </a:xfrm>
          <a:custGeom>
            <a:avLst/>
            <a:gdLst/>
            <a:ahLst/>
            <a:cxnLst/>
            <a:rect l="l" t="t" r="r" b="b"/>
            <a:pathLst>
              <a:path h="4286250">
                <a:moveTo>
                  <a:pt x="0" y="0"/>
                </a:moveTo>
                <a:lnTo>
                  <a:pt x="0" y="4286253"/>
                </a:lnTo>
              </a:path>
            </a:pathLst>
          </a:custGeom>
          <a:ln w="19067">
            <a:solidFill>
              <a:srgbClr val="D9D9D9"/>
            </a:solidFill>
          </a:ln>
        </p:spPr>
        <p:txBody>
          <a:bodyPr wrap="square" lIns="0" tIns="0" rIns="0" bIns="0" rtlCol="0"/>
          <a:lstStyle/>
          <a:p>
            <a:endParaRPr/>
          </a:p>
        </p:txBody>
      </p:sp>
      <p:pic>
        <p:nvPicPr>
          <p:cNvPr id="59" name="object 59"/>
          <p:cNvPicPr/>
          <p:nvPr/>
        </p:nvPicPr>
        <p:blipFill>
          <a:blip r:embed="rId8" cstate="print"/>
          <a:stretch>
            <a:fillRect/>
          </a:stretch>
        </p:blipFill>
        <p:spPr>
          <a:xfrm>
            <a:off x="11610186" y="4880490"/>
            <a:ext cx="2024039" cy="1962415"/>
          </a:xfrm>
          <a:prstGeom prst="rect">
            <a:avLst/>
          </a:prstGeom>
        </p:spPr>
      </p:pic>
      <p:grpSp>
        <p:nvGrpSpPr>
          <p:cNvPr id="60" name="object 60"/>
          <p:cNvGrpSpPr/>
          <p:nvPr/>
        </p:nvGrpSpPr>
        <p:grpSpPr>
          <a:xfrm>
            <a:off x="8179658" y="2888786"/>
            <a:ext cx="5133975" cy="4242435"/>
            <a:chOff x="8179658" y="2888786"/>
            <a:chExt cx="5133975" cy="4242435"/>
          </a:xfrm>
        </p:grpSpPr>
        <p:pic>
          <p:nvPicPr>
            <p:cNvPr id="61" name="object 61"/>
            <p:cNvPicPr/>
            <p:nvPr/>
          </p:nvPicPr>
          <p:blipFill>
            <a:blip r:embed="rId9" cstate="print"/>
            <a:stretch>
              <a:fillRect/>
            </a:stretch>
          </p:blipFill>
          <p:spPr>
            <a:xfrm>
              <a:off x="10341609" y="2888786"/>
              <a:ext cx="1733549" cy="1733549"/>
            </a:xfrm>
            <a:prstGeom prst="rect">
              <a:avLst/>
            </a:prstGeom>
          </p:spPr>
        </p:pic>
        <p:sp>
          <p:nvSpPr>
            <p:cNvPr id="62" name="object 62"/>
            <p:cNvSpPr/>
            <p:nvPr/>
          </p:nvSpPr>
          <p:spPr>
            <a:xfrm>
              <a:off x="11530866" y="3262133"/>
              <a:ext cx="1783080" cy="1105535"/>
            </a:xfrm>
            <a:custGeom>
              <a:avLst/>
              <a:gdLst/>
              <a:ahLst/>
              <a:cxnLst/>
              <a:rect l="l" t="t" r="r" b="b"/>
              <a:pathLst>
                <a:path w="1783080" h="1105535">
                  <a:moveTo>
                    <a:pt x="1782715" y="551767"/>
                  </a:moveTo>
                  <a:lnTo>
                    <a:pt x="1782715" y="553221"/>
                  </a:lnTo>
                  <a:lnTo>
                    <a:pt x="1584078" y="1104988"/>
                  </a:lnTo>
                  <a:lnTo>
                    <a:pt x="0" y="1104988"/>
                  </a:lnTo>
                  <a:lnTo>
                    <a:pt x="0" y="0"/>
                  </a:lnTo>
                  <a:lnTo>
                    <a:pt x="1584078" y="0"/>
                  </a:lnTo>
                  <a:lnTo>
                    <a:pt x="1782715" y="551767"/>
                  </a:lnTo>
                  <a:close/>
                </a:path>
              </a:pathLst>
            </a:custGeom>
            <a:solidFill>
              <a:srgbClr val="21408B"/>
            </a:solidFill>
          </p:spPr>
          <p:txBody>
            <a:bodyPr wrap="square" lIns="0" tIns="0" rIns="0" bIns="0" rtlCol="0"/>
            <a:lstStyle/>
            <a:p>
              <a:endParaRPr/>
            </a:p>
          </p:txBody>
        </p:sp>
        <p:pic>
          <p:nvPicPr>
            <p:cNvPr id="63" name="object 63"/>
            <p:cNvPicPr/>
            <p:nvPr/>
          </p:nvPicPr>
          <p:blipFill>
            <a:blip r:embed="rId10" cstate="print"/>
            <a:stretch>
              <a:fillRect/>
            </a:stretch>
          </p:blipFill>
          <p:spPr>
            <a:xfrm>
              <a:off x="8179658" y="4192705"/>
              <a:ext cx="1925877" cy="1855039"/>
            </a:xfrm>
            <a:prstGeom prst="rect">
              <a:avLst/>
            </a:prstGeom>
          </p:spPr>
        </p:pic>
        <p:pic>
          <p:nvPicPr>
            <p:cNvPr id="64" name="object 64"/>
            <p:cNvPicPr/>
            <p:nvPr/>
          </p:nvPicPr>
          <p:blipFill>
            <a:blip r:embed="rId11" cstate="print"/>
            <a:stretch>
              <a:fillRect/>
            </a:stretch>
          </p:blipFill>
          <p:spPr>
            <a:xfrm>
              <a:off x="9144001" y="5435427"/>
              <a:ext cx="1601894" cy="1695621"/>
            </a:xfrm>
            <a:prstGeom prst="rect">
              <a:avLst/>
            </a:prstGeom>
          </p:spPr>
        </p:pic>
        <p:sp>
          <p:nvSpPr>
            <p:cNvPr id="65" name="object 65"/>
            <p:cNvSpPr/>
            <p:nvPr/>
          </p:nvSpPr>
          <p:spPr>
            <a:xfrm>
              <a:off x="10341609" y="2888786"/>
              <a:ext cx="1663064" cy="1663064"/>
            </a:xfrm>
            <a:custGeom>
              <a:avLst/>
              <a:gdLst/>
              <a:ahLst/>
              <a:cxnLst/>
              <a:rect l="l" t="t" r="r" b="b"/>
              <a:pathLst>
                <a:path w="1663065" h="1663064">
                  <a:moveTo>
                    <a:pt x="831243" y="1662487"/>
                  </a:moveTo>
                  <a:lnTo>
                    <a:pt x="782401" y="1661076"/>
                  </a:lnTo>
                  <a:lnTo>
                    <a:pt x="734302" y="1656895"/>
                  </a:lnTo>
                  <a:lnTo>
                    <a:pt x="687025" y="1650021"/>
                  </a:lnTo>
                  <a:lnTo>
                    <a:pt x="640646" y="1640533"/>
                  </a:lnTo>
                  <a:lnTo>
                    <a:pt x="595245" y="1628509"/>
                  </a:lnTo>
                  <a:lnTo>
                    <a:pt x="550899" y="1614027"/>
                  </a:lnTo>
                  <a:lnTo>
                    <a:pt x="507685" y="1597164"/>
                  </a:lnTo>
                  <a:lnTo>
                    <a:pt x="465683" y="1577998"/>
                  </a:lnTo>
                  <a:lnTo>
                    <a:pt x="424969" y="1556609"/>
                  </a:lnTo>
                  <a:lnTo>
                    <a:pt x="385623" y="1533072"/>
                  </a:lnTo>
                  <a:lnTo>
                    <a:pt x="347721" y="1507468"/>
                  </a:lnTo>
                  <a:lnTo>
                    <a:pt x="311342" y="1479872"/>
                  </a:lnTo>
                  <a:lnTo>
                    <a:pt x="276564" y="1450364"/>
                  </a:lnTo>
                  <a:lnTo>
                    <a:pt x="243465" y="1419021"/>
                  </a:lnTo>
                  <a:lnTo>
                    <a:pt x="212122" y="1385922"/>
                  </a:lnTo>
                  <a:lnTo>
                    <a:pt x="182614" y="1351144"/>
                  </a:lnTo>
                  <a:lnTo>
                    <a:pt x="155019" y="1314765"/>
                  </a:lnTo>
                  <a:lnTo>
                    <a:pt x="129414" y="1276863"/>
                  </a:lnTo>
                  <a:lnTo>
                    <a:pt x="105877" y="1237517"/>
                  </a:lnTo>
                  <a:lnTo>
                    <a:pt x="84488" y="1196803"/>
                  </a:lnTo>
                  <a:lnTo>
                    <a:pt x="65322" y="1154801"/>
                  </a:lnTo>
                  <a:lnTo>
                    <a:pt x="48459" y="1111588"/>
                  </a:lnTo>
                  <a:lnTo>
                    <a:pt x="33977" y="1067241"/>
                  </a:lnTo>
                  <a:lnTo>
                    <a:pt x="21953" y="1021840"/>
                  </a:lnTo>
                  <a:lnTo>
                    <a:pt x="12465" y="975461"/>
                  </a:lnTo>
                  <a:lnTo>
                    <a:pt x="5591" y="928184"/>
                  </a:lnTo>
                  <a:lnTo>
                    <a:pt x="1410" y="880085"/>
                  </a:lnTo>
                  <a:lnTo>
                    <a:pt x="0" y="831257"/>
                  </a:lnTo>
                  <a:lnTo>
                    <a:pt x="1410" y="782401"/>
                  </a:lnTo>
                  <a:lnTo>
                    <a:pt x="5591" y="734303"/>
                  </a:lnTo>
                  <a:lnTo>
                    <a:pt x="12465" y="687025"/>
                  </a:lnTo>
                  <a:lnTo>
                    <a:pt x="21953" y="640647"/>
                  </a:lnTo>
                  <a:lnTo>
                    <a:pt x="33977" y="595245"/>
                  </a:lnTo>
                  <a:lnTo>
                    <a:pt x="48459" y="550899"/>
                  </a:lnTo>
                  <a:lnTo>
                    <a:pt x="65322" y="507686"/>
                  </a:lnTo>
                  <a:lnTo>
                    <a:pt x="84488" y="465683"/>
                  </a:lnTo>
                  <a:lnTo>
                    <a:pt x="105877" y="424970"/>
                  </a:lnTo>
                  <a:lnTo>
                    <a:pt x="129414" y="385623"/>
                  </a:lnTo>
                  <a:lnTo>
                    <a:pt x="155019" y="347721"/>
                  </a:lnTo>
                  <a:lnTo>
                    <a:pt x="182614" y="311342"/>
                  </a:lnTo>
                  <a:lnTo>
                    <a:pt x="212122" y="276564"/>
                  </a:lnTo>
                  <a:lnTo>
                    <a:pt x="243465" y="243465"/>
                  </a:lnTo>
                  <a:lnTo>
                    <a:pt x="276564" y="212122"/>
                  </a:lnTo>
                  <a:lnTo>
                    <a:pt x="311342" y="182614"/>
                  </a:lnTo>
                  <a:lnTo>
                    <a:pt x="347721" y="155019"/>
                  </a:lnTo>
                  <a:lnTo>
                    <a:pt x="385623" y="129414"/>
                  </a:lnTo>
                  <a:lnTo>
                    <a:pt x="424969" y="105878"/>
                  </a:lnTo>
                  <a:lnTo>
                    <a:pt x="465683" y="84488"/>
                  </a:lnTo>
                  <a:lnTo>
                    <a:pt x="507685" y="65322"/>
                  </a:lnTo>
                  <a:lnTo>
                    <a:pt x="550899" y="48460"/>
                  </a:lnTo>
                  <a:lnTo>
                    <a:pt x="595245" y="33977"/>
                  </a:lnTo>
                  <a:lnTo>
                    <a:pt x="640646" y="21953"/>
                  </a:lnTo>
                  <a:lnTo>
                    <a:pt x="687025" y="12465"/>
                  </a:lnTo>
                  <a:lnTo>
                    <a:pt x="734302" y="5592"/>
                  </a:lnTo>
                  <a:lnTo>
                    <a:pt x="782401" y="1410"/>
                  </a:lnTo>
                  <a:lnTo>
                    <a:pt x="831230" y="0"/>
                  </a:lnTo>
                  <a:lnTo>
                    <a:pt x="880085" y="1410"/>
                  </a:lnTo>
                  <a:lnTo>
                    <a:pt x="928184" y="5592"/>
                  </a:lnTo>
                  <a:lnTo>
                    <a:pt x="975461" y="12465"/>
                  </a:lnTo>
                  <a:lnTo>
                    <a:pt x="1021840" y="21953"/>
                  </a:lnTo>
                  <a:lnTo>
                    <a:pt x="1067241" y="33977"/>
                  </a:lnTo>
                  <a:lnTo>
                    <a:pt x="1111587" y="48460"/>
                  </a:lnTo>
                  <a:lnTo>
                    <a:pt x="1154801" y="65322"/>
                  </a:lnTo>
                  <a:lnTo>
                    <a:pt x="1196803" y="84488"/>
                  </a:lnTo>
                  <a:lnTo>
                    <a:pt x="1237517" y="105878"/>
                  </a:lnTo>
                  <a:lnTo>
                    <a:pt x="1276863" y="129414"/>
                  </a:lnTo>
                  <a:lnTo>
                    <a:pt x="1314765" y="155019"/>
                  </a:lnTo>
                  <a:lnTo>
                    <a:pt x="1351144" y="182614"/>
                  </a:lnTo>
                  <a:lnTo>
                    <a:pt x="1385922" y="212122"/>
                  </a:lnTo>
                  <a:lnTo>
                    <a:pt x="1419021" y="243465"/>
                  </a:lnTo>
                  <a:lnTo>
                    <a:pt x="1450364" y="276564"/>
                  </a:lnTo>
                  <a:lnTo>
                    <a:pt x="1479872" y="311342"/>
                  </a:lnTo>
                  <a:lnTo>
                    <a:pt x="1507468" y="347721"/>
                  </a:lnTo>
                  <a:lnTo>
                    <a:pt x="1533073" y="385623"/>
                  </a:lnTo>
                  <a:lnTo>
                    <a:pt x="1556609" y="424970"/>
                  </a:lnTo>
                  <a:lnTo>
                    <a:pt x="1577999" y="465683"/>
                  </a:lnTo>
                  <a:lnTo>
                    <a:pt x="1597164" y="507686"/>
                  </a:lnTo>
                  <a:lnTo>
                    <a:pt x="1614027" y="550899"/>
                  </a:lnTo>
                  <a:lnTo>
                    <a:pt x="1628509" y="595245"/>
                  </a:lnTo>
                  <a:lnTo>
                    <a:pt x="1640534" y="640647"/>
                  </a:lnTo>
                  <a:lnTo>
                    <a:pt x="1650021" y="687025"/>
                  </a:lnTo>
                  <a:lnTo>
                    <a:pt x="1656895" y="734303"/>
                  </a:lnTo>
                  <a:lnTo>
                    <a:pt x="1661076" y="782401"/>
                  </a:lnTo>
                  <a:lnTo>
                    <a:pt x="1662487" y="831257"/>
                  </a:lnTo>
                  <a:lnTo>
                    <a:pt x="1661076" y="880085"/>
                  </a:lnTo>
                  <a:lnTo>
                    <a:pt x="1656895" y="928184"/>
                  </a:lnTo>
                  <a:lnTo>
                    <a:pt x="1650021" y="975461"/>
                  </a:lnTo>
                  <a:lnTo>
                    <a:pt x="1640534" y="1021840"/>
                  </a:lnTo>
                  <a:lnTo>
                    <a:pt x="1628509" y="1067241"/>
                  </a:lnTo>
                  <a:lnTo>
                    <a:pt x="1614027" y="1111588"/>
                  </a:lnTo>
                  <a:lnTo>
                    <a:pt x="1597164" y="1154801"/>
                  </a:lnTo>
                  <a:lnTo>
                    <a:pt x="1577999" y="1196803"/>
                  </a:lnTo>
                  <a:lnTo>
                    <a:pt x="1556609" y="1237517"/>
                  </a:lnTo>
                  <a:lnTo>
                    <a:pt x="1533073" y="1276863"/>
                  </a:lnTo>
                  <a:lnTo>
                    <a:pt x="1507468" y="1314765"/>
                  </a:lnTo>
                  <a:lnTo>
                    <a:pt x="1479872" y="1351144"/>
                  </a:lnTo>
                  <a:lnTo>
                    <a:pt x="1450364" y="1385922"/>
                  </a:lnTo>
                  <a:lnTo>
                    <a:pt x="1419021" y="1419021"/>
                  </a:lnTo>
                  <a:lnTo>
                    <a:pt x="1385922" y="1450364"/>
                  </a:lnTo>
                  <a:lnTo>
                    <a:pt x="1351144" y="1479872"/>
                  </a:lnTo>
                  <a:lnTo>
                    <a:pt x="1314765" y="1507468"/>
                  </a:lnTo>
                  <a:lnTo>
                    <a:pt x="1276863" y="1533072"/>
                  </a:lnTo>
                  <a:lnTo>
                    <a:pt x="1237517" y="1556609"/>
                  </a:lnTo>
                  <a:lnTo>
                    <a:pt x="1196803" y="1577998"/>
                  </a:lnTo>
                  <a:lnTo>
                    <a:pt x="1154801" y="1597164"/>
                  </a:lnTo>
                  <a:lnTo>
                    <a:pt x="1111587" y="1614027"/>
                  </a:lnTo>
                  <a:lnTo>
                    <a:pt x="1067241" y="1628509"/>
                  </a:lnTo>
                  <a:lnTo>
                    <a:pt x="1021840" y="1640533"/>
                  </a:lnTo>
                  <a:lnTo>
                    <a:pt x="975461" y="1650021"/>
                  </a:lnTo>
                  <a:lnTo>
                    <a:pt x="928184" y="1656895"/>
                  </a:lnTo>
                  <a:lnTo>
                    <a:pt x="880085" y="1661076"/>
                  </a:lnTo>
                  <a:lnTo>
                    <a:pt x="831243" y="1662487"/>
                  </a:lnTo>
                  <a:close/>
                </a:path>
              </a:pathLst>
            </a:custGeom>
            <a:solidFill>
              <a:srgbClr val="FFFFFF"/>
            </a:solidFill>
          </p:spPr>
          <p:txBody>
            <a:bodyPr wrap="square" lIns="0" tIns="0" rIns="0" bIns="0" rtlCol="0"/>
            <a:lstStyle/>
            <a:p>
              <a:endParaRPr/>
            </a:p>
          </p:txBody>
        </p:sp>
        <p:sp>
          <p:nvSpPr>
            <p:cNvPr id="66" name="object 66"/>
            <p:cNvSpPr/>
            <p:nvPr/>
          </p:nvSpPr>
          <p:spPr>
            <a:xfrm>
              <a:off x="10932572" y="3762215"/>
              <a:ext cx="175260" cy="377825"/>
            </a:xfrm>
            <a:custGeom>
              <a:avLst/>
              <a:gdLst/>
              <a:ahLst/>
              <a:cxnLst/>
              <a:rect l="l" t="t" r="r" b="b"/>
              <a:pathLst>
                <a:path w="175259" h="377825">
                  <a:moveTo>
                    <a:pt x="116547" y="377458"/>
                  </a:moveTo>
                  <a:lnTo>
                    <a:pt x="0" y="377458"/>
                  </a:lnTo>
                  <a:lnTo>
                    <a:pt x="0" y="0"/>
                  </a:lnTo>
                  <a:lnTo>
                    <a:pt x="116547" y="0"/>
                  </a:lnTo>
                  <a:lnTo>
                    <a:pt x="139228" y="4563"/>
                  </a:lnTo>
                  <a:lnTo>
                    <a:pt x="157751" y="17009"/>
                  </a:lnTo>
                  <a:lnTo>
                    <a:pt x="170240" y="35467"/>
                  </a:lnTo>
                  <a:lnTo>
                    <a:pt x="174820" y="58070"/>
                  </a:lnTo>
                  <a:lnTo>
                    <a:pt x="174820" y="319388"/>
                  </a:lnTo>
                  <a:lnTo>
                    <a:pt x="170240" y="341991"/>
                  </a:lnTo>
                  <a:lnTo>
                    <a:pt x="157751" y="360449"/>
                  </a:lnTo>
                  <a:lnTo>
                    <a:pt x="139228" y="372895"/>
                  </a:lnTo>
                  <a:lnTo>
                    <a:pt x="116547" y="377458"/>
                  </a:lnTo>
                  <a:close/>
                </a:path>
              </a:pathLst>
            </a:custGeom>
            <a:solidFill>
              <a:srgbClr val="EC2938"/>
            </a:solidFill>
          </p:spPr>
          <p:txBody>
            <a:bodyPr wrap="square" lIns="0" tIns="0" rIns="0" bIns="0" rtlCol="0"/>
            <a:lstStyle/>
            <a:p>
              <a:endParaRPr/>
            </a:p>
          </p:txBody>
        </p:sp>
        <p:sp>
          <p:nvSpPr>
            <p:cNvPr id="67" name="object 67"/>
            <p:cNvSpPr/>
            <p:nvPr/>
          </p:nvSpPr>
          <p:spPr>
            <a:xfrm>
              <a:off x="10582931" y="3762215"/>
              <a:ext cx="175260" cy="377825"/>
            </a:xfrm>
            <a:custGeom>
              <a:avLst/>
              <a:gdLst/>
              <a:ahLst/>
              <a:cxnLst/>
              <a:rect l="l" t="t" r="r" b="b"/>
              <a:pathLst>
                <a:path w="175259" h="377825">
                  <a:moveTo>
                    <a:pt x="174820" y="377458"/>
                  </a:moveTo>
                  <a:lnTo>
                    <a:pt x="58273" y="377458"/>
                  </a:lnTo>
                  <a:lnTo>
                    <a:pt x="35591" y="372895"/>
                  </a:lnTo>
                  <a:lnTo>
                    <a:pt x="17068" y="360449"/>
                  </a:lnTo>
                  <a:lnTo>
                    <a:pt x="4579" y="341991"/>
                  </a:lnTo>
                  <a:lnTo>
                    <a:pt x="0" y="319388"/>
                  </a:lnTo>
                  <a:lnTo>
                    <a:pt x="0" y="58070"/>
                  </a:lnTo>
                  <a:lnTo>
                    <a:pt x="4579" y="35467"/>
                  </a:lnTo>
                  <a:lnTo>
                    <a:pt x="17068" y="17009"/>
                  </a:lnTo>
                  <a:lnTo>
                    <a:pt x="35591" y="4563"/>
                  </a:lnTo>
                  <a:lnTo>
                    <a:pt x="58273" y="0"/>
                  </a:lnTo>
                  <a:lnTo>
                    <a:pt x="174820" y="0"/>
                  </a:lnTo>
                  <a:lnTo>
                    <a:pt x="174820" y="377458"/>
                  </a:lnTo>
                  <a:close/>
                </a:path>
              </a:pathLst>
            </a:custGeom>
            <a:solidFill>
              <a:srgbClr val="002494"/>
            </a:solidFill>
          </p:spPr>
          <p:txBody>
            <a:bodyPr wrap="square" lIns="0" tIns="0" rIns="0" bIns="0" rtlCol="0"/>
            <a:lstStyle/>
            <a:p>
              <a:endParaRPr/>
            </a:p>
          </p:txBody>
        </p:sp>
        <p:sp>
          <p:nvSpPr>
            <p:cNvPr id="68" name="object 68"/>
            <p:cNvSpPr/>
            <p:nvPr/>
          </p:nvSpPr>
          <p:spPr>
            <a:xfrm>
              <a:off x="10757752" y="3762215"/>
              <a:ext cx="175260" cy="377825"/>
            </a:xfrm>
            <a:custGeom>
              <a:avLst/>
              <a:gdLst/>
              <a:ahLst/>
              <a:cxnLst/>
              <a:rect l="l" t="t" r="r" b="b"/>
              <a:pathLst>
                <a:path w="175259" h="377825">
                  <a:moveTo>
                    <a:pt x="174820" y="377458"/>
                  </a:moveTo>
                  <a:lnTo>
                    <a:pt x="0" y="377458"/>
                  </a:lnTo>
                  <a:lnTo>
                    <a:pt x="0" y="0"/>
                  </a:lnTo>
                  <a:lnTo>
                    <a:pt x="174820" y="0"/>
                  </a:lnTo>
                  <a:lnTo>
                    <a:pt x="174820" y="377458"/>
                  </a:lnTo>
                  <a:close/>
                </a:path>
              </a:pathLst>
            </a:custGeom>
            <a:solidFill>
              <a:srgbClr val="EDEDED"/>
            </a:solidFill>
          </p:spPr>
          <p:txBody>
            <a:bodyPr wrap="square" lIns="0" tIns="0" rIns="0" bIns="0" rtlCol="0"/>
            <a:lstStyle/>
            <a:p>
              <a:endParaRPr/>
            </a:p>
          </p:txBody>
        </p:sp>
        <p:sp>
          <p:nvSpPr>
            <p:cNvPr id="69" name="object 69"/>
            <p:cNvSpPr/>
            <p:nvPr/>
          </p:nvSpPr>
          <p:spPr>
            <a:xfrm>
              <a:off x="11251074" y="4023533"/>
              <a:ext cx="524510" cy="116205"/>
            </a:xfrm>
            <a:custGeom>
              <a:avLst/>
              <a:gdLst/>
              <a:ahLst/>
              <a:cxnLst/>
              <a:rect l="l" t="t" r="r" b="b"/>
              <a:pathLst>
                <a:path w="524509" h="116204">
                  <a:moveTo>
                    <a:pt x="466188" y="116141"/>
                  </a:moveTo>
                  <a:lnTo>
                    <a:pt x="58273" y="116141"/>
                  </a:lnTo>
                  <a:lnTo>
                    <a:pt x="35591" y="111577"/>
                  </a:lnTo>
                  <a:lnTo>
                    <a:pt x="17068" y="99131"/>
                  </a:lnTo>
                  <a:lnTo>
                    <a:pt x="4579" y="80673"/>
                  </a:lnTo>
                  <a:lnTo>
                    <a:pt x="0" y="58070"/>
                  </a:lnTo>
                  <a:lnTo>
                    <a:pt x="0" y="0"/>
                  </a:lnTo>
                  <a:lnTo>
                    <a:pt x="524461" y="0"/>
                  </a:lnTo>
                  <a:lnTo>
                    <a:pt x="524461" y="58070"/>
                  </a:lnTo>
                  <a:lnTo>
                    <a:pt x="519882" y="80673"/>
                  </a:lnTo>
                  <a:lnTo>
                    <a:pt x="507393" y="99131"/>
                  </a:lnTo>
                  <a:lnTo>
                    <a:pt x="488870" y="111577"/>
                  </a:lnTo>
                  <a:lnTo>
                    <a:pt x="466188" y="116141"/>
                  </a:lnTo>
                  <a:close/>
                </a:path>
              </a:pathLst>
            </a:custGeom>
            <a:solidFill>
              <a:srgbClr val="FFCC04"/>
            </a:solidFill>
          </p:spPr>
          <p:txBody>
            <a:bodyPr wrap="square" lIns="0" tIns="0" rIns="0" bIns="0" rtlCol="0"/>
            <a:lstStyle/>
            <a:p>
              <a:endParaRPr/>
            </a:p>
          </p:txBody>
        </p:sp>
        <p:sp>
          <p:nvSpPr>
            <p:cNvPr id="70" name="object 70"/>
            <p:cNvSpPr/>
            <p:nvPr/>
          </p:nvSpPr>
          <p:spPr>
            <a:xfrm>
              <a:off x="11251074" y="3892874"/>
              <a:ext cx="524510" cy="130810"/>
            </a:xfrm>
            <a:custGeom>
              <a:avLst/>
              <a:gdLst/>
              <a:ahLst/>
              <a:cxnLst/>
              <a:rect l="l" t="t" r="r" b="b"/>
              <a:pathLst>
                <a:path w="524509" h="130810">
                  <a:moveTo>
                    <a:pt x="524461" y="130658"/>
                  </a:moveTo>
                  <a:lnTo>
                    <a:pt x="0" y="130658"/>
                  </a:lnTo>
                  <a:lnTo>
                    <a:pt x="0" y="0"/>
                  </a:lnTo>
                  <a:lnTo>
                    <a:pt x="524461" y="0"/>
                  </a:lnTo>
                  <a:lnTo>
                    <a:pt x="524461" y="130658"/>
                  </a:lnTo>
                  <a:close/>
                </a:path>
              </a:pathLst>
            </a:custGeom>
            <a:solidFill>
              <a:srgbClr val="EC1F24"/>
            </a:solidFill>
          </p:spPr>
          <p:txBody>
            <a:bodyPr wrap="square" lIns="0" tIns="0" rIns="0" bIns="0" rtlCol="0"/>
            <a:lstStyle/>
            <a:p>
              <a:endParaRPr/>
            </a:p>
          </p:txBody>
        </p:sp>
        <p:sp>
          <p:nvSpPr>
            <p:cNvPr id="71" name="object 71"/>
            <p:cNvSpPr/>
            <p:nvPr/>
          </p:nvSpPr>
          <p:spPr>
            <a:xfrm>
              <a:off x="11251074" y="3762215"/>
              <a:ext cx="524510" cy="130810"/>
            </a:xfrm>
            <a:custGeom>
              <a:avLst/>
              <a:gdLst/>
              <a:ahLst/>
              <a:cxnLst/>
              <a:rect l="l" t="t" r="r" b="b"/>
              <a:pathLst>
                <a:path w="524509" h="130810">
                  <a:moveTo>
                    <a:pt x="524461" y="130658"/>
                  </a:moveTo>
                  <a:lnTo>
                    <a:pt x="0" y="130658"/>
                  </a:lnTo>
                  <a:lnTo>
                    <a:pt x="0" y="58070"/>
                  </a:lnTo>
                  <a:lnTo>
                    <a:pt x="4579" y="35467"/>
                  </a:lnTo>
                  <a:lnTo>
                    <a:pt x="17068" y="17009"/>
                  </a:lnTo>
                  <a:lnTo>
                    <a:pt x="35591" y="4563"/>
                  </a:lnTo>
                  <a:lnTo>
                    <a:pt x="58273" y="0"/>
                  </a:lnTo>
                  <a:lnTo>
                    <a:pt x="466188" y="0"/>
                  </a:lnTo>
                  <a:lnTo>
                    <a:pt x="488870" y="4563"/>
                  </a:lnTo>
                  <a:lnTo>
                    <a:pt x="507393" y="17009"/>
                  </a:lnTo>
                  <a:lnTo>
                    <a:pt x="519882" y="35467"/>
                  </a:lnTo>
                  <a:lnTo>
                    <a:pt x="524461" y="58070"/>
                  </a:lnTo>
                  <a:lnTo>
                    <a:pt x="524461" y="130658"/>
                  </a:lnTo>
                  <a:close/>
                </a:path>
              </a:pathLst>
            </a:custGeom>
            <a:solidFill>
              <a:srgbClr val="131313"/>
            </a:solidFill>
          </p:spPr>
          <p:txBody>
            <a:bodyPr wrap="square" lIns="0" tIns="0" rIns="0" bIns="0" rtlCol="0"/>
            <a:lstStyle/>
            <a:p>
              <a:endParaRPr/>
            </a:p>
          </p:txBody>
        </p:sp>
        <p:sp>
          <p:nvSpPr>
            <p:cNvPr id="72" name="object 72"/>
            <p:cNvSpPr/>
            <p:nvPr/>
          </p:nvSpPr>
          <p:spPr>
            <a:xfrm>
              <a:off x="11240433" y="3297671"/>
              <a:ext cx="524510" cy="377825"/>
            </a:xfrm>
            <a:custGeom>
              <a:avLst/>
              <a:gdLst/>
              <a:ahLst/>
              <a:cxnLst/>
              <a:rect l="l" t="t" r="r" b="b"/>
              <a:pathLst>
                <a:path w="524509" h="377825">
                  <a:moveTo>
                    <a:pt x="189389" y="84739"/>
                  </a:moveTo>
                  <a:lnTo>
                    <a:pt x="67946" y="0"/>
                  </a:lnTo>
                  <a:lnTo>
                    <a:pt x="189389" y="0"/>
                  </a:lnTo>
                  <a:lnTo>
                    <a:pt x="189389" y="84739"/>
                  </a:lnTo>
                  <a:close/>
                </a:path>
                <a:path w="524509" h="377825">
                  <a:moveTo>
                    <a:pt x="81990" y="116141"/>
                  </a:moveTo>
                  <a:lnTo>
                    <a:pt x="0" y="116141"/>
                  </a:lnTo>
                  <a:lnTo>
                    <a:pt x="0" y="58927"/>
                  </a:lnTo>
                  <a:lnTo>
                    <a:pt x="81990" y="116141"/>
                  </a:lnTo>
                  <a:close/>
                </a:path>
                <a:path w="524509" h="377825">
                  <a:moveTo>
                    <a:pt x="0" y="318531"/>
                  </a:moveTo>
                  <a:lnTo>
                    <a:pt x="0" y="261317"/>
                  </a:lnTo>
                  <a:lnTo>
                    <a:pt x="82020" y="261317"/>
                  </a:lnTo>
                  <a:lnTo>
                    <a:pt x="0" y="318531"/>
                  </a:lnTo>
                  <a:close/>
                </a:path>
                <a:path w="524509" h="377825">
                  <a:moveTo>
                    <a:pt x="189389" y="377458"/>
                  </a:moveTo>
                  <a:lnTo>
                    <a:pt x="67946" y="377458"/>
                  </a:lnTo>
                  <a:lnTo>
                    <a:pt x="189389" y="292719"/>
                  </a:lnTo>
                  <a:lnTo>
                    <a:pt x="189389" y="377458"/>
                  </a:lnTo>
                  <a:close/>
                </a:path>
                <a:path w="524509" h="377825">
                  <a:moveTo>
                    <a:pt x="524461" y="318546"/>
                  </a:moveTo>
                  <a:lnTo>
                    <a:pt x="442427" y="261317"/>
                  </a:lnTo>
                  <a:lnTo>
                    <a:pt x="524461" y="261317"/>
                  </a:lnTo>
                  <a:lnTo>
                    <a:pt x="524461" y="318546"/>
                  </a:lnTo>
                  <a:close/>
                </a:path>
                <a:path w="524509" h="377825">
                  <a:moveTo>
                    <a:pt x="456500" y="377458"/>
                  </a:moveTo>
                  <a:lnTo>
                    <a:pt x="335072" y="377458"/>
                  </a:lnTo>
                  <a:lnTo>
                    <a:pt x="335072" y="292733"/>
                  </a:lnTo>
                  <a:lnTo>
                    <a:pt x="456500" y="377458"/>
                  </a:lnTo>
                  <a:close/>
                </a:path>
                <a:path w="524509" h="377825">
                  <a:moveTo>
                    <a:pt x="335072" y="84739"/>
                  </a:moveTo>
                  <a:lnTo>
                    <a:pt x="335072" y="0"/>
                  </a:lnTo>
                  <a:lnTo>
                    <a:pt x="456529" y="0"/>
                  </a:lnTo>
                  <a:lnTo>
                    <a:pt x="335072" y="84739"/>
                  </a:lnTo>
                  <a:close/>
                </a:path>
                <a:path w="524509" h="377825">
                  <a:moveTo>
                    <a:pt x="524461" y="116141"/>
                  </a:moveTo>
                  <a:lnTo>
                    <a:pt x="442456" y="116141"/>
                  </a:lnTo>
                  <a:lnTo>
                    <a:pt x="524461" y="58927"/>
                  </a:lnTo>
                  <a:lnTo>
                    <a:pt x="524461" y="116141"/>
                  </a:lnTo>
                  <a:close/>
                </a:path>
              </a:pathLst>
            </a:custGeom>
            <a:solidFill>
              <a:srgbClr val="00247D"/>
            </a:solidFill>
          </p:spPr>
          <p:txBody>
            <a:bodyPr wrap="square" lIns="0" tIns="0" rIns="0" bIns="0" rtlCol="0"/>
            <a:lstStyle/>
            <a:p>
              <a:endParaRPr/>
            </a:p>
          </p:txBody>
        </p:sp>
        <p:sp>
          <p:nvSpPr>
            <p:cNvPr id="73" name="object 73"/>
            <p:cNvSpPr/>
            <p:nvPr/>
          </p:nvSpPr>
          <p:spPr>
            <a:xfrm>
              <a:off x="11242720" y="3299341"/>
              <a:ext cx="520065" cy="374650"/>
            </a:xfrm>
            <a:custGeom>
              <a:avLst/>
              <a:gdLst/>
              <a:ahLst/>
              <a:cxnLst/>
              <a:rect l="l" t="t" r="r" b="b"/>
              <a:pathLst>
                <a:path w="520065" h="374650">
                  <a:moveTo>
                    <a:pt x="505450" y="358382"/>
                  </a:moveTo>
                  <a:lnTo>
                    <a:pt x="363961" y="259648"/>
                  </a:lnTo>
                  <a:lnTo>
                    <a:pt x="414761" y="259648"/>
                  </a:lnTo>
                  <a:lnTo>
                    <a:pt x="519872" y="332991"/>
                  </a:lnTo>
                  <a:lnTo>
                    <a:pt x="517465" y="340065"/>
                  </a:lnTo>
                  <a:lnTo>
                    <a:pt x="514240" y="346710"/>
                  </a:lnTo>
                  <a:lnTo>
                    <a:pt x="510225" y="352843"/>
                  </a:lnTo>
                  <a:lnTo>
                    <a:pt x="505450" y="358382"/>
                  </a:lnTo>
                  <a:close/>
                </a:path>
                <a:path w="520065" h="374650">
                  <a:moveTo>
                    <a:pt x="42670" y="374119"/>
                  </a:moveTo>
                  <a:lnTo>
                    <a:pt x="34723" y="371662"/>
                  </a:lnTo>
                  <a:lnTo>
                    <a:pt x="27308" y="368171"/>
                  </a:lnTo>
                  <a:lnTo>
                    <a:pt x="20516" y="363716"/>
                  </a:lnTo>
                  <a:lnTo>
                    <a:pt x="14437" y="358368"/>
                  </a:lnTo>
                  <a:lnTo>
                    <a:pt x="155910" y="259648"/>
                  </a:lnTo>
                  <a:lnTo>
                    <a:pt x="187101" y="259648"/>
                  </a:lnTo>
                  <a:lnTo>
                    <a:pt x="187101" y="273338"/>
                  </a:lnTo>
                  <a:lnTo>
                    <a:pt x="42670" y="374119"/>
                  </a:lnTo>
                  <a:close/>
                </a:path>
                <a:path w="520065" h="374650">
                  <a:moveTo>
                    <a:pt x="363976" y="114471"/>
                  </a:moveTo>
                  <a:lnTo>
                    <a:pt x="332785" y="114471"/>
                  </a:lnTo>
                  <a:lnTo>
                    <a:pt x="332785" y="100781"/>
                  </a:lnTo>
                  <a:lnTo>
                    <a:pt x="477231" y="0"/>
                  </a:lnTo>
                  <a:lnTo>
                    <a:pt x="485176" y="2457"/>
                  </a:lnTo>
                  <a:lnTo>
                    <a:pt x="492586" y="5948"/>
                  </a:lnTo>
                  <a:lnTo>
                    <a:pt x="499373" y="10403"/>
                  </a:lnTo>
                  <a:lnTo>
                    <a:pt x="505450" y="15751"/>
                  </a:lnTo>
                  <a:lnTo>
                    <a:pt x="363976" y="114471"/>
                  </a:lnTo>
                  <a:close/>
                </a:path>
                <a:path w="520065" h="374650">
                  <a:moveTo>
                    <a:pt x="155910" y="114471"/>
                  </a:moveTo>
                  <a:lnTo>
                    <a:pt x="105110" y="114471"/>
                  </a:lnTo>
                  <a:lnTo>
                    <a:pt x="0" y="41143"/>
                  </a:lnTo>
                  <a:lnTo>
                    <a:pt x="2415" y="34070"/>
                  </a:lnTo>
                  <a:lnTo>
                    <a:pt x="5645" y="27429"/>
                  </a:lnTo>
                  <a:lnTo>
                    <a:pt x="9661" y="21297"/>
                  </a:lnTo>
                  <a:lnTo>
                    <a:pt x="14437" y="15751"/>
                  </a:lnTo>
                  <a:lnTo>
                    <a:pt x="155910" y="114471"/>
                  </a:lnTo>
                  <a:close/>
                </a:path>
              </a:pathLst>
            </a:custGeom>
            <a:solidFill>
              <a:srgbClr val="CF1B2A"/>
            </a:solidFill>
          </p:spPr>
          <p:txBody>
            <a:bodyPr wrap="square" lIns="0" tIns="0" rIns="0" bIns="0" rtlCol="0"/>
            <a:lstStyle/>
            <a:p>
              <a:endParaRPr/>
            </a:p>
          </p:txBody>
        </p:sp>
        <p:sp>
          <p:nvSpPr>
            <p:cNvPr id="74" name="object 74"/>
            <p:cNvSpPr/>
            <p:nvPr/>
          </p:nvSpPr>
          <p:spPr>
            <a:xfrm>
              <a:off x="11240433" y="3297671"/>
              <a:ext cx="524510" cy="377825"/>
            </a:xfrm>
            <a:custGeom>
              <a:avLst/>
              <a:gdLst/>
              <a:ahLst/>
              <a:cxnLst/>
              <a:rect l="l" t="t" r="r" b="b"/>
              <a:pathLst>
                <a:path w="524509" h="377825">
                  <a:moveTo>
                    <a:pt x="335072" y="377458"/>
                  </a:moveTo>
                  <a:lnTo>
                    <a:pt x="305936" y="377458"/>
                  </a:lnTo>
                  <a:lnTo>
                    <a:pt x="305936" y="232282"/>
                  </a:lnTo>
                  <a:lnTo>
                    <a:pt x="524461" y="232282"/>
                  </a:lnTo>
                  <a:lnTo>
                    <a:pt x="524461" y="261317"/>
                  </a:lnTo>
                  <a:lnTo>
                    <a:pt x="366249" y="261317"/>
                  </a:lnTo>
                  <a:lnTo>
                    <a:pt x="411269" y="292733"/>
                  </a:lnTo>
                  <a:lnTo>
                    <a:pt x="335072" y="292733"/>
                  </a:lnTo>
                  <a:lnTo>
                    <a:pt x="335072" y="377458"/>
                  </a:lnTo>
                  <a:close/>
                </a:path>
                <a:path w="524509" h="377825">
                  <a:moveTo>
                    <a:pt x="522160" y="334660"/>
                  </a:moveTo>
                  <a:lnTo>
                    <a:pt x="417049" y="261317"/>
                  </a:lnTo>
                  <a:lnTo>
                    <a:pt x="442427" y="261317"/>
                  </a:lnTo>
                  <a:lnTo>
                    <a:pt x="524461" y="318546"/>
                  </a:lnTo>
                  <a:lnTo>
                    <a:pt x="524461" y="324701"/>
                  </a:lnTo>
                  <a:lnTo>
                    <a:pt x="523514" y="329768"/>
                  </a:lnTo>
                  <a:lnTo>
                    <a:pt x="522160" y="334660"/>
                  </a:lnTo>
                  <a:close/>
                </a:path>
                <a:path w="524509" h="377825">
                  <a:moveTo>
                    <a:pt x="466188" y="377458"/>
                  </a:moveTo>
                  <a:lnTo>
                    <a:pt x="456500" y="377458"/>
                  </a:lnTo>
                  <a:lnTo>
                    <a:pt x="335072" y="292733"/>
                  </a:lnTo>
                  <a:lnTo>
                    <a:pt x="411269" y="292733"/>
                  </a:lnTo>
                  <a:lnTo>
                    <a:pt x="507737" y="360052"/>
                  </a:lnTo>
                  <a:lnTo>
                    <a:pt x="499071" y="367291"/>
                  </a:lnTo>
                  <a:lnTo>
                    <a:pt x="489098" y="372773"/>
                  </a:lnTo>
                  <a:lnTo>
                    <a:pt x="478058" y="376245"/>
                  </a:lnTo>
                  <a:lnTo>
                    <a:pt x="466188" y="377458"/>
                  </a:lnTo>
                  <a:close/>
                </a:path>
                <a:path w="524509" h="377825">
                  <a:moveTo>
                    <a:pt x="67946" y="377458"/>
                  </a:moveTo>
                  <a:lnTo>
                    <a:pt x="53669" y="377458"/>
                  </a:lnTo>
                  <a:lnTo>
                    <a:pt x="49241" y="376790"/>
                  </a:lnTo>
                  <a:lnTo>
                    <a:pt x="44958" y="375774"/>
                  </a:lnTo>
                  <a:lnTo>
                    <a:pt x="189389" y="275007"/>
                  </a:lnTo>
                  <a:lnTo>
                    <a:pt x="189389" y="261317"/>
                  </a:lnTo>
                  <a:lnTo>
                    <a:pt x="0" y="261317"/>
                  </a:lnTo>
                  <a:lnTo>
                    <a:pt x="0" y="232282"/>
                  </a:lnTo>
                  <a:lnTo>
                    <a:pt x="218525" y="232282"/>
                  </a:lnTo>
                  <a:lnTo>
                    <a:pt x="218525" y="292719"/>
                  </a:lnTo>
                  <a:lnTo>
                    <a:pt x="189389" y="292719"/>
                  </a:lnTo>
                  <a:lnTo>
                    <a:pt x="67946" y="377458"/>
                  </a:lnTo>
                  <a:close/>
                </a:path>
                <a:path w="524509" h="377825">
                  <a:moveTo>
                    <a:pt x="16724" y="360037"/>
                  </a:moveTo>
                  <a:lnTo>
                    <a:pt x="9753" y="351491"/>
                  </a:lnTo>
                  <a:lnTo>
                    <a:pt x="4488" y="341721"/>
                  </a:lnTo>
                  <a:lnTo>
                    <a:pt x="1160" y="330947"/>
                  </a:lnTo>
                  <a:lnTo>
                    <a:pt x="0" y="319388"/>
                  </a:lnTo>
                  <a:lnTo>
                    <a:pt x="0" y="318531"/>
                  </a:lnTo>
                  <a:lnTo>
                    <a:pt x="82020" y="261317"/>
                  </a:lnTo>
                  <a:lnTo>
                    <a:pt x="158198" y="261317"/>
                  </a:lnTo>
                  <a:lnTo>
                    <a:pt x="16724" y="360037"/>
                  </a:lnTo>
                  <a:close/>
                </a:path>
                <a:path w="524509" h="377825">
                  <a:moveTo>
                    <a:pt x="218525" y="377458"/>
                  </a:moveTo>
                  <a:lnTo>
                    <a:pt x="189389" y="377458"/>
                  </a:lnTo>
                  <a:lnTo>
                    <a:pt x="189389" y="292719"/>
                  </a:lnTo>
                  <a:lnTo>
                    <a:pt x="218525" y="292719"/>
                  </a:lnTo>
                  <a:lnTo>
                    <a:pt x="218525" y="377458"/>
                  </a:lnTo>
                  <a:close/>
                </a:path>
                <a:path w="524509" h="377825">
                  <a:moveTo>
                    <a:pt x="524461" y="145176"/>
                  </a:moveTo>
                  <a:lnTo>
                    <a:pt x="305936" y="145176"/>
                  </a:lnTo>
                  <a:lnTo>
                    <a:pt x="305936" y="0"/>
                  </a:lnTo>
                  <a:lnTo>
                    <a:pt x="335072" y="0"/>
                  </a:lnTo>
                  <a:lnTo>
                    <a:pt x="335072" y="84739"/>
                  </a:lnTo>
                  <a:lnTo>
                    <a:pt x="360458" y="84739"/>
                  </a:lnTo>
                  <a:lnTo>
                    <a:pt x="335072" y="102451"/>
                  </a:lnTo>
                  <a:lnTo>
                    <a:pt x="335072" y="116141"/>
                  </a:lnTo>
                  <a:lnTo>
                    <a:pt x="524461" y="116141"/>
                  </a:lnTo>
                  <a:lnTo>
                    <a:pt x="524461" y="145176"/>
                  </a:lnTo>
                  <a:close/>
                </a:path>
                <a:path w="524509" h="377825">
                  <a:moveTo>
                    <a:pt x="360458" y="84739"/>
                  </a:moveTo>
                  <a:lnTo>
                    <a:pt x="335072" y="84739"/>
                  </a:lnTo>
                  <a:lnTo>
                    <a:pt x="456529" y="0"/>
                  </a:lnTo>
                  <a:lnTo>
                    <a:pt x="470792" y="0"/>
                  </a:lnTo>
                  <a:lnTo>
                    <a:pt x="475220" y="667"/>
                  </a:lnTo>
                  <a:lnTo>
                    <a:pt x="479518" y="1669"/>
                  </a:lnTo>
                  <a:lnTo>
                    <a:pt x="360458" y="84739"/>
                  </a:lnTo>
                  <a:close/>
                </a:path>
                <a:path w="524509" h="377825">
                  <a:moveTo>
                    <a:pt x="442456" y="116141"/>
                  </a:moveTo>
                  <a:lnTo>
                    <a:pt x="366263" y="116141"/>
                  </a:lnTo>
                  <a:lnTo>
                    <a:pt x="507737" y="17421"/>
                  </a:lnTo>
                  <a:lnTo>
                    <a:pt x="514708" y="25967"/>
                  </a:lnTo>
                  <a:lnTo>
                    <a:pt x="519973" y="35736"/>
                  </a:lnTo>
                  <a:lnTo>
                    <a:pt x="523301" y="46511"/>
                  </a:lnTo>
                  <a:lnTo>
                    <a:pt x="524461" y="58070"/>
                  </a:lnTo>
                  <a:lnTo>
                    <a:pt x="524461" y="58927"/>
                  </a:lnTo>
                  <a:lnTo>
                    <a:pt x="442456" y="116141"/>
                  </a:lnTo>
                  <a:close/>
                </a:path>
                <a:path w="524509" h="377825">
                  <a:moveTo>
                    <a:pt x="218525" y="145176"/>
                  </a:moveTo>
                  <a:lnTo>
                    <a:pt x="0" y="145176"/>
                  </a:lnTo>
                  <a:lnTo>
                    <a:pt x="0" y="116141"/>
                  </a:lnTo>
                  <a:lnTo>
                    <a:pt x="158198" y="116141"/>
                  </a:lnTo>
                  <a:lnTo>
                    <a:pt x="16724" y="17421"/>
                  </a:lnTo>
                  <a:lnTo>
                    <a:pt x="25388" y="10173"/>
                  </a:lnTo>
                  <a:lnTo>
                    <a:pt x="35357" y="4687"/>
                  </a:lnTo>
                  <a:lnTo>
                    <a:pt x="46397" y="1213"/>
                  </a:lnTo>
                  <a:lnTo>
                    <a:pt x="58273" y="0"/>
                  </a:lnTo>
                  <a:lnTo>
                    <a:pt x="67946" y="0"/>
                  </a:lnTo>
                  <a:lnTo>
                    <a:pt x="189389" y="84739"/>
                  </a:lnTo>
                  <a:lnTo>
                    <a:pt x="218525" y="84739"/>
                  </a:lnTo>
                  <a:lnTo>
                    <a:pt x="218525" y="145176"/>
                  </a:lnTo>
                  <a:close/>
                </a:path>
                <a:path w="524509" h="377825">
                  <a:moveTo>
                    <a:pt x="218525" y="84739"/>
                  </a:moveTo>
                  <a:lnTo>
                    <a:pt x="189389" y="84739"/>
                  </a:lnTo>
                  <a:lnTo>
                    <a:pt x="189389" y="0"/>
                  </a:lnTo>
                  <a:lnTo>
                    <a:pt x="218525" y="0"/>
                  </a:lnTo>
                  <a:lnTo>
                    <a:pt x="218525" y="84739"/>
                  </a:lnTo>
                  <a:close/>
                </a:path>
                <a:path w="524509" h="377825">
                  <a:moveTo>
                    <a:pt x="107398" y="116141"/>
                  </a:moveTo>
                  <a:lnTo>
                    <a:pt x="81990" y="116141"/>
                  </a:lnTo>
                  <a:lnTo>
                    <a:pt x="0" y="58927"/>
                  </a:lnTo>
                  <a:lnTo>
                    <a:pt x="0" y="52757"/>
                  </a:lnTo>
                  <a:lnTo>
                    <a:pt x="946" y="47704"/>
                  </a:lnTo>
                  <a:lnTo>
                    <a:pt x="2287" y="42812"/>
                  </a:lnTo>
                  <a:lnTo>
                    <a:pt x="107398" y="116141"/>
                  </a:lnTo>
                  <a:close/>
                </a:path>
              </a:pathLst>
            </a:custGeom>
            <a:solidFill>
              <a:srgbClr val="EDEDED"/>
            </a:solidFill>
          </p:spPr>
          <p:txBody>
            <a:bodyPr wrap="square" lIns="0" tIns="0" rIns="0" bIns="0" rtlCol="0"/>
            <a:lstStyle/>
            <a:p>
              <a:endParaRPr/>
            </a:p>
          </p:txBody>
        </p:sp>
        <p:sp>
          <p:nvSpPr>
            <p:cNvPr id="75" name="object 75"/>
            <p:cNvSpPr/>
            <p:nvPr/>
          </p:nvSpPr>
          <p:spPr>
            <a:xfrm>
              <a:off x="11240427" y="3297351"/>
              <a:ext cx="524510" cy="377825"/>
            </a:xfrm>
            <a:custGeom>
              <a:avLst/>
              <a:gdLst/>
              <a:ahLst/>
              <a:cxnLst/>
              <a:rect l="l" t="t" r="r" b="b"/>
              <a:pathLst>
                <a:path w="524509" h="377825">
                  <a:moveTo>
                    <a:pt x="524459" y="145796"/>
                  </a:moveTo>
                  <a:lnTo>
                    <a:pt x="305930" y="145796"/>
                  </a:lnTo>
                  <a:lnTo>
                    <a:pt x="305930" y="0"/>
                  </a:lnTo>
                  <a:lnTo>
                    <a:pt x="218528" y="0"/>
                  </a:lnTo>
                  <a:lnTo>
                    <a:pt x="218528" y="145796"/>
                  </a:lnTo>
                  <a:lnTo>
                    <a:pt x="0" y="145796"/>
                  </a:lnTo>
                  <a:lnTo>
                    <a:pt x="0" y="232003"/>
                  </a:lnTo>
                  <a:lnTo>
                    <a:pt x="218528" y="232003"/>
                  </a:lnTo>
                  <a:lnTo>
                    <a:pt x="218528" y="377799"/>
                  </a:lnTo>
                  <a:lnTo>
                    <a:pt x="305930" y="377799"/>
                  </a:lnTo>
                  <a:lnTo>
                    <a:pt x="305930" y="232003"/>
                  </a:lnTo>
                  <a:lnTo>
                    <a:pt x="524459" y="232003"/>
                  </a:lnTo>
                  <a:lnTo>
                    <a:pt x="524459" y="145796"/>
                  </a:lnTo>
                  <a:close/>
                </a:path>
              </a:pathLst>
            </a:custGeom>
            <a:solidFill>
              <a:srgbClr val="CF1B2A"/>
            </a:solidFill>
          </p:spPr>
          <p:txBody>
            <a:bodyPr wrap="square" lIns="0" tIns="0" rIns="0" bIns="0" rtlCol="0"/>
            <a:lstStyle/>
            <a:p>
              <a:endParaRPr/>
            </a:p>
          </p:txBody>
        </p:sp>
        <p:sp>
          <p:nvSpPr>
            <p:cNvPr id="76" name="object 76"/>
            <p:cNvSpPr/>
            <p:nvPr/>
          </p:nvSpPr>
          <p:spPr>
            <a:xfrm>
              <a:off x="10568468" y="3297594"/>
              <a:ext cx="566420" cy="377825"/>
            </a:xfrm>
            <a:custGeom>
              <a:avLst/>
              <a:gdLst/>
              <a:ahLst/>
              <a:cxnLst/>
              <a:rect l="l" t="t" r="r" b="b"/>
              <a:pathLst>
                <a:path w="566420" h="377825">
                  <a:moveTo>
                    <a:pt x="495128" y="377612"/>
                  </a:moveTo>
                  <a:lnTo>
                    <a:pt x="70802" y="377612"/>
                  </a:lnTo>
                  <a:lnTo>
                    <a:pt x="43237" y="372046"/>
                  </a:lnTo>
                  <a:lnTo>
                    <a:pt x="20732" y="356869"/>
                  </a:lnTo>
                  <a:lnTo>
                    <a:pt x="5562" y="334363"/>
                  </a:lnTo>
                  <a:lnTo>
                    <a:pt x="0" y="306810"/>
                  </a:lnTo>
                  <a:lnTo>
                    <a:pt x="0" y="70802"/>
                  </a:lnTo>
                  <a:lnTo>
                    <a:pt x="5553" y="43248"/>
                  </a:lnTo>
                  <a:lnTo>
                    <a:pt x="20709" y="20742"/>
                  </a:lnTo>
                  <a:lnTo>
                    <a:pt x="43211" y="5566"/>
                  </a:lnTo>
                  <a:lnTo>
                    <a:pt x="70802" y="0"/>
                  </a:lnTo>
                  <a:lnTo>
                    <a:pt x="495128" y="0"/>
                  </a:lnTo>
                  <a:lnTo>
                    <a:pt x="522693" y="5566"/>
                  </a:lnTo>
                  <a:lnTo>
                    <a:pt x="545198" y="20742"/>
                  </a:lnTo>
                  <a:lnTo>
                    <a:pt x="560368" y="43248"/>
                  </a:lnTo>
                  <a:lnTo>
                    <a:pt x="565930" y="70802"/>
                  </a:lnTo>
                  <a:lnTo>
                    <a:pt x="565930" y="306810"/>
                  </a:lnTo>
                  <a:lnTo>
                    <a:pt x="560377" y="334363"/>
                  </a:lnTo>
                  <a:lnTo>
                    <a:pt x="545221" y="356869"/>
                  </a:lnTo>
                  <a:lnTo>
                    <a:pt x="522719" y="372046"/>
                  </a:lnTo>
                  <a:lnTo>
                    <a:pt x="495128" y="377612"/>
                  </a:lnTo>
                  <a:close/>
                </a:path>
              </a:pathLst>
            </a:custGeom>
            <a:solidFill>
              <a:srgbClr val="D90F23"/>
            </a:solidFill>
          </p:spPr>
          <p:txBody>
            <a:bodyPr wrap="square" lIns="0" tIns="0" rIns="0" bIns="0" rtlCol="0"/>
            <a:lstStyle/>
            <a:p>
              <a:endParaRPr/>
            </a:p>
          </p:txBody>
        </p:sp>
        <p:sp>
          <p:nvSpPr>
            <p:cNvPr id="77" name="object 77"/>
            <p:cNvSpPr/>
            <p:nvPr/>
          </p:nvSpPr>
          <p:spPr>
            <a:xfrm>
              <a:off x="10568468" y="3391997"/>
              <a:ext cx="566420" cy="189230"/>
            </a:xfrm>
            <a:custGeom>
              <a:avLst/>
              <a:gdLst/>
              <a:ahLst/>
              <a:cxnLst/>
              <a:rect l="l" t="t" r="r" b="b"/>
              <a:pathLst>
                <a:path w="566420" h="189229">
                  <a:moveTo>
                    <a:pt x="565930" y="188806"/>
                  </a:moveTo>
                  <a:lnTo>
                    <a:pt x="0" y="188806"/>
                  </a:lnTo>
                  <a:lnTo>
                    <a:pt x="0" y="0"/>
                  </a:lnTo>
                  <a:lnTo>
                    <a:pt x="565930" y="0"/>
                  </a:lnTo>
                  <a:lnTo>
                    <a:pt x="565930" y="188806"/>
                  </a:lnTo>
                  <a:close/>
                </a:path>
              </a:pathLst>
            </a:custGeom>
            <a:solidFill>
              <a:srgbClr val="F1C400"/>
            </a:solidFill>
          </p:spPr>
          <p:txBody>
            <a:bodyPr wrap="square" lIns="0" tIns="0" rIns="0" bIns="0" rtlCol="0"/>
            <a:lstStyle/>
            <a:p>
              <a:endParaRPr/>
            </a:p>
          </p:txBody>
        </p:sp>
        <p:pic>
          <p:nvPicPr>
            <p:cNvPr id="78" name="object 78"/>
            <p:cNvPicPr/>
            <p:nvPr/>
          </p:nvPicPr>
          <p:blipFill>
            <a:blip r:embed="rId12" cstate="print"/>
            <a:stretch>
              <a:fillRect/>
            </a:stretch>
          </p:blipFill>
          <p:spPr>
            <a:xfrm>
              <a:off x="10621524" y="3403798"/>
              <a:ext cx="200433" cy="166250"/>
            </a:xfrm>
            <a:prstGeom prst="rect">
              <a:avLst/>
            </a:prstGeom>
          </p:spPr>
        </p:pic>
      </p:grpSp>
      <p:sp>
        <p:nvSpPr>
          <p:cNvPr id="79" name="object 79"/>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4.</a:t>
            </a:r>
            <a:r>
              <a:rPr spc="-70" dirty="0"/>
              <a:t> </a:t>
            </a:r>
            <a:r>
              <a:rPr spc="-30" dirty="0"/>
              <a:t>Situación</a:t>
            </a:r>
            <a:r>
              <a:rPr spc="-70" dirty="0"/>
              <a:t> </a:t>
            </a:r>
            <a:r>
              <a:rPr dirty="0"/>
              <a:t>de</a:t>
            </a:r>
            <a:r>
              <a:rPr spc="-65" dirty="0"/>
              <a:t> </a:t>
            </a:r>
            <a:r>
              <a:rPr spc="-10" dirty="0"/>
              <a:t>mercados</a:t>
            </a:r>
          </a:p>
        </p:txBody>
      </p:sp>
      <p:sp>
        <p:nvSpPr>
          <p:cNvPr id="80" name="object 80"/>
          <p:cNvSpPr/>
          <p:nvPr/>
        </p:nvSpPr>
        <p:spPr>
          <a:xfrm>
            <a:off x="0" y="1832333"/>
            <a:ext cx="5568950" cy="2882900"/>
          </a:xfrm>
          <a:custGeom>
            <a:avLst/>
            <a:gdLst/>
            <a:ahLst/>
            <a:cxnLst/>
            <a:rect l="l" t="t" r="r" b="b"/>
            <a:pathLst>
              <a:path w="5568950" h="2882900">
                <a:moveTo>
                  <a:pt x="4797216" y="2882859"/>
                </a:moveTo>
                <a:lnTo>
                  <a:pt x="0" y="2882859"/>
                </a:lnTo>
                <a:lnTo>
                  <a:pt x="0" y="0"/>
                </a:lnTo>
                <a:lnTo>
                  <a:pt x="4797216" y="0"/>
                </a:lnTo>
                <a:lnTo>
                  <a:pt x="5568741" y="1441430"/>
                </a:lnTo>
                <a:lnTo>
                  <a:pt x="4797216" y="2882859"/>
                </a:lnTo>
                <a:close/>
              </a:path>
            </a:pathLst>
          </a:custGeom>
          <a:solidFill>
            <a:srgbClr val="0090AE"/>
          </a:solidFill>
        </p:spPr>
        <p:txBody>
          <a:bodyPr wrap="square" lIns="0" tIns="0" rIns="0" bIns="0" rtlCol="0"/>
          <a:lstStyle/>
          <a:p>
            <a:endParaRPr/>
          </a:p>
        </p:txBody>
      </p:sp>
      <p:sp>
        <p:nvSpPr>
          <p:cNvPr id="81" name="object 81"/>
          <p:cNvSpPr txBox="1"/>
          <p:nvPr/>
        </p:nvSpPr>
        <p:spPr>
          <a:xfrm>
            <a:off x="761509" y="2063746"/>
            <a:ext cx="3601720" cy="1060450"/>
          </a:xfrm>
          <a:prstGeom prst="rect">
            <a:avLst/>
          </a:prstGeom>
        </p:spPr>
        <p:txBody>
          <a:bodyPr vert="horz" wrap="square" lIns="0" tIns="17780" rIns="0" bIns="0" rtlCol="0">
            <a:spAutoFit/>
          </a:bodyPr>
          <a:lstStyle/>
          <a:p>
            <a:pPr marL="12700" marR="5080">
              <a:lnSpc>
                <a:spcPct val="100000"/>
              </a:lnSpc>
              <a:spcBef>
                <a:spcPts val="140"/>
              </a:spcBef>
            </a:pPr>
            <a:r>
              <a:rPr sz="2250" dirty="0">
                <a:solidFill>
                  <a:srgbClr val="FFFFFF"/>
                </a:solidFill>
                <a:latin typeface="Roboto"/>
                <a:cs typeface="Roboto"/>
              </a:rPr>
              <a:t>Europa</a:t>
            </a:r>
            <a:r>
              <a:rPr sz="2250" spc="5" dirty="0">
                <a:solidFill>
                  <a:srgbClr val="FFFFFF"/>
                </a:solidFill>
                <a:latin typeface="Roboto"/>
                <a:cs typeface="Roboto"/>
              </a:rPr>
              <a:t> </a:t>
            </a:r>
            <a:r>
              <a:rPr sz="2250" dirty="0">
                <a:solidFill>
                  <a:srgbClr val="FFFFFF"/>
                </a:solidFill>
                <a:latin typeface="Roboto"/>
                <a:cs typeface="Roboto"/>
              </a:rPr>
              <a:t>como</a:t>
            </a:r>
            <a:r>
              <a:rPr sz="2250" spc="20" dirty="0">
                <a:solidFill>
                  <a:srgbClr val="FFFFFF"/>
                </a:solidFill>
                <a:latin typeface="Roboto"/>
                <a:cs typeface="Roboto"/>
              </a:rPr>
              <a:t> </a:t>
            </a:r>
            <a:r>
              <a:rPr sz="2250" spc="-10" dirty="0">
                <a:solidFill>
                  <a:srgbClr val="FFFFFF"/>
                </a:solidFill>
                <a:latin typeface="Roboto"/>
                <a:cs typeface="Roboto"/>
              </a:rPr>
              <a:t>mercado </a:t>
            </a:r>
            <a:r>
              <a:rPr sz="2250" dirty="0">
                <a:solidFill>
                  <a:srgbClr val="FFFFFF"/>
                </a:solidFill>
                <a:latin typeface="Roboto"/>
                <a:cs typeface="Roboto"/>
              </a:rPr>
              <a:t>agregado</a:t>
            </a:r>
            <a:r>
              <a:rPr sz="2250" spc="-35" dirty="0">
                <a:solidFill>
                  <a:srgbClr val="FFFFFF"/>
                </a:solidFill>
                <a:latin typeface="Roboto"/>
                <a:cs typeface="Roboto"/>
              </a:rPr>
              <a:t> </a:t>
            </a:r>
            <a:r>
              <a:rPr sz="2250" dirty="0">
                <a:solidFill>
                  <a:srgbClr val="FFFFFF"/>
                </a:solidFill>
                <a:latin typeface="Roboto"/>
                <a:cs typeface="Roboto"/>
              </a:rPr>
              <a:t>supera</a:t>
            </a:r>
            <a:r>
              <a:rPr sz="2250" spc="-35" dirty="0">
                <a:solidFill>
                  <a:srgbClr val="FFFFFF"/>
                </a:solidFill>
                <a:latin typeface="Roboto"/>
                <a:cs typeface="Roboto"/>
              </a:rPr>
              <a:t> </a:t>
            </a:r>
            <a:r>
              <a:rPr sz="2250" dirty="0">
                <a:solidFill>
                  <a:srgbClr val="FFFFFF"/>
                </a:solidFill>
                <a:latin typeface="Roboto"/>
                <a:cs typeface="Roboto"/>
              </a:rPr>
              <a:t>a</a:t>
            </a:r>
            <a:r>
              <a:rPr sz="2250" spc="-35" dirty="0">
                <a:solidFill>
                  <a:srgbClr val="FFFFFF"/>
                </a:solidFill>
                <a:latin typeface="Roboto"/>
                <a:cs typeface="Roboto"/>
              </a:rPr>
              <a:t> </a:t>
            </a:r>
            <a:r>
              <a:rPr sz="2250" spc="-10" dirty="0">
                <a:solidFill>
                  <a:srgbClr val="FFFFFF"/>
                </a:solidFill>
                <a:latin typeface="Roboto"/>
                <a:cs typeface="Roboto"/>
              </a:rPr>
              <a:t>EEUU</a:t>
            </a:r>
            <a:r>
              <a:rPr sz="2250" spc="-35" dirty="0">
                <a:solidFill>
                  <a:srgbClr val="FFFFFF"/>
                </a:solidFill>
                <a:latin typeface="Roboto"/>
                <a:cs typeface="Roboto"/>
              </a:rPr>
              <a:t> </a:t>
            </a:r>
            <a:r>
              <a:rPr sz="2250" spc="-25" dirty="0">
                <a:solidFill>
                  <a:srgbClr val="FFFFFF"/>
                </a:solidFill>
                <a:latin typeface="Roboto"/>
                <a:cs typeface="Roboto"/>
              </a:rPr>
              <a:t>en </a:t>
            </a:r>
            <a:r>
              <a:rPr sz="2250" dirty="0">
                <a:solidFill>
                  <a:srgbClr val="FFFFFF"/>
                </a:solidFill>
                <a:latin typeface="Roboto"/>
                <a:cs typeface="Roboto"/>
              </a:rPr>
              <a:t>llegadas</a:t>
            </a:r>
            <a:r>
              <a:rPr sz="2250" spc="-20" dirty="0">
                <a:solidFill>
                  <a:srgbClr val="FFFFFF"/>
                </a:solidFill>
                <a:latin typeface="Roboto"/>
                <a:cs typeface="Roboto"/>
              </a:rPr>
              <a:t> </a:t>
            </a:r>
            <a:r>
              <a:rPr sz="2250" dirty="0">
                <a:solidFill>
                  <a:srgbClr val="FFFFFF"/>
                </a:solidFill>
                <a:latin typeface="Roboto"/>
                <a:cs typeface="Roboto"/>
              </a:rPr>
              <a:t>a</a:t>
            </a:r>
            <a:r>
              <a:rPr sz="2250" spc="-20" dirty="0">
                <a:solidFill>
                  <a:srgbClr val="FFFFFF"/>
                </a:solidFill>
                <a:latin typeface="Roboto"/>
                <a:cs typeface="Roboto"/>
              </a:rPr>
              <a:t> </a:t>
            </a:r>
            <a:r>
              <a:rPr sz="2250" spc="-10" dirty="0">
                <a:solidFill>
                  <a:srgbClr val="FFFFFF"/>
                </a:solidFill>
                <a:latin typeface="Roboto"/>
                <a:cs typeface="Roboto"/>
              </a:rPr>
              <a:t>Chile</a:t>
            </a:r>
            <a:endParaRPr sz="2250">
              <a:latin typeface="Roboto"/>
              <a:cs typeface="Roboto"/>
            </a:endParaRPr>
          </a:p>
        </p:txBody>
      </p:sp>
      <p:sp>
        <p:nvSpPr>
          <p:cNvPr id="82" name="object 82"/>
          <p:cNvSpPr txBox="1"/>
          <p:nvPr/>
        </p:nvSpPr>
        <p:spPr>
          <a:xfrm>
            <a:off x="761509" y="3435346"/>
            <a:ext cx="3851275" cy="374650"/>
          </a:xfrm>
          <a:prstGeom prst="rect">
            <a:avLst/>
          </a:prstGeom>
        </p:spPr>
        <p:txBody>
          <a:bodyPr vert="horz" wrap="square" lIns="0" tIns="17780" rIns="0" bIns="0" rtlCol="0">
            <a:spAutoFit/>
          </a:bodyPr>
          <a:lstStyle/>
          <a:p>
            <a:pPr marL="12700">
              <a:lnSpc>
                <a:spcPct val="100000"/>
              </a:lnSpc>
              <a:spcBef>
                <a:spcPts val="140"/>
              </a:spcBef>
            </a:pPr>
            <a:r>
              <a:rPr sz="2250" dirty="0">
                <a:solidFill>
                  <a:srgbClr val="FFFFFF"/>
                </a:solidFill>
                <a:latin typeface="Roboto"/>
                <a:cs typeface="Roboto"/>
              </a:rPr>
              <a:t>Este</a:t>
            </a:r>
            <a:r>
              <a:rPr sz="2250" spc="5" dirty="0">
                <a:solidFill>
                  <a:srgbClr val="FFFFFF"/>
                </a:solidFill>
                <a:latin typeface="Roboto"/>
                <a:cs typeface="Roboto"/>
              </a:rPr>
              <a:t> </a:t>
            </a:r>
            <a:r>
              <a:rPr sz="2250" dirty="0">
                <a:solidFill>
                  <a:srgbClr val="FFFFFF"/>
                </a:solidFill>
                <a:latin typeface="Roboto"/>
                <a:cs typeface="Roboto"/>
              </a:rPr>
              <a:t>mercado</a:t>
            </a:r>
            <a:r>
              <a:rPr sz="2250" spc="15" dirty="0">
                <a:solidFill>
                  <a:srgbClr val="FFFFFF"/>
                </a:solidFill>
                <a:latin typeface="Roboto"/>
                <a:cs typeface="Roboto"/>
              </a:rPr>
              <a:t> </a:t>
            </a:r>
            <a:r>
              <a:rPr sz="2250" dirty="0">
                <a:solidFill>
                  <a:srgbClr val="FFFFFF"/>
                </a:solidFill>
                <a:latin typeface="Roboto"/>
                <a:cs typeface="Roboto"/>
              </a:rPr>
              <a:t>elige</a:t>
            </a:r>
            <a:r>
              <a:rPr sz="2250" spc="15" dirty="0">
                <a:solidFill>
                  <a:srgbClr val="FFFFFF"/>
                </a:solidFill>
                <a:latin typeface="Roboto"/>
                <a:cs typeface="Roboto"/>
              </a:rPr>
              <a:t> </a:t>
            </a:r>
            <a:r>
              <a:rPr sz="2250" dirty="0">
                <a:solidFill>
                  <a:srgbClr val="FFFFFF"/>
                </a:solidFill>
                <a:latin typeface="Roboto"/>
                <a:cs typeface="Roboto"/>
              </a:rPr>
              <a:t>a</a:t>
            </a:r>
            <a:r>
              <a:rPr sz="2250" spc="15" dirty="0">
                <a:solidFill>
                  <a:srgbClr val="FFFFFF"/>
                </a:solidFill>
                <a:latin typeface="Roboto"/>
                <a:cs typeface="Roboto"/>
              </a:rPr>
              <a:t> </a:t>
            </a:r>
            <a:r>
              <a:rPr sz="2250" b="1" dirty="0">
                <a:solidFill>
                  <a:srgbClr val="FFFFFF"/>
                </a:solidFill>
                <a:latin typeface="Roboto"/>
                <a:cs typeface="Roboto"/>
              </a:rPr>
              <a:t>Chile</a:t>
            </a:r>
            <a:r>
              <a:rPr sz="2250" b="1" spc="20" dirty="0">
                <a:solidFill>
                  <a:srgbClr val="FFFFFF"/>
                </a:solidFill>
                <a:latin typeface="Roboto"/>
                <a:cs typeface="Roboto"/>
              </a:rPr>
              <a:t> </a:t>
            </a:r>
            <a:r>
              <a:rPr sz="2250" b="1" spc="-25" dirty="0">
                <a:solidFill>
                  <a:srgbClr val="FFFFFF"/>
                </a:solidFill>
                <a:latin typeface="Roboto"/>
                <a:cs typeface="Roboto"/>
              </a:rPr>
              <a:t>en</a:t>
            </a:r>
            <a:endParaRPr sz="2250">
              <a:latin typeface="Roboto"/>
              <a:cs typeface="Roboto"/>
            </a:endParaRPr>
          </a:p>
        </p:txBody>
      </p:sp>
      <p:sp>
        <p:nvSpPr>
          <p:cNvPr id="83" name="object 83"/>
          <p:cNvSpPr txBox="1"/>
          <p:nvPr/>
        </p:nvSpPr>
        <p:spPr>
          <a:xfrm>
            <a:off x="761509" y="3778246"/>
            <a:ext cx="3558540" cy="717550"/>
          </a:xfrm>
          <a:prstGeom prst="rect">
            <a:avLst/>
          </a:prstGeom>
        </p:spPr>
        <p:txBody>
          <a:bodyPr vert="horz" wrap="square" lIns="0" tIns="17780" rIns="0" bIns="0" rtlCol="0">
            <a:spAutoFit/>
          </a:bodyPr>
          <a:lstStyle/>
          <a:p>
            <a:pPr marL="12700" marR="5080">
              <a:lnSpc>
                <a:spcPct val="100000"/>
              </a:lnSpc>
              <a:spcBef>
                <a:spcPts val="140"/>
              </a:spcBef>
            </a:pPr>
            <a:r>
              <a:rPr sz="2250" b="1" dirty="0">
                <a:solidFill>
                  <a:srgbClr val="FFFFFF"/>
                </a:solidFill>
                <a:latin typeface="Roboto"/>
                <a:cs typeface="Roboto"/>
              </a:rPr>
              <a:t>6º</a:t>
            </a:r>
            <a:r>
              <a:rPr sz="2250" b="1" spc="-5" dirty="0">
                <a:solidFill>
                  <a:srgbClr val="FFFFFF"/>
                </a:solidFill>
                <a:latin typeface="Roboto"/>
                <a:cs typeface="Roboto"/>
              </a:rPr>
              <a:t> </a:t>
            </a:r>
            <a:r>
              <a:rPr sz="2250" b="1" dirty="0">
                <a:solidFill>
                  <a:srgbClr val="FFFFFF"/>
                </a:solidFill>
                <a:latin typeface="Roboto"/>
                <a:cs typeface="Roboto"/>
              </a:rPr>
              <a:t>lugar</a:t>
            </a:r>
            <a:r>
              <a:rPr sz="2250" b="1" spc="-5" dirty="0">
                <a:solidFill>
                  <a:srgbClr val="FFFFFF"/>
                </a:solidFill>
                <a:latin typeface="Roboto"/>
                <a:cs typeface="Roboto"/>
              </a:rPr>
              <a:t> </a:t>
            </a:r>
            <a:r>
              <a:rPr sz="2250" dirty="0">
                <a:solidFill>
                  <a:srgbClr val="FFFFFF"/>
                </a:solidFill>
                <a:latin typeface="Roboto"/>
                <a:cs typeface="Roboto"/>
              </a:rPr>
              <a:t>entre</a:t>
            </a:r>
            <a:r>
              <a:rPr sz="2250" spc="-5" dirty="0">
                <a:solidFill>
                  <a:srgbClr val="FFFFFF"/>
                </a:solidFill>
                <a:latin typeface="Roboto"/>
                <a:cs typeface="Roboto"/>
              </a:rPr>
              <a:t> </a:t>
            </a:r>
            <a:r>
              <a:rPr sz="2250" dirty="0">
                <a:solidFill>
                  <a:srgbClr val="FFFFFF"/>
                </a:solidFill>
                <a:latin typeface="Roboto"/>
                <a:cs typeface="Roboto"/>
              </a:rPr>
              <a:t>nueve </a:t>
            </a:r>
            <a:r>
              <a:rPr sz="2250" spc="-10" dirty="0">
                <a:solidFill>
                  <a:srgbClr val="FFFFFF"/>
                </a:solidFill>
                <a:latin typeface="Roboto"/>
                <a:cs typeface="Roboto"/>
              </a:rPr>
              <a:t>países competidores</a:t>
            </a:r>
            <a:endParaRPr sz="2250">
              <a:latin typeface="Roboto"/>
              <a:cs typeface="Roboto"/>
            </a:endParaRPr>
          </a:p>
        </p:txBody>
      </p:sp>
      <p:sp>
        <p:nvSpPr>
          <p:cNvPr id="84" name="object 84"/>
          <p:cNvSpPr txBox="1"/>
          <p:nvPr/>
        </p:nvSpPr>
        <p:spPr>
          <a:xfrm>
            <a:off x="3229613" y="6386117"/>
            <a:ext cx="615315" cy="172720"/>
          </a:xfrm>
          <a:prstGeom prst="rect">
            <a:avLst/>
          </a:prstGeom>
        </p:spPr>
        <p:txBody>
          <a:bodyPr vert="horz" wrap="square" lIns="0" tIns="14605" rIns="0" bIns="0" rtlCol="0">
            <a:spAutoFit/>
          </a:bodyPr>
          <a:lstStyle/>
          <a:p>
            <a:pPr marL="12700">
              <a:lnSpc>
                <a:spcPct val="100000"/>
              </a:lnSpc>
              <a:spcBef>
                <a:spcPts val="115"/>
              </a:spcBef>
            </a:pPr>
            <a:r>
              <a:rPr sz="950" b="1" dirty="0">
                <a:solidFill>
                  <a:srgbClr val="737373"/>
                </a:solidFill>
                <a:latin typeface="Roboto"/>
                <a:cs typeface="Roboto"/>
              </a:rPr>
              <a:t>Costa</a:t>
            </a:r>
            <a:r>
              <a:rPr sz="950" b="1" spc="5" dirty="0">
                <a:solidFill>
                  <a:srgbClr val="737373"/>
                </a:solidFill>
                <a:latin typeface="Roboto"/>
                <a:cs typeface="Roboto"/>
              </a:rPr>
              <a:t> </a:t>
            </a:r>
            <a:r>
              <a:rPr sz="950" b="1" spc="-20" dirty="0">
                <a:solidFill>
                  <a:srgbClr val="737373"/>
                </a:solidFill>
                <a:latin typeface="Roboto"/>
                <a:cs typeface="Roboto"/>
              </a:rPr>
              <a:t>Rica</a:t>
            </a:r>
            <a:endParaRPr sz="950">
              <a:latin typeface="Roboto"/>
              <a:cs typeface="Roboto"/>
            </a:endParaRPr>
          </a:p>
        </p:txBody>
      </p:sp>
      <p:sp>
        <p:nvSpPr>
          <p:cNvPr id="85" name="object 85"/>
          <p:cNvSpPr txBox="1"/>
          <p:nvPr/>
        </p:nvSpPr>
        <p:spPr>
          <a:xfrm>
            <a:off x="3372671" y="7321370"/>
            <a:ext cx="475615"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Ecuador</a:t>
            </a:r>
            <a:endParaRPr sz="950">
              <a:latin typeface="Roboto"/>
              <a:cs typeface="Roboto"/>
            </a:endParaRPr>
          </a:p>
        </p:txBody>
      </p:sp>
      <p:sp>
        <p:nvSpPr>
          <p:cNvPr id="86" name="object 86"/>
          <p:cNvSpPr txBox="1"/>
          <p:nvPr/>
        </p:nvSpPr>
        <p:spPr>
          <a:xfrm>
            <a:off x="1335776" y="7369759"/>
            <a:ext cx="283845" cy="172720"/>
          </a:xfrm>
          <a:prstGeom prst="rect">
            <a:avLst/>
          </a:prstGeom>
        </p:spPr>
        <p:txBody>
          <a:bodyPr vert="horz" wrap="square" lIns="0" tIns="14605" rIns="0" bIns="0" rtlCol="0">
            <a:spAutoFit/>
          </a:bodyPr>
          <a:lstStyle/>
          <a:p>
            <a:pPr marL="12700">
              <a:lnSpc>
                <a:spcPct val="100000"/>
              </a:lnSpc>
              <a:spcBef>
                <a:spcPts val="115"/>
              </a:spcBef>
            </a:pPr>
            <a:r>
              <a:rPr sz="950" b="1" spc="-20" dirty="0">
                <a:solidFill>
                  <a:srgbClr val="737373"/>
                </a:solidFill>
                <a:latin typeface="Roboto"/>
                <a:cs typeface="Roboto"/>
              </a:rPr>
              <a:t>Perú</a:t>
            </a:r>
            <a:endParaRPr sz="950">
              <a:latin typeface="Roboto"/>
              <a:cs typeface="Roboto"/>
            </a:endParaRPr>
          </a:p>
        </p:txBody>
      </p:sp>
      <p:sp>
        <p:nvSpPr>
          <p:cNvPr id="87" name="object 87"/>
          <p:cNvSpPr/>
          <p:nvPr/>
        </p:nvSpPr>
        <p:spPr>
          <a:xfrm>
            <a:off x="2482696" y="5008608"/>
            <a:ext cx="481330" cy="481330"/>
          </a:xfrm>
          <a:custGeom>
            <a:avLst/>
            <a:gdLst/>
            <a:ahLst/>
            <a:cxnLst/>
            <a:rect l="l" t="t" r="r" b="b"/>
            <a:pathLst>
              <a:path w="481330" h="481329">
                <a:moveTo>
                  <a:pt x="240449" y="480898"/>
                </a:moveTo>
                <a:lnTo>
                  <a:pt x="191990" y="476013"/>
                </a:lnTo>
                <a:lnTo>
                  <a:pt x="146855" y="462003"/>
                </a:lnTo>
                <a:lnTo>
                  <a:pt x="106011" y="439833"/>
                </a:lnTo>
                <a:lnTo>
                  <a:pt x="70425" y="410472"/>
                </a:lnTo>
                <a:lnTo>
                  <a:pt x="41064" y="374886"/>
                </a:lnTo>
                <a:lnTo>
                  <a:pt x="18895" y="334043"/>
                </a:lnTo>
                <a:lnTo>
                  <a:pt x="4885" y="288908"/>
                </a:lnTo>
                <a:lnTo>
                  <a:pt x="0" y="240448"/>
                </a:lnTo>
                <a:lnTo>
                  <a:pt x="4885" y="191990"/>
                </a:lnTo>
                <a:lnTo>
                  <a:pt x="18895" y="146855"/>
                </a:lnTo>
                <a:lnTo>
                  <a:pt x="41064" y="106011"/>
                </a:lnTo>
                <a:lnTo>
                  <a:pt x="70425" y="70426"/>
                </a:lnTo>
                <a:lnTo>
                  <a:pt x="106011" y="41065"/>
                </a:lnTo>
                <a:lnTo>
                  <a:pt x="146855" y="18895"/>
                </a:lnTo>
                <a:lnTo>
                  <a:pt x="191990" y="4885"/>
                </a:lnTo>
                <a:lnTo>
                  <a:pt x="240449" y="0"/>
                </a:lnTo>
                <a:lnTo>
                  <a:pt x="288908" y="4885"/>
                </a:lnTo>
                <a:lnTo>
                  <a:pt x="334043" y="18895"/>
                </a:lnTo>
                <a:lnTo>
                  <a:pt x="374886" y="41065"/>
                </a:lnTo>
                <a:lnTo>
                  <a:pt x="410472" y="70426"/>
                </a:lnTo>
                <a:lnTo>
                  <a:pt x="439833" y="106011"/>
                </a:lnTo>
                <a:lnTo>
                  <a:pt x="462003" y="146855"/>
                </a:lnTo>
                <a:lnTo>
                  <a:pt x="476013" y="191990"/>
                </a:lnTo>
                <a:lnTo>
                  <a:pt x="480898" y="240449"/>
                </a:lnTo>
                <a:lnTo>
                  <a:pt x="476013" y="288908"/>
                </a:lnTo>
                <a:lnTo>
                  <a:pt x="462003" y="334043"/>
                </a:lnTo>
                <a:lnTo>
                  <a:pt x="439833" y="374886"/>
                </a:lnTo>
                <a:lnTo>
                  <a:pt x="410472" y="410472"/>
                </a:lnTo>
                <a:lnTo>
                  <a:pt x="374886" y="439833"/>
                </a:lnTo>
                <a:lnTo>
                  <a:pt x="334043" y="462003"/>
                </a:lnTo>
                <a:lnTo>
                  <a:pt x="288908" y="476013"/>
                </a:lnTo>
                <a:lnTo>
                  <a:pt x="240449" y="480898"/>
                </a:lnTo>
                <a:close/>
              </a:path>
            </a:pathLst>
          </a:custGeom>
          <a:solidFill>
            <a:srgbClr val="CD2028"/>
          </a:solidFill>
        </p:spPr>
        <p:txBody>
          <a:bodyPr wrap="square" lIns="0" tIns="0" rIns="0" bIns="0" rtlCol="0"/>
          <a:lstStyle/>
          <a:p>
            <a:endParaRPr/>
          </a:p>
        </p:txBody>
      </p:sp>
      <p:sp>
        <p:nvSpPr>
          <p:cNvPr id="88" name="object 88"/>
          <p:cNvSpPr txBox="1"/>
          <p:nvPr/>
        </p:nvSpPr>
        <p:spPr>
          <a:xfrm>
            <a:off x="2654393" y="5110207"/>
            <a:ext cx="137160" cy="254000"/>
          </a:xfrm>
          <a:prstGeom prst="rect">
            <a:avLst/>
          </a:prstGeom>
        </p:spPr>
        <p:txBody>
          <a:bodyPr vert="horz" wrap="square" lIns="0" tIns="12700" rIns="0" bIns="0" rtlCol="0">
            <a:spAutoFit/>
          </a:bodyPr>
          <a:lstStyle/>
          <a:p>
            <a:pPr marL="12700">
              <a:lnSpc>
                <a:spcPct val="100000"/>
              </a:lnSpc>
              <a:spcBef>
                <a:spcPts val="100"/>
              </a:spcBef>
            </a:pPr>
            <a:r>
              <a:rPr sz="1500" b="1" dirty="0">
                <a:solidFill>
                  <a:srgbClr val="FFFFFF"/>
                </a:solidFill>
                <a:latin typeface="OpenSans-ExtraBold"/>
                <a:cs typeface="OpenSans-ExtraBold"/>
              </a:rPr>
              <a:t>6</a:t>
            </a:r>
            <a:endParaRPr sz="1500">
              <a:latin typeface="OpenSans-ExtraBold"/>
              <a:cs typeface="OpenSans-ExtraBold"/>
            </a:endParaRPr>
          </a:p>
        </p:txBody>
      </p:sp>
      <p:grpSp>
        <p:nvGrpSpPr>
          <p:cNvPr id="89" name="object 89"/>
          <p:cNvGrpSpPr/>
          <p:nvPr/>
        </p:nvGrpSpPr>
        <p:grpSpPr>
          <a:xfrm>
            <a:off x="3276990" y="5008686"/>
            <a:ext cx="619125" cy="447675"/>
            <a:chOff x="3276990" y="5008686"/>
            <a:chExt cx="619125" cy="447675"/>
          </a:xfrm>
        </p:grpSpPr>
        <p:pic>
          <p:nvPicPr>
            <p:cNvPr id="90" name="object 90"/>
            <p:cNvPicPr/>
            <p:nvPr/>
          </p:nvPicPr>
          <p:blipFill>
            <a:blip r:embed="rId13" cstate="print"/>
            <a:stretch>
              <a:fillRect/>
            </a:stretch>
          </p:blipFill>
          <p:spPr>
            <a:xfrm>
              <a:off x="3276990" y="5008686"/>
              <a:ext cx="223572" cy="223758"/>
            </a:xfrm>
            <a:prstGeom prst="rect">
              <a:avLst/>
            </a:prstGeom>
          </p:spPr>
        </p:pic>
        <p:sp>
          <p:nvSpPr>
            <p:cNvPr id="91" name="object 91"/>
            <p:cNvSpPr/>
            <p:nvPr/>
          </p:nvSpPr>
          <p:spPr>
            <a:xfrm>
              <a:off x="3500563" y="5008686"/>
              <a:ext cx="395605" cy="224154"/>
            </a:xfrm>
            <a:custGeom>
              <a:avLst/>
              <a:gdLst/>
              <a:ahLst/>
              <a:cxnLst/>
              <a:rect l="l" t="t" r="r" b="b"/>
              <a:pathLst>
                <a:path w="395604" h="224154">
                  <a:moveTo>
                    <a:pt x="395552" y="223758"/>
                  </a:moveTo>
                  <a:lnTo>
                    <a:pt x="0" y="223758"/>
                  </a:lnTo>
                  <a:lnTo>
                    <a:pt x="0" y="0"/>
                  </a:lnTo>
                  <a:lnTo>
                    <a:pt x="326760" y="0"/>
                  </a:lnTo>
                  <a:lnTo>
                    <a:pt x="353536" y="5410"/>
                  </a:lnTo>
                  <a:lnTo>
                    <a:pt x="375402" y="20166"/>
                  </a:lnTo>
                  <a:lnTo>
                    <a:pt x="390145" y="42050"/>
                  </a:lnTo>
                  <a:lnTo>
                    <a:pt x="395552" y="68848"/>
                  </a:lnTo>
                  <a:lnTo>
                    <a:pt x="395552" y="223758"/>
                  </a:lnTo>
                  <a:close/>
                </a:path>
              </a:pathLst>
            </a:custGeom>
            <a:solidFill>
              <a:srgbClr val="EDEDED"/>
            </a:solidFill>
          </p:spPr>
          <p:txBody>
            <a:bodyPr wrap="square" lIns="0" tIns="0" rIns="0" bIns="0" rtlCol="0"/>
            <a:lstStyle/>
            <a:p>
              <a:endParaRPr/>
            </a:p>
          </p:txBody>
        </p:sp>
        <p:sp>
          <p:nvSpPr>
            <p:cNvPr id="92" name="object 92"/>
            <p:cNvSpPr/>
            <p:nvPr/>
          </p:nvSpPr>
          <p:spPr>
            <a:xfrm>
              <a:off x="3276990" y="5232445"/>
              <a:ext cx="619125" cy="224154"/>
            </a:xfrm>
            <a:custGeom>
              <a:avLst/>
              <a:gdLst/>
              <a:ahLst/>
              <a:cxnLst/>
              <a:rect l="l" t="t" r="r" b="b"/>
              <a:pathLst>
                <a:path w="619125" h="224154">
                  <a:moveTo>
                    <a:pt x="550333" y="223758"/>
                  </a:moveTo>
                  <a:lnTo>
                    <a:pt x="68791" y="223758"/>
                  </a:lnTo>
                  <a:lnTo>
                    <a:pt x="42015" y="218347"/>
                  </a:lnTo>
                  <a:lnTo>
                    <a:pt x="20149" y="203592"/>
                  </a:lnTo>
                  <a:lnTo>
                    <a:pt x="5406" y="181707"/>
                  </a:lnTo>
                  <a:lnTo>
                    <a:pt x="0" y="154909"/>
                  </a:lnTo>
                  <a:lnTo>
                    <a:pt x="0" y="0"/>
                  </a:lnTo>
                  <a:lnTo>
                    <a:pt x="619124" y="0"/>
                  </a:lnTo>
                  <a:lnTo>
                    <a:pt x="619124" y="154909"/>
                  </a:lnTo>
                  <a:lnTo>
                    <a:pt x="613718" y="181707"/>
                  </a:lnTo>
                  <a:lnTo>
                    <a:pt x="598975" y="203592"/>
                  </a:lnTo>
                  <a:lnTo>
                    <a:pt x="577109" y="218347"/>
                  </a:lnTo>
                  <a:lnTo>
                    <a:pt x="550333" y="223758"/>
                  </a:lnTo>
                  <a:close/>
                </a:path>
              </a:pathLst>
            </a:custGeom>
            <a:solidFill>
              <a:srgbClr val="D42D26"/>
            </a:solidFill>
          </p:spPr>
          <p:txBody>
            <a:bodyPr wrap="square" lIns="0" tIns="0" rIns="0" bIns="0" rtlCol="0"/>
            <a:lstStyle/>
            <a:p>
              <a:endParaRPr/>
            </a:p>
          </p:txBody>
        </p:sp>
        <p:pic>
          <p:nvPicPr>
            <p:cNvPr id="93" name="object 93"/>
            <p:cNvPicPr/>
            <p:nvPr/>
          </p:nvPicPr>
          <p:blipFill>
            <a:blip r:embed="rId14" cstate="print"/>
            <a:stretch>
              <a:fillRect/>
            </a:stretch>
          </p:blipFill>
          <p:spPr>
            <a:xfrm>
              <a:off x="3335635" y="5068929"/>
              <a:ext cx="104735" cy="99693"/>
            </a:xfrm>
            <a:prstGeom prst="rect">
              <a:avLst/>
            </a:prstGeom>
          </p:spPr>
        </p:pic>
      </p:grpSp>
      <p:sp>
        <p:nvSpPr>
          <p:cNvPr id="94" name="object 94"/>
          <p:cNvSpPr txBox="1"/>
          <p:nvPr/>
        </p:nvSpPr>
        <p:spPr>
          <a:xfrm>
            <a:off x="3440019" y="5500306"/>
            <a:ext cx="305435"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Chile</a:t>
            </a:r>
            <a:endParaRPr sz="950">
              <a:latin typeface="Roboto"/>
              <a:cs typeface="Roboto"/>
            </a:endParaRPr>
          </a:p>
        </p:txBody>
      </p:sp>
      <p:sp>
        <p:nvSpPr>
          <p:cNvPr id="95" name="object 95"/>
          <p:cNvSpPr txBox="1"/>
          <p:nvPr/>
        </p:nvSpPr>
        <p:spPr>
          <a:xfrm>
            <a:off x="1163936" y="6441223"/>
            <a:ext cx="565150"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Argentina</a:t>
            </a:r>
            <a:endParaRPr sz="950">
              <a:latin typeface="Roboto"/>
              <a:cs typeface="Roboto"/>
            </a:endParaRPr>
          </a:p>
        </p:txBody>
      </p:sp>
      <p:sp>
        <p:nvSpPr>
          <p:cNvPr id="96" name="object 96"/>
          <p:cNvSpPr txBox="1"/>
          <p:nvPr/>
        </p:nvSpPr>
        <p:spPr>
          <a:xfrm>
            <a:off x="1259016" y="5483039"/>
            <a:ext cx="342265"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Brasil</a:t>
            </a:r>
            <a:endParaRPr sz="950">
              <a:latin typeface="Roboto"/>
              <a:cs typeface="Roboto"/>
            </a:endParaRPr>
          </a:p>
        </p:txBody>
      </p:sp>
      <p:sp>
        <p:nvSpPr>
          <p:cNvPr id="97" name="object 97"/>
          <p:cNvSpPr txBox="1"/>
          <p:nvPr/>
        </p:nvSpPr>
        <p:spPr>
          <a:xfrm>
            <a:off x="3363259" y="8147920"/>
            <a:ext cx="398145"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Bolivia</a:t>
            </a:r>
            <a:endParaRPr sz="950">
              <a:latin typeface="Roboto"/>
              <a:cs typeface="Roboto"/>
            </a:endParaRPr>
          </a:p>
        </p:txBody>
      </p:sp>
      <p:sp>
        <p:nvSpPr>
          <p:cNvPr id="98" name="object 98"/>
          <p:cNvSpPr txBox="1"/>
          <p:nvPr/>
        </p:nvSpPr>
        <p:spPr>
          <a:xfrm>
            <a:off x="1201456" y="8966181"/>
            <a:ext cx="549910" cy="172720"/>
          </a:xfrm>
          <a:prstGeom prst="rect">
            <a:avLst/>
          </a:prstGeom>
        </p:spPr>
        <p:txBody>
          <a:bodyPr vert="horz" wrap="square" lIns="0" tIns="14605" rIns="0" bIns="0" rtlCol="0">
            <a:spAutoFit/>
          </a:bodyPr>
          <a:lstStyle/>
          <a:p>
            <a:pPr marL="12700">
              <a:lnSpc>
                <a:spcPct val="100000"/>
              </a:lnSpc>
              <a:spcBef>
                <a:spcPts val="115"/>
              </a:spcBef>
            </a:pPr>
            <a:r>
              <a:rPr sz="950" b="1" spc="-10" dirty="0">
                <a:solidFill>
                  <a:srgbClr val="737373"/>
                </a:solidFill>
                <a:latin typeface="Roboto"/>
                <a:cs typeface="Roboto"/>
              </a:rPr>
              <a:t>Colombia</a:t>
            </a:r>
            <a:endParaRPr sz="950">
              <a:latin typeface="Roboto"/>
              <a:cs typeface="Roboto"/>
            </a:endParaRPr>
          </a:p>
        </p:txBody>
      </p:sp>
      <p:sp>
        <p:nvSpPr>
          <p:cNvPr id="99" name="object 99"/>
          <p:cNvSpPr txBox="1"/>
          <p:nvPr/>
        </p:nvSpPr>
        <p:spPr>
          <a:xfrm>
            <a:off x="1034767" y="8161720"/>
            <a:ext cx="846455" cy="172720"/>
          </a:xfrm>
          <a:prstGeom prst="rect">
            <a:avLst/>
          </a:prstGeom>
        </p:spPr>
        <p:txBody>
          <a:bodyPr vert="horz" wrap="square" lIns="0" tIns="14605" rIns="0" bIns="0" rtlCol="0">
            <a:spAutoFit/>
          </a:bodyPr>
          <a:lstStyle/>
          <a:p>
            <a:pPr marL="12700">
              <a:lnSpc>
                <a:spcPct val="100000"/>
              </a:lnSpc>
              <a:spcBef>
                <a:spcPts val="115"/>
              </a:spcBef>
            </a:pPr>
            <a:r>
              <a:rPr sz="950" b="1" dirty="0">
                <a:solidFill>
                  <a:srgbClr val="737373"/>
                </a:solidFill>
                <a:latin typeface="Roboto"/>
                <a:cs typeface="Roboto"/>
              </a:rPr>
              <a:t>Nueva</a:t>
            </a:r>
            <a:r>
              <a:rPr sz="950" b="1" spc="5" dirty="0">
                <a:solidFill>
                  <a:srgbClr val="737373"/>
                </a:solidFill>
                <a:latin typeface="Roboto"/>
                <a:cs typeface="Roboto"/>
              </a:rPr>
              <a:t> </a:t>
            </a:r>
            <a:r>
              <a:rPr sz="950" b="1" spc="-10" dirty="0">
                <a:solidFill>
                  <a:srgbClr val="737373"/>
                </a:solidFill>
                <a:latin typeface="Roboto"/>
                <a:cs typeface="Roboto"/>
              </a:rPr>
              <a:t>Zelanda</a:t>
            </a:r>
            <a:endParaRPr sz="950">
              <a:latin typeface="Roboto"/>
              <a:cs typeface="Roboto"/>
            </a:endParaRPr>
          </a:p>
        </p:txBody>
      </p:sp>
      <p:sp>
        <p:nvSpPr>
          <p:cNvPr id="100" name="object 100"/>
          <p:cNvSpPr txBox="1"/>
          <p:nvPr/>
        </p:nvSpPr>
        <p:spPr>
          <a:xfrm>
            <a:off x="12171603" y="3446150"/>
            <a:ext cx="689610" cy="748665"/>
          </a:xfrm>
          <a:prstGeom prst="rect">
            <a:avLst/>
          </a:prstGeom>
        </p:spPr>
        <p:txBody>
          <a:bodyPr vert="horz" wrap="square" lIns="0" tIns="26670" rIns="0" bIns="0" rtlCol="0">
            <a:spAutoFit/>
          </a:bodyPr>
          <a:lstStyle/>
          <a:p>
            <a:pPr marL="12700" marR="5080" algn="ctr">
              <a:lnSpc>
                <a:spcPts val="1400"/>
              </a:lnSpc>
              <a:spcBef>
                <a:spcPts val="210"/>
              </a:spcBef>
            </a:pPr>
            <a:r>
              <a:rPr sz="1200" b="1" spc="-10" dirty="0">
                <a:solidFill>
                  <a:srgbClr val="FFFFFF"/>
                </a:solidFill>
                <a:latin typeface="Roboto"/>
                <a:cs typeface="Roboto"/>
              </a:rPr>
              <a:t>Alemania España Francia </a:t>
            </a:r>
            <a:r>
              <a:rPr sz="1200" b="1" spc="-25" dirty="0">
                <a:solidFill>
                  <a:srgbClr val="FFFFFF"/>
                </a:solidFill>
                <a:latin typeface="Roboto"/>
                <a:cs typeface="Roboto"/>
              </a:rPr>
              <a:t>UK</a:t>
            </a:r>
            <a:endParaRPr sz="1200">
              <a:latin typeface="Roboto"/>
              <a:cs typeface="Roboto"/>
            </a:endParaRPr>
          </a:p>
        </p:txBody>
      </p:sp>
      <p:grpSp>
        <p:nvGrpSpPr>
          <p:cNvPr id="101" name="object 101"/>
          <p:cNvGrpSpPr/>
          <p:nvPr/>
        </p:nvGrpSpPr>
        <p:grpSpPr>
          <a:xfrm>
            <a:off x="514127" y="2221431"/>
            <a:ext cx="140970" cy="1501775"/>
            <a:chOff x="514127" y="2221431"/>
            <a:chExt cx="140970" cy="1501775"/>
          </a:xfrm>
        </p:grpSpPr>
        <p:pic>
          <p:nvPicPr>
            <p:cNvPr id="102" name="object 102"/>
            <p:cNvPicPr/>
            <p:nvPr/>
          </p:nvPicPr>
          <p:blipFill>
            <a:blip r:embed="rId15" cstate="print"/>
            <a:stretch>
              <a:fillRect/>
            </a:stretch>
          </p:blipFill>
          <p:spPr>
            <a:xfrm>
              <a:off x="514127" y="2221431"/>
              <a:ext cx="140556" cy="140555"/>
            </a:xfrm>
            <a:prstGeom prst="rect">
              <a:avLst/>
            </a:prstGeom>
          </p:spPr>
        </p:pic>
        <p:pic>
          <p:nvPicPr>
            <p:cNvPr id="103" name="object 103"/>
            <p:cNvPicPr/>
            <p:nvPr/>
          </p:nvPicPr>
          <p:blipFill>
            <a:blip r:embed="rId15" cstate="print"/>
            <a:stretch>
              <a:fillRect/>
            </a:stretch>
          </p:blipFill>
          <p:spPr>
            <a:xfrm>
              <a:off x="514127" y="3582177"/>
              <a:ext cx="140556" cy="140555"/>
            </a:xfrm>
            <a:prstGeom prst="rect">
              <a:avLst/>
            </a:prstGeom>
          </p:spPr>
        </p:pic>
      </p:grpSp>
      <p:sp>
        <p:nvSpPr>
          <p:cNvPr id="104" name="object 104"/>
          <p:cNvSpPr txBox="1"/>
          <p:nvPr/>
        </p:nvSpPr>
        <p:spPr>
          <a:xfrm rot="16680000">
            <a:off x="7948033" y="8267793"/>
            <a:ext cx="659643" cy="209550"/>
          </a:xfrm>
          <a:prstGeom prst="rect">
            <a:avLst/>
          </a:prstGeom>
        </p:spPr>
        <p:txBody>
          <a:bodyPr vert="horz" wrap="square" lIns="0" tIns="0" rIns="0" bIns="0" rtlCol="0">
            <a:spAutoFit/>
          </a:bodyPr>
          <a:lstStyle/>
          <a:p>
            <a:pPr>
              <a:lnSpc>
                <a:spcPts val="1520"/>
              </a:lnSpc>
            </a:pPr>
            <a:r>
              <a:rPr sz="1650" b="1" spc="-15" dirty="0">
                <a:solidFill>
                  <a:srgbClr val="E3112B"/>
                </a:solidFill>
                <a:latin typeface="Arial"/>
                <a:cs typeface="Arial"/>
              </a:rPr>
              <a:t>CH</a:t>
            </a:r>
            <a:r>
              <a:rPr sz="2475" b="1" spc="-22" baseline="1683" dirty="0">
                <a:solidFill>
                  <a:srgbClr val="E3112B"/>
                </a:solidFill>
                <a:latin typeface="Arial"/>
                <a:cs typeface="Arial"/>
              </a:rPr>
              <a:t>ILE</a:t>
            </a:r>
            <a:endParaRPr sz="2475" baseline="1683">
              <a:latin typeface="Arial"/>
              <a:cs typeface="Arial"/>
            </a:endParaRPr>
          </a:p>
        </p:txBody>
      </p:sp>
      <p:pic>
        <p:nvPicPr>
          <p:cNvPr id="105" name="object 105"/>
          <p:cNvPicPr/>
          <p:nvPr/>
        </p:nvPicPr>
        <p:blipFill>
          <a:blip r:embed="rId16" cstate="print"/>
          <a:stretch>
            <a:fillRect/>
          </a:stretch>
        </p:blipFill>
        <p:spPr>
          <a:xfrm>
            <a:off x="17316450" y="237491"/>
            <a:ext cx="742949" cy="819149"/>
          </a:xfrm>
          <a:prstGeom prst="rect">
            <a:avLst/>
          </a:prstGeom>
        </p:spPr>
      </p:pic>
      <p:sp>
        <p:nvSpPr>
          <p:cNvPr id="106" name="object 106"/>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107" name="object 107"/>
          <p:cNvSpPr txBox="1"/>
          <p:nvPr/>
        </p:nvSpPr>
        <p:spPr>
          <a:xfrm>
            <a:off x="17811802" y="9932973"/>
            <a:ext cx="229870"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30" dirty="0">
                <a:solidFill>
                  <a:srgbClr val="737373"/>
                </a:solidFill>
                <a:latin typeface="Arial"/>
                <a:cs typeface="Arial"/>
              </a:rPr>
              <a:t>08</a:t>
            </a:r>
            <a:endParaRPr sz="900">
              <a:latin typeface="Arial"/>
              <a:cs typeface="Aria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32"/>
            <a:ext cx="17957800" cy="9691370"/>
            <a:chOff x="166956" y="184832"/>
            <a:chExt cx="17957800" cy="9691370"/>
          </a:xfrm>
        </p:grpSpPr>
        <p:sp>
          <p:nvSpPr>
            <p:cNvPr id="3" name="object 3"/>
            <p:cNvSpPr/>
            <p:nvPr/>
          </p:nvSpPr>
          <p:spPr>
            <a:xfrm>
              <a:off x="166956" y="1113693"/>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pic>
          <p:nvPicPr>
            <p:cNvPr id="4" name="object 4"/>
            <p:cNvPicPr/>
            <p:nvPr/>
          </p:nvPicPr>
          <p:blipFill>
            <a:blip r:embed="rId2" cstate="print"/>
            <a:stretch>
              <a:fillRect/>
            </a:stretch>
          </p:blipFill>
          <p:spPr>
            <a:xfrm>
              <a:off x="388904" y="1241655"/>
              <a:ext cx="17735549" cy="8553449"/>
            </a:xfrm>
            <a:prstGeom prst="rect">
              <a:avLst/>
            </a:prstGeom>
          </p:spPr>
        </p:pic>
        <p:sp>
          <p:nvSpPr>
            <p:cNvPr id="5" name="object 5"/>
            <p:cNvSpPr/>
            <p:nvPr/>
          </p:nvSpPr>
          <p:spPr>
            <a:xfrm>
              <a:off x="5341359" y="1155802"/>
              <a:ext cx="6032500" cy="8720455"/>
            </a:xfrm>
            <a:custGeom>
              <a:avLst/>
              <a:gdLst/>
              <a:ahLst/>
              <a:cxnLst/>
              <a:rect l="l" t="t" r="r" b="b"/>
              <a:pathLst>
                <a:path w="6032500" h="8720455">
                  <a:moveTo>
                    <a:pt x="0" y="8719839"/>
                  </a:moveTo>
                  <a:lnTo>
                    <a:pt x="0" y="0"/>
                  </a:lnTo>
                  <a:lnTo>
                    <a:pt x="6032172" y="0"/>
                  </a:lnTo>
                  <a:lnTo>
                    <a:pt x="6032172" y="8719839"/>
                  </a:lnTo>
                  <a:lnTo>
                    <a:pt x="0" y="8719839"/>
                  </a:lnTo>
                  <a:close/>
                </a:path>
              </a:pathLst>
            </a:custGeom>
            <a:solidFill>
              <a:srgbClr val="FFFFFF">
                <a:alpha val="68629"/>
              </a:srgbClr>
            </a:solidFill>
          </p:spPr>
          <p:txBody>
            <a:bodyPr wrap="square" lIns="0" tIns="0" rIns="0" bIns="0" rtlCol="0"/>
            <a:lstStyle/>
            <a:p>
              <a:endParaRPr/>
            </a:p>
          </p:txBody>
        </p:sp>
        <p:sp>
          <p:nvSpPr>
            <p:cNvPr id="6" name="object 6"/>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sp>
          <p:nvSpPr>
            <p:cNvPr id="7" name="object 7"/>
            <p:cNvSpPr/>
            <p:nvPr/>
          </p:nvSpPr>
          <p:spPr>
            <a:xfrm>
              <a:off x="5948121" y="2035606"/>
              <a:ext cx="5185410" cy="7044690"/>
            </a:xfrm>
            <a:custGeom>
              <a:avLst/>
              <a:gdLst/>
              <a:ahLst/>
              <a:cxnLst/>
              <a:rect l="l" t="t" r="r" b="b"/>
              <a:pathLst>
                <a:path w="5185409" h="7044690">
                  <a:moveTo>
                    <a:pt x="2322614" y="3934447"/>
                  </a:moveTo>
                  <a:lnTo>
                    <a:pt x="0" y="3934447"/>
                  </a:lnTo>
                  <a:lnTo>
                    <a:pt x="0" y="7020547"/>
                  </a:lnTo>
                  <a:lnTo>
                    <a:pt x="2322614" y="7020547"/>
                  </a:lnTo>
                  <a:lnTo>
                    <a:pt x="2322614" y="3934447"/>
                  </a:lnTo>
                  <a:close/>
                </a:path>
                <a:path w="5185409" h="7044690">
                  <a:moveTo>
                    <a:pt x="2322614" y="0"/>
                  </a:moveTo>
                  <a:lnTo>
                    <a:pt x="0" y="0"/>
                  </a:lnTo>
                  <a:lnTo>
                    <a:pt x="0" y="3086100"/>
                  </a:lnTo>
                  <a:lnTo>
                    <a:pt x="2322614" y="3086100"/>
                  </a:lnTo>
                  <a:lnTo>
                    <a:pt x="2322614" y="0"/>
                  </a:lnTo>
                  <a:close/>
                </a:path>
                <a:path w="5185409" h="7044690">
                  <a:moveTo>
                    <a:pt x="5185359" y="3934447"/>
                  </a:moveTo>
                  <a:lnTo>
                    <a:pt x="2862757" y="3934447"/>
                  </a:lnTo>
                  <a:lnTo>
                    <a:pt x="2862757" y="7044652"/>
                  </a:lnTo>
                  <a:lnTo>
                    <a:pt x="5185359" y="7044652"/>
                  </a:lnTo>
                  <a:lnTo>
                    <a:pt x="5185359" y="3934447"/>
                  </a:lnTo>
                  <a:close/>
                </a:path>
              </a:pathLst>
            </a:custGeom>
            <a:solidFill>
              <a:srgbClr val="FFFFFF"/>
            </a:solidFill>
          </p:spPr>
          <p:txBody>
            <a:bodyPr wrap="square" lIns="0" tIns="0" rIns="0" bIns="0" rtlCol="0"/>
            <a:lstStyle/>
            <a:p>
              <a:endParaRPr/>
            </a:p>
          </p:txBody>
        </p:sp>
        <p:sp>
          <p:nvSpPr>
            <p:cNvPr id="8" name="object 8"/>
            <p:cNvSpPr/>
            <p:nvPr/>
          </p:nvSpPr>
          <p:spPr>
            <a:xfrm>
              <a:off x="7279991" y="2961808"/>
              <a:ext cx="648970" cy="1617980"/>
            </a:xfrm>
            <a:custGeom>
              <a:avLst/>
              <a:gdLst/>
              <a:ahLst/>
              <a:cxnLst/>
              <a:rect l="l" t="t" r="r" b="b"/>
              <a:pathLst>
                <a:path w="648970" h="1617979">
                  <a:moveTo>
                    <a:pt x="0" y="0"/>
                  </a:moveTo>
                  <a:lnTo>
                    <a:pt x="648796" y="0"/>
                  </a:lnTo>
                  <a:lnTo>
                    <a:pt x="648796" y="1617861"/>
                  </a:lnTo>
                  <a:lnTo>
                    <a:pt x="0" y="1617861"/>
                  </a:lnTo>
                  <a:lnTo>
                    <a:pt x="0" y="0"/>
                  </a:lnTo>
                  <a:close/>
                </a:path>
              </a:pathLst>
            </a:custGeom>
            <a:solidFill>
              <a:srgbClr val="21408B"/>
            </a:solidFill>
          </p:spPr>
          <p:txBody>
            <a:bodyPr wrap="square" lIns="0" tIns="0" rIns="0" bIns="0" rtlCol="0"/>
            <a:lstStyle/>
            <a:p>
              <a:endParaRPr/>
            </a:p>
          </p:txBody>
        </p:sp>
        <p:sp>
          <p:nvSpPr>
            <p:cNvPr id="9" name="object 9"/>
            <p:cNvSpPr/>
            <p:nvPr/>
          </p:nvSpPr>
          <p:spPr>
            <a:xfrm>
              <a:off x="6513184" y="3409108"/>
              <a:ext cx="652145" cy="1171575"/>
            </a:xfrm>
            <a:custGeom>
              <a:avLst/>
              <a:gdLst/>
              <a:ahLst/>
              <a:cxnLst/>
              <a:rect l="l" t="t" r="r" b="b"/>
              <a:pathLst>
                <a:path w="652145" h="1171575">
                  <a:moveTo>
                    <a:pt x="651536" y="1171302"/>
                  </a:moveTo>
                  <a:lnTo>
                    <a:pt x="0" y="1171302"/>
                  </a:lnTo>
                  <a:lnTo>
                    <a:pt x="0" y="0"/>
                  </a:lnTo>
                  <a:lnTo>
                    <a:pt x="651536" y="0"/>
                  </a:lnTo>
                  <a:lnTo>
                    <a:pt x="651536" y="1171302"/>
                  </a:lnTo>
                  <a:close/>
                </a:path>
              </a:pathLst>
            </a:custGeom>
            <a:solidFill>
              <a:srgbClr val="0090AE"/>
            </a:solidFill>
          </p:spPr>
          <p:txBody>
            <a:bodyPr wrap="square" lIns="0" tIns="0" rIns="0" bIns="0" rtlCol="0"/>
            <a:lstStyle/>
            <a:p>
              <a:endParaRPr/>
            </a:p>
          </p:txBody>
        </p:sp>
        <p:sp>
          <p:nvSpPr>
            <p:cNvPr id="10" name="object 10"/>
            <p:cNvSpPr/>
            <p:nvPr/>
          </p:nvSpPr>
          <p:spPr>
            <a:xfrm>
              <a:off x="6583184" y="2465869"/>
              <a:ext cx="1344930" cy="874394"/>
            </a:xfrm>
            <a:custGeom>
              <a:avLst/>
              <a:gdLst/>
              <a:ahLst/>
              <a:cxnLst/>
              <a:rect l="l" t="t" r="r" b="b"/>
              <a:pathLst>
                <a:path w="1344929" h="874395">
                  <a:moveTo>
                    <a:pt x="540131" y="434809"/>
                  </a:moveTo>
                  <a:lnTo>
                    <a:pt x="0" y="434809"/>
                  </a:lnTo>
                  <a:lnTo>
                    <a:pt x="0" y="777201"/>
                  </a:lnTo>
                  <a:lnTo>
                    <a:pt x="270522" y="874115"/>
                  </a:lnTo>
                  <a:lnTo>
                    <a:pt x="272288" y="874115"/>
                  </a:lnTo>
                  <a:lnTo>
                    <a:pt x="540131" y="778167"/>
                  </a:lnTo>
                  <a:lnTo>
                    <a:pt x="540131" y="434809"/>
                  </a:lnTo>
                  <a:close/>
                </a:path>
                <a:path w="1344929" h="874395">
                  <a:moveTo>
                    <a:pt x="1344625" y="0"/>
                  </a:moveTo>
                  <a:lnTo>
                    <a:pt x="710857" y="0"/>
                  </a:lnTo>
                  <a:lnTo>
                    <a:pt x="710857" y="342404"/>
                  </a:lnTo>
                  <a:lnTo>
                    <a:pt x="1027201" y="439318"/>
                  </a:lnTo>
                  <a:lnTo>
                    <a:pt x="1029258" y="439318"/>
                  </a:lnTo>
                  <a:lnTo>
                    <a:pt x="1344625" y="342709"/>
                  </a:lnTo>
                  <a:lnTo>
                    <a:pt x="1344625" y="0"/>
                  </a:lnTo>
                  <a:close/>
                </a:path>
              </a:pathLst>
            </a:custGeom>
            <a:solidFill>
              <a:srgbClr val="F5A316"/>
            </a:solidFill>
          </p:spPr>
          <p:txBody>
            <a:bodyPr wrap="square" lIns="0" tIns="0" rIns="0" bIns="0" rtlCol="0"/>
            <a:lstStyle/>
            <a:p>
              <a:endParaRPr/>
            </a:p>
          </p:txBody>
        </p:sp>
        <p:sp>
          <p:nvSpPr>
            <p:cNvPr id="11" name="object 11"/>
            <p:cNvSpPr/>
            <p:nvPr/>
          </p:nvSpPr>
          <p:spPr>
            <a:xfrm>
              <a:off x="5825744" y="1914867"/>
              <a:ext cx="624205" cy="3187700"/>
            </a:xfrm>
            <a:custGeom>
              <a:avLst/>
              <a:gdLst/>
              <a:ahLst/>
              <a:cxnLst/>
              <a:rect l="l" t="t" r="r" b="b"/>
              <a:pathLst>
                <a:path w="624204" h="3187700">
                  <a:moveTo>
                    <a:pt x="624065" y="312039"/>
                  </a:moveTo>
                  <a:lnTo>
                    <a:pt x="620687" y="265925"/>
                  </a:lnTo>
                  <a:lnTo>
                    <a:pt x="610857" y="221907"/>
                  </a:lnTo>
                  <a:lnTo>
                    <a:pt x="595071" y="180479"/>
                  </a:lnTo>
                  <a:lnTo>
                    <a:pt x="573798" y="142125"/>
                  </a:lnTo>
                  <a:lnTo>
                    <a:pt x="547535" y="107315"/>
                  </a:lnTo>
                  <a:lnTo>
                    <a:pt x="516750" y="76530"/>
                  </a:lnTo>
                  <a:lnTo>
                    <a:pt x="481939" y="50266"/>
                  </a:lnTo>
                  <a:lnTo>
                    <a:pt x="443585" y="28994"/>
                  </a:lnTo>
                  <a:lnTo>
                    <a:pt x="402158" y="13208"/>
                  </a:lnTo>
                  <a:lnTo>
                    <a:pt x="358152" y="3378"/>
                  </a:lnTo>
                  <a:lnTo>
                    <a:pt x="312039" y="0"/>
                  </a:lnTo>
                  <a:lnTo>
                    <a:pt x="265925" y="3378"/>
                  </a:lnTo>
                  <a:lnTo>
                    <a:pt x="221919" y="13208"/>
                  </a:lnTo>
                  <a:lnTo>
                    <a:pt x="180492" y="28994"/>
                  </a:lnTo>
                  <a:lnTo>
                    <a:pt x="142125" y="50266"/>
                  </a:lnTo>
                  <a:lnTo>
                    <a:pt x="107315" y="76530"/>
                  </a:lnTo>
                  <a:lnTo>
                    <a:pt x="76542" y="107315"/>
                  </a:lnTo>
                  <a:lnTo>
                    <a:pt x="50279" y="142125"/>
                  </a:lnTo>
                  <a:lnTo>
                    <a:pt x="29006" y="180479"/>
                  </a:lnTo>
                  <a:lnTo>
                    <a:pt x="13208" y="221907"/>
                  </a:lnTo>
                  <a:lnTo>
                    <a:pt x="3390" y="265925"/>
                  </a:lnTo>
                  <a:lnTo>
                    <a:pt x="0" y="312026"/>
                  </a:lnTo>
                  <a:lnTo>
                    <a:pt x="3390" y="358140"/>
                  </a:lnTo>
                  <a:lnTo>
                    <a:pt x="13208" y="402145"/>
                  </a:lnTo>
                  <a:lnTo>
                    <a:pt x="29006" y="443572"/>
                  </a:lnTo>
                  <a:lnTo>
                    <a:pt x="50279" y="481939"/>
                  </a:lnTo>
                  <a:lnTo>
                    <a:pt x="76542" y="516750"/>
                  </a:lnTo>
                  <a:lnTo>
                    <a:pt x="107315" y="547522"/>
                  </a:lnTo>
                  <a:lnTo>
                    <a:pt x="127139" y="562495"/>
                  </a:lnTo>
                  <a:lnTo>
                    <a:pt x="127139" y="3187687"/>
                  </a:lnTo>
                  <a:lnTo>
                    <a:pt x="494258" y="3187687"/>
                  </a:lnTo>
                  <a:lnTo>
                    <a:pt x="494258" y="564502"/>
                  </a:lnTo>
                  <a:lnTo>
                    <a:pt x="516750" y="547522"/>
                  </a:lnTo>
                  <a:lnTo>
                    <a:pt x="547535" y="516750"/>
                  </a:lnTo>
                  <a:lnTo>
                    <a:pt x="573798" y="481939"/>
                  </a:lnTo>
                  <a:lnTo>
                    <a:pt x="595071" y="443572"/>
                  </a:lnTo>
                  <a:lnTo>
                    <a:pt x="610857" y="402145"/>
                  </a:lnTo>
                  <a:lnTo>
                    <a:pt x="620687" y="358140"/>
                  </a:lnTo>
                  <a:lnTo>
                    <a:pt x="624065" y="312039"/>
                  </a:lnTo>
                  <a:close/>
                </a:path>
              </a:pathLst>
            </a:custGeom>
            <a:solidFill>
              <a:srgbClr val="E3112B"/>
            </a:solidFill>
          </p:spPr>
          <p:txBody>
            <a:bodyPr wrap="square" lIns="0" tIns="0" rIns="0" bIns="0" rtlCol="0"/>
            <a:lstStyle/>
            <a:p>
              <a:endParaRPr/>
            </a:p>
          </p:txBody>
        </p:sp>
        <p:sp>
          <p:nvSpPr>
            <p:cNvPr id="12" name="object 12"/>
            <p:cNvSpPr/>
            <p:nvPr/>
          </p:nvSpPr>
          <p:spPr>
            <a:xfrm>
              <a:off x="6011432" y="2095210"/>
              <a:ext cx="271145" cy="200025"/>
            </a:xfrm>
            <a:custGeom>
              <a:avLst/>
              <a:gdLst/>
              <a:ahLst/>
              <a:cxnLst/>
              <a:rect l="l" t="t" r="r" b="b"/>
              <a:pathLst>
                <a:path w="271145" h="200025">
                  <a:moveTo>
                    <a:pt x="58129" y="199600"/>
                  </a:moveTo>
                  <a:lnTo>
                    <a:pt x="27119" y="187469"/>
                  </a:lnTo>
                  <a:lnTo>
                    <a:pt x="27844" y="185619"/>
                  </a:lnTo>
                  <a:lnTo>
                    <a:pt x="100390" y="131951"/>
                  </a:lnTo>
                  <a:lnTo>
                    <a:pt x="33079" y="105920"/>
                  </a:lnTo>
                  <a:lnTo>
                    <a:pt x="1411" y="70518"/>
                  </a:lnTo>
                  <a:lnTo>
                    <a:pt x="0" y="58213"/>
                  </a:lnTo>
                  <a:lnTo>
                    <a:pt x="2928" y="45806"/>
                  </a:lnTo>
                  <a:lnTo>
                    <a:pt x="19682" y="1278"/>
                  </a:lnTo>
                  <a:lnTo>
                    <a:pt x="21910" y="0"/>
                  </a:lnTo>
                  <a:lnTo>
                    <a:pt x="38315" y="3182"/>
                  </a:lnTo>
                  <a:lnTo>
                    <a:pt x="39792" y="4596"/>
                  </a:lnTo>
                  <a:lnTo>
                    <a:pt x="50397" y="51110"/>
                  </a:lnTo>
                  <a:lnTo>
                    <a:pt x="239307" y="119765"/>
                  </a:lnTo>
                  <a:lnTo>
                    <a:pt x="268519" y="152162"/>
                  </a:lnTo>
                  <a:lnTo>
                    <a:pt x="271150" y="162661"/>
                  </a:lnTo>
                  <a:lnTo>
                    <a:pt x="261055" y="173868"/>
                  </a:lnTo>
                  <a:lnTo>
                    <a:pt x="253993" y="175391"/>
                  </a:lnTo>
                  <a:lnTo>
                    <a:pt x="244274" y="173623"/>
                  </a:lnTo>
                  <a:lnTo>
                    <a:pt x="172587" y="154746"/>
                  </a:lnTo>
                  <a:lnTo>
                    <a:pt x="58129" y="199600"/>
                  </a:lnTo>
                  <a:close/>
                </a:path>
              </a:pathLst>
            </a:custGeom>
            <a:solidFill>
              <a:srgbClr val="FFFFFF"/>
            </a:solidFill>
          </p:spPr>
          <p:txBody>
            <a:bodyPr wrap="square" lIns="0" tIns="0" rIns="0" bIns="0" rtlCol="0"/>
            <a:lstStyle/>
            <a:p>
              <a:endParaRPr/>
            </a:p>
          </p:txBody>
        </p:sp>
        <p:pic>
          <p:nvPicPr>
            <p:cNvPr id="13" name="object 13"/>
            <p:cNvPicPr/>
            <p:nvPr/>
          </p:nvPicPr>
          <p:blipFill>
            <a:blip r:embed="rId3" cstate="print"/>
            <a:stretch>
              <a:fillRect/>
            </a:stretch>
          </p:blipFill>
          <p:spPr>
            <a:xfrm>
              <a:off x="6098157" y="2107369"/>
              <a:ext cx="74210" cy="68328"/>
            </a:xfrm>
            <a:prstGeom prst="rect">
              <a:avLst/>
            </a:prstGeom>
          </p:spPr>
        </p:pic>
        <p:sp>
          <p:nvSpPr>
            <p:cNvPr id="14" name="object 14"/>
            <p:cNvSpPr/>
            <p:nvPr/>
          </p:nvSpPr>
          <p:spPr>
            <a:xfrm>
              <a:off x="5991163" y="2339856"/>
              <a:ext cx="302895" cy="22225"/>
            </a:xfrm>
            <a:custGeom>
              <a:avLst/>
              <a:gdLst/>
              <a:ahLst/>
              <a:cxnLst/>
              <a:rect l="l" t="t" r="r" b="b"/>
              <a:pathLst>
                <a:path w="302895" h="22225">
                  <a:moveTo>
                    <a:pt x="297648" y="22059"/>
                  </a:moveTo>
                  <a:lnTo>
                    <a:pt x="291768" y="22059"/>
                  </a:lnTo>
                  <a:lnTo>
                    <a:pt x="4779" y="22059"/>
                  </a:lnTo>
                  <a:lnTo>
                    <a:pt x="0" y="17027"/>
                  </a:lnTo>
                  <a:lnTo>
                    <a:pt x="0" y="5086"/>
                  </a:lnTo>
                  <a:lnTo>
                    <a:pt x="4779" y="0"/>
                  </a:lnTo>
                  <a:lnTo>
                    <a:pt x="297648" y="0"/>
                  </a:lnTo>
                  <a:lnTo>
                    <a:pt x="302428" y="5086"/>
                  </a:lnTo>
                  <a:lnTo>
                    <a:pt x="302428" y="17027"/>
                  </a:lnTo>
                  <a:lnTo>
                    <a:pt x="297648" y="22059"/>
                  </a:lnTo>
                  <a:close/>
                </a:path>
              </a:pathLst>
            </a:custGeom>
            <a:solidFill>
              <a:srgbClr val="FFFFFF"/>
            </a:solidFill>
          </p:spPr>
          <p:txBody>
            <a:bodyPr wrap="square" lIns="0" tIns="0" rIns="0" bIns="0" rtlCol="0"/>
            <a:lstStyle/>
            <a:p>
              <a:endParaRPr/>
            </a:p>
          </p:txBody>
        </p:sp>
        <p:sp>
          <p:nvSpPr>
            <p:cNvPr id="15" name="object 15"/>
            <p:cNvSpPr/>
            <p:nvPr/>
          </p:nvSpPr>
          <p:spPr>
            <a:xfrm>
              <a:off x="7279991" y="6744291"/>
              <a:ext cx="648970" cy="1783080"/>
            </a:xfrm>
            <a:custGeom>
              <a:avLst/>
              <a:gdLst/>
              <a:ahLst/>
              <a:cxnLst/>
              <a:rect l="l" t="t" r="r" b="b"/>
              <a:pathLst>
                <a:path w="648970" h="1783079">
                  <a:moveTo>
                    <a:pt x="648796" y="1783075"/>
                  </a:moveTo>
                  <a:lnTo>
                    <a:pt x="0" y="1783075"/>
                  </a:lnTo>
                  <a:lnTo>
                    <a:pt x="0" y="0"/>
                  </a:lnTo>
                  <a:lnTo>
                    <a:pt x="648796" y="0"/>
                  </a:lnTo>
                  <a:lnTo>
                    <a:pt x="648796" y="1783075"/>
                  </a:lnTo>
                  <a:close/>
                </a:path>
              </a:pathLst>
            </a:custGeom>
            <a:solidFill>
              <a:srgbClr val="21408B"/>
            </a:solidFill>
          </p:spPr>
          <p:txBody>
            <a:bodyPr wrap="square" lIns="0" tIns="0" rIns="0" bIns="0" rtlCol="0"/>
            <a:lstStyle/>
            <a:p>
              <a:endParaRPr/>
            </a:p>
          </p:txBody>
        </p:sp>
        <p:sp>
          <p:nvSpPr>
            <p:cNvPr id="16" name="object 16"/>
            <p:cNvSpPr/>
            <p:nvPr/>
          </p:nvSpPr>
          <p:spPr>
            <a:xfrm>
              <a:off x="6513184" y="7258744"/>
              <a:ext cx="652145" cy="1266825"/>
            </a:xfrm>
            <a:custGeom>
              <a:avLst/>
              <a:gdLst/>
              <a:ahLst/>
              <a:cxnLst/>
              <a:rect l="l" t="t" r="r" b="b"/>
              <a:pathLst>
                <a:path w="652145" h="1266825">
                  <a:moveTo>
                    <a:pt x="651536" y="1266470"/>
                  </a:moveTo>
                  <a:lnTo>
                    <a:pt x="0" y="1266470"/>
                  </a:lnTo>
                  <a:lnTo>
                    <a:pt x="0" y="0"/>
                  </a:lnTo>
                  <a:lnTo>
                    <a:pt x="651536" y="0"/>
                  </a:lnTo>
                  <a:lnTo>
                    <a:pt x="651536" y="1266470"/>
                  </a:lnTo>
                  <a:close/>
                </a:path>
              </a:pathLst>
            </a:custGeom>
            <a:solidFill>
              <a:srgbClr val="0090AE"/>
            </a:solidFill>
          </p:spPr>
          <p:txBody>
            <a:bodyPr wrap="square" lIns="0" tIns="0" rIns="0" bIns="0" rtlCol="0"/>
            <a:lstStyle/>
            <a:p>
              <a:endParaRPr/>
            </a:p>
          </p:txBody>
        </p:sp>
        <p:sp>
          <p:nvSpPr>
            <p:cNvPr id="17" name="object 17"/>
            <p:cNvSpPr/>
            <p:nvPr/>
          </p:nvSpPr>
          <p:spPr>
            <a:xfrm>
              <a:off x="6583184" y="6190373"/>
              <a:ext cx="1344930" cy="975360"/>
            </a:xfrm>
            <a:custGeom>
              <a:avLst/>
              <a:gdLst/>
              <a:ahLst/>
              <a:cxnLst/>
              <a:rect l="l" t="t" r="r" b="b"/>
              <a:pathLst>
                <a:path w="1344929" h="975359">
                  <a:moveTo>
                    <a:pt x="540131" y="535762"/>
                  </a:moveTo>
                  <a:lnTo>
                    <a:pt x="0" y="535762"/>
                  </a:lnTo>
                  <a:lnTo>
                    <a:pt x="0" y="878154"/>
                  </a:lnTo>
                  <a:lnTo>
                    <a:pt x="270522" y="975067"/>
                  </a:lnTo>
                  <a:lnTo>
                    <a:pt x="272288" y="975067"/>
                  </a:lnTo>
                  <a:lnTo>
                    <a:pt x="540131" y="879119"/>
                  </a:lnTo>
                  <a:lnTo>
                    <a:pt x="540131" y="535762"/>
                  </a:lnTo>
                  <a:close/>
                </a:path>
                <a:path w="1344929" h="975359">
                  <a:moveTo>
                    <a:pt x="1344625" y="0"/>
                  </a:moveTo>
                  <a:lnTo>
                    <a:pt x="710857" y="0"/>
                  </a:lnTo>
                  <a:lnTo>
                    <a:pt x="710857" y="342404"/>
                  </a:lnTo>
                  <a:lnTo>
                    <a:pt x="1027201" y="439305"/>
                  </a:lnTo>
                  <a:lnTo>
                    <a:pt x="1029258" y="439305"/>
                  </a:lnTo>
                  <a:lnTo>
                    <a:pt x="1344625" y="342696"/>
                  </a:lnTo>
                  <a:lnTo>
                    <a:pt x="1344625" y="0"/>
                  </a:lnTo>
                  <a:close/>
                </a:path>
              </a:pathLst>
            </a:custGeom>
            <a:solidFill>
              <a:srgbClr val="F5A316"/>
            </a:solidFill>
          </p:spPr>
          <p:txBody>
            <a:bodyPr wrap="square" lIns="0" tIns="0" rIns="0" bIns="0" rtlCol="0"/>
            <a:lstStyle/>
            <a:p>
              <a:endParaRPr/>
            </a:p>
          </p:txBody>
        </p:sp>
        <p:sp>
          <p:nvSpPr>
            <p:cNvPr id="18" name="object 18"/>
            <p:cNvSpPr/>
            <p:nvPr/>
          </p:nvSpPr>
          <p:spPr>
            <a:xfrm>
              <a:off x="5825744" y="5849302"/>
              <a:ext cx="624205" cy="3187700"/>
            </a:xfrm>
            <a:custGeom>
              <a:avLst/>
              <a:gdLst/>
              <a:ahLst/>
              <a:cxnLst/>
              <a:rect l="l" t="t" r="r" b="b"/>
              <a:pathLst>
                <a:path w="624204" h="3187700">
                  <a:moveTo>
                    <a:pt x="624065" y="312039"/>
                  </a:moveTo>
                  <a:lnTo>
                    <a:pt x="620687" y="265925"/>
                  </a:lnTo>
                  <a:lnTo>
                    <a:pt x="610857" y="221919"/>
                  </a:lnTo>
                  <a:lnTo>
                    <a:pt x="595071" y="180492"/>
                  </a:lnTo>
                  <a:lnTo>
                    <a:pt x="573798" y="142125"/>
                  </a:lnTo>
                  <a:lnTo>
                    <a:pt x="547535" y="107315"/>
                  </a:lnTo>
                  <a:lnTo>
                    <a:pt x="516750" y="76542"/>
                  </a:lnTo>
                  <a:lnTo>
                    <a:pt x="481939" y="50266"/>
                  </a:lnTo>
                  <a:lnTo>
                    <a:pt x="443585" y="29006"/>
                  </a:lnTo>
                  <a:lnTo>
                    <a:pt x="402158" y="13208"/>
                  </a:lnTo>
                  <a:lnTo>
                    <a:pt x="358152" y="3390"/>
                  </a:lnTo>
                  <a:lnTo>
                    <a:pt x="312039" y="0"/>
                  </a:lnTo>
                  <a:lnTo>
                    <a:pt x="265925" y="3390"/>
                  </a:lnTo>
                  <a:lnTo>
                    <a:pt x="221919" y="13208"/>
                  </a:lnTo>
                  <a:lnTo>
                    <a:pt x="180492" y="29006"/>
                  </a:lnTo>
                  <a:lnTo>
                    <a:pt x="142125" y="50266"/>
                  </a:lnTo>
                  <a:lnTo>
                    <a:pt x="107315" y="76542"/>
                  </a:lnTo>
                  <a:lnTo>
                    <a:pt x="76542" y="107315"/>
                  </a:lnTo>
                  <a:lnTo>
                    <a:pt x="50279" y="142125"/>
                  </a:lnTo>
                  <a:lnTo>
                    <a:pt x="29006" y="180492"/>
                  </a:lnTo>
                  <a:lnTo>
                    <a:pt x="13208" y="221919"/>
                  </a:lnTo>
                  <a:lnTo>
                    <a:pt x="3390" y="265925"/>
                  </a:lnTo>
                  <a:lnTo>
                    <a:pt x="0" y="312026"/>
                  </a:lnTo>
                  <a:lnTo>
                    <a:pt x="3390" y="358140"/>
                  </a:lnTo>
                  <a:lnTo>
                    <a:pt x="13208" y="402158"/>
                  </a:lnTo>
                  <a:lnTo>
                    <a:pt x="29006" y="443585"/>
                  </a:lnTo>
                  <a:lnTo>
                    <a:pt x="50279" y="481939"/>
                  </a:lnTo>
                  <a:lnTo>
                    <a:pt x="76542" y="516750"/>
                  </a:lnTo>
                  <a:lnTo>
                    <a:pt x="107315" y="547535"/>
                  </a:lnTo>
                  <a:lnTo>
                    <a:pt x="127139" y="562495"/>
                  </a:lnTo>
                  <a:lnTo>
                    <a:pt x="127139" y="3187700"/>
                  </a:lnTo>
                  <a:lnTo>
                    <a:pt x="494258" y="3187700"/>
                  </a:lnTo>
                  <a:lnTo>
                    <a:pt x="494258" y="564515"/>
                  </a:lnTo>
                  <a:lnTo>
                    <a:pt x="516750" y="547535"/>
                  </a:lnTo>
                  <a:lnTo>
                    <a:pt x="547535" y="516750"/>
                  </a:lnTo>
                  <a:lnTo>
                    <a:pt x="573798" y="481939"/>
                  </a:lnTo>
                  <a:lnTo>
                    <a:pt x="595071" y="443585"/>
                  </a:lnTo>
                  <a:lnTo>
                    <a:pt x="610857" y="402158"/>
                  </a:lnTo>
                  <a:lnTo>
                    <a:pt x="620687" y="358140"/>
                  </a:lnTo>
                  <a:lnTo>
                    <a:pt x="624065" y="312039"/>
                  </a:lnTo>
                  <a:close/>
                </a:path>
              </a:pathLst>
            </a:custGeom>
            <a:solidFill>
              <a:srgbClr val="E3112B"/>
            </a:solidFill>
          </p:spPr>
          <p:txBody>
            <a:bodyPr wrap="square" lIns="0" tIns="0" rIns="0" bIns="0" rtlCol="0"/>
            <a:lstStyle/>
            <a:p>
              <a:endParaRPr/>
            </a:p>
          </p:txBody>
        </p:sp>
        <p:sp>
          <p:nvSpPr>
            <p:cNvPr id="19" name="object 19"/>
            <p:cNvSpPr/>
            <p:nvPr/>
          </p:nvSpPr>
          <p:spPr>
            <a:xfrm>
              <a:off x="5989968" y="2004427"/>
              <a:ext cx="5160010" cy="4314190"/>
            </a:xfrm>
            <a:custGeom>
              <a:avLst/>
              <a:gdLst/>
              <a:ahLst/>
              <a:cxnLst/>
              <a:rect l="l" t="t" r="r" b="b"/>
              <a:pathLst>
                <a:path w="5160009" h="4314190">
                  <a:moveTo>
                    <a:pt x="39268" y="4151299"/>
                  </a:moveTo>
                  <a:lnTo>
                    <a:pt x="34848" y="4146880"/>
                  </a:lnTo>
                  <a:lnTo>
                    <a:pt x="4419" y="4146880"/>
                  </a:lnTo>
                  <a:lnTo>
                    <a:pt x="0" y="4151299"/>
                  </a:lnTo>
                  <a:lnTo>
                    <a:pt x="0" y="4162120"/>
                  </a:lnTo>
                  <a:lnTo>
                    <a:pt x="4419" y="4166539"/>
                  </a:lnTo>
                  <a:lnTo>
                    <a:pt x="34899" y="4166539"/>
                  </a:lnTo>
                  <a:lnTo>
                    <a:pt x="39268" y="4162171"/>
                  </a:lnTo>
                  <a:lnTo>
                    <a:pt x="39268" y="4156710"/>
                  </a:lnTo>
                  <a:lnTo>
                    <a:pt x="39268" y="4151299"/>
                  </a:lnTo>
                  <a:close/>
                </a:path>
                <a:path w="5160009" h="4314190">
                  <a:moveTo>
                    <a:pt x="57797" y="4220324"/>
                  </a:moveTo>
                  <a:lnTo>
                    <a:pt x="52387" y="4210964"/>
                  </a:lnTo>
                  <a:lnTo>
                    <a:pt x="46342" y="4209351"/>
                  </a:lnTo>
                  <a:lnTo>
                    <a:pt x="41668" y="4212056"/>
                  </a:lnTo>
                  <a:lnTo>
                    <a:pt x="19977" y="4224591"/>
                  </a:lnTo>
                  <a:lnTo>
                    <a:pt x="18364" y="4230624"/>
                  </a:lnTo>
                  <a:lnTo>
                    <a:pt x="21069" y="4235310"/>
                  </a:lnTo>
                  <a:lnTo>
                    <a:pt x="22885" y="4238472"/>
                  </a:lnTo>
                  <a:lnTo>
                    <a:pt x="26162" y="4240200"/>
                  </a:lnTo>
                  <a:lnTo>
                    <a:pt x="31267" y="4240200"/>
                  </a:lnTo>
                  <a:lnTo>
                    <a:pt x="32981" y="4239780"/>
                  </a:lnTo>
                  <a:lnTo>
                    <a:pt x="34493" y="4238891"/>
                  </a:lnTo>
                  <a:lnTo>
                    <a:pt x="56184" y="4226357"/>
                  </a:lnTo>
                  <a:lnTo>
                    <a:pt x="57797" y="4220324"/>
                  </a:lnTo>
                  <a:close/>
                </a:path>
                <a:path w="5160009" h="4314190">
                  <a:moveTo>
                    <a:pt x="57797" y="4093095"/>
                  </a:moveTo>
                  <a:lnTo>
                    <a:pt x="56184" y="4087063"/>
                  </a:lnTo>
                  <a:lnTo>
                    <a:pt x="51498" y="4084358"/>
                  </a:lnTo>
                  <a:lnTo>
                    <a:pt x="29806" y="4071823"/>
                  </a:lnTo>
                  <a:lnTo>
                    <a:pt x="23774" y="4073436"/>
                  </a:lnTo>
                  <a:lnTo>
                    <a:pt x="18364" y="4082796"/>
                  </a:lnTo>
                  <a:lnTo>
                    <a:pt x="19977" y="4088828"/>
                  </a:lnTo>
                  <a:lnTo>
                    <a:pt x="41668" y="4101363"/>
                  </a:lnTo>
                  <a:lnTo>
                    <a:pt x="43230" y="4102252"/>
                  </a:lnTo>
                  <a:lnTo>
                    <a:pt x="44894" y="4102671"/>
                  </a:lnTo>
                  <a:lnTo>
                    <a:pt x="49936" y="4102671"/>
                  </a:lnTo>
                  <a:lnTo>
                    <a:pt x="53263" y="4100893"/>
                  </a:lnTo>
                  <a:lnTo>
                    <a:pt x="55092" y="4097782"/>
                  </a:lnTo>
                  <a:lnTo>
                    <a:pt x="57797" y="4093095"/>
                  </a:lnTo>
                  <a:close/>
                </a:path>
                <a:path w="5160009" h="4314190">
                  <a:moveTo>
                    <a:pt x="104495" y="4045915"/>
                  </a:moveTo>
                  <a:lnTo>
                    <a:pt x="89255" y="4019550"/>
                  </a:lnTo>
                  <a:lnTo>
                    <a:pt x="83223" y="4017937"/>
                  </a:lnTo>
                  <a:lnTo>
                    <a:pt x="73863" y="4023347"/>
                  </a:lnTo>
                  <a:lnTo>
                    <a:pt x="72250" y="4029379"/>
                  </a:lnTo>
                  <a:lnTo>
                    <a:pt x="84785" y="4051071"/>
                  </a:lnTo>
                  <a:lnTo>
                    <a:pt x="86614" y="4054246"/>
                  </a:lnTo>
                  <a:lnTo>
                    <a:pt x="89890" y="4055961"/>
                  </a:lnTo>
                  <a:lnTo>
                    <a:pt x="94983" y="4055961"/>
                  </a:lnTo>
                  <a:lnTo>
                    <a:pt x="96697" y="4055541"/>
                  </a:lnTo>
                  <a:lnTo>
                    <a:pt x="98209" y="4054652"/>
                  </a:lnTo>
                  <a:lnTo>
                    <a:pt x="102882" y="4051947"/>
                  </a:lnTo>
                  <a:lnTo>
                    <a:pt x="104495" y="4045915"/>
                  </a:lnTo>
                  <a:close/>
                </a:path>
                <a:path w="5160009" h="4314190">
                  <a:moveTo>
                    <a:pt x="104559" y="4267505"/>
                  </a:moveTo>
                  <a:lnTo>
                    <a:pt x="102946" y="4261523"/>
                  </a:lnTo>
                  <a:lnTo>
                    <a:pt x="98209" y="4258818"/>
                  </a:lnTo>
                  <a:lnTo>
                    <a:pt x="93522" y="4256113"/>
                  </a:lnTo>
                  <a:lnTo>
                    <a:pt x="87490" y="4257726"/>
                  </a:lnTo>
                  <a:lnTo>
                    <a:pt x="84785" y="4262399"/>
                  </a:lnTo>
                  <a:lnTo>
                    <a:pt x="75006" y="4279417"/>
                  </a:lnTo>
                  <a:lnTo>
                    <a:pt x="72301" y="4284091"/>
                  </a:lnTo>
                  <a:lnTo>
                    <a:pt x="73914" y="4290123"/>
                  </a:lnTo>
                  <a:lnTo>
                    <a:pt x="78600" y="4292828"/>
                  </a:lnTo>
                  <a:lnTo>
                    <a:pt x="80162" y="4293717"/>
                  </a:lnTo>
                  <a:lnTo>
                    <a:pt x="81826" y="4294136"/>
                  </a:lnTo>
                  <a:lnTo>
                    <a:pt x="86868" y="4294136"/>
                  </a:lnTo>
                  <a:lnTo>
                    <a:pt x="90195" y="4292371"/>
                  </a:lnTo>
                  <a:lnTo>
                    <a:pt x="92011" y="4289247"/>
                  </a:lnTo>
                  <a:lnTo>
                    <a:pt x="101854" y="4272242"/>
                  </a:lnTo>
                  <a:lnTo>
                    <a:pt x="104559" y="4267505"/>
                  </a:lnTo>
                  <a:close/>
                </a:path>
                <a:path w="5160009" h="4314190">
                  <a:moveTo>
                    <a:pt x="166966" y="4278998"/>
                  </a:moveTo>
                  <a:lnTo>
                    <a:pt x="162598" y="4274578"/>
                  </a:lnTo>
                  <a:lnTo>
                    <a:pt x="157137" y="4274578"/>
                  </a:lnTo>
                  <a:lnTo>
                    <a:pt x="151726" y="4274578"/>
                  </a:lnTo>
                  <a:lnTo>
                    <a:pt x="147307" y="4278998"/>
                  </a:lnTo>
                  <a:lnTo>
                    <a:pt x="147307" y="4309478"/>
                  </a:lnTo>
                  <a:lnTo>
                    <a:pt x="151726" y="4313898"/>
                  </a:lnTo>
                  <a:lnTo>
                    <a:pt x="162547" y="4313898"/>
                  </a:lnTo>
                  <a:lnTo>
                    <a:pt x="166966" y="4309478"/>
                  </a:lnTo>
                  <a:lnTo>
                    <a:pt x="166966" y="4278998"/>
                  </a:lnTo>
                  <a:close/>
                </a:path>
                <a:path w="5160009" h="4314190">
                  <a:moveTo>
                    <a:pt x="166966" y="4003992"/>
                  </a:moveTo>
                  <a:lnTo>
                    <a:pt x="162598" y="3999573"/>
                  </a:lnTo>
                  <a:lnTo>
                    <a:pt x="151676" y="3999573"/>
                  </a:lnTo>
                  <a:lnTo>
                    <a:pt x="147307" y="4003992"/>
                  </a:lnTo>
                  <a:lnTo>
                    <a:pt x="147307" y="4034472"/>
                  </a:lnTo>
                  <a:lnTo>
                    <a:pt x="151726" y="4038841"/>
                  </a:lnTo>
                  <a:lnTo>
                    <a:pt x="157137" y="4038841"/>
                  </a:lnTo>
                  <a:lnTo>
                    <a:pt x="162547" y="4038841"/>
                  </a:lnTo>
                  <a:lnTo>
                    <a:pt x="166966" y="4034421"/>
                  </a:lnTo>
                  <a:lnTo>
                    <a:pt x="166966" y="4003992"/>
                  </a:lnTo>
                  <a:close/>
                </a:path>
                <a:path w="5160009" h="4314190">
                  <a:moveTo>
                    <a:pt x="242023" y="4284091"/>
                  </a:moveTo>
                  <a:lnTo>
                    <a:pt x="229489" y="4262399"/>
                  </a:lnTo>
                  <a:lnTo>
                    <a:pt x="226783" y="4257726"/>
                  </a:lnTo>
                  <a:lnTo>
                    <a:pt x="220751" y="4256113"/>
                  </a:lnTo>
                  <a:lnTo>
                    <a:pt x="211391" y="4261523"/>
                  </a:lnTo>
                  <a:lnTo>
                    <a:pt x="209778" y="4267555"/>
                  </a:lnTo>
                  <a:lnTo>
                    <a:pt x="222313" y="4289247"/>
                  </a:lnTo>
                  <a:lnTo>
                    <a:pt x="224129" y="4292422"/>
                  </a:lnTo>
                  <a:lnTo>
                    <a:pt x="227406" y="4294136"/>
                  </a:lnTo>
                  <a:lnTo>
                    <a:pt x="232511" y="4294136"/>
                  </a:lnTo>
                  <a:lnTo>
                    <a:pt x="234226" y="4293717"/>
                  </a:lnTo>
                  <a:lnTo>
                    <a:pt x="235737" y="4292828"/>
                  </a:lnTo>
                  <a:lnTo>
                    <a:pt x="240411" y="4290123"/>
                  </a:lnTo>
                  <a:lnTo>
                    <a:pt x="242023" y="4284091"/>
                  </a:lnTo>
                  <a:close/>
                </a:path>
                <a:path w="5160009" h="4314190">
                  <a:moveTo>
                    <a:pt x="242023" y="4029379"/>
                  </a:moveTo>
                  <a:lnTo>
                    <a:pt x="240411" y="4023347"/>
                  </a:lnTo>
                  <a:lnTo>
                    <a:pt x="231051" y="4017937"/>
                  </a:lnTo>
                  <a:lnTo>
                    <a:pt x="225018" y="4019550"/>
                  </a:lnTo>
                  <a:lnTo>
                    <a:pt x="209778" y="4045915"/>
                  </a:lnTo>
                  <a:lnTo>
                    <a:pt x="211391" y="4051947"/>
                  </a:lnTo>
                  <a:lnTo>
                    <a:pt x="216077" y="4054652"/>
                  </a:lnTo>
                  <a:lnTo>
                    <a:pt x="217627" y="4055541"/>
                  </a:lnTo>
                  <a:lnTo>
                    <a:pt x="219303" y="4055961"/>
                  </a:lnTo>
                  <a:lnTo>
                    <a:pt x="224345" y="4055961"/>
                  </a:lnTo>
                  <a:lnTo>
                    <a:pt x="227672" y="4054195"/>
                  </a:lnTo>
                  <a:lnTo>
                    <a:pt x="229489" y="4051071"/>
                  </a:lnTo>
                  <a:lnTo>
                    <a:pt x="242023" y="4029379"/>
                  </a:lnTo>
                  <a:close/>
                </a:path>
                <a:path w="5160009" h="4314190">
                  <a:moveTo>
                    <a:pt x="255397" y="4156710"/>
                  </a:moveTo>
                  <a:lnTo>
                    <a:pt x="247662" y="4118521"/>
                  </a:lnTo>
                  <a:lnTo>
                    <a:pt x="235737" y="4100880"/>
                  </a:lnTo>
                  <a:lnTo>
                    <a:pt x="235737" y="4156710"/>
                  </a:lnTo>
                  <a:lnTo>
                    <a:pt x="229552" y="4187266"/>
                  </a:lnTo>
                  <a:lnTo>
                    <a:pt x="212686" y="4212260"/>
                  </a:lnTo>
                  <a:lnTo>
                    <a:pt x="187693" y="4229112"/>
                  </a:lnTo>
                  <a:lnTo>
                    <a:pt x="157137" y="4235310"/>
                  </a:lnTo>
                  <a:lnTo>
                    <a:pt x="126580" y="4229112"/>
                  </a:lnTo>
                  <a:lnTo>
                    <a:pt x="101600" y="4212260"/>
                  </a:lnTo>
                  <a:lnTo>
                    <a:pt x="84734" y="4187266"/>
                  </a:lnTo>
                  <a:lnTo>
                    <a:pt x="78549" y="4156710"/>
                  </a:lnTo>
                  <a:lnTo>
                    <a:pt x="84734" y="4126153"/>
                  </a:lnTo>
                  <a:lnTo>
                    <a:pt x="101600" y="4101160"/>
                  </a:lnTo>
                  <a:lnTo>
                    <a:pt x="126580" y="4084307"/>
                  </a:lnTo>
                  <a:lnTo>
                    <a:pt x="157137" y="4078122"/>
                  </a:lnTo>
                  <a:lnTo>
                    <a:pt x="187693" y="4084307"/>
                  </a:lnTo>
                  <a:lnTo>
                    <a:pt x="212686" y="4101160"/>
                  </a:lnTo>
                  <a:lnTo>
                    <a:pt x="229552" y="4126153"/>
                  </a:lnTo>
                  <a:lnTo>
                    <a:pt x="235737" y="4156710"/>
                  </a:lnTo>
                  <a:lnTo>
                    <a:pt x="235737" y="4100880"/>
                  </a:lnTo>
                  <a:lnTo>
                    <a:pt x="226568" y="4087304"/>
                  </a:lnTo>
                  <a:lnTo>
                    <a:pt x="212953" y="4078122"/>
                  </a:lnTo>
                  <a:lnTo>
                    <a:pt x="195338" y="4066235"/>
                  </a:lnTo>
                  <a:lnTo>
                    <a:pt x="157137" y="4058513"/>
                  </a:lnTo>
                  <a:lnTo>
                    <a:pt x="118948" y="4066235"/>
                  </a:lnTo>
                  <a:lnTo>
                    <a:pt x="87731" y="4087304"/>
                  </a:lnTo>
                  <a:lnTo>
                    <a:pt x="66662" y="4118521"/>
                  </a:lnTo>
                  <a:lnTo>
                    <a:pt x="58940" y="4156710"/>
                  </a:lnTo>
                  <a:lnTo>
                    <a:pt x="66662" y="4194911"/>
                  </a:lnTo>
                  <a:lnTo>
                    <a:pt x="87731" y="4226141"/>
                  </a:lnTo>
                  <a:lnTo>
                    <a:pt x="118948" y="4247223"/>
                  </a:lnTo>
                  <a:lnTo>
                    <a:pt x="157137" y="4254970"/>
                  </a:lnTo>
                  <a:lnTo>
                    <a:pt x="195338" y="4247223"/>
                  </a:lnTo>
                  <a:lnTo>
                    <a:pt x="213004" y="4235310"/>
                  </a:lnTo>
                  <a:lnTo>
                    <a:pt x="226568" y="4226141"/>
                  </a:lnTo>
                  <a:lnTo>
                    <a:pt x="247662" y="4194911"/>
                  </a:lnTo>
                  <a:lnTo>
                    <a:pt x="255397" y="4156710"/>
                  </a:lnTo>
                  <a:close/>
                </a:path>
                <a:path w="5160009" h="4314190">
                  <a:moveTo>
                    <a:pt x="295910" y="4082846"/>
                  </a:moveTo>
                  <a:lnTo>
                    <a:pt x="290499" y="4073487"/>
                  </a:lnTo>
                  <a:lnTo>
                    <a:pt x="284467" y="4071874"/>
                  </a:lnTo>
                  <a:lnTo>
                    <a:pt x="258152" y="4087063"/>
                  </a:lnTo>
                  <a:lnTo>
                    <a:pt x="256540" y="4093095"/>
                  </a:lnTo>
                  <a:lnTo>
                    <a:pt x="259245" y="4097782"/>
                  </a:lnTo>
                  <a:lnTo>
                    <a:pt x="261061" y="4100957"/>
                  </a:lnTo>
                  <a:lnTo>
                    <a:pt x="264337" y="4102722"/>
                  </a:lnTo>
                  <a:lnTo>
                    <a:pt x="267728" y="4102722"/>
                  </a:lnTo>
                  <a:lnTo>
                    <a:pt x="269392" y="4102722"/>
                  </a:lnTo>
                  <a:lnTo>
                    <a:pt x="271106" y="4102303"/>
                  </a:lnTo>
                  <a:lnTo>
                    <a:pt x="272618" y="4101414"/>
                  </a:lnTo>
                  <a:lnTo>
                    <a:pt x="294297" y="4088879"/>
                  </a:lnTo>
                  <a:lnTo>
                    <a:pt x="295910" y="4082846"/>
                  </a:lnTo>
                  <a:close/>
                </a:path>
                <a:path w="5160009" h="4314190">
                  <a:moveTo>
                    <a:pt x="295973" y="4230624"/>
                  </a:moveTo>
                  <a:lnTo>
                    <a:pt x="294360" y="4224591"/>
                  </a:lnTo>
                  <a:lnTo>
                    <a:pt x="289674" y="4221886"/>
                  </a:lnTo>
                  <a:lnTo>
                    <a:pt x="267982" y="4209351"/>
                  </a:lnTo>
                  <a:lnTo>
                    <a:pt x="261950" y="4210964"/>
                  </a:lnTo>
                  <a:lnTo>
                    <a:pt x="256540" y="4220324"/>
                  </a:lnTo>
                  <a:lnTo>
                    <a:pt x="258152" y="4226357"/>
                  </a:lnTo>
                  <a:lnTo>
                    <a:pt x="279844" y="4238891"/>
                  </a:lnTo>
                  <a:lnTo>
                    <a:pt x="281406" y="4239780"/>
                  </a:lnTo>
                  <a:lnTo>
                    <a:pt x="283070" y="4240200"/>
                  </a:lnTo>
                  <a:lnTo>
                    <a:pt x="288112" y="4240200"/>
                  </a:lnTo>
                  <a:lnTo>
                    <a:pt x="291439" y="4238422"/>
                  </a:lnTo>
                  <a:lnTo>
                    <a:pt x="293268" y="4235310"/>
                  </a:lnTo>
                  <a:lnTo>
                    <a:pt x="295973" y="4230624"/>
                  </a:lnTo>
                  <a:close/>
                </a:path>
                <a:path w="5160009" h="4314190">
                  <a:moveTo>
                    <a:pt x="314325" y="4151299"/>
                  </a:moveTo>
                  <a:lnTo>
                    <a:pt x="309905" y="4146880"/>
                  </a:lnTo>
                  <a:lnTo>
                    <a:pt x="304495" y="4146880"/>
                  </a:lnTo>
                  <a:lnTo>
                    <a:pt x="279425" y="4146880"/>
                  </a:lnTo>
                  <a:lnTo>
                    <a:pt x="275005" y="4151299"/>
                  </a:lnTo>
                  <a:lnTo>
                    <a:pt x="275005" y="4162120"/>
                  </a:lnTo>
                  <a:lnTo>
                    <a:pt x="279425" y="4166539"/>
                  </a:lnTo>
                  <a:lnTo>
                    <a:pt x="309905" y="4166539"/>
                  </a:lnTo>
                  <a:lnTo>
                    <a:pt x="314325" y="4162120"/>
                  </a:lnTo>
                  <a:lnTo>
                    <a:pt x="314325" y="4151299"/>
                  </a:lnTo>
                  <a:close/>
                </a:path>
                <a:path w="5160009" h="4314190">
                  <a:moveTo>
                    <a:pt x="5159908" y="0"/>
                  </a:moveTo>
                  <a:lnTo>
                    <a:pt x="2837294" y="0"/>
                  </a:lnTo>
                  <a:lnTo>
                    <a:pt x="2837294" y="3086100"/>
                  </a:lnTo>
                  <a:lnTo>
                    <a:pt x="5159908" y="3086100"/>
                  </a:lnTo>
                  <a:lnTo>
                    <a:pt x="5159908" y="0"/>
                  </a:lnTo>
                  <a:close/>
                </a:path>
              </a:pathLst>
            </a:custGeom>
            <a:solidFill>
              <a:srgbClr val="FFFFFF"/>
            </a:solidFill>
          </p:spPr>
          <p:txBody>
            <a:bodyPr wrap="square" lIns="0" tIns="0" rIns="0" bIns="0" rtlCol="0"/>
            <a:lstStyle/>
            <a:p>
              <a:endParaRPr/>
            </a:p>
          </p:txBody>
        </p:sp>
        <p:sp>
          <p:nvSpPr>
            <p:cNvPr id="20" name="object 20"/>
            <p:cNvSpPr/>
            <p:nvPr/>
          </p:nvSpPr>
          <p:spPr>
            <a:xfrm>
              <a:off x="12402453" y="5640780"/>
              <a:ext cx="5718810" cy="3437890"/>
            </a:xfrm>
            <a:custGeom>
              <a:avLst/>
              <a:gdLst/>
              <a:ahLst/>
              <a:cxnLst/>
              <a:rect l="l" t="t" r="r" b="b"/>
              <a:pathLst>
                <a:path w="5718809" h="3437890">
                  <a:moveTo>
                    <a:pt x="914650" y="0"/>
                  </a:moveTo>
                  <a:lnTo>
                    <a:pt x="5718499" y="0"/>
                  </a:lnTo>
                  <a:lnTo>
                    <a:pt x="5718499" y="3437558"/>
                  </a:lnTo>
                  <a:lnTo>
                    <a:pt x="914650" y="3437558"/>
                  </a:lnTo>
                  <a:lnTo>
                    <a:pt x="0" y="1719360"/>
                  </a:lnTo>
                  <a:lnTo>
                    <a:pt x="0" y="1718197"/>
                  </a:lnTo>
                  <a:lnTo>
                    <a:pt x="914650" y="0"/>
                  </a:lnTo>
                  <a:close/>
                </a:path>
              </a:pathLst>
            </a:custGeom>
            <a:solidFill>
              <a:srgbClr val="E3112B"/>
            </a:solidFill>
          </p:spPr>
          <p:txBody>
            <a:bodyPr wrap="square" lIns="0" tIns="0" rIns="0" bIns="0" rtlCol="0"/>
            <a:lstStyle/>
            <a:p>
              <a:endParaRPr/>
            </a:p>
          </p:txBody>
        </p:sp>
        <p:sp>
          <p:nvSpPr>
            <p:cNvPr id="21" name="object 21"/>
            <p:cNvSpPr/>
            <p:nvPr/>
          </p:nvSpPr>
          <p:spPr>
            <a:xfrm>
              <a:off x="14719977" y="4663870"/>
              <a:ext cx="1705610" cy="1705610"/>
            </a:xfrm>
            <a:custGeom>
              <a:avLst/>
              <a:gdLst/>
              <a:ahLst/>
              <a:cxnLst/>
              <a:rect l="l" t="t" r="r" b="b"/>
              <a:pathLst>
                <a:path w="1705609" h="1705610">
                  <a:moveTo>
                    <a:pt x="852615" y="1705230"/>
                  </a:moveTo>
                  <a:lnTo>
                    <a:pt x="804232" y="1703881"/>
                  </a:lnTo>
                  <a:lnTo>
                    <a:pt x="756558" y="1699879"/>
                  </a:lnTo>
                  <a:lnTo>
                    <a:pt x="709664" y="1693299"/>
                  </a:lnTo>
                  <a:lnTo>
                    <a:pt x="663622" y="1684211"/>
                  </a:lnTo>
                  <a:lnTo>
                    <a:pt x="618503" y="1672687"/>
                  </a:lnTo>
                  <a:lnTo>
                    <a:pt x="574381" y="1658800"/>
                  </a:lnTo>
                  <a:lnTo>
                    <a:pt x="531327" y="1642622"/>
                  </a:lnTo>
                  <a:lnTo>
                    <a:pt x="489412" y="1624224"/>
                  </a:lnTo>
                  <a:lnTo>
                    <a:pt x="448710" y="1603678"/>
                  </a:lnTo>
                  <a:lnTo>
                    <a:pt x="409291" y="1581057"/>
                  </a:lnTo>
                  <a:lnTo>
                    <a:pt x="371228" y="1556432"/>
                  </a:lnTo>
                  <a:lnTo>
                    <a:pt x="334593" y="1529875"/>
                  </a:lnTo>
                  <a:lnTo>
                    <a:pt x="299458" y="1501459"/>
                  </a:lnTo>
                  <a:lnTo>
                    <a:pt x="265894" y="1471255"/>
                  </a:lnTo>
                  <a:lnTo>
                    <a:pt x="233975" y="1439335"/>
                  </a:lnTo>
                  <a:lnTo>
                    <a:pt x="203771" y="1405772"/>
                  </a:lnTo>
                  <a:lnTo>
                    <a:pt x="175355" y="1370637"/>
                  </a:lnTo>
                  <a:lnTo>
                    <a:pt x="148798" y="1334002"/>
                  </a:lnTo>
                  <a:lnTo>
                    <a:pt x="124173" y="1295939"/>
                  </a:lnTo>
                  <a:lnTo>
                    <a:pt x="101552" y="1256520"/>
                  </a:lnTo>
                  <a:lnTo>
                    <a:pt x="81006" y="1215817"/>
                  </a:lnTo>
                  <a:lnTo>
                    <a:pt x="62608" y="1173903"/>
                  </a:lnTo>
                  <a:lnTo>
                    <a:pt x="46429" y="1130849"/>
                  </a:lnTo>
                  <a:lnTo>
                    <a:pt x="32542" y="1086726"/>
                  </a:lnTo>
                  <a:lnTo>
                    <a:pt x="21019" y="1041608"/>
                  </a:lnTo>
                  <a:lnTo>
                    <a:pt x="11931" y="995566"/>
                  </a:lnTo>
                  <a:lnTo>
                    <a:pt x="5350" y="948671"/>
                  </a:lnTo>
                  <a:lnTo>
                    <a:pt x="1349" y="900997"/>
                  </a:lnTo>
                  <a:lnTo>
                    <a:pt x="0" y="852613"/>
                  </a:lnTo>
                  <a:lnTo>
                    <a:pt x="1349" y="804232"/>
                  </a:lnTo>
                  <a:lnTo>
                    <a:pt x="5350" y="756558"/>
                  </a:lnTo>
                  <a:lnTo>
                    <a:pt x="11931" y="709664"/>
                  </a:lnTo>
                  <a:lnTo>
                    <a:pt x="21019" y="663622"/>
                  </a:lnTo>
                  <a:lnTo>
                    <a:pt x="32542" y="618503"/>
                  </a:lnTo>
                  <a:lnTo>
                    <a:pt x="46429" y="574381"/>
                  </a:lnTo>
                  <a:lnTo>
                    <a:pt x="62608" y="531327"/>
                  </a:lnTo>
                  <a:lnTo>
                    <a:pt x="81006" y="489412"/>
                  </a:lnTo>
                  <a:lnTo>
                    <a:pt x="101552" y="448710"/>
                  </a:lnTo>
                  <a:lnTo>
                    <a:pt x="124173" y="409291"/>
                  </a:lnTo>
                  <a:lnTo>
                    <a:pt x="148798" y="371228"/>
                  </a:lnTo>
                  <a:lnTo>
                    <a:pt x="175355" y="334593"/>
                  </a:lnTo>
                  <a:lnTo>
                    <a:pt x="203771" y="299458"/>
                  </a:lnTo>
                  <a:lnTo>
                    <a:pt x="233975" y="265895"/>
                  </a:lnTo>
                  <a:lnTo>
                    <a:pt x="265894" y="233975"/>
                  </a:lnTo>
                  <a:lnTo>
                    <a:pt x="299458" y="203771"/>
                  </a:lnTo>
                  <a:lnTo>
                    <a:pt x="334593" y="175355"/>
                  </a:lnTo>
                  <a:lnTo>
                    <a:pt x="371228" y="148798"/>
                  </a:lnTo>
                  <a:lnTo>
                    <a:pt x="409291" y="124173"/>
                  </a:lnTo>
                  <a:lnTo>
                    <a:pt x="448710" y="101552"/>
                  </a:lnTo>
                  <a:lnTo>
                    <a:pt x="489412" y="81006"/>
                  </a:lnTo>
                  <a:lnTo>
                    <a:pt x="531327" y="62608"/>
                  </a:lnTo>
                  <a:lnTo>
                    <a:pt x="574381" y="46429"/>
                  </a:lnTo>
                  <a:lnTo>
                    <a:pt x="618503" y="32542"/>
                  </a:lnTo>
                  <a:lnTo>
                    <a:pt x="663622" y="21019"/>
                  </a:lnTo>
                  <a:lnTo>
                    <a:pt x="709664" y="11931"/>
                  </a:lnTo>
                  <a:lnTo>
                    <a:pt x="756558" y="5350"/>
                  </a:lnTo>
                  <a:lnTo>
                    <a:pt x="804232" y="1349"/>
                  </a:lnTo>
                  <a:lnTo>
                    <a:pt x="852615" y="0"/>
                  </a:lnTo>
                  <a:lnTo>
                    <a:pt x="900997" y="1349"/>
                  </a:lnTo>
                  <a:lnTo>
                    <a:pt x="948671" y="5350"/>
                  </a:lnTo>
                  <a:lnTo>
                    <a:pt x="995566" y="11931"/>
                  </a:lnTo>
                  <a:lnTo>
                    <a:pt x="1041608" y="21019"/>
                  </a:lnTo>
                  <a:lnTo>
                    <a:pt x="1086726" y="32542"/>
                  </a:lnTo>
                  <a:lnTo>
                    <a:pt x="1130848" y="46429"/>
                  </a:lnTo>
                  <a:lnTo>
                    <a:pt x="1173903" y="62608"/>
                  </a:lnTo>
                  <a:lnTo>
                    <a:pt x="1215817" y="81006"/>
                  </a:lnTo>
                  <a:lnTo>
                    <a:pt x="1256520" y="101552"/>
                  </a:lnTo>
                  <a:lnTo>
                    <a:pt x="1295938" y="124173"/>
                  </a:lnTo>
                  <a:lnTo>
                    <a:pt x="1334001" y="148798"/>
                  </a:lnTo>
                  <a:lnTo>
                    <a:pt x="1370636" y="175355"/>
                  </a:lnTo>
                  <a:lnTo>
                    <a:pt x="1405772" y="203771"/>
                  </a:lnTo>
                  <a:lnTo>
                    <a:pt x="1439335" y="233975"/>
                  </a:lnTo>
                  <a:lnTo>
                    <a:pt x="1471255" y="265895"/>
                  </a:lnTo>
                  <a:lnTo>
                    <a:pt x="1501459" y="299458"/>
                  </a:lnTo>
                  <a:lnTo>
                    <a:pt x="1529875" y="334593"/>
                  </a:lnTo>
                  <a:lnTo>
                    <a:pt x="1556432" y="371228"/>
                  </a:lnTo>
                  <a:lnTo>
                    <a:pt x="1581057" y="409291"/>
                  </a:lnTo>
                  <a:lnTo>
                    <a:pt x="1603678" y="448710"/>
                  </a:lnTo>
                  <a:lnTo>
                    <a:pt x="1624224" y="489412"/>
                  </a:lnTo>
                  <a:lnTo>
                    <a:pt x="1642622" y="531327"/>
                  </a:lnTo>
                  <a:lnTo>
                    <a:pt x="1658800" y="574381"/>
                  </a:lnTo>
                  <a:lnTo>
                    <a:pt x="1672687" y="618503"/>
                  </a:lnTo>
                  <a:lnTo>
                    <a:pt x="1684211" y="663622"/>
                  </a:lnTo>
                  <a:lnTo>
                    <a:pt x="1693299" y="709664"/>
                  </a:lnTo>
                  <a:lnTo>
                    <a:pt x="1699879" y="756558"/>
                  </a:lnTo>
                  <a:lnTo>
                    <a:pt x="1703881" y="804232"/>
                  </a:lnTo>
                  <a:lnTo>
                    <a:pt x="1705230" y="852616"/>
                  </a:lnTo>
                  <a:lnTo>
                    <a:pt x="1703881" y="900997"/>
                  </a:lnTo>
                  <a:lnTo>
                    <a:pt x="1699879" y="948671"/>
                  </a:lnTo>
                  <a:lnTo>
                    <a:pt x="1693299" y="995566"/>
                  </a:lnTo>
                  <a:lnTo>
                    <a:pt x="1684211" y="1041608"/>
                  </a:lnTo>
                  <a:lnTo>
                    <a:pt x="1672687" y="1086726"/>
                  </a:lnTo>
                  <a:lnTo>
                    <a:pt x="1658800" y="1130849"/>
                  </a:lnTo>
                  <a:lnTo>
                    <a:pt x="1642622" y="1173903"/>
                  </a:lnTo>
                  <a:lnTo>
                    <a:pt x="1624224" y="1215817"/>
                  </a:lnTo>
                  <a:lnTo>
                    <a:pt x="1603678" y="1256520"/>
                  </a:lnTo>
                  <a:lnTo>
                    <a:pt x="1581057" y="1295939"/>
                  </a:lnTo>
                  <a:lnTo>
                    <a:pt x="1556432" y="1334002"/>
                  </a:lnTo>
                  <a:lnTo>
                    <a:pt x="1529875" y="1370637"/>
                  </a:lnTo>
                  <a:lnTo>
                    <a:pt x="1501459" y="1405772"/>
                  </a:lnTo>
                  <a:lnTo>
                    <a:pt x="1471255" y="1439335"/>
                  </a:lnTo>
                  <a:lnTo>
                    <a:pt x="1439335" y="1471255"/>
                  </a:lnTo>
                  <a:lnTo>
                    <a:pt x="1405772" y="1501459"/>
                  </a:lnTo>
                  <a:lnTo>
                    <a:pt x="1370636" y="1529875"/>
                  </a:lnTo>
                  <a:lnTo>
                    <a:pt x="1334001" y="1556432"/>
                  </a:lnTo>
                  <a:lnTo>
                    <a:pt x="1295938" y="1581057"/>
                  </a:lnTo>
                  <a:lnTo>
                    <a:pt x="1256520" y="1603678"/>
                  </a:lnTo>
                  <a:lnTo>
                    <a:pt x="1215817" y="1624224"/>
                  </a:lnTo>
                  <a:lnTo>
                    <a:pt x="1173903" y="1642622"/>
                  </a:lnTo>
                  <a:lnTo>
                    <a:pt x="1130848" y="1658800"/>
                  </a:lnTo>
                  <a:lnTo>
                    <a:pt x="1086726" y="1672687"/>
                  </a:lnTo>
                  <a:lnTo>
                    <a:pt x="1041608" y="1684211"/>
                  </a:lnTo>
                  <a:lnTo>
                    <a:pt x="995566" y="1693299"/>
                  </a:lnTo>
                  <a:lnTo>
                    <a:pt x="948671" y="1699879"/>
                  </a:lnTo>
                  <a:lnTo>
                    <a:pt x="900997" y="1703881"/>
                  </a:lnTo>
                  <a:lnTo>
                    <a:pt x="852615" y="1705230"/>
                  </a:lnTo>
                  <a:close/>
                </a:path>
              </a:pathLst>
            </a:custGeom>
            <a:solidFill>
              <a:srgbClr val="F5A316"/>
            </a:solidFill>
          </p:spPr>
          <p:txBody>
            <a:bodyPr wrap="square" lIns="0" tIns="0" rIns="0" bIns="0" rtlCol="0"/>
            <a:lstStyle/>
            <a:p>
              <a:endParaRPr/>
            </a:p>
          </p:txBody>
        </p:sp>
        <p:sp>
          <p:nvSpPr>
            <p:cNvPr id="22" name="object 22"/>
            <p:cNvSpPr/>
            <p:nvPr/>
          </p:nvSpPr>
          <p:spPr>
            <a:xfrm>
              <a:off x="14923961" y="4937315"/>
              <a:ext cx="1295400" cy="926465"/>
            </a:xfrm>
            <a:custGeom>
              <a:avLst/>
              <a:gdLst/>
              <a:ahLst/>
              <a:cxnLst/>
              <a:rect l="l" t="t" r="r" b="b"/>
              <a:pathLst>
                <a:path w="1295400" h="926464">
                  <a:moveTo>
                    <a:pt x="661657" y="6273"/>
                  </a:moveTo>
                  <a:lnTo>
                    <a:pt x="655383" y="0"/>
                  </a:lnTo>
                  <a:lnTo>
                    <a:pt x="640003" y="0"/>
                  </a:lnTo>
                  <a:lnTo>
                    <a:pt x="633730" y="6273"/>
                  </a:lnTo>
                  <a:lnTo>
                    <a:pt x="633730" y="185381"/>
                  </a:lnTo>
                  <a:lnTo>
                    <a:pt x="640003" y="191858"/>
                  </a:lnTo>
                  <a:lnTo>
                    <a:pt x="647700" y="191858"/>
                  </a:lnTo>
                  <a:lnTo>
                    <a:pt x="655383" y="191858"/>
                  </a:lnTo>
                  <a:lnTo>
                    <a:pt x="661657" y="185585"/>
                  </a:lnTo>
                  <a:lnTo>
                    <a:pt x="661657" y="6273"/>
                  </a:lnTo>
                  <a:close/>
                </a:path>
                <a:path w="1295400" h="926464">
                  <a:moveTo>
                    <a:pt x="1295400" y="585317"/>
                  </a:moveTo>
                  <a:lnTo>
                    <a:pt x="1262786" y="550265"/>
                  </a:lnTo>
                  <a:lnTo>
                    <a:pt x="1213269" y="502805"/>
                  </a:lnTo>
                  <a:lnTo>
                    <a:pt x="1180719" y="474256"/>
                  </a:lnTo>
                  <a:lnTo>
                    <a:pt x="1143406" y="443776"/>
                  </a:lnTo>
                  <a:lnTo>
                    <a:pt x="1101661" y="412369"/>
                  </a:lnTo>
                  <a:lnTo>
                    <a:pt x="1055827" y="381000"/>
                  </a:lnTo>
                  <a:lnTo>
                    <a:pt x="1006221" y="350634"/>
                  </a:lnTo>
                  <a:lnTo>
                    <a:pt x="953160" y="322275"/>
                  </a:lnTo>
                  <a:lnTo>
                    <a:pt x="922566" y="308444"/>
                  </a:lnTo>
                  <a:lnTo>
                    <a:pt x="922566" y="585317"/>
                  </a:lnTo>
                  <a:lnTo>
                    <a:pt x="918133" y="634606"/>
                  </a:lnTo>
                  <a:lnTo>
                    <a:pt x="905344" y="681113"/>
                  </a:lnTo>
                  <a:lnTo>
                    <a:pt x="884986" y="723887"/>
                  </a:lnTo>
                  <a:lnTo>
                    <a:pt x="857846" y="762228"/>
                  </a:lnTo>
                  <a:lnTo>
                    <a:pt x="824699" y="795337"/>
                  </a:lnTo>
                  <a:lnTo>
                    <a:pt x="786333" y="822439"/>
                  </a:lnTo>
                  <a:lnTo>
                    <a:pt x="743572" y="842746"/>
                  </a:lnTo>
                  <a:lnTo>
                    <a:pt x="697077" y="855522"/>
                  </a:lnTo>
                  <a:lnTo>
                    <a:pt x="647700" y="859955"/>
                  </a:lnTo>
                  <a:lnTo>
                    <a:pt x="598398" y="855522"/>
                  </a:lnTo>
                  <a:lnTo>
                    <a:pt x="551967" y="842746"/>
                  </a:lnTo>
                  <a:lnTo>
                    <a:pt x="509193" y="822401"/>
                  </a:lnTo>
                  <a:lnTo>
                    <a:pt x="470852" y="795274"/>
                  </a:lnTo>
                  <a:lnTo>
                    <a:pt x="437718" y="762139"/>
                  </a:lnTo>
                  <a:lnTo>
                    <a:pt x="410591" y="723798"/>
                  </a:lnTo>
                  <a:lnTo>
                    <a:pt x="390245" y="681024"/>
                  </a:lnTo>
                  <a:lnTo>
                    <a:pt x="377482" y="634657"/>
                  </a:lnTo>
                  <a:lnTo>
                    <a:pt x="373024" y="585317"/>
                  </a:lnTo>
                  <a:lnTo>
                    <a:pt x="377469" y="536016"/>
                  </a:lnTo>
                  <a:lnTo>
                    <a:pt x="390245" y="489572"/>
                  </a:lnTo>
                  <a:lnTo>
                    <a:pt x="410591" y="446773"/>
                  </a:lnTo>
                  <a:lnTo>
                    <a:pt x="437718" y="408393"/>
                  </a:lnTo>
                  <a:lnTo>
                    <a:pt x="470852" y="375234"/>
                  </a:lnTo>
                  <a:lnTo>
                    <a:pt x="509193" y="348081"/>
                  </a:lnTo>
                  <a:lnTo>
                    <a:pt x="551967" y="327710"/>
                  </a:lnTo>
                  <a:lnTo>
                    <a:pt x="598398" y="314909"/>
                  </a:lnTo>
                  <a:lnTo>
                    <a:pt x="647700" y="310464"/>
                  </a:lnTo>
                  <a:lnTo>
                    <a:pt x="697001" y="314896"/>
                  </a:lnTo>
                  <a:lnTo>
                    <a:pt x="743445" y="327685"/>
                  </a:lnTo>
                  <a:lnTo>
                    <a:pt x="786244" y="348030"/>
                  </a:lnTo>
                  <a:lnTo>
                    <a:pt x="824623" y="375170"/>
                  </a:lnTo>
                  <a:lnTo>
                    <a:pt x="857783" y="408317"/>
                  </a:lnTo>
                  <a:lnTo>
                    <a:pt x="884948" y="446684"/>
                  </a:lnTo>
                  <a:lnTo>
                    <a:pt x="905319" y="489496"/>
                  </a:lnTo>
                  <a:lnTo>
                    <a:pt x="918121" y="535965"/>
                  </a:lnTo>
                  <a:lnTo>
                    <a:pt x="922566" y="585317"/>
                  </a:lnTo>
                  <a:lnTo>
                    <a:pt x="922566" y="308444"/>
                  </a:lnTo>
                  <a:lnTo>
                    <a:pt x="838022" y="275412"/>
                  </a:lnTo>
                  <a:lnTo>
                    <a:pt x="776605" y="258889"/>
                  </a:lnTo>
                  <a:lnTo>
                    <a:pt x="713054" y="248246"/>
                  </a:lnTo>
                  <a:lnTo>
                    <a:pt x="647700" y="244487"/>
                  </a:lnTo>
                  <a:lnTo>
                    <a:pt x="582333" y="248246"/>
                  </a:lnTo>
                  <a:lnTo>
                    <a:pt x="518782" y="258889"/>
                  </a:lnTo>
                  <a:lnTo>
                    <a:pt x="457365" y="275412"/>
                  </a:lnTo>
                  <a:lnTo>
                    <a:pt x="398399" y="296875"/>
                  </a:lnTo>
                  <a:lnTo>
                    <a:pt x="342226" y="322275"/>
                  </a:lnTo>
                  <a:lnTo>
                    <a:pt x="289179" y="350634"/>
                  </a:lnTo>
                  <a:lnTo>
                    <a:pt x="239560" y="381000"/>
                  </a:lnTo>
                  <a:lnTo>
                    <a:pt x="193725" y="412369"/>
                  </a:lnTo>
                  <a:lnTo>
                    <a:pt x="151980" y="443776"/>
                  </a:lnTo>
                  <a:lnTo>
                    <a:pt x="114681" y="474256"/>
                  </a:lnTo>
                  <a:lnTo>
                    <a:pt x="82130" y="502805"/>
                  </a:lnTo>
                  <a:lnTo>
                    <a:pt x="32613" y="550265"/>
                  </a:lnTo>
                  <a:lnTo>
                    <a:pt x="6057" y="578345"/>
                  </a:lnTo>
                  <a:lnTo>
                    <a:pt x="0" y="585317"/>
                  </a:lnTo>
                  <a:lnTo>
                    <a:pt x="2222" y="587946"/>
                  </a:lnTo>
                  <a:lnTo>
                    <a:pt x="32575" y="620344"/>
                  </a:lnTo>
                  <a:lnTo>
                    <a:pt x="82105" y="667766"/>
                  </a:lnTo>
                  <a:lnTo>
                    <a:pt x="114681" y="696315"/>
                  </a:lnTo>
                  <a:lnTo>
                    <a:pt x="152006" y="726770"/>
                  </a:lnTo>
                  <a:lnTo>
                    <a:pt x="193776" y="758151"/>
                  </a:lnTo>
                  <a:lnTo>
                    <a:pt x="239636" y="789508"/>
                  </a:lnTo>
                  <a:lnTo>
                    <a:pt x="289267" y="819848"/>
                  </a:lnTo>
                  <a:lnTo>
                    <a:pt x="342328" y="848194"/>
                  </a:lnTo>
                  <a:lnTo>
                    <a:pt x="398513" y="873582"/>
                  </a:lnTo>
                  <a:lnTo>
                    <a:pt x="457466" y="895019"/>
                  </a:lnTo>
                  <a:lnTo>
                    <a:pt x="518871" y="911555"/>
                  </a:lnTo>
                  <a:lnTo>
                    <a:pt x="582396" y="922185"/>
                  </a:lnTo>
                  <a:lnTo>
                    <a:pt x="647700" y="925944"/>
                  </a:lnTo>
                  <a:lnTo>
                    <a:pt x="712939" y="922185"/>
                  </a:lnTo>
                  <a:lnTo>
                    <a:pt x="776439" y="911555"/>
                  </a:lnTo>
                  <a:lnTo>
                    <a:pt x="837806" y="895045"/>
                  </a:lnTo>
                  <a:lnTo>
                    <a:pt x="896734" y="873607"/>
                  </a:lnTo>
                  <a:lnTo>
                    <a:pt x="926960" y="859955"/>
                  </a:lnTo>
                  <a:lnTo>
                    <a:pt x="952893" y="848245"/>
                  </a:lnTo>
                  <a:lnTo>
                    <a:pt x="1005941" y="819899"/>
                  </a:lnTo>
                  <a:lnTo>
                    <a:pt x="1055547" y="789571"/>
                  </a:lnTo>
                  <a:lnTo>
                    <a:pt x="1101407" y="758228"/>
                  </a:lnTo>
                  <a:lnTo>
                    <a:pt x="1143165" y="726846"/>
                  </a:lnTo>
                  <a:lnTo>
                    <a:pt x="1180503" y="696404"/>
                  </a:lnTo>
                  <a:lnTo>
                    <a:pt x="1213078" y="667854"/>
                  </a:lnTo>
                  <a:lnTo>
                    <a:pt x="1262672" y="620407"/>
                  </a:lnTo>
                  <a:lnTo>
                    <a:pt x="1289291" y="592302"/>
                  </a:lnTo>
                  <a:lnTo>
                    <a:pt x="1293164" y="587946"/>
                  </a:lnTo>
                  <a:lnTo>
                    <a:pt x="1295400" y="585317"/>
                  </a:lnTo>
                  <a:close/>
                </a:path>
              </a:pathLst>
            </a:custGeom>
            <a:solidFill>
              <a:srgbClr val="FFFFFF"/>
            </a:solidFill>
          </p:spPr>
          <p:txBody>
            <a:bodyPr wrap="square" lIns="0" tIns="0" rIns="0" bIns="0" rtlCol="0"/>
            <a:lstStyle/>
            <a:p>
              <a:endParaRPr/>
            </a:p>
          </p:txBody>
        </p:sp>
        <p:pic>
          <p:nvPicPr>
            <p:cNvPr id="23" name="object 23"/>
            <p:cNvPicPr/>
            <p:nvPr/>
          </p:nvPicPr>
          <p:blipFill>
            <a:blip r:embed="rId4" cstate="print"/>
            <a:stretch>
              <a:fillRect/>
            </a:stretch>
          </p:blipFill>
          <p:spPr>
            <a:xfrm>
              <a:off x="15811918" y="4991746"/>
              <a:ext cx="86225" cy="182153"/>
            </a:xfrm>
            <a:prstGeom prst="rect">
              <a:avLst/>
            </a:prstGeom>
          </p:spPr>
        </p:pic>
        <p:pic>
          <p:nvPicPr>
            <p:cNvPr id="24" name="object 24"/>
            <p:cNvPicPr/>
            <p:nvPr/>
          </p:nvPicPr>
          <p:blipFill>
            <a:blip r:embed="rId5" cstate="print"/>
            <a:stretch>
              <a:fillRect/>
            </a:stretch>
          </p:blipFill>
          <p:spPr>
            <a:xfrm>
              <a:off x="16034158" y="5149410"/>
              <a:ext cx="137231" cy="153818"/>
            </a:xfrm>
            <a:prstGeom prst="rect">
              <a:avLst/>
            </a:prstGeom>
          </p:spPr>
        </p:pic>
        <p:pic>
          <p:nvPicPr>
            <p:cNvPr id="25" name="object 25"/>
            <p:cNvPicPr/>
            <p:nvPr/>
          </p:nvPicPr>
          <p:blipFill>
            <a:blip r:embed="rId6" cstate="print"/>
            <a:stretch>
              <a:fillRect/>
            </a:stretch>
          </p:blipFill>
          <p:spPr>
            <a:xfrm>
              <a:off x="15246394" y="4991949"/>
              <a:ext cx="85213" cy="182153"/>
            </a:xfrm>
            <a:prstGeom prst="rect">
              <a:avLst/>
            </a:prstGeom>
          </p:spPr>
        </p:pic>
        <p:pic>
          <p:nvPicPr>
            <p:cNvPr id="26" name="object 26"/>
            <p:cNvPicPr/>
            <p:nvPr/>
          </p:nvPicPr>
          <p:blipFill>
            <a:blip r:embed="rId7" cstate="print"/>
            <a:stretch>
              <a:fillRect/>
            </a:stretch>
          </p:blipFill>
          <p:spPr>
            <a:xfrm>
              <a:off x="14972133" y="5149410"/>
              <a:ext cx="135612" cy="153818"/>
            </a:xfrm>
            <a:prstGeom prst="rect">
              <a:avLst/>
            </a:prstGeom>
          </p:spPr>
        </p:pic>
        <p:sp>
          <p:nvSpPr>
            <p:cNvPr id="27" name="object 27"/>
            <p:cNvSpPr/>
            <p:nvPr/>
          </p:nvSpPr>
          <p:spPr>
            <a:xfrm>
              <a:off x="15428335" y="5402603"/>
              <a:ext cx="286385" cy="260350"/>
            </a:xfrm>
            <a:custGeom>
              <a:avLst/>
              <a:gdLst/>
              <a:ahLst/>
              <a:cxnLst/>
              <a:rect l="l" t="t" r="r" b="b"/>
              <a:pathLst>
                <a:path w="286384" h="260350">
                  <a:moveTo>
                    <a:pt x="143123" y="260074"/>
                  </a:moveTo>
                  <a:lnTo>
                    <a:pt x="96331" y="227469"/>
                  </a:lnTo>
                  <a:lnTo>
                    <a:pt x="58880" y="193388"/>
                  </a:lnTo>
                  <a:lnTo>
                    <a:pt x="29745" y="157859"/>
                  </a:lnTo>
                  <a:lnTo>
                    <a:pt x="9927" y="122126"/>
                  </a:lnTo>
                  <a:lnTo>
                    <a:pt x="0" y="69256"/>
                  </a:lnTo>
                  <a:lnTo>
                    <a:pt x="3235" y="52520"/>
                  </a:lnTo>
                  <a:lnTo>
                    <a:pt x="33159" y="13917"/>
                  </a:lnTo>
                  <a:lnTo>
                    <a:pt x="78758" y="0"/>
                  </a:lnTo>
                  <a:lnTo>
                    <a:pt x="96418" y="1834"/>
                  </a:lnTo>
                  <a:lnTo>
                    <a:pt x="113319" y="7235"/>
                  </a:lnTo>
                  <a:lnTo>
                    <a:pt x="129081" y="16052"/>
                  </a:lnTo>
                  <a:lnTo>
                    <a:pt x="143325" y="28132"/>
                  </a:lnTo>
                  <a:lnTo>
                    <a:pt x="268815" y="28132"/>
                  </a:lnTo>
                  <a:lnTo>
                    <a:pt x="276170" y="37455"/>
                  </a:lnTo>
                  <a:lnTo>
                    <a:pt x="283011" y="52520"/>
                  </a:lnTo>
                  <a:lnTo>
                    <a:pt x="286246" y="69256"/>
                  </a:lnTo>
                  <a:lnTo>
                    <a:pt x="285819" y="87433"/>
                  </a:lnTo>
                  <a:lnTo>
                    <a:pt x="256443" y="157859"/>
                  </a:lnTo>
                  <a:lnTo>
                    <a:pt x="227278" y="193388"/>
                  </a:lnTo>
                  <a:lnTo>
                    <a:pt x="189837" y="227469"/>
                  </a:lnTo>
                  <a:lnTo>
                    <a:pt x="145147" y="258859"/>
                  </a:lnTo>
                  <a:lnTo>
                    <a:pt x="143123" y="260074"/>
                  </a:lnTo>
                  <a:close/>
                </a:path>
                <a:path w="286384" h="260350">
                  <a:moveTo>
                    <a:pt x="207893" y="0"/>
                  </a:moveTo>
                  <a:close/>
                </a:path>
                <a:path w="286384" h="260350">
                  <a:moveTo>
                    <a:pt x="268815" y="28132"/>
                  </a:moveTo>
                  <a:lnTo>
                    <a:pt x="143325" y="28132"/>
                  </a:lnTo>
                  <a:lnTo>
                    <a:pt x="157570" y="16052"/>
                  </a:lnTo>
                  <a:lnTo>
                    <a:pt x="173332" y="7235"/>
                  </a:lnTo>
                  <a:lnTo>
                    <a:pt x="190233" y="1834"/>
                  </a:lnTo>
                  <a:lnTo>
                    <a:pt x="207893" y="0"/>
                  </a:lnTo>
                  <a:lnTo>
                    <a:pt x="224111" y="1574"/>
                  </a:lnTo>
                  <a:lnTo>
                    <a:pt x="239418" y="6223"/>
                  </a:lnTo>
                  <a:lnTo>
                    <a:pt x="253434" y="13832"/>
                  </a:lnTo>
                  <a:lnTo>
                    <a:pt x="265781" y="24287"/>
                  </a:lnTo>
                  <a:lnTo>
                    <a:pt x="268815" y="28132"/>
                  </a:lnTo>
                  <a:close/>
                </a:path>
              </a:pathLst>
            </a:custGeom>
            <a:solidFill>
              <a:srgbClr val="FFFFFF"/>
            </a:solidFill>
          </p:spPr>
          <p:txBody>
            <a:bodyPr wrap="square" lIns="0" tIns="0" rIns="0" bIns="0" rtlCol="0"/>
            <a:lstStyle/>
            <a:p>
              <a:endParaRPr/>
            </a:p>
          </p:txBody>
        </p:sp>
        <p:sp>
          <p:nvSpPr>
            <p:cNvPr id="28" name="object 28"/>
            <p:cNvSpPr/>
            <p:nvPr/>
          </p:nvSpPr>
          <p:spPr>
            <a:xfrm>
              <a:off x="10140914" y="7452719"/>
              <a:ext cx="648970" cy="1097280"/>
            </a:xfrm>
            <a:custGeom>
              <a:avLst/>
              <a:gdLst/>
              <a:ahLst/>
              <a:cxnLst/>
              <a:rect l="l" t="t" r="r" b="b"/>
              <a:pathLst>
                <a:path w="648970" h="1097279">
                  <a:moveTo>
                    <a:pt x="0" y="0"/>
                  </a:moveTo>
                  <a:lnTo>
                    <a:pt x="648796" y="0"/>
                  </a:lnTo>
                  <a:lnTo>
                    <a:pt x="648796" y="1096920"/>
                  </a:lnTo>
                  <a:lnTo>
                    <a:pt x="0" y="1096920"/>
                  </a:lnTo>
                  <a:lnTo>
                    <a:pt x="0" y="0"/>
                  </a:lnTo>
                  <a:close/>
                </a:path>
              </a:pathLst>
            </a:custGeom>
            <a:solidFill>
              <a:srgbClr val="21408B"/>
            </a:solidFill>
          </p:spPr>
          <p:txBody>
            <a:bodyPr wrap="square" lIns="0" tIns="0" rIns="0" bIns="0" rtlCol="0"/>
            <a:lstStyle/>
            <a:p>
              <a:endParaRPr/>
            </a:p>
          </p:txBody>
        </p:sp>
        <p:sp>
          <p:nvSpPr>
            <p:cNvPr id="29" name="object 29"/>
            <p:cNvSpPr/>
            <p:nvPr/>
          </p:nvSpPr>
          <p:spPr>
            <a:xfrm>
              <a:off x="9374107" y="7281015"/>
              <a:ext cx="652145" cy="1266825"/>
            </a:xfrm>
            <a:custGeom>
              <a:avLst/>
              <a:gdLst/>
              <a:ahLst/>
              <a:cxnLst/>
              <a:rect l="l" t="t" r="r" b="b"/>
              <a:pathLst>
                <a:path w="652145" h="1266825">
                  <a:moveTo>
                    <a:pt x="651536" y="1266470"/>
                  </a:moveTo>
                  <a:lnTo>
                    <a:pt x="0" y="1266470"/>
                  </a:lnTo>
                  <a:lnTo>
                    <a:pt x="0" y="0"/>
                  </a:lnTo>
                  <a:lnTo>
                    <a:pt x="651536" y="0"/>
                  </a:lnTo>
                  <a:lnTo>
                    <a:pt x="651536" y="1266470"/>
                  </a:lnTo>
                  <a:close/>
                </a:path>
              </a:pathLst>
            </a:custGeom>
            <a:solidFill>
              <a:srgbClr val="0090AE"/>
            </a:solidFill>
          </p:spPr>
          <p:txBody>
            <a:bodyPr wrap="square" lIns="0" tIns="0" rIns="0" bIns="0" rtlCol="0"/>
            <a:lstStyle/>
            <a:p>
              <a:endParaRPr/>
            </a:p>
          </p:txBody>
        </p:sp>
        <p:sp>
          <p:nvSpPr>
            <p:cNvPr id="30" name="object 30"/>
            <p:cNvSpPr/>
            <p:nvPr/>
          </p:nvSpPr>
          <p:spPr>
            <a:xfrm>
              <a:off x="9444101" y="6748398"/>
              <a:ext cx="1344930" cy="589915"/>
            </a:xfrm>
            <a:custGeom>
              <a:avLst/>
              <a:gdLst/>
              <a:ahLst/>
              <a:cxnLst/>
              <a:rect l="l" t="t" r="r" b="b"/>
              <a:pathLst>
                <a:path w="1344929" h="589915">
                  <a:moveTo>
                    <a:pt x="540143" y="0"/>
                  </a:moveTo>
                  <a:lnTo>
                    <a:pt x="0" y="0"/>
                  </a:lnTo>
                  <a:lnTo>
                    <a:pt x="0" y="342404"/>
                  </a:lnTo>
                  <a:lnTo>
                    <a:pt x="270535" y="439318"/>
                  </a:lnTo>
                  <a:lnTo>
                    <a:pt x="272300" y="439318"/>
                  </a:lnTo>
                  <a:lnTo>
                    <a:pt x="540143" y="343369"/>
                  </a:lnTo>
                  <a:lnTo>
                    <a:pt x="540143" y="0"/>
                  </a:lnTo>
                  <a:close/>
                </a:path>
                <a:path w="1344929" h="589915">
                  <a:moveTo>
                    <a:pt x="1344625" y="150406"/>
                  </a:moveTo>
                  <a:lnTo>
                    <a:pt x="710869" y="150406"/>
                  </a:lnTo>
                  <a:lnTo>
                    <a:pt x="710869" y="492798"/>
                  </a:lnTo>
                  <a:lnTo>
                    <a:pt x="1027201" y="589711"/>
                  </a:lnTo>
                  <a:lnTo>
                    <a:pt x="1029271" y="589711"/>
                  </a:lnTo>
                  <a:lnTo>
                    <a:pt x="1344625" y="493102"/>
                  </a:lnTo>
                  <a:lnTo>
                    <a:pt x="1344625" y="150406"/>
                  </a:lnTo>
                  <a:close/>
                </a:path>
              </a:pathLst>
            </a:custGeom>
            <a:solidFill>
              <a:srgbClr val="F5A316"/>
            </a:solidFill>
          </p:spPr>
          <p:txBody>
            <a:bodyPr wrap="square" lIns="0" tIns="0" rIns="0" bIns="0" rtlCol="0"/>
            <a:lstStyle/>
            <a:p>
              <a:endParaRPr/>
            </a:p>
          </p:txBody>
        </p:sp>
        <p:sp>
          <p:nvSpPr>
            <p:cNvPr id="31" name="object 31"/>
            <p:cNvSpPr/>
            <p:nvPr/>
          </p:nvSpPr>
          <p:spPr>
            <a:xfrm>
              <a:off x="8700122" y="5871577"/>
              <a:ext cx="624205" cy="3187700"/>
            </a:xfrm>
            <a:custGeom>
              <a:avLst/>
              <a:gdLst/>
              <a:ahLst/>
              <a:cxnLst/>
              <a:rect l="l" t="t" r="r" b="b"/>
              <a:pathLst>
                <a:path w="624204" h="3187700">
                  <a:moveTo>
                    <a:pt x="624065" y="312039"/>
                  </a:moveTo>
                  <a:lnTo>
                    <a:pt x="620687" y="265925"/>
                  </a:lnTo>
                  <a:lnTo>
                    <a:pt x="610857" y="221919"/>
                  </a:lnTo>
                  <a:lnTo>
                    <a:pt x="595071" y="180492"/>
                  </a:lnTo>
                  <a:lnTo>
                    <a:pt x="573798" y="142125"/>
                  </a:lnTo>
                  <a:lnTo>
                    <a:pt x="547535" y="107315"/>
                  </a:lnTo>
                  <a:lnTo>
                    <a:pt x="516750" y="76530"/>
                  </a:lnTo>
                  <a:lnTo>
                    <a:pt x="481939" y="50266"/>
                  </a:lnTo>
                  <a:lnTo>
                    <a:pt x="443585" y="29006"/>
                  </a:lnTo>
                  <a:lnTo>
                    <a:pt x="402158" y="13208"/>
                  </a:lnTo>
                  <a:lnTo>
                    <a:pt x="358152" y="3378"/>
                  </a:lnTo>
                  <a:lnTo>
                    <a:pt x="312039" y="0"/>
                  </a:lnTo>
                  <a:lnTo>
                    <a:pt x="265925" y="3378"/>
                  </a:lnTo>
                  <a:lnTo>
                    <a:pt x="221919" y="13208"/>
                  </a:lnTo>
                  <a:lnTo>
                    <a:pt x="180492" y="29006"/>
                  </a:lnTo>
                  <a:lnTo>
                    <a:pt x="142125" y="50266"/>
                  </a:lnTo>
                  <a:lnTo>
                    <a:pt x="107315" y="76530"/>
                  </a:lnTo>
                  <a:lnTo>
                    <a:pt x="76542" y="107315"/>
                  </a:lnTo>
                  <a:lnTo>
                    <a:pt x="50279" y="142125"/>
                  </a:lnTo>
                  <a:lnTo>
                    <a:pt x="29006" y="180492"/>
                  </a:lnTo>
                  <a:lnTo>
                    <a:pt x="13208" y="221919"/>
                  </a:lnTo>
                  <a:lnTo>
                    <a:pt x="3390" y="265925"/>
                  </a:lnTo>
                  <a:lnTo>
                    <a:pt x="0" y="312039"/>
                  </a:lnTo>
                  <a:lnTo>
                    <a:pt x="3390" y="358140"/>
                  </a:lnTo>
                  <a:lnTo>
                    <a:pt x="13208" y="402158"/>
                  </a:lnTo>
                  <a:lnTo>
                    <a:pt x="29006" y="443572"/>
                  </a:lnTo>
                  <a:lnTo>
                    <a:pt x="50279" y="481939"/>
                  </a:lnTo>
                  <a:lnTo>
                    <a:pt x="76542" y="516750"/>
                  </a:lnTo>
                  <a:lnTo>
                    <a:pt x="107315" y="547535"/>
                  </a:lnTo>
                  <a:lnTo>
                    <a:pt x="127139" y="562495"/>
                  </a:lnTo>
                  <a:lnTo>
                    <a:pt x="127139" y="3187700"/>
                  </a:lnTo>
                  <a:lnTo>
                    <a:pt x="494258" y="3187700"/>
                  </a:lnTo>
                  <a:lnTo>
                    <a:pt x="494258" y="564515"/>
                  </a:lnTo>
                  <a:lnTo>
                    <a:pt x="516750" y="547535"/>
                  </a:lnTo>
                  <a:lnTo>
                    <a:pt x="547535" y="516750"/>
                  </a:lnTo>
                  <a:lnTo>
                    <a:pt x="573798" y="481939"/>
                  </a:lnTo>
                  <a:lnTo>
                    <a:pt x="595071" y="443572"/>
                  </a:lnTo>
                  <a:lnTo>
                    <a:pt x="610857" y="402158"/>
                  </a:lnTo>
                  <a:lnTo>
                    <a:pt x="620687" y="358140"/>
                  </a:lnTo>
                  <a:lnTo>
                    <a:pt x="624065" y="312039"/>
                  </a:lnTo>
                  <a:close/>
                </a:path>
              </a:pathLst>
            </a:custGeom>
            <a:solidFill>
              <a:srgbClr val="E3112B"/>
            </a:solidFill>
          </p:spPr>
          <p:txBody>
            <a:bodyPr wrap="square" lIns="0" tIns="0" rIns="0" bIns="0" rtlCol="0"/>
            <a:lstStyle/>
            <a:p>
              <a:endParaRPr/>
            </a:p>
          </p:txBody>
        </p:sp>
        <p:sp>
          <p:nvSpPr>
            <p:cNvPr id="32" name="object 32"/>
            <p:cNvSpPr/>
            <p:nvPr/>
          </p:nvSpPr>
          <p:spPr>
            <a:xfrm>
              <a:off x="8856561" y="5971450"/>
              <a:ext cx="35560" cy="184150"/>
            </a:xfrm>
            <a:custGeom>
              <a:avLst/>
              <a:gdLst/>
              <a:ahLst/>
              <a:cxnLst/>
              <a:rect l="l" t="t" r="r" b="b"/>
              <a:pathLst>
                <a:path w="35559" h="184150">
                  <a:moveTo>
                    <a:pt x="35128" y="68580"/>
                  </a:moveTo>
                  <a:lnTo>
                    <a:pt x="18186" y="68580"/>
                  </a:lnTo>
                  <a:lnTo>
                    <a:pt x="18186" y="0"/>
                  </a:lnTo>
                  <a:lnTo>
                    <a:pt x="0" y="0"/>
                  </a:lnTo>
                  <a:lnTo>
                    <a:pt x="0" y="68580"/>
                  </a:lnTo>
                  <a:lnTo>
                    <a:pt x="0" y="93980"/>
                  </a:lnTo>
                  <a:lnTo>
                    <a:pt x="0" y="158737"/>
                  </a:lnTo>
                  <a:lnTo>
                    <a:pt x="0" y="184137"/>
                  </a:lnTo>
                  <a:lnTo>
                    <a:pt x="35128" y="184137"/>
                  </a:lnTo>
                  <a:lnTo>
                    <a:pt x="35128" y="158737"/>
                  </a:lnTo>
                  <a:lnTo>
                    <a:pt x="18186" y="158737"/>
                  </a:lnTo>
                  <a:lnTo>
                    <a:pt x="18186" y="93980"/>
                  </a:lnTo>
                  <a:lnTo>
                    <a:pt x="35128" y="93980"/>
                  </a:lnTo>
                  <a:lnTo>
                    <a:pt x="35128" y="68580"/>
                  </a:lnTo>
                  <a:close/>
                </a:path>
              </a:pathLst>
            </a:custGeom>
            <a:solidFill>
              <a:srgbClr val="FFFFFF"/>
            </a:solidFill>
          </p:spPr>
          <p:txBody>
            <a:bodyPr wrap="square" lIns="0" tIns="0" rIns="0" bIns="0" rtlCol="0"/>
            <a:lstStyle/>
            <a:p>
              <a:endParaRPr/>
            </a:p>
          </p:txBody>
        </p:sp>
      </p:grpSp>
      <p:sp>
        <p:nvSpPr>
          <p:cNvPr id="33" name="object 33"/>
          <p:cNvSpPr/>
          <p:nvPr/>
        </p:nvSpPr>
        <p:spPr>
          <a:xfrm>
            <a:off x="8856565" y="6155580"/>
            <a:ext cx="18415" cy="64769"/>
          </a:xfrm>
          <a:custGeom>
            <a:avLst/>
            <a:gdLst/>
            <a:ahLst/>
            <a:cxnLst/>
            <a:rect l="l" t="t" r="r" b="b"/>
            <a:pathLst>
              <a:path w="18415" h="64770">
                <a:moveTo>
                  <a:pt x="0" y="0"/>
                </a:moveTo>
                <a:lnTo>
                  <a:pt x="18190" y="0"/>
                </a:lnTo>
                <a:lnTo>
                  <a:pt x="18190" y="64764"/>
                </a:lnTo>
                <a:lnTo>
                  <a:pt x="0" y="64764"/>
                </a:lnTo>
                <a:lnTo>
                  <a:pt x="0" y="0"/>
                </a:lnTo>
                <a:close/>
              </a:path>
            </a:pathLst>
          </a:custGeom>
          <a:solidFill>
            <a:srgbClr val="FFFFFF"/>
          </a:solidFill>
        </p:spPr>
        <p:txBody>
          <a:bodyPr wrap="square" lIns="0" tIns="0" rIns="0" bIns="0" rtlCol="0"/>
          <a:lstStyle/>
          <a:p>
            <a:endParaRPr/>
          </a:p>
        </p:txBody>
      </p:sp>
      <p:sp>
        <p:nvSpPr>
          <p:cNvPr id="34" name="object 34"/>
          <p:cNvSpPr/>
          <p:nvPr/>
        </p:nvSpPr>
        <p:spPr>
          <a:xfrm>
            <a:off x="8856560" y="6220345"/>
            <a:ext cx="93980" cy="74930"/>
          </a:xfrm>
          <a:custGeom>
            <a:avLst/>
            <a:gdLst/>
            <a:ahLst/>
            <a:cxnLst/>
            <a:rect l="l" t="t" r="r" b="b"/>
            <a:pathLst>
              <a:path w="93979" h="74929">
                <a:moveTo>
                  <a:pt x="35128" y="0"/>
                </a:moveTo>
                <a:lnTo>
                  <a:pt x="0" y="0"/>
                </a:lnTo>
                <a:lnTo>
                  <a:pt x="0" y="25400"/>
                </a:lnTo>
                <a:lnTo>
                  <a:pt x="0" y="58420"/>
                </a:lnTo>
                <a:lnTo>
                  <a:pt x="0" y="74930"/>
                </a:lnTo>
                <a:lnTo>
                  <a:pt x="18186" y="74930"/>
                </a:lnTo>
                <a:lnTo>
                  <a:pt x="18186" y="58420"/>
                </a:lnTo>
                <a:lnTo>
                  <a:pt x="18186" y="25400"/>
                </a:lnTo>
                <a:lnTo>
                  <a:pt x="35128" y="25400"/>
                </a:lnTo>
                <a:lnTo>
                  <a:pt x="35128" y="0"/>
                </a:lnTo>
                <a:close/>
              </a:path>
              <a:path w="93979" h="74929">
                <a:moveTo>
                  <a:pt x="93878" y="58420"/>
                </a:moveTo>
                <a:lnTo>
                  <a:pt x="68364" y="58420"/>
                </a:lnTo>
                <a:lnTo>
                  <a:pt x="68364" y="74930"/>
                </a:lnTo>
                <a:lnTo>
                  <a:pt x="93878" y="74930"/>
                </a:lnTo>
                <a:lnTo>
                  <a:pt x="93878" y="58420"/>
                </a:lnTo>
                <a:close/>
              </a:path>
            </a:pathLst>
          </a:custGeom>
          <a:solidFill>
            <a:srgbClr val="FFFFFF"/>
          </a:solidFill>
        </p:spPr>
        <p:txBody>
          <a:bodyPr wrap="square" lIns="0" tIns="0" rIns="0" bIns="0" rtlCol="0"/>
          <a:lstStyle/>
          <a:p>
            <a:endParaRPr/>
          </a:p>
        </p:txBody>
      </p:sp>
      <p:sp>
        <p:nvSpPr>
          <p:cNvPr id="35" name="object 35"/>
          <p:cNvSpPr/>
          <p:nvPr/>
        </p:nvSpPr>
        <p:spPr>
          <a:xfrm>
            <a:off x="9014843" y="6278759"/>
            <a:ext cx="26034" cy="16510"/>
          </a:xfrm>
          <a:custGeom>
            <a:avLst/>
            <a:gdLst/>
            <a:ahLst/>
            <a:cxnLst/>
            <a:rect l="l" t="t" r="r" b="b"/>
            <a:pathLst>
              <a:path w="26034" h="16510">
                <a:moveTo>
                  <a:pt x="0" y="0"/>
                </a:moveTo>
                <a:lnTo>
                  <a:pt x="25717" y="0"/>
                </a:lnTo>
                <a:lnTo>
                  <a:pt x="25717" y="16508"/>
                </a:lnTo>
                <a:lnTo>
                  <a:pt x="0" y="16508"/>
                </a:lnTo>
                <a:lnTo>
                  <a:pt x="0" y="0"/>
                </a:lnTo>
                <a:close/>
              </a:path>
            </a:pathLst>
          </a:custGeom>
          <a:solidFill>
            <a:srgbClr val="FFFFFF"/>
          </a:solidFill>
        </p:spPr>
        <p:txBody>
          <a:bodyPr wrap="square" lIns="0" tIns="0" rIns="0" bIns="0" rtlCol="0"/>
          <a:lstStyle/>
          <a:p>
            <a:endParaRPr/>
          </a:p>
        </p:txBody>
      </p:sp>
      <p:grpSp>
        <p:nvGrpSpPr>
          <p:cNvPr id="36" name="object 36"/>
          <p:cNvGrpSpPr/>
          <p:nvPr/>
        </p:nvGrpSpPr>
        <p:grpSpPr>
          <a:xfrm>
            <a:off x="8856565" y="6080136"/>
            <a:ext cx="342900" cy="234315"/>
            <a:chOff x="8856565" y="6080136"/>
            <a:chExt cx="342900" cy="234315"/>
          </a:xfrm>
        </p:grpSpPr>
        <p:sp>
          <p:nvSpPr>
            <p:cNvPr id="37" name="object 37"/>
            <p:cNvSpPr/>
            <p:nvPr/>
          </p:nvSpPr>
          <p:spPr>
            <a:xfrm>
              <a:off x="8856561" y="6080137"/>
              <a:ext cx="342265" cy="234315"/>
            </a:xfrm>
            <a:custGeom>
              <a:avLst/>
              <a:gdLst/>
              <a:ahLst/>
              <a:cxnLst/>
              <a:rect l="l" t="t" r="r" b="b"/>
              <a:pathLst>
                <a:path w="342265" h="234314">
                  <a:moveTo>
                    <a:pt x="335165" y="11709"/>
                  </a:moveTo>
                  <a:lnTo>
                    <a:pt x="334327" y="7327"/>
                  </a:lnTo>
                  <a:lnTo>
                    <a:pt x="333692" y="2933"/>
                  </a:lnTo>
                  <a:lnTo>
                    <a:pt x="329514" y="0"/>
                  </a:lnTo>
                  <a:lnTo>
                    <a:pt x="325120" y="635"/>
                  </a:lnTo>
                  <a:lnTo>
                    <a:pt x="294132" y="19608"/>
                  </a:lnTo>
                  <a:lnTo>
                    <a:pt x="275653" y="55041"/>
                  </a:lnTo>
                  <a:lnTo>
                    <a:pt x="261531" y="94945"/>
                  </a:lnTo>
                  <a:lnTo>
                    <a:pt x="243586" y="127317"/>
                  </a:lnTo>
                  <a:lnTo>
                    <a:pt x="236118" y="133007"/>
                  </a:lnTo>
                  <a:lnTo>
                    <a:pt x="227431" y="134429"/>
                  </a:lnTo>
                  <a:lnTo>
                    <a:pt x="216941" y="130670"/>
                  </a:lnTo>
                  <a:lnTo>
                    <a:pt x="204063" y="120840"/>
                  </a:lnTo>
                  <a:lnTo>
                    <a:pt x="180352" y="103822"/>
                  </a:lnTo>
                  <a:lnTo>
                    <a:pt x="157721" y="98234"/>
                  </a:lnTo>
                  <a:lnTo>
                    <a:pt x="136474" y="105460"/>
                  </a:lnTo>
                  <a:lnTo>
                    <a:pt x="116878" y="126898"/>
                  </a:lnTo>
                  <a:lnTo>
                    <a:pt x="112534" y="133108"/>
                  </a:lnTo>
                  <a:lnTo>
                    <a:pt x="106921" y="138950"/>
                  </a:lnTo>
                  <a:lnTo>
                    <a:pt x="100317" y="142151"/>
                  </a:lnTo>
                  <a:lnTo>
                    <a:pt x="93040" y="140487"/>
                  </a:lnTo>
                  <a:lnTo>
                    <a:pt x="86194" y="134086"/>
                  </a:lnTo>
                  <a:lnTo>
                    <a:pt x="80467" y="126161"/>
                  </a:lnTo>
                  <a:lnTo>
                    <a:pt x="74549" y="118554"/>
                  </a:lnTo>
                  <a:lnTo>
                    <a:pt x="67119" y="113106"/>
                  </a:lnTo>
                  <a:lnTo>
                    <a:pt x="60629" y="110388"/>
                  </a:lnTo>
                  <a:lnTo>
                    <a:pt x="50800" y="111010"/>
                  </a:lnTo>
                  <a:lnTo>
                    <a:pt x="51219" y="120205"/>
                  </a:lnTo>
                  <a:lnTo>
                    <a:pt x="51638" y="128993"/>
                  </a:lnTo>
                  <a:lnTo>
                    <a:pt x="59169" y="125018"/>
                  </a:lnTo>
                  <a:lnTo>
                    <a:pt x="63766" y="131076"/>
                  </a:lnTo>
                  <a:lnTo>
                    <a:pt x="68592" y="137312"/>
                  </a:lnTo>
                  <a:lnTo>
                    <a:pt x="72999" y="143357"/>
                  </a:lnTo>
                  <a:lnTo>
                    <a:pt x="77914" y="149009"/>
                  </a:lnTo>
                  <a:lnTo>
                    <a:pt x="84264" y="154076"/>
                  </a:lnTo>
                  <a:lnTo>
                    <a:pt x="98247" y="158635"/>
                  </a:lnTo>
                  <a:lnTo>
                    <a:pt x="110807" y="155460"/>
                  </a:lnTo>
                  <a:lnTo>
                    <a:pt x="121666" y="146989"/>
                  </a:lnTo>
                  <a:lnTo>
                    <a:pt x="130467" y="135674"/>
                  </a:lnTo>
                  <a:lnTo>
                    <a:pt x="144919" y="119405"/>
                  </a:lnTo>
                  <a:lnTo>
                    <a:pt x="159791" y="114465"/>
                  </a:lnTo>
                  <a:lnTo>
                    <a:pt x="175691" y="119392"/>
                  </a:lnTo>
                  <a:lnTo>
                    <a:pt x="193192" y="132753"/>
                  </a:lnTo>
                  <a:lnTo>
                    <a:pt x="212648" y="146862"/>
                  </a:lnTo>
                  <a:lnTo>
                    <a:pt x="229311" y="151536"/>
                  </a:lnTo>
                  <a:lnTo>
                    <a:pt x="243713" y="148183"/>
                  </a:lnTo>
                  <a:lnTo>
                    <a:pt x="256336" y="138188"/>
                  </a:lnTo>
                  <a:lnTo>
                    <a:pt x="273507" y="107505"/>
                  </a:lnTo>
                  <a:lnTo>
                    <a:pt x="287362" y="68656"/>
                  </a:lnTo>
                  <a:lnTo>
                    <a:pt x="303530" y="34150"/>
                  </a:lnTo>
                  <a:lnTo>
                    <a:pt x="327634" y="16522"/>
                  </a:lnTo>
                  <a:lnTo>
                    <a:pt x="332028" y="15887"/>
                  </a:lnTo>
                  <a:lnTo>
                    <a:pt x="335165" y="11709"/>
                  </a:lnTo>
                  <a:close/>
                </a:path>
                <a:path w="342265" h="234314">
                  <a:moveTo>
                    <a:pt x="342265" y="215138"/>
                  </a:moveTo>
                  <a:lnTo>
                    <a:pt x="273900" y="215138"/>
                  </a:lnTo>
                  <a:lnTo>
                    <a:pt x="273900" y="198628"/>
                  </a:lnTo>
                  <a:lnTo>
                    <a:pt x="248386" y="198628"/>
                  </a:lnTo>
                  <a:lnTo>
                    <a:pt x="248386" y="215138"/>
                  </a:lnTo>
                  <a:lnTo>
                    <a:pt x="0" y="215138"/>
                  </a:lnTo>
                  <a:lnTo>
                    <a:pt x="0" y="234188"/>
                  </a:lnTo>
                  <a:lnTo>
                    <a:pt x="342265" y="234188"/>
                  </a:lnTo>
                  <a:lnTo>
                    <a:pt x="342265" y="215138"/>
                  </a:lnTo>
                  <a:close/>
                </a:path>
              </a:pathLst>
            </a:custGeom>
            <a:solidFill>
              <a:srgbClr val="FFFFFF"/>
            </a:solidFill>
          </p:spPr>
          <p:txBody>
            <a:bodyPr wrap="square" lIns="0" tIns="0" rIns="0" bIns="0" rtlCol="0"/>
            <a:lstStyle/>
            <a:p>
              <a:endParaRPr/>
            </a:p>
          </p:txBody>
        </p:sp>
        <p:sp>
          <p:nvSpPr>
            <p:cNvPr id="38" name="object 38"/>
            <p:cNvSpPr/>
            <p:nvPr/>
          </p:nvSpPr>
          <p:spPr>
            <a:xfrm>
              <a:off x="8910718" y="6131144"/>
              <a:ext cx="6985" cy="5715"/>
            </a:xfrm>
            <a:custGeom>
              <a:avLst/>
              <a:gdLst/>
              <a:ahLst/>
              <a:cxnLst/>
              <a:rect l="l" t="t" r="r" b="b"/>
              <a:pathLst>
                <a:path w="6984" h="5714">
                  <a:moveTo>
                    <a:pt x="0" y="0"/>
                  </a:moveTo>
                  <a:lnTo>
                    <a:pt x="2509" y="2299"/>
                  </a:lnTo>
                  <a:lnTo>
                    <a:pt x="6899" y="5644"/>
                  </a:lnTo>
                </a:path>
              </a:pathLst>
            </a:custGeom>
            <a:ln w="5926">
              <a:solidFill>
                <a:srgbClr val="FFFFFF"/>
              </a:solidFill>
            </a:ln>
          </p:spPr>
          <p:txBody>
            <a:bodyPr wrap="square" lIns="0" tIns="0" rIns="0" bIns="0" rtlCol="0"/>
            <a:lstStyle/>
            <a:p>
              <a:endParaRPr/>
            </a:p>
          </p:txBody>
        </p:sp>
        <p:sp>
          <p:nvSpPr>
            <p:cNvPr id="39" name="object 39"/>
            <p:cNvSpPr/>
            <p:nvPr/>
          </p:nvSpPr>
          <p:spPr>
            <a:xfrm>
              <a:off x="8928494" y="6102197"/>
              <a:ext cx="245110" cy="61594"/>
            </a:xfrm>
            <a:custGeom>
              <a:avLst/>
              <a:gdLst/>
              <a:ahLst/>
              <a:cxnLst/>
              <a:rect l="l" t="t" r="r" b="b"/>
              <a:pathLst>
                <a:path w="245109" h="61595">
                  <a:moveTo>
                    <a:pt x="22618" y="50546"/>
                  </a:moveTo>
                  <a:lnTo>
                    <a:pt x="22047" y="49263"/>
                  </a:lnTo>
                  <a:lnTo>
                    <a:pt x="15100" y="46570"/>
                  </a:lnTo>
                  <a:lnTo>
                    <a:pt x="10033" y="44196"/>
                  </a:lnTo>
                  <a:lnTo>
                    <a:pt x="3238" y="40462"/>
                  </a:lnTo>
                  <a:lnTo>
                    <a:pt x="1905" y="40843"/>
                  </a:lnTo>
                  <a:lnTo>
                    <a:pt x="0" y="44310"/>
                  </a:lnTo>
                  <a:lnTo>
                    <a:pt x="381" y="45643"/>
                  </a:lnTo>
                  <a:lnTo>
                    <a:pt x="7404" y="49504"/>
                  </a:lnTo>
                  <a:lnTo>
                    <a:pt x="12712" y="52006"/>
                  </a:lnTo>
                  <a:lnTo>
                    <a:pt x="19913" y="54787"/>
                  </a:lnTo>
                  <a:lnTo>
                    <a:pt x="21183" y="54229"/>
                  </a:lnTo>
                  <a:lnTo>
                    <a:pt x="22618" y="50546"/>
                  </a:lnTo>
                  <a:close/>
                </a:path>
                <a:path w="245109" h="61595">
                  <a:moveTo>
                    <a:pt x="55981" y="56515"/>
                  </a:moveTo>
                  <a:lnTo>
                    <a:pt x="55016" y="55499"/>
                  </a:lnTo>
                  <a:lnTo>
                    <a:pt x="47548" y="55295"/>
                  </a:lnTo>
                  <a:lnTo>
                    <a:pt x="41986" y="54622"/>
                  </a:lnTo>
                  <a:lnTo>
                    <a:pt x="34442" y="53009"/>
                  </a:lnTo>
                  <a:lnTo>
                    <a:pt x="33261" y="53759"/>
                  </a:lnTo>
                  <a:lnTo>
                    <a:pt x="32435" y="57632"/>
                  </a:lnTo>
                  <a:lnTo>
                    <a:pt x="33197" y="58801"/>
                  </a:lnTo>
                  <a:lnTo>
                    <a:pt x="40982" y="60464"/>
                  </a:lnTo>
                  <a:lnTo>
                    <a:pt x="47015" y="61214"/>
                  </a:lnTo>
                  <a:lnTo>
                    <a:pt x="54851" y="61429"/>
                  </a:lnTo>
                  <a:lnTo>
                    <a:pt x="55867" y="60464"/>
                  </a:lnTo>
                  <a:lnTo>
                    <a:pt x="55981" y="56515"/>
                  </a:lnTo>
                  <a:close/>
                </a:path>
                <a:path w="245109" h="61595">
                  <a:moveTo>
                    <a:pt x="90538" y="53454"/>
                  </a:moveTo>
                  <a:lnTo>
                    <a:pt x="89141" y="49758"/>
                  </a:lnTo>
                  <a:lnTo>
                    <a:pt x="87871" y="49187"/>
                  </a:lnTo>
                  <a:lnTo>
                    <a:pt x="80759" y="51854"/>
                  </a:lnTo>
                  <a:lnTo>
                    <a:pt x="75412" y="53314"/>
                  </a:lnTo>
                  <a:lnTo>
                    <a:pt x="67995" y="54597"/>
                  </a:lnTo>
                  <a:lnTo>
                    <a:pt x="67195" y="55727"/>
                  </a:lnTo>
                  <a:lnTo>
                    <a:pt x="67868" y="59626"/>
                  </a:lnTo>
                  <a:lnTo>
                    <a:pt x="69011" y="60426"/>
                  </a:lnTo>
                  <a:lnTo>
                    <a:pt x="76784" y="59093"/>
                  </a:lnTo>
                  <a:lnTo>
                    <a:pt x="82499" y="57531"/>
                  </a:lnTo>
                  <a:lnTo>
                    <a:pt x="89954" y="54724"/>
                  </a:lnTo>
                  <a:lnTo>
                    <a:pt x="90538" y="53454"/>
                  </a:lnTo>
                  <a:close/>
                </a:path>
                <a:path w="245109" h="61595">
                  <a:moveTo>
                    <a:pt x="120345" y="34912"/>
                  </a:moveTo>
                  <a:lnTo>
                    <a:pt x="117856" y="31851"/>
                  </a:lnTo>
                  <a:lnTo>
                    <a:pt x="116459" y="31711"/>
                  </a:lnTo>
                  <a:lnTo>
                    <a:pt x="110439" y="36614"/>
                  </a:lnTo>
                  <a:lnTo>
                    <a:pt x="105829" y="39839"/>
                  </a:lnTo>
                  <a:lnTo>
                    <a:pt x="99428" y="43624"/>
                  </a:lnTo>
                  <a:lnTo>
                    <a:pt x="99072" y="44970"/>
                  </a:lnTo>
                  <a:lnTo>
                    <a:pt x="101092" y="48374"/>
                  </a:lnTo>
                  <a:lnTo>
                    <a:pt x="102438" y="48729"/>
                  </a:lnTo>
                  <a:lnTo>
                    <a:pt x="109105" y="44792"/>
                  </a:lnTo>
                  <a:lnTo>
                    <a:pt x="113944" y="41402"/>
                  </a:lnTo>
                  <a:lnTo>
                    <a:pt x="120205" y="36296"/>
                  </a:lnTo>
                  <a:lnTo>
                    <a:pt x="120345" y="34912"/>
                  </a:lnTo>
                  <a:close/>
                </a:path>
                <a:path w="245109" h="61595">
                  <a:moveTo>
                    <a:pt x="147878" y="13919"/>
                  </a:moveTo>
                  <a:lnTo>
                    <a:pt x="145910" y="10490"/>
                  </a:lnTo>
                  <a:lnTo>
                    <a:pt x="144564" y="10134"/>
                  </a:lnTo>
                  <a:lnTo>
                    <a:pt x="137985" y="13919"/>
                  </a:lnTo>
                  <a:lnTo>
                    <a:pt x="133057" y="17335"/>
                  </a:lnTo>
                  <a:lnTo>
                    <a:pt x="126746" y="22504"/>
                  </a:lnTo>
                  <a:lnTo>
                    <a:pt x="126606" y="23901"/>
                  </a:lnTo>
                  <a:lnTo>
                    <a:pt x="129108" y="26949"/>
                  </a:lnTo>
                  <a:lnTo>
                    <a:pt x="130505" y="27089"/>
                  </a:lnTo>
                  <a:lnTo>
                    <a:pt x="136563" y="22123"/>
                  </a:lnTo>
                  <a:lnTo>
                    <a:pt x="141160" y="18935"/>
                  </a:lnTo>
                  <a:lnTo>
                    <a:pt x="147523" y="15265"/>
                  </a:lnTo>
                  <a:lnTo>
                    <a:pt x="147878" y="13919"/>
                  </a:lnTo>
                  <a:close/>
                </a:path>
                <a:path w="245109" h="61595">
                  <a:moveTo>
                    <a:pt x="180340" y="4851"/>
                  </a:moveTo>
                  <a:lnTo>
                    <a:pt x="180022" y="914"/>
                  </a:lnTo>
                  <a:lnTo>
                    <a:pt x="178968" y="0"/>
                  </a:lnTo>
                  <a:lnTo>
                    <a:pt x="171030" y="635"/>
                  </a:lnTo>
                  <a:lnTo>
                    <a:pt x="165138" y="1816"/>
                  </a:lnTo>
                  <a:lnTo>
                    <a:pt x="157429" y="4330"/>
                  </a:lnTo>
                  <a:lnTo>
                    <a:pt x="156806" y="5575"/>
                  </a:lnTo>
                  <a:lnTo>
                    <a:pt x="158026" y="9334"/>
                  </a:lnTo>
                  <a:lnTo>
                    <a:pt x="159270" y="9969"/>
                  </a:lnTo>
                  <a:lnTo>
                    <a:pt x="166522" y="7594"/>
                  </a:lnTo>
                  <a:lnTo>
                    <a:pt x="171958" y="6502"/>
                  </a:lnTo>
                  <a:lnTo>
                    <a:pt x="179425" y="5918"/>
                  </a:lnTo>
                  <a:lnTo>
                    <a:pt x="180340" y="4851"/>
                  </a:lnTo>
                  <a:close/>
                </a:path>
                <a:path w="245109" h="61595">
                  <a:moveTo>
                    <a:pt x="214706" y="7505"/>
                  </a:moveTo>
                  <a:lnTo>
                    <a:pt x="214122" y="6235"/>
                  </a:lnTo>
                  <a:lnTo>
                    <a:pt x="206502" y="3340"/>
                  </a:lnTo>
                  <a:lnTo>
                    <a:pt x="200723" y="1790"/>
                  </a:lnTo>
                  <a:lnTo>
                    <a:pt x="193014" y="571"/>
                  </a:lnTo>
                  <a:lnTo>
                    <a:pt x="191884" y="1397"/>
                  </a:lnTo>
                  <a:lnTo>
                    <a:pt x="191274" y="5295"/>
                  </a:lnTo>
                  <a:lnTo>
                    <a:pt x="192087" y="6426"/>
                  </a:lnTo>
                  <a:lnTo>
                    <a:pt x="199402" y="7581"/>
                  </a:lnTo>
                  <a:lnTo>
                    <a:pt x="204774" y="9029"/>
                  </a:lnTo>
                  <a:lnTo>
                    <a:pt x="212026" y="11772"/>
                  </a:lnTo>
                  <a:lnTo>
                    <a:pt x="213296" y="11201"/>
                  </a:lnTo>
                  <a:lnTo>
                    <a:pt x="214706" y="7505"/>
                  </a:lnTo>
                  <a:close/>
                </a:path>
                <a:path w="245109" h="61595">
                  <a:moveTo>
                    <a:pt x="244856" y="26073"/>
                  </a:moveTo>
                  <a:lnTo>
                    <a:pt x="244703" y="24688"/>
                  </a:lnTo>
                  <a:lnTo>
                    <a:pt x="238315" y="19634"/>
                  </a:lnTo>
                  <a:lnTo>
                    <a:pt x="233387" y="16230"/>
                  </a:lnTo>
                  <a:lnTo>
                    <a:pt x="226644" y="12280"/>
                  </a:lnTo>
                  <a:lnTo>
                    <a:pt x="225298" y="12636"/>
                  </a:lnTo>
                  <a:lnTo>
                    <a:pt x="223291" y="16040"/>
                  </a:lnTo>
                  <a:lnTo>
                    <a:pt x="223647" y="17386"/>
                  </a:lnTo>
                  <a:lnTo>
                    <a:pt x="230149" y="21209"/>
                  </a:lnTo>
                  <a:lnTo>
                    <a:pt x="234848" y="24447"/>
                  </a:lnTo>
                  <a:lnTo>
                    <a:pt x="241020" y="29337"/>
                  </a:lnTo>
                  <a:lnTo>
                    <a:pt x="242404" y="29171"/>
                  </a:lnTo>
                  <a:lnTo>
                    <a:pt x="244856" y="26073"/>
                  </a:lnTo>
                  <a:close/>
                </a:path>
              </a:pathLst>
            </a:custGeom>
            <a:solidFill>
              <a:srgbClr val="FFFFFF"/>
            </a:solidFill>
          </p:spPr>
          <p:txBody>
            <a:bodyPr wrap="square" lIns="0" tIns="0" rIns="0" bIns="0" rtlCol="0"/>
            <a:lstStyle/>
            <a:p>
              <a:endParaRPr/>
            </a:p>
          </p:txBody>
        </p:sp>
        <p:sp>
          <p:nvSpPr>
            <p:cNvPr id="40" name="object 40"/>
            <p:cNvSpPr/>
            <p:nvPr/>
          </p:nvSpPr>
          <p:spPr>
            <a:xfrm>
              <a:off x="9182320" y="6139297"/>
              <a:ext cx="6350" cy="6985"/>
            </a:xfrm>
            <a:custGeom>
              <a:avLst/>
              <a:gdLst/>
              <a:ahLst/>
              <a:cxnLst/>
              <a:rect l="l" t="t" r="r" b="b"/>
              <a:pathLst>
                <a:path w="6350" h="6985">
                  <a:moveTo>
                    <a:pt x="0" y="0"/>
                  </a:moveTo>
                  <a:lnTo>
                    <a:pt x="3972" y="3971"/>
                  </a:lnTo>
                  <a:lnTo>
                    <a:pt x="6063" y="6480"/>
                  </a:lnTo>
                </a:path>
              </a:pathLst>
            </a:custGeom>
            <a:ln w="5927">
              <a:solidFill>
                <a:srgbClr val="FFFFFF"/>
              </a:solidFill>
            </a:ln>
          </p:spPr>
          <p:txBody>
            <a:bodyPr wrap="square" lIns="0" tIns="0" rIns="0" bIns="0" rtlCol="0"/>
            <a:lstStyle/>
            <a:p>
              <a:endParaRPr/>
            </a:p>
          </p:txBody>
        </p:sp>
      </p:grpSp>
      <p:sp>
        <p:nvSpPr>
          <p:cNvPr id="41" name="object 41"/>
          <p:cNvSpPr/>
          <p:nvPr/>
        </p:nvSpPr>
        <p:spPr>
          <a:xfrm>
            <a:off x="10157201" y="2900668"/>
            <a:ext cx="648970" cy="1677035"/>
          </a:xfrm>
          <a:custGeom>
            <a:avLst/>
            <a:gdLst/>
            <a:ahLst/>
            <a:cxnLst/>
            <a:rect l="l" t="t" r="r" b="b"/>
            <a:pathLst>
              <a:path w="648970" h="1677035">
                <a:moveTo>
                  <a:pt x="0" y="0"/>
                </a:moveTo>
                <a:lnTo>
                  <a:pt x="648795" y="0"/>
                </a:lnTo>
                <a:lnTo>
                  <a:pt x="648795" y="1676426"/>
                </a:lnTo>
                <a:lnTo>
                  <a:pt x="0" y="1676426"/>
                </a:lnTo>
                <a:lnTo>
                  <a:pt x="0" y="0"/>
                </a:lnTo>
                <a:close/>
              </a:path>
            </a:pathLst>
          </a:custGeom>
          <a:solidFill>
            <a:srgbClr val="21408B"/>
          </a:solidFill>
        </p:spPr>
        <p:txBody>
          <a:bodyPr wrap="square" lIns="0" tIns="0" rIns="0" bIns="0" rtlCol="0"/>
          <a:lstStyle/>
          <a:p>
            <a:endParaRPr/>
          </a:p>
        </p:txBody>
      </p:sp>
      <p:sp>
        <p:nvSpPr>
          <p:cNvPr id="42" name="object 42"/>
          <p:cNvSpPr/>
          <p:nvPr/>
        </p:nvSpPr>
        <p:spPr>
          <a:xfrm>
            <a:off x="9390395" y="3170983"/>
            <a:ext cx="652145" cy="1405890"/>
          </a:xfrm>
          <a:custGeom>
            <a:avLst/>
            <a:gdLst/>
            <a:ahLst/>
            <a:cxnLst/>
            <a:rect l="l" t="t" r="r" b="b"/>
            <a:pathLst>
              <a:path w="652145" h="1405889">
                <a:moveTo>
                  <a:pt x="651536" y="1405562"/>
                </a:moveTo>
                <a:lnTo>
                  <a:pt x="0" y="1405562"/>
                </a:lnTo>
                <a:lnTo>
                  <a:pt x="0" y="0"/>
                </a:lnTo>
                <a:lnTo>
                  <a:pt x="651536" y="0"/>
                </a:lnTo>
                <a:lnTo>
                  <a:pt x="651536" y="1405562"/>
                </a:lnTo>
                <a:close/>
              </a:path>
            </a:pathLst>
          </a:custGeom>
          <a:solidFill>
            <a:srgbClr val="0090AE"/>
          </a:solidFill>
        </p:spPr>
        <p:txBody>
          <a:bodyPr wrap="square" lIns="0" tIns="0" rIns="0" bIns="0" rtlCol="0"/>
          <a:lstStyle/>
          <a:p>
            <a:endParaRPr/>
          </a:p>
        </p:txBody>
      </p:sp>
      <p:sp>
        <p:nvSpPr>
          <p:cNvPr id="43" name="object 43"/>
          <p:cNvSpPr/>
          <p:nvPr/>
        </p:nvSpPr>
        <p:spPr>
          <a:xfrm>
            <a:off x="10171260" y="2346741"/>
            <a:ext cx="634365" cy="439420"/>
          </a:xfrm>
          <a:custGeom>
            <a:avLst/>
            <a:gdLst/>
            <a:ahLst/>
            <a:cxnLst/>
            <a:rect l="l" t="t" r="r" b="b"/>
            <a:pathLst>
              <a:path w="634365" h="439419">
                <a:moveTo>
                  <a:pt x="318397" y="439311"/>
                </a:moveTo>
                <a:lnTo>
                  <a:pt x="316339" y="439311"/>
                </a:lnTo>
                <a:lnTo>
                  <a:pt x="0" y="342402"/>
                </a:lnTo>
                <a:lnTo>
                  <a:pt x="0" y="0"/>
                </a:lnTo>
                <a:lnTo>
                  <a:pt x="633761" y="0"/>
                </a:lnTo>
                <a:lnTo>
                  <a:pt x="633761" y="342701"/>
                </a:lnTo>
                <a:lnTo>
                  <a:pt x="318397" y="439311"/>
                </a:lnTo>
                <a:close/>
              </a:path>
            </a:pathLst>
          </a:custGeom>
          <a:solidFill>
            <a:srgbClr val="F5A316"/>
          </a:solidFill>
        </p:spPr>
        <p:txBody>
          <a:bodyPr wrap="square" lIns="0" tIns="0" rIns="0" bIns="0" rtlCol="0"/>
          <a:lstStyle/>
          <a:p>
            <a:endParaRPr/>
          </a:p>
        </p:txBody>
      </p:sp>
      <p:sp>
        <p:nvSpPr>
          <p:cNvPr id="44" name="object 44"/>
          <p:cNvSpPr/>
          <p:nvPr/>
        </p:nvSpPr>
        <p:spPr>
          <a:xfrm>
            <a:off x="9460396" y="2588481"/>
            <a:ext cx="540385" cy="439420"/>
          </a:xfrm>
          <a:custGeom>
            <a:avLst/>
            <a:gdLst/>
            <a:ahLst/>
            <a:cxnLst/>
            <a:rect l="l" t="t" r="r" b="b"/>
            <a:pathLst>
              <a:path w="540384" h="439419">
                <a:moveTo>
                  <a:pt x="272291" y="439311"/>
                </a:moveTo>
                <a:lnTo>
                  <a:pt x="270535" y="439311"/>
                </a:lnTo>
                <a:lnTo>
                  <a:pt x="0" y="342401"/>
                </a:lnTo>
                <a:lnTo>
                  <a:pt x="0" y="0"/>
                </a:lnTo>
                <a:lnTo>
                  <a:pt x="540136" y="0"/>
                </a:lnTo>
                <a:lnTo>
                  <a:pt x="540136" y="343365"/>
                </a:lnTo>
                <a:lnTo>
                  <a:pt x="272291" y="439311"/>
                </a:lnTo>
                <a:close/>
              </a:path>
            </a:pathLst>
          </a:custGeom>
          <a:solidFill>
            <a:srgbClr val="F5A316"/>
          </a:solidFill>
        </p:spPr>
        <p:txBody>
          <a:bodyPr wrap="square" lIns="0" tIns="0" rIns="0" bIns="0" rtlCol="0"/>
          <a:lstStyle/>
          <a:p>
            <a:endParaRPr/>
          </a:p>
        </p:txBody>
      </p:sp>
      <p:grpSp>
        <p:nvGrpSpPr>
          <p:cNvPr id="45" name="object 45"/>
          <p:cNvGrpSpPr/>
          <p:nvPr/>
        </p:nvGrpSpPr>
        <p:grpSpPr>
          <a:xfrm>
            <a:off x="8700130" y="1914858"/>
            <a:ext cx="624205" cy="3187700"/>
            <a:chOff x="8700130" y="1914858"/>
            <a:chExt cx="624205" cy="3187700"/>
          </a:xfrm>
        </p:grpSpPr>
        <p:sp>
          <p:nvSpPr>
            <p:cNvPr id="46" name="object 46"/>
            <p:cNvSpPr/>
            <p:nvPr/>
          </p:nvSpPr>
          <p:spPr>
            <a:xfrm>
              <a:off x="8700122" y="1914867"/>
              <a:ext cx="624205" cy="3187700"/>
            </a:xfrm>
            <a:custGeom>
              <a:avLst/>
              <a:gdLst/>
              <a:ahLst/>
              <a:cxnLst/>
              <a:rect l="l" t="t" r="r" b="b"/>
              <a:pathLst>
                <a:path w="624204" h="3187700">
                  <a:moveTo>
                    <a:pt x="624065" y="312026"/>
                  </a:moveTo>
                  <a:lnTo>
                    <a:pt x="620687" y="265925"/>
                  </a:lnTo>
                  <a:lnTo>
                    <a:pt x="610857" y="221907"/>
                  </a:lnTo>
                  <a:lnTo>
                    <a:pt x="595071" y="180479"/>
                  </a:lnTo>
                  <a:lnTo>
                    <a:pt x="573798" y="142125"/>
                  </a:lnTo>
                  <a:lnTo>
                    <a:pt x="547535" y="107315"/>
                  </a:lnTo>
                  <a:lnTo>
                    <a:pt x="516750" y="76530"/>
                  </a:lnTo>
                  <a:lnTo>
                    <a:pt x="481939" y="50266"/>
                  </a:lnTo>
                  <a:lnTo>
                    <a:pt x="443585" y="28994"/>
                  </a:lnTo>
                  <a:lnTo>
                    <a:pt x="402158" y="13208"/>
                  </a:lnTo>
                  <a:lnTo>
                    <a:pt x="358152" y="3378"/>
                  </a:lnTo>
                  <a:lnTo>
                    <a:pt x="312039" y="0"/>
                  </a:lnTo>
                  <a:lnTo>
                    <a:pt x="265925" y="3378"/>
                  </a:lnTo>
                  <a:lnTo>
                    <a:pt x="221919" y="13208"/>
                  </a:lnTo>
                  <a:lnTo>
                    <a:pt x="180492" y="28994"/>
                  </a:lnTo>
                  <a:lnTo>
                    <a:pt x="142125" y="50266"/>
                  </a:lnTo>
                  <a:lnTo>
                    <a:pt x="107315" y="76530"/>
                  </a:lnTo>
                  <a:lnTo>
                    <a:pt x="76542" y="107315"/>
                  </a:lnTo>
                  <a:lnTo>
                    <a:pt x="50279" y="142125"/>
                  </a:lnTo>
                  <a:lnTo>
                    <a:pt x="29006" y="180479"/>
                  </a:lnTo>
                  <a:lnTo>
                    <a:pt x="13208" y="221907"/>
                  </a:lnTo>
                  <a:lnTo>
                    <a:pt x="3390" y="265925"/>
                  </a:lnTo>
                  <a:lnTo>
                    <a:pt x="0" y="312026"/>
                  </a:lnTo>
                  <a:lnTo>
                    <a:pt x="3390" y="358140"/>
                  </a:lnTo>
                  <a:lnTo>
                    <a:pt x="13208" y="402145"/>
                  </a:lnTo>
                  <a:lnTo>
                    <a:pt x="29006" y="443572"/>
                  </a:lnTo>
                  <a:lnTo>
                    <a:pt x="50279" y="481939"/>
                  </a:lnTo>
                  <a:lnTo>
                    <a:pt x="76542" y="516750"/>
                  </a:lnTo>
                  <a:lnTo>
                    <a:pt x="107315" y="547522"/>
                  </a:lnTo>
                  <a:lnTo>
                    <a:pt x="127139" y="562495"/>
                  </a:lnTo>
                  <a:lnTo>
                    <a:pt x="127139" y="3187687"/>
                  </a:lnTo>
                  <a:lnTo>
                    <a:pt x="494258" y="3187687"/>
                  </a:lnTo>
                  <a:lnTo>
                    <a:pt x="494258" y="564502"/>
                  </a:lnTo>
                  <a:lnTo>
                    <a:pt x="516750" y="547522"/>
                  </a:lnTo>
                  <a:lnTo>
                    <a:pt x="547535" y="516750"/>
                  </a:lnTo>
                  <a:lnTo>
                    <a:pt x="573798" y="481939"/>
                  </a:lnTo>
                  <a:lnTo>
                    <a:pt x="595071" y="443572"/>
                  </a:lnTo>
                  <a:lnTo>
                    <a:pt x="610857" y="402145"/>
                  </a:lnTo>
                  <a:lnTo>
                    <a:pt x="620687" y="358140"/>
                  </a:lnTo>
                  <a:lnTo>
                    <a:pt x="624065" y="312026"/>
                  </a:lnTo>
                  <a:close/>
                </a:path>
              </a:pathLst>
            </a:custGeom>
            <a:solidFill>
              <a:srgbClr val="E3112B"/>
            </a:solidFill>
          </p:spPr>
          <p:txBody>
            <a:bodyPr wrap="square" lIns="0" tIns="0" rIns="0" bIns="0" rtlCol="0"/>
            <a:lstStyle/>
            <a:p>
              <a:endParaRPr/>
            </a:p>
          </p:txBody>
        </p:sp>
        <p:sp>
          <p:nvSpPr>
            <p:cNvPr id="47" name="object 47"/>
            <p:cNvSpPr/>
            <p:nvPr/>
          </p:nvSpPr>
          <p:spPr>
            <a:xfrm>
              <a:off x="8782629" y="2031944"/>
              <a:ext cx="438150" cy="352425"/>
            </a:xfrm>
            <a:custGeom>
              <a:avLst/>
              <a:gdLst/>
              <a:ahLst/>
              <a:cxnLst/>
              <a:rect l="l" t="t" r="r" b="b"/>
              <a:pathLst>
                <a:path w="438150" h="352425">
                  <a:moveTo>
                    <a:pt x="333284" y="351835"/>
                  </a:moveTo>
                  <a:lnTo>
                    <a:pt x="292100" y="346826"/>
                  </a:lnTo>
                  <a:lnTo>
                    <a:pt x="258814" y="333083"/>
                  </a:lnTo>
                  <a:lnTo>
                    <a:pt x="236552" y="312535"/>
                  </a:lnTo>
                  <a:lnTo>
                    <a:pt x="228437" y="287109"/>
                  </a:lnTo>
                  <a:lnTo>
                    <a:pt x="228505" y="63108"/>
                  </a:lnTo>
                  <a:lnTo>
                    <a:pt x="237322" y="38262"/>
                  </a:lnTo>
                  <a:lnTo>
                    <a:pt x="259708" y="18233"/>
                  </a:lnTo>
                  <a:lnTo>
                    <a:pt x="292688" y="4865"/>
                  </a:lnTo>
                  <a:lnTo>
                    <a:pt x="333284" y="0"/>
                  </a:lnTo>
                  <a:lnTo>
                    <a:pt x="373881" y="4865"/>
                  </a:lnTo>
                  <a:lnTo>
                    <a:pt x="405356" y="17622"/>
                  </a:lnTo>
                  <a:lnTo>
                    <a:pt x="333284" y="17622"/>
                  </a:lnTo>
                  <a:lnTo>
                    <a:pt x="299878" y="21350"/>
                  </a:lnTo>
                  <a:lnTo>
                    <a:pt x="272202" y="31452"/>
                  </a:lnTo>
                  <a:lnTo>
                    <a:pt x="253245" y="46308"/>
                  </a:lnTo>
                  <a:lnTo>
                    <a:pt x="245997" y="64295"/>
                  </a:lnTo>
                  <a:lnTo>
                    <a:pt x="246123" y="69905"/>
                  </a:lnTo>
                  <a:lnTo>
                    <a:pt x="278909" y="100401"/>
                  </a:lnTo>
                  <a:lnTo>
                    <a:pt x="280545" y="101003"/>
                  </a:lnTo>
                  <a:lnTo>
                    <a:pt x="245963" y="101003"/>
                  </a:lnTo>
                  <a:lnTo>
                    <a:pt x="246049" y="108713"/>
                  </a:lnTo>
                  <a:lnTo>
                    <a:pt x="252949" y="126616"/>
                  </a:lnTo>
                  <a:lnTo>
                    <a:pt x="271871" y="141612"/>
                  </a:lnTo>
                  <a:lnTo>
                    <a:pt x="281119" y="145009"/>
                  </a:lnTo>
                  <a:lnTo>
                    <a:pt x="245963" y="145009"/>
                  </a:lnTo>
                  <a:lnTo>
                    <a:pt x="245963" y="158759"/>
                  </a:lnTo>
                  <a:lnTo>
                    <a:pt x="248080" y="164524"/>
                  </a:lnTo>
                  <a:lnTo>
                    <a:pt x="278909" y="189616"/>
                  </a:lnTo>
                  <a:lnTo>
                    <a:pt x="279236" y="189737"/>
                  </a:lnTo>
                  <a:lnTo>
                    <a:pt x="245963" y="189737"/>
                  </a:lnTo>
                  <a:lnTo>
                    <a:pt x="246002" y="197808"/>
                  </a:lnTo>
                  <a:lnTo>
                    <a:pt x="252949" y="215829"/>
                  </a:lnTo>
                  <a:lnTo>
                    <a:pt x="271871" y="230818"/>
                  </a:lnTo>
                  <a:lnTo>
                    <a:pt x="281710" y="234430"/>
                  </a:lnTo>
                  <a:lnTo>
                    <a:pt x="245963" y="234430"/>
                  </a:lnTo>
                  <a:lnTo>
                    <a:pt x="245963" y="248181"/>
                  </a:lnTo>
                  <a:lnTo>
                    <a:pt x="248080" y="253946"/>
                  </a:lnTo>
                  <a:lnTo>
                    <a:pt x="278909" y="279038"/>
                  </a:lnTo>
                  <a:lnTo>
                    <a:pt x="279236" y="279158"/>
                  </a:lnTo>
                  <a:lnTo>
                    <a:pt x="245963" y="279158"/>
                  </a:lnTo>
                  <a:lnTo>
                    <a:pt x="245963" y="287109"/>
                  </a:lnTo>
                  <a:lnTo>
                    <a:pt x="252949" y="305243"/>
                  </a:lnTo>
                  <a:lnTo>
                    <a:pt x="271871" y="320238"/>
                  </a:lnTo>
                  <a:lnTo>
                    <a:pt x="299669" y="330444"/>
                  </a:lnTo>
                  <a:lnTo>
                    <a:pt x="333284" y="334212"/>
                  </a:lnTo>
                  <a:lnTo>
                    <a:pt x="405034" y="334212"/>
                  </a:lnTo>
                  <a:lnTo>
                    <a:pt x="374479" y="346826"/>
                  </a:lnTo>
                  <a:lnTo>
                    <a:pt x="333284" y="351835"/>
                  </a:lnTo>
                  <a:close/>
                </a:path>
                <a:path w="438150" h="352425">
                  <a:moveTo>
                    <a:pt x="407270" y="110951"/>
                  </a:moveTo>
                  <a:lnTo>
                    <a:pt x="333284" y="110951"/>
                  </a:lnTo>
                  <a:lnTo>
                    <a:pt x="347874" y="110273"/>
                  </a:lnTo>
                  <a:lnTo>
                    <a:pt x="361914" y="108264"/>
                  </a:lnTo>
                  <a:lnTo>
                    <a:pt x="403274" y="91559"/>
                  </a:lnTo>
                  <a:lnTo>
                    <a:pt x="420572" y="64295"/>
                  </a:lnTo>
                  <a:lnTo>
                    <a:pt x="413331" y="46308"/>
                  </a:lnTo>
                  <a:lnTo>
                    <a:pt x="394373" y="31452"/>
                  </a:lnTo>
                  <a:lnTo>
                    <a:pt x="366693" y="21350"/>
                  </a:lnTo>
                  <a:lnTo>
                    <a:pt x="333284" y="17622"/>
                  </a:lnTo>
                  <a:lnTo>
                    <a:pt x="405356" y="17622"/>
                  </a:lnTo>
                  <a:lnTo>
                    <a:pt x="406863" y="18233"/>
                  </a:lnTo>
                  <a:lnTo>
                    <a:pt x="429254" y="38262"/>
                  </a:lnTo>
                  <a:lnTo>
                    <a:pt x="438081" y="63108"/>
                  </a:lnTo>
                  <a:lnTo>
                    <a:pt x="438149" y="100969"/>
                  </a:lnTo>
                  <a:lnTo>
                    <a:pt x="420623" y="100969"/>
                  </a:lnTo>
                  <a:lnTo>
                    <a:pt x="415048" y="105684"/>
                  </a:lnTo>
                  <a:lnTo>
                    <a:pt x="408820" y="110049"/>
                  </a:lnTo>
                  <a:lnTo>
                    <a:pt x="407270" y="110951"/>
                  </a:lnTo>
                  <a:close/>
                </a:path>
                <a:path w="438150" h="352425">
                  <a:moveTo>
                    <a:pt x="406076" y="155593"/>
                  </a:moveTo>
                  <a:lnTo>
                    <a:pt x="333284" y="155593"/>
                  </a:lnTo>
                  <a:lnTo>
                    <a:pt x="366903" y="151822"/>
                  </a:lnTo>
                  <a:lnTo>
                    <a:pt x="394707" y="141612"/>
                  </a:lnTo>
                  <a:lnTo>
                    <a:pt x="413634" y="126616"/>
                  </a:lnTo>
                  <a:lnTo>
                    <a:pt x="420537" y="108713"/>
                  </a:lnTo>
                  <a:lnTo>
                    <a:pt x="420623" y="100969"/>
                  </a:lnTo>
                  <a:lnTo>
                    <a:pt x="438149" y="100969"/>
                  </a:lnTo>
                  <a:lnTo>
                    <a:pt x="438149" y="144974"/>
                  </a:lnTo>
                  <a:lnTo>
                    <a:pt x="420623" y="144974"/>
                  </a:lnTo>
                  <a:lnTo>
                    <a:pt x="415039" y="149669"/>
                  </a:lnTo>
                  <a:lnTo>
                    <a:pt x="408814" y="154007"/>
                  </a:lnTo>
                  <a:lnTo>
                    <a:pt x="406076" y="155593"/>
                  </a:lnTo>
                  <a:close/>
                </a:path>
                <a:path w="438150" h="352425">
                  <a:moveTo>
                    <a:pt x="333284" y="129589"/>
                  </a:moveTo>
                  <a:lnTo>
                    <a:pt x="285978" y="122778"/>
                  </a:lnTo>
                  <a:lnTo>
                    <a:pt x="251492" y="105684"/>
                  </a:lnTo>
                  <a:lnTo>
                    <a:pt x="245963" y="101003"/>
                  </a:lnTo>
                  <a:lnTo>
                    <a:pt x="280545" y="101003"/>
                  </a:lnTo>
                  <a:lnTo>
                    <a:pt x="291288" y="104961"/>
                  </a:lnTo>
                  <a:lnTo>
                    <a:pt x="304601" y="108264"/>
                  </a:lnTo>
                  <a:lnTo>
                    <a:pt x="318663" y="110273"/>
                  </a:lnTo>
                  <a:lnTo>
                    <a:pt x="333284" y="110951"/>
                  </a:lnTo>
                  <a:lnTo>
                    <a:pt x="407270" y="110951"/>
                  </a:lnTo>
                  <a:lnTo>
                    <a:pt x="401973" y="114030"/>
                  </a:lnTo>
                  <a:lnTo>
                    <a:pt x="394540" y="117593"/>
                  </a:lnTo>
                  <a:lnTo>
                    <a:pt x="380514" y="122778"/>
                  </a:lnTo>
                  <a:lnTo>
                    <a:pt x="365485" y="126534"/>
                  </a:lnTo>
                  <a:lnTo>
                    <a:pt x="349669" y="128818"/>
                  </a:lnTo>
                  <a:lnTo>
                    <a:pt x="333284" y="129589"/>
                  </a:lnTo>
                  <a:close/>
                </a:path>
                <a:path w="438150" h="352425">
                  <a:moveTo>
                    <a:pt x="406099" y="200166"/>
                  </a:moveTo>
                  <a:lnTo>
                    <a:pt x="333284" y="200166"/>
                  </a:lnTo>
                  <a:lnTo>
                    <a:pt x="347874" y="199488"/>
                  </a:lnTo>
                  <a:lnTo>
                    <a:pt x="361914" y="197479"/>
                  </a:lnTo>
                  <a:lnTo>
                    <a:pt x="403270" y="180775"/>
                  </a:lnTo>
                  <a:lnTo>
                    <a:pt x="420623" y="158759"/>
                  </a:lnTo>
                  <a:lnTo>
                    <a:pt x="420623" y="144974"/>
                  </a:lnTo>
                  <a:lnTo>
                    <a:pt x="438149" y="144974"/>
                  </a:lnTo>
                  <a:lnTo>
                    <a:pt x="438149" y="189737"/>
                  </a:lnTo>
                  <a:lnTo>
                    <a:pt x="420623" y="189737"/>
                  </a:lnTo>
                  <a:lnTo>
                    <a:pt x="406099" y="200166"/>
                  </a:lnTo>
                  <a:close/>
                </a:path>
                <a:path w="438150" h="352425">
                  <a:moveTo>
                    <a:pt x="333284" y="173542"/>
                  </a:moveTo>
                  <a:lnTo>
                    <a:pt x="285985" y="166718"/>
                  </a:lnTo>
                  <a:lnTo>
                    <a:pt x="251489" y="149664"/>
                  </a:lnTo>
                  <a:lnTo>
                    <a:pt x="245963" y="145009"/>
                  </a:lnTo>
                  <a:lnTo>
                    <a:pt x="281119" y="145009"/>
                  </a:lnTo>
                  <a:lnTo>
                    <a:pt x="299669" y="151822"/>
                  </a:lnTo>
                  <a:lnTo>
                    <a:pt x="333284" y="155593"/>
                  </a:lnTo>
                  <a:lnTo>
                    <a:pt x="406076" y="155593"/>
                  </a:lnTo>
                  <a:lnTo>
                    <a:pt x="401966" y="157973"/>
                  </a:lnTo>
                  <a:lnTo>
                    <a:pt x="394540" y="161530"/>
                  </a:lnTo>
                  <a:lnTo>
                    <a:pt x="380511" y="166718"/>
                  </a:lnTo>
                  <a:lnTo>
                    <a:pt x="365478" y="170479"/>
                  </a:lnTo>
                  <a:lnTo>
                    <a:pt x="349662" y="172769"/>
                  </a:lnTo>
                  <a:lnTo>
                    <a:pt x="333284" y="173542"/>
                  </a:lnTo>
                  <a:close/>
                </a:path>
                <a:path w="438150" h="352425">
                  <a:moveTo>
                    <a:pt x="333284" y="218167"/>
                  </a:moveTo>
                  <a:lnTo>
                    <a:pt x="306716" y="216152"/>
                  </a:lnTo>
                  <a:lnTo>
                    <a:pt x="282794" y="210425"/>
                  </a:lnTo>
                  <a:lnTo>
                    <a:pt x="262288" y="201461"/>
                  </a:lnTo>
                  <a:lnTo>
                    <a:pt x="245963" y="189737"/>
                  </a:lnTo>
                  <a:lnTo>
                    <a:pt x="279236" y="189737"/>
                  </a:lnTo>
                  <a:lnTo>
                    <a:pt x="291288" y="194176"/>
                  </a:lnTo>
                  <a:lnTo>
                    <a:pt x="304601" y="197479"/>
                  </a:lnTo>
                  <a:lnTo>
                    <a:pt x="318663" y="199488"/>
                  </a:lnTo>
                  <a:lnTo>
                    <a:pt x="333284" y="200166"/>
                  </a:lnTo>
                  <a:lnTo>
                    <a:pt x="406099" y="200166"/>
                  </a:lnTo>
                  <a:lnTo>
                    <a:pt x="404296" y="201461"/>
                  </a:lnTo>
                  <a:lnTo>
                    <a:pt x="383783" y="210425"/>
                  </a:lnTo>
                  <a:lnTo>
                    <a:pt x="359856" y="216152"/>
                  </a:lnTo>
                  <a:lnTo>
                    <a:pt x="333284" y="218167"/>
                  </a:lnTo>
                  <a:close/>
                </a:path>
                <a:path w="438150" h="352425">
                  <a:moveTo>
                    <a:pt x="406474" y="244790"/>
                  </a:moveTo>
                  <a:lnTo>
                    <a:pt x="333284" y="244790"/>
                  </a:lnTo>
                  <a:lnTo>
                    <a:pt x="366903" y="241022"/>
                  </a:lnTo>
                  <a:lnTo>
                    <a:pt x="394707" y="230818"/>
                  </a:lnTo>
                  <a:lnTo>
                    <a:pt x="413634" y="215829"/>
                  </a:lnTo>
                  <a:lnTo>
                    <a:pt x="420584" y="197808"/>
                  </a:lnTo>
                  <a:lnTo>
                    <a:pt x="420623" y="189737"/>
                  </a:lnTo>
                  <a:lnTo>
                    <a:pt x="438149" y="189737"/>
                  </a:lnTo>
                  <a:lnTo>
                    <a:pt x="438149" y="234396"/>
                  </a:lnTo>
                  <a:lnTo>
                    <a:pt x="420623" y="234396"/>
                  </a:lnTo>
                  <a:lnTo>
                    <a:pt x="415043" y="239091"/>
                  </a:lnTo>
                  <a:lnTo>
                    <a:pt x="408814" y="243435"/>
                  </a:lnTo>
                  <a:lnTo>
                    <a:pt x="406474" y="244790"/>
                  </a:lnTo>
                  <a:close/>
                </a:path>
                <a:path w="438150" h="352425">
                  <a:moveTo>
                    <a:pt x="406099" y="289587"/>
                  </a:moveTo>
                  <a:lnTo>
                    <a:pt x="333284" y="289587"/>
                  </a:lnTo>
                  <a:lnTo>
                    <a:pt x="347874" y="288909"/>
                  </a:lnTo>
                  <a:lnTo>
                    <a:pt x="361914" y="286900"/>
                  </a:lnTo>
                  <a:lnTo>
                    <a:pt x="403270" y="270196"/>
                  </a:lnTo>
                  <a:lnTo>
                    <a:pt x="420623" y="248181"/>
                  </a:lnTo>
                  <a:lnTo>
                    <a:pt x="420623" y="234396"/>
                  </a:lnTo>
                  <a:lnTo>
                    <a:pt x="438149" y="234396"/>
                  </a:lnTo>
                  <a:lnTo>
                    <a:pt x="438149" y="279158"/>
                  </a:lnTo>
                  <a:lnTo>
                    <a:pt x="420623" y="279158"/>
                  </a:lnTo>
                  <a:lnTo>
                    <a:pt x="406099" y="289587"/>
                  </a:lnTo>
                  <a:close/>
                </a:path>
                <a:path w="438150" h="352425">
                  <a:moveTo>
                    <a:pt x="333284" y="262964"/>
                  </a:moveTo>
                  <a:lnTo>
                    <a:pt x="285985" y="256139"/>
                  </a:lnTo>
                  <a:lnTo>
                    <a:pt x="251492" y="239088"/>
                  </a:lnTo>
                  <a:lnTo>
                    <a:pt x="245963" y="234430"/>
                  </a:lnTo>
                  <a:lnTo>
                    <a:pt x="281710" y="234430"/>
                  </a:lnTo>
                  <a:lnTo>
                    <a:pt x="299669" y="241022"/>
                  </a:lnTo>
                  <a:lnTo>
                    <a:pt x="333284" y="244790"/>
                  </a:lnTo>
                  <a:lnTo>
                    <a:pt x="406474" y="244790"/>
                  </a:lnTo>
                  <a:lnTo>
                    <a:pt x="401966" y="247402"/>
                  </a:lnTo>
                  <a:lnTo>
                    <a:pt x="394540" y="250952"/>
                  </a:lnTo>
                  <a:lnTo>
                    <a:pt x="380511" y="256139"/>
                  </a:lnTo>
                  <a:lnTo>
                    <a:pt x="365478" y="259901"/>
                  </a:lnTo>
                  <a:lnTo>
                    <a:pt x="349662" y="262191"/>
                  </a:lnTo>
                  <a:lnTo>
                    <a:pt x="333284" y="262964"/>
                  </a:lnTo>
                  <a:close/>
                </a:path>
                <a:path w="438150" h="352425">
                  <a:moveTo>
                    <a:pt x="333284" y="307589"/>
                  </a:moveTo>
                  <a:lnTo>
                    <a:pt x="306716" y="305574"/>
                  </a:lnTo>
                  <a:lnTo>
                    <a:pt x="282794" y="299847"/>
                  </a:lnTo>
                  <a:lnTo>
                    <a:pt x="262288" y="290883"/>
                  </a:lnTo>
                  <a:lnTo>
                    <a:pt x="245963" y="279158"/>
                  </a:lnTo>
                  <a:lnTo>
                    <a:pt x="279236" y="279158"/>
                  </a:lnTo>
                  <a:lnTo>
                    <a:pt x="291288" y="283598"/>
                  </a:lnTo>
                  <a:lnTo>
                    <a:pt x="304601" y="286900"/>
                  </a:lnTo>
                  <a:lnTo>
                    <a:pt x="318663" y="288909"/>
                  </a:lnTo>
                  <a:lnTo>
                    <a:pt x="333284" y="289587"/>
                  </a:lnTo>
                  <a:lnTo>
                    <a:pt x="406099" y="289587"/>
                  </a:lnTo>
                  <a:lnTo>
                    <a:pt x="404296" y="290883"/>
                  </a:lnTo>
                  <a:lnTo>
                    <a:pt x="383783" y="299847"/>
                  </a:lnTo>
                  <a:lnTo>
                    <a:pt x="359856" y="305574"/>
                  </a:lnTo>
                  <a:lnTo>
                    <a:pt x="333284" y="307589"/>
                  </a:lnTo>
                  <a:close/>
                </a:path>
                <a:path w="438150" h="352425">
                  <a:moveTo>
                    <a:pt x="405034" y="334212"/>
                  </a:moveTo>
                  <a:lnTo>
                    <a:pt x="333284" y="334212"/>
                  </a:lnTo>
                  <a:lnTo>
                    <a:pt x="366903" y="330444"/>
                  </a:lnTo>
                  <a:lnTo>
                    <a:pt x="394707" y="320238"/>
                  </a:lnTo>
                  <a:lnTo>
                    <a:pt x="413634" y="305243"/>
                  </a:lnTo>
                  <a:lnTo>
                    <a:pt x="420623" y="287109"/>
                  </a:lnTo>
                  <a:lnTo>
                    <a:pt x="420623" y="279158"/>
                  </a:lnTo>
                  <a:lnTo>
                    <a:pt x="438149" y="279158"/>
                  </a:lnTo>
                  <a:lnTo>
                    <a:pt x="438149" y="287109"/>
                  </a:lnTo>
                  <a:lnTo>
                    <a:pt x="430034" y="312535"/>
                  </a:lnTo>
                  <a:lnTo>
                    <a:pt x="407770" y="333083"/>
                  </a:lnTo>
                  <a:lnTo>
                    <a:pt x="405034" y="334212"/>
                  </a:lnTo>
                  <a:close/>
                </a:path>
                <a:path w="438150" h="352425">
                  <a:moveTo>
                    <a:pt x="104865" y="351835"/>
                  </a:moveTo>
                  <a:lnTo>
                    <a:pt x="63670" y="346826"/>
                  </a:lnTo>
                  <a:lnTo>
                    <a:pt x="30379" y="333083"/>
                  </a:lnTo>
                  <a:lnTo>
                    <a:pt x="8115" y="312535"/>
                  </a:lnTo>
                  <a:lnTo>
                    <a:pt x="0" y="287109"/>
                  </a:lnTo>
                  <a:lnTo>
                    <a:pt x="68" y="152529"/>
                  </a:lnTo>
                  <a:lnTo>
                    <a:pt x="8895" y="127683"/>
                  </a:lnTo>
                  <a:lnTo>
                    <a:pt x="31286" y="107655"/>
                  </a:lnTo>
                  <a:lnTo>
                    <a:pt x="64268" y="94287"/>
                  </a:lnTo>
                  <a:lnTo>
                    <a:pt x="104865" y="89421"/>
                  </a:lnTo>
                  <a:lnTo>
                    <a:pt x="145461" y="94287"/>
                  </a:lnTo>
                  <a:lnTo>
                    <a:pt x="176934" y="107044"/>
                  </a:lnTo>
                  <a:lnTo>
                    <a:pt x="104865" y="107044"/>
                  </a:lnTo>
                  <a:lnTo>
                    <a:pt x="71456" y="110772"/>
                  </a:lnTo>
                  <a:lnTo>
                    <a:pt x="43776" y="120874"/>
                  </a:lnTo>
                  <a:lnTo>
                    <a:pt x="24818" y="135730"/>
                  </a:lnTo>
                  <a:lnTo>
                    <a:pt x="17577" y="153717"/>
                  </a:lnTo>
                  <a:lnTo>
                    <a:pt x="17697" y="159327"/>
                  </a:lnTo>
                  <a:lnTo>
                    <a:pt x="50489" y="189823"/>
                  </a:lnTo>
                  <a:lnTo>
                    <a:pt x="52124" y="190425"/>
                  </a:lnTo>
                  <a:lnTo>
                    <a:pt x="17525" y="190425"/>
                  </a:lnTo>
                  <a:lnTo>
                    <a:pt x="17612" y="198135"/>
                  </a:lnTo>
                  <a:lnTo>
                    <a:pt x="24515" y="216038"/>
                  </a:lnTo>
                  <a:lnTo>
                    <a:pt x="43442" y="231033"/>
                  </a:lnTo>
                  <a:lnTo>
                    <a:pt x="52692" y="234430"/>
                  </a:lnTo>
                  <a:lnTo>
                    <a:pt x="17525" y="234430"/>
                  </a:lnTo>
                  <a:lnTo>
                    <a:pt x="17525" y="248181"/>
                  </a:lnTo>
                  <a:lnTo>
                    <a:pt x="19631" y="253946"/>
                  </a:lnTo>
                  <a:lnTo>
                    <a:pt x="50489" y="279038"/>
                  </a:lnTo>
                  <a:lnTo>
                    <a:pt x="50816" y="279158"/>
                  </a:lnTo>
                  <a:lnTo>
                    <a:pt x="17525" y="279158"/>
                  </a:lnTo>
                  <a:lnTo>
                    <a:pt x="17525" y="287109"/>
                  </a:lnTo>
                  <a:lnTo>
                    <a:pt x="24515" y="305243"/>
                  </a:lnTo>
                  <a:lnTo>
                    <a:pt x="43442" y="320238"/>
                  </a:lnTo>
                  <a:lnTo>
                    <a:pt x="71246" y="330444"/>
                  </a:lnTo>
                  <a:lnTo>
                    <a:pt x="104865" y="334212"/>
                  </a:lnTo>
                  <a:lnTo>
                    <a:pt x="176600" y="334212"/>
                  </a:lnTo>
                  <a:lnTo>
                    <a:pt x="146049" y="346826"/>
                  </a:lnTo>
                  <a:lnTo>
                    <a:pt x="104865" y="351835"/>
                  </a:lnTo>
                  <a:close/>
                </a:path>
                <a:path w="438150" h="352425">
                  <a:moveTo>
                    <a:pt x="178836" y="200372"/>
                  </a:moveTo>
                  <a:lnTo>
                    <a:pt x="104865" y="200372"/>
                  </a:lnTo>
                  <a:lnTo>
                    <a:pt x="119453" y="199694"/>
                  </a:lnTo>
                  <a:lnTo>
                    <a:pt x="133492" y="197685"/>
                  </a:lnTo>
                  <a:lnTo>
                    <a:pt x="174850" y="180981"/>
                  </a:lnTo>
                  <a:lnTo>
                    <a:pt x="192152" y="153717"/>
                  </a:lnTo>
                  <a:lnTo>
                    <a:pt x="184904" y="135730"/>
                  </a:lnTo>
                  <a:lnTo>
                    <a:pt x="165947" y="120874"/>
                  </a:lnTo>
                  <a:lnTo>
                    <a:pt x="138271" y="110772"/>
                  </a:lnTo>
                  <a:lnTo>
                    <a:pt x="104865" y="107044"/>
                  </a:lnTo>
                  <a:lnTo>
                    <a:pt x="176934" y="107044"/>
                  </a:lnTo>
                  <a:lnTo>
                    <a:pt x="178441" y="107655"/>
                  </a:lnTo>
                  <a:lnTo>
                    <a:pt x="200827" y="127683"/>
                  </a:lnTo>
                  <a:lnTo>
                    <a:pt x="209644" y="152529"/>
                  </a:lnTo>
                  <a:lnTo>
                    <a:pt x="209712" y="190391"/>
                  </a:lnTo>
                  <a:lnTo>
                    <a:pt x="192186" y="190391"/>
                  </a:lnTo>
                  <a:lnTo>
                    <a:pt x="186612" y="195106"/>
                  </a:lnTo>
                  <a:lnTo>
                    <a:pt x="180385" y="199471"/>
                  </a:lnTo>
                  <a:lnTo>
                    <a:pt x="178836" y="200372"/>
                  </a:lnTo>
                  <a:close/>
                </a:path>
                <a:path w="438150" h="352425">
                  <a:moveTo>
                    <a:pt x="177660" y="245014"/>
                  </a:moveTo>
                  <a:lnTo>
                    <a:pt x="104865" y="245014"/>
                  </a:lnTo>
                  <a:lnTo>
                    <a:pt x="138480" y="241243"/>
                  </a:lnTo>
                  <a:lnTo>
                    <a:pt x="166278" y="231033"/>
                  </a:lnTo>
                  <a:lnTo>
                    <a:pt x="185200" y="216038"/>
                  </a:lnTo>
                  <a:lnTo>
                    <a:pt x="192100" y="198135"/>
                  </a:lnTo>
                  <a:lnTo>
                    <a:pt x="192186" y="190391"/>
                  </a:lnTo>
                  <a:lnTo>
                    <a:pt x="209712" y="190391"/>
                  </a:lnTo>
                  <a:lnTo>
                    <a:pt x="209712" y="234396"/>
                  </a:lnTo>
                  <a:lnTo>
                    <a:pt x="192186" y="234396"/>
                  </a:lnTo>
                  <a:lnTo>
                    <a:pt x="186613" y="239091"/>
                  </a:lnTo>
                  <a:lnTo>
                    <a:pt x="180385" y="243435"/>
                  </a:lnTo>
                  <a:lnTo>
                    <a:pt x="177660" y="245014"/>
                  </a:lnTo>
                  <a:close/>
                </a:path>
                <a:path w="438150" h="352425">
                  <a:moveTo>
                    <a:pt x="104865" y="219010"/>
                  </a:moveTo>
                  <a:lnTo>
                    <a:pt x="57556" y="212200"/>
                  </a:lnTo>
                  <a:lnTo>
                    <a:pt x="23063" y="195099"/>
                  </a:lnTo>
                  <a:lnTo>
                    <a:pt x="17525" y="190425"/>
                  </a:lnTo>
                  <a:lnTo>
                    <a:pt x="52124" y="190425"/>
                  </a:lnTo>
                  <a:lnTo>
                    <a:pt x="62861" y="194382"/>
                  </a:lnTo>
                  <a:lnTo>
                    <a:pt x="76175" y="197685"/>
                  </a:lnTo>
                  <a:lnTo>
                    <a:pt x="90241" y="199694"/>
                  </a:lnTo>
                  <a:lnTo>
                    <a:pt x="104865" y="200372"/>
                  </a:lnTo>
                  <a:lnTo>
                    <a:pt x="178836" y="200372"/>
                  </a:lnTo>
                  <a:lnTo>
                    <a:pt x="173543" y="203452"/>
                  </a:lnTo>
                  <a:lnTo>
                    <a:pt x="166120" y="207015"/>
                  </a:lnTo>
                  <a:lnTo>
                    <a:pt x="152091" y="212200"/>
                  </a:lnTo>
                  <a:lnTo>
                    <a:pt x="137058" y="215956"/>
                  </a:lnTo>
                  <a:lnTo>
                    <a:pt x="121242" y="218240"/>
                  </a:lnTo>
                  <a:lnTo>
                    <a:pt x="104865" y="219010"/>
                  </a:lnTo>
                  <a:close/>
                </a:path>
                <a:path w="438150" h="352425">
                  <a:moveTo>
                    <a:pt x="177665" y="289587"/>
                  </a:moveTo>
                  <a:lnTo>
                    <a:pt x="104865" y="289587"/>
                  </a:lnTo>
                  <a:lnTo>
                    <a:pt x="119453" y="288909"/>
                  </a:lnTo>
                  <a:lnTo>
                    <a:pt x="133492" y="286900"/>
                  </a:lnTo>
                  <a:lnTo>
                    <a:pt x="174842" y="270194"/>
                  </a:lnTo>
                  <a:lnTo>
                    <a:pt x="192186" y="248181"/>
                  </a:lnTo>
                  <a:lnTo>
                    <a:pt x="192186" y="234396"/>
                  </a:lnTo>
                  <a:lnTo>
                    <a:pt x="209712" y="234396"/>
                  </a:lnTo>
                  <a:lnTo>
                    <a:pt x="209712" y="279158"/>
                  </a:lnTo>
                  <a:lnTo>
                    <a:pt x="192186" y="279158"/>
                  </a:lnTo>
                  <a:lnTo>
                    <a:pt x="177665" y="289587"/>
                  </a:lnTo>
                  <a:close/>
                </a:path>
                <a:path w="438150" h="352425">
                  <a:moveTo>
                    <a:pt x="104865" y="262964"/>
                  </a:moveTo>
                  <a:lnTo>
                    <a:pt x="57556" y="256139"/>
                  </a:lnTo>
                  <a:lnTo>
                    <a:pt x="23055" y="239088"/>
                  </a:lnTo>
                  <a:lnTo>
                    <a:pt x="17525" y="234430"/>
                  </a:lnTo>
                  <a:lnTo>
                    <a:pt x="52692" y="234430"/>
                  </a:lnTo>
                  <a:lnTo>
                    <a:pt x="71246" y="241243"/>
                  </a:lnTo>
                  <a:lnTo>
                    <a:pt x="104865" y="245014"/>
                  </a:lnTo>
                  <a:lnTo>
                    <a:pt x="177660" y="245014"/>
                  </a:lnTo>
                  <a:lnTo>
                    <a:pt x="173538" y="247402"/>
                  </a:lnTo>
                  <a:lnTo>
                    <a:pt x="166120" y="250952"/>
                  </a:lnTo>
                  <a:lnTo>
                    <a:pt x="152084" y="256139"/>
                  </a:lnTo>
                  <a:lnTo>
                    <a:pt x="137052" y="259901"/>
                  </a:lnTo>
                  <a:lnTo>
                    <a:pt x="121240" y="262191"/>
                  </a:lnTo>
                  <a:lnTo>
                    <a:pt x="104865" y="262964"/>
                  </a:lnTo>
                  <a:close/>
                </a:path>
                <a:path w="438150" h="352425">
                  <a:moveTo>
                    <a:pt x="104865" y="307589"/>
                  </a:moveTo>
                  <a:lnTo>
                    <a:pt x="78293" y="305574"/>
                  </a:lnTo>
                  <a:lnTo>
                    <a:pt x="54366" y="299847"/>
                  </a:lnTo>
                  <a:lnTo>
                    <a:pt x="33853" y="290883"/>
                  </a:lnTo>
                  <a:lnTo>
                    <a:pt x="17525" y="279158"/>
                  </a:lnTo>
                  <a:lnTo>
                    <a:pt x="50816" y="279158"/>
                  </a:lnTo>
                  <a:lnTo>
                    <a:pt x="62861" y="283598"/>
                  </a:lnTo>
                  <a:lnTo>
                    <a:pt x="76175" y="286900"/>
                  </a:lnTo>
                  <a:lnTo>
                    <a:pt x="90241" y="288909"/>
                  </a:lnTo>
                  <a:lnTo>
                    <a:pt x="104865" y="289587"/>
                  </a:lnTo>
                  <a:lnTo>
                    <a:pt x="177665" y="289587"/>
                  </a:lnTo>
                  <a:lnTo>
                    <a:pt x="175861" y="290883"/>
                  </a:lnTo>
                  <a:lnTo>
                    <a:pt x="155354" y="299847"/>
                  </a:lnTo>
                  <a:lnTo>
                    <a:pt x="131433" y="305574"/>
                  </a:lnTo>
                  <a:lnTo>
                    <a:pt x="104865" y="307589"/>
                  </a:lnTo>
                  <a:close/>
                </a:path>
                <a:path w="438150" h="352425">
                  <a:moveTo>
                    <a:pt x="176600" y="334212"/>
                  </a:moveTo>
                  <a:lnTo>
                    <a:pt x="104865" y="334212"/>
                  </a:lnTo>
                  <a:lnTo>
                    <a:pt x="138480" y="330444"/>
                  </a:lnTo>
                  <a:lnTo>
                    <a:pt x="166278" y="320238"/>
                  </a:lnTo>
                  <a:lnTo>
                    <a:pt x="185200" y="305243"/>
                  </a:lnTo>
                  <a:lnTo>
                    <a:pt x="192186" y="287109"/>
                  </a:lnTo>
                  <a:lnTo>
                    <a:pt x="192186" y="279158"/>
                  </a:lnTo>
                  <a:lnTo>
                    <a:pt x="209712" y="279158"/>
                  </a:lnTo>
                  <a:lnTo>
                    <a:pt x="209712" y="287109"/>
                  </a:lnTo>
                  <a:lnTo>
                    <a:pt x="201597" y="312535"/>
                  </a:lnTo>
                  <a:lnTo>
                    <a:pt x="179335" y="333083"/>
                  </a:lnTo>
                  <a:lnTo>
                    <a:pt x="176600" y="334212"/>
                  </a:lnTo>
                  <a:close/>
                </a:path>
              </a:pathLst>
            </a:custGeom>
            <a:solidFill>
              <a:srgbClr val="FFFFFF"/>
            </a:solidFill>
          </p:spPr>
          <p:txBody>
            <a:bodyPr wrap="square" lIns="0" tIns="0" rIns="0" bIns="0" rtlCol="0"/>
            <a:lstStyle/>
            <a:p>
              <a:endParaRPr/>
            </a:p>
          </p:txBody>
        </p:sp>
      </p:grpSp>
      <p:sp>
        <p:nvSpPr>
          <p:cNvPr id="48" name="object 48"/>
          <p:cNvSpPr txBox="1"/>
          <p:nvPr/>
        </p:nvSpPr>
        <p:spPr>
          <a:xfrm>
            <a:off x="14101522" y="6573227"/>
            <a:ext cx="3451225" cy="1816100"/>
          </a:xfrm>
          <a:prstGeom prst="rect">
            <a:avLst/>
          </a:prstGeom>
        </p:spPr>
        <p:txBody>
          <a:bodyPr vert="horz" wrap="square" lIns="0" tIns="12700" rIns="0" bIns="0" rtlCol="0">
            <a:spAutoFit/>
          </a:bodyPr>
          <a:lstStyle/>
          <a:p>
            <a:pPr marL="12700" marR="5080">
              <a:lnSpc>
                <a:spcPct val="108800"/>
              </a:lnSpc>
              <a:spcBef>
                <a:spcPts val="100"/>
              </a:spcBef>
            </a:pPr>
            <a:r>
              <a:rPr sz="2700" b="1" spc="-10" dirty="0">
                <a:solidFill>
                  <a:srgbClr val="FFFFFF"/>
                </a:solidFill>
                <a:latin typeface="Roboto"/>
                <a:cs typeface="Roboto"/>
              </a:rPr>
              <a:t>Europa</a:t>
            </a:r>
            <a:r>
              <a:rPr sz="2700" b="1" spc="-130" dirty="0">
                <a:solidFill>
                  <a:srgbClr val="FFFFFF"/>
                </a:solidFill>
                <a:latin typeface="Roboto"/>
                <a:cs typeface="Roboto"/>
              </a:rPr>
              <a:t> </a:t>
            </a:r>
            <a:r>
              <a:rPr sz="2700" b="1" dirty="0">
                <a:solidFill>
                  <a:srgbClr val="FFFFFF"/>
                </a:solidFill>
                <a:latin typeface="Roboto"/>
                <a:cs typeface="Roboto"/>
              </a:rPr>
              <a:t>como</a:t>
            </a:r>
            <a:r>
              <a:rPr sz="2700" b="1" spc="-130" dirty="0">
                <a:solidFill>
                  <a:srgbClr val="FFFFFF"/>
                </a:solidFill>
                <a:latin typeface="Roboto"/>
                <a:cs typeface="Roboto"/>
              </a:rPr>
              <a:t> </a:t>
            </a:r>
            <a:r>
              <a:rPr sz="2700" b="1" spc="-10" dirty="0">
                <a:solidFill>
                  <a:srgbClr val="FFFFFF"/>
                </a:solidFill>
                <a:latin typeface="Roboto"/>
                <a:cs typeface="Roboto"/>
              </a:rPr>
              <a:t>mercado integrado</a:t>
            </a:r>
            <a:r>
              <a:rPr sz="2700" b="1" spc="-85" dirty="0">
                <a:solidFill>
                  <a:srgbClr val="FFFFFF"/>
                </a:solidFill>
                <a:latin typeface="Roboto"/>
                <a:cs typeface="Roboto"/>
              </a:rPr>
              <a:t> </a:t>
            </a:r>
            <a:r>
              <a:rPr sz="2700" b="1" dirty="0">
                <a:solidFill>
                  <a:srgbClr val="FFFFFF"/>
                </a:solidFill>
                <a:latin typeface="Roboto"/>
                <a:cs typeface="Roboto"/>
              </a:rPr>
              <a:t>es</a:t>
            </a:r>
            <a:r>
              <a:rPr sz="2700" b="1" spc="-80" dirty="0">
                <a:solidFill>
                  <a:srgbClr val="FFFFFF"/>
                </a:solidFill>
                <a:latin typeface="Roboto"/>
                <a:cs typeface="Roboto"/>
              </a:rPr>
              <a:t> </a:t>
            </a:r>
            <a:r>
              <a:rPr sz="2700" b="1" spc="-25" dirty="0">
                <a:solidFill>
                  <a:srgbClr val="FFFFFF"/>
                </a:solidFill>
                <a:latin typeface="Roboto"/>
                <a:cs typeface="Roboto"/>
              </a:rPr>
              <a:t>más </a:t>
            </a:r>
            <a:r>
              <a:rPr sz="2700" b="1" spc="-20" dirty="0">
                <a:solidFill>
                  <a:srgbClr val="FFFFFF"/>
                </a:solidFill>
                <a:latin typeface="Roboto"/>
                <a:cs typeface="Roboto"/>
              </a:rPr>
              <a:t>atractivo</a:t>
            </a:r>
            <a:r>
              <a:rPr sz="2700" b="1" spc="-95" dirty="0">
                <a:solidFill>
                  <a:srgbClr val="FFFFFF"/>
                </a:solidFill>
                <a:latin typeface="Roboto"/>
                <a:cs typeface="Roboto"/>
              </a:rPr>
              <a:t> </a:t>
            </a:r>
            <a:r>
              <a:rPr sz="2700" b="1" dirty="0">
                <a:solidFill>
                  <a:srgbClr val="FFFFFF"/>
                </a:solidFill>
                <a:latin typeface="Roboto"/>
                <a:cs typeface="Roboto"/>
              </a:rPr>
              <a:t>que</a:t>
            </a:r>
            <a:r>
              <a:rPr sz="2700" b="1" spc="-95" dirty="0">
                <a:solidFill>
                  <a:srgbClr val="FFFFFF"/>
                </a:solidFill>
                <a:latin typeface="Roboto"/>
                <a:cs typeface="Roboto"/>
              </a:rPr>
              <a:t> </a:t>
            </a:r>
            <a:r>
              <a:rPr sz="2700" b="1" spc="-10" dirty="0">
                <a:solidFill>
                  <a:srgbClr val="FFFFFF"/>
                </a:solidFill>
                <a:latin typeface="Roboto"/>
                <a:cs typeface="Roboto"/>
              </a:rPr>
              <a:t>Estados Unidos...</a:t>
            </a:r>
            <a:endParaRPr sz="2700">
              <a:latin typeface="Roboto"/>
              <a:cs typeface="Roboto"/>
            </a:endParaRPr>
          </a:p>
        </p:txBody>
      </p:sp>
      <p:pic>
        <p:nvPicPr>
          <p:cNvPr id="49" name="object 49"/>
          <p:cNvPicPr/>
          <p:nvPr/>
        </p:nvPicPr>
        <p:blipFill>
          <a:blip r:embed="rId8" cstate="print"/>
          <a:stretch>
            <a:fillRect/>
          </a:stretch>
        </p:blipFill>
        <p:spPr>
          <a:xfrm>
            <a:off x="13758578" y="6811175"/>
            <a:ext cx="140553" cy="140556"/>
          </a:xfrm>
          <a:prstGeom prst="rect">
            <a:avLst/>
          </a:prstGeom>
        </p:spPr>
      </p:pic>
      <p:pic>
        <p:nvPicPr>
          <p:cNvPr id="50" name="object 50"/>
          <p:cNvPicPr/>
          <p:nvPr/>
        </p:nvPicPr>
        <p:blipFill>
          <a:blip r:embed="rId9" cstate="print"/>
          <a:stretch>
            <a:fillRect/>
          </a:stretch>
        </p:blipFill>
        <p:spPr>
          <a:xfrm>
            <a:off x="7366332" y="6881454"/>
            <a:ext cx="523874" cy="581024"/>
          </a:xfrm>
          <a:prstGeom prst="rect">
            <a:avLst/>
          </a:prstGeom>
        </p:spPr>
      </p:pic>
      <p:pic>
        <p:nvPicPr>
          <p:cNvPr id="51" name="object 51"/>
          <p:cNvPicPr/>
          <p:nvPr/>
        </p:nvPicPr>
        <p:blipFill>
          <a:blip r:embed="rId9" cstate="print"/>
          <a:stretch>
            <a:fillRect/>
          </a:stretch>
        </p:blipFill>
        <p:spPr>
          <a:xfrm>
            <a:off x="7366332" y="3070144"/>
            <a:ext cx="523874" cy="581024"/>
          </a:xfrm>
          <a:prstGeom prst="rect">
            <a:avLst/>
          </a:prstGeom>
        </p:spPr>
      </p:pic>
      <p:pic>
        <p:nvPicPr>
          <p:cNvPr id="52" name="object 52"/>
          <p:cNvPicPr/>
          <p:nvPr/>
        </p:nvPicPr>
        <p:blipFill>
          <a:blip r:embed="rId9" cstate="print"/>
          <a:stretch>
            <a:fillRect/>
          </a:stretch>
        </p:blipFill>
        <p:spPr>
          <a:xfrm>
            <a:off x="10246702" y="3023122"/>
            <a:ext cx="523874" cy="581024"/>
          </a:xfrm>
          <a:prstGeom prst="rect">
            <a:avLst/>
          </a:prstGeom>
        </p:spPr>
      </p:pic>
      <p:pic>
        <p:nvPicPr>
          <p:cNvPr id="53" name="object 53"/>
          <p:cNvPicPr/>
          <p:nvPr/>
        </p:nvPicPr>
        <p:blipFill>
          <a:blip r:embed="rId9" cstate="print"/>
          <a:stretch>
            <a:fillRect/>
          </a:stretch>
        </p:blipFill>
        <p:spPr>
          <a:xfrm>
            <a:off x="10196865" y="7595829"/>
            <a:ext cx="523874" cy="581024"/>
          </a:xfrm>
          <a:prstGeom prst="rect">
            <a:avLst/>
          </a:prstGeom>
        </p:spPr>
      </p:pic>
      <p:sp>
        <p:nvSpPr>
          <p:cNvPr id="54" name="object 54"/>
          <p:cNvSpPr/>
          <p:nvPr/>
        </p:nvSpPr>
        <p:spPr>
          <a:xfrm>
            <a:off x="5953546" y="9011492"/>
            <a:ext cx="2049780" cy="48260"/>
          </a:xfrm>
          <a:custGeom>
            <a:avLst/>
            <a:gdLst/>
            <a:ahLst/>
            <a:cxnLst/>
            <a:rect l="l" t="t" r="r" b="b"/>
            <a:pathLst>
              <a:path w="2049779" h="48259">
                <a:moveTo>
                  <a:pt x="2049363" y="48220"/>
                </a:moveTo>
                <a:lnTo>
                  <a:pt x="0" y="48220"/>
                </a:lnTo>
                <a:lnTo>
                  <a:pt x="0" y="0"/>
                </a:lnTo>
                <a:lnTo>
                  <a:pt x="2049363" y="0"/>
                </a:lnTo>
                <a:lnTo>
                  <a:pt x="2049363" y="48220"/>
                </a:lnTo>
                <a:close/>
              </a:path>
            </a:pathLst>
          </a:custGeom>
          <a:solidFill>
            <a:srgbClr val="E3112B"/>
          </a:solidFill>
        </p:spPr>
        <p:txBody>
          <a:bodyPr wrap="square" lIns="0" tIns="0" rIns="0" bIns="0" rtlCol="0"/>
          <a:lstStyle/>
          <a:p>
            <a:endParaRPr/>
          </a:p>
        </p:txBody>
      </p:sp>
      <p:sp>
        <p:nvSpPr>
          <p:cNvPr id="55" name="object 55"/>
          <p:cNvSpPr/>
          <p:nvPr/>
        </p:nvSpPr>
        <p:spPr>
          <a:xfrm>
            <a:off x="8827267" y="9011492"/>
            <a:ext cx="2049780" cy="48260"/>
          </a:xfrm>
          <a:custGeom>
            <a:avLst/>
            <a:gdLst/>
            <a:ahLst/>
            <a:cxnLst/>
            <a:rect l="l" t="t" r="r" b="b"/>
            <a:pathLst>
              <a:path w="2049779" h="48259">
                <a:moveTo>
                  <a:pt x="2049363" y="48220"/>
                </a:moveTo>
                <a:lnTo>
                  <a:pt x="0" y="48220"/>
                </a:lnTo>
                <a:lnTo>
                  <a:pt x="0" y="0"/>
                </a:lnTo>
                <a:lnTo>
                  <a:pt x="2049363" y="0"/>
                </a:lnTo>
                <a:lnTo>
                  <a:pt x="2049363" y="48220"/>
                </a:lnTo>
                <a:close/>
              </a:path>
            </a:pathLst>
          </a:custGeom>
          <a:solidFill>
            <a:srgbClr val="E3112B"/>
          </a:solidFill>
        </p:spPr>
        <p:txBody>
          <a:bodyPr wrap="square" lIns="0" tIns="0" rIns="0" bIns="0" rtlCol="0"/>
          <a:lstStyle/>
          <a:p>
            <a:endParaRPr/>
          </a:p>
        </p:txBody>
      </p:sp>
      <p:sp>
        <p:nvSpPr>
          <p:cNvPr id="56" name="object 56"/>
          <p:cNvSpPr txBox="1"/>
          <p:nvPr/>
        </p:nvSpPr>
        <p:spPr>
          <a:xfrm>
            <a:off x="5975234" y="3036420"/>
            <a:ext cx="305435" cy="1085850"/>
          </a:xfrm>
          <a:prstGeom prst="rect">
            <a:avLst/>
          </a:prstGeom>
        </p:spPr>
        <p:txBody>
          <a:bodyPr vert="vert270" wrap="square" lIns="0" tIns="0" rIns="0" bIns="0" rtlCol="0">
            <a:spAutoFit/>
          </a:bodyPr>
          <a:lstStyle/>
          <a:p>
            <a:pPr marL="12700">
              <a:lnSpc>
                <a:spcPts val="2210"/>
              </a:lnSpc>
            </a:pPr>
            <a:r>
              <a:rPr sz="1850" b="1" spc="90" dirty="0">
                <a:solidFill>
                  <a:srgbClr val="FFFFFF"/>
                </a:solidFill>
                <a:latin typeface="Roboto"/>
                <a:cs typeface="Roboto"/>
              </a:rPr>
              <a:t>Llegadas</a:t>
            </a:r>
            <a:endParaRPr sz="1850">
              <a:latin typeface="Roboto"/>
              <a:cs typeface="Roboto"/>
            </a:endParaRPr>
          </a:p>
        </p:txBody>
      </p:sp>
      <p:sp>
        <p:nvSpPr>
          <p:cNvPr id="57" name="object 57"/>
          <p:cNvSpPr txBox="1"/>
          <p:nvPr/>
        </p:nvSpPr>
        <p:spPr>
          <a:xfrm>
            <a:off x="6640192" y="2938542"/>
            <a:ext cx="429259" cy="231140"/>
          </a:xfrm>
          <a:prstGeom prst="rect">
            <a:avLst/>
          </a:prstGeom>
        </p:spPr>
        <p:txBody>
          <a:bodyPr vert="horz" wrap="square" lIns="0" tIns="12065" rIns="0" bIns="0" rtlCol="0">
            <a:spAutoFit/>
          </a:bodyPr>
          <a:lstStyle/>
          <a:p>
            <a:pPr marL="12700">
              <a:lnSpc>
                <a:spcPct val="100000"/>
              </a:lnSpc>
              <a:spcBef>
                <a:spcPts val="95"/>
              </a:spcBef>
            </a:pPr>
            <a:r>
              <a:rPr sz="1350" b="1" spc="-20" dirty="0">
                <a:solidFill>
                  <a:srgbClr val="FFFFFF"/>
                </a:solidFill>
                <a:latin typeface="Roboto"/>
                <a:cs typeface="Roboto"/>
              </a:rPr>
              <a:t>225K</a:t>
            </a:r>
            <a:endParaRPr sz="1350">
              <a:latin typeface="Roboto"/>
              <a:cs typeface="Roboto"/>
            </a:endParaRPr>
          </a:p>
        </p:txBody>
      </p:sp>
      <p:sp>
        <p:nvSpPr>
          <p:cNvPr id="58" name="object 58"/>
          <p:cNvSpPr txBox="1"/>
          <p:nvPr/>
        </p:nvSpPr>
        <p:spPr>
          <a:xfrm>
            <a:off x="7399179" y="2516426"/>
            <a:ext cx="429259" cy="231140"/>
          </a:xfrm>
          <a:prstGeom prst="rect">
            <a:avLst/>
          </a:prstGeom>
        </p:spPr>
        <p:txBody>
          <a:bodyPr vert="horz" wrap="square" lIns="0" tIns="12065" rIns="0" bIns="0" rtlCol="0">
            <a:spAutoFit/>
          </a:bodyPr>
          <a:lstStyle/>
          <a:p>
            <a:pPr marL="12700">
              <a:lnSpc>
                <a:spcPct val="100000"/>
              </a:lnSpc>
              <a:spcBef>
                <a:spcPts val="95"/>
              </a:spcBef>
            </a:pPr>
            <a:r>
              <a:rPr sz="1350" b="1" spc="-20" dirty="0">
                <a:solidFill>
                  <a:srgbClr val="FFFFFF"/>
                </a:solidFill>
                <a:latin typeface="Roboto"/>
                <a:cs typeface="Roboto"/>
              </a:rPr>
              <a:t>316K</a:t>
            </a:r>
            <a:endParaRPr sz="1350">
              <a:latin typeface="Roboto"/>
              <a:cs typeface="Roboto"/>
            </a:endParaRPr>
          </a:p>
        </p:txBody>
      </p:sp>
      <p:sp>
        <p:nvSpPr>
          <p:cNvPr id="59" name="object 59"/>
          <p:cNvSpPr txBox="1"/>
          <p:nvPr/>
        </p:nvSpPr>
        <p:spPr>
          <a:xfrm>
            <a:off x="6554288" y="4655535"/>
            <a:ext cx="1199515" cy="294005"/>
          </a:xfrm>
          <a:prstGeom prst="rect">
            <a:avLst/>
          </a:prstGeom>
        </p:spPr>
        <p:txBody>
          <a:bodyPr vert="horz" wrap="square" lIns="0" tIns="13335" rIns="0" bIns="0" rtlCol="0">
            <a:spAutoFit/>
          </a:bodyPr>
          <a:lstStyle/>
          <a:p>
            <a:pPr marL="12700">
              <a:lnSpc>
                <a:spcPct val="100000"/>
              </a:lnSpc>
              <a:spcBef>
                <a:spcPts val="105"/>
              </a:spcBef>
              <a:tabLst>
                <a:tab pos="913765" algn="l"/>
              </a:tabLst>
            </a:pPr>
            <a:r>
              <a:rPr sz="1750" b="1" spc="-20" dirty="0">
                <a:solidFill>
                  <a:srgbClr val="737373"/>
                </a:solidFill>
                <a:latin typeface="Roboto"/>
                <a:cs typeface="Roboto"/>
              </a:rPr>
              <a:t>EEUU</a:t>
            </a:r>
            <a:r>
              <a:rPr sz="1750" b="1" dirty="0">
                <a:solidFill>
                  <a:srgbClr val="737373"/>
                </a:solidFill>
                <a:latin typeface="Roboto"/>
                <a:cs typeface="Roboto"/>
              </a:rPr>
              <a:t>	</a:t>
            </a:r>
            <a:r>
              <a:rPr sz="1750" b="1" spc="-25" dirty="0">
                <a:solidFill>
                  <a:srgbClr val="737373"/>
                </a:solidFill>
                <a:latin typeface="Roboto"/>
                <a:cs typeface="Roboto"/>
              </a:rPr>
              <a:t>UE</a:t>
            </a:r>
            <a:endParaRPr sz="1750">
              <a:latin typeface="Roboto"/>
              <a:cs typeface="Roboto"/>
            </a:endParaRPr>
          </a:p>
        </p:txBody>
      </p:sp>
      <p:sp>
        <p:nvSpPr>
          <p:cNvPr id="60" name="object 60"/>
          <p:cNvSpPr txBox="1"/>
          <p:nvPr/>
        </p:nvSpPr>
        <p:spPr>
          <a:xfrm>
            <a:off x="5975234" y="7189343"/>
            <a:ext cx="305435" cy="893444"/>
          </a:xfrm>
          <a:prstGeom prst="rect">
            <a:avLst/>
          </a:prstGeom>
        </p:spPr>
        <p:txBody>
          <a:bodyPr vert="vert270" wrap="square" lIns="0" tIns="0" rIns="0" bIns="0" rtlCol="0">
            <a:spAutoFit/>
          </a:bodyPr>
          <a:lstStyle/>
          <a:p>
            <a:pPr marL="12700">
              <a:lnSpc>
                <a:spcPts val="2210"/>
              </a:lnSpc>
            </a:pPr>
            <a:r>
              <a:rPr sz="1850" b="1" spc="75" dirty="0">
                <a:solidFill>
                  <a:srgbClr val="FFFFFF"/>
                </a:solidFill>
                <a:latin typeface="Roboto"/>
                <a:cs typeface="Roboto"/>
              </a:rPr>
              <a:t>Estadia</a:t>
            </a:r>
            <a:endParaRPr sz="1850">
              <a:latin typeface="Roboto"/>
              <a:cs typeface="Roboto"/>
            </a:endParaRPr>
          </a:p>
        </p:txBody>
      </p:sp>
      <p:sp>
        <p:nvSpPr>
          <p:cNvPr id="61" name="object 61"/>
          <p:cNvSpPr txBox="1"/>
          <p:nvPr/>
        </p:nvSpPr>
        <p:spPr>
          <a:xfrm>
            <a:off x="6743627" y="6792793"/>
            <a:ext cx="222250" cy="231140"/>
          </a:xfrm>
          <a:prstGeom prst="rect">
            <a:avLst/>
          </a:prstGeom>
        </p:spPr>
        <p:txBody>
          <a:bodyPr vert="horz" wrap="square" lIns="0" tIns="12065" rIns="0" bIns="0" rtlCol="0">
            <a:spAutoFit/>
          </a:bodyPr>
          <a:lstStyle/>
          <a:p>
            <a:pPr marL="12700">
              <a:lnSpc>
                <a:spcPct val="100000"/>
              </a:lnSpc>
              <a:spcBef>
                <a:spcPts val="95"/>
              </a:spcBef>
            </a:pPr>
            <a:r>
              <a:rPr sz="1350" b="1" spc="-25" dirty="0">
                <a:solidFill>
                  <a:srgbClr val="FFFFFF"/>
                </a:solidFill>
                <a:latin typeface="Roboto"/>
                <a:cs typeface="Roboto"/>
              </a:rPr>
              <a:t>14</a:t>
            </a:r>
            <a:endParaRPr sz="1350">
              <a:latin typeface="Roboto"/>
              <a:cs typeface="Roboto"/>
            </a:endParaRPr>
          </a:p>
        </p:txBody>
      </p:sp>
      <p:sp>
        <p:nvSpPr>
          <p:cNvPr id="62" name="object 62"/>
          <p:cNvSpPr txBox="1"/>
          <p:nvPr/>
        </p:nvSpPr>
        <p:spPr>
          <a:xfrm>
            <a:off x="7502614" y="6240924"/>
            <a:ext cx="222250" cy="231140"/>
          </a:xfrm>
          <a:prstGeom prst="rect">
            <a:avLst/>
          </a:prstGeom>
        </p:spPr>
        <p:txBody>
          <a:bodyPr vert="horz" wrap="square" lIns="0" tIns="12065" rIns="0" bIns="0" rtlCol="0">
            <a:spAutoFit/>
          </a:bodyPr>
          <a:lstStyle/>
          <a:p>
            <a:pPr marL="12700">
              <a:lnSpc>
                <a:spcPct val="100000"/>
              </a:lnSpc>
              <a:spcBef>
                <a:spcPts val="95"/>
              </a:spcBef>
            </a:pPr>
            <a:r>
              <a:rPr sz="1350" b="1" spc="-25" dirty="0">
                <a:solidFill>
                  <a:srgbClr val="FFFFFF"/>
                </a:solidFill>
                <a:latin typeface="Roboto"/>
                <a:cs typeface="Roboto"/>
              </a:rPr>
              <a:t>20</a:t>
            </a:r>
            <a:endParaRPr sz="1350">
              <a:latin typeface="Roboto"/>
              <a:cs typeface="Roboto"/>
            </a:endParaRPr>
          </a:p>
        </p:txBody>
      </p:sp>
      <p:sp>
        <p:nvSpPr>
          <p:cNvPr id="63" name="object 63"/>
          <p:cNvSpPr txBox="1"/>
          <p:nvPr/>
        </p:nvSpPr>
        <p:spPr>
          <a:xfrm>
            <a:off x="6554288" y="8602771"/>
            <a:ext cx="1199515" cy="294005"/>
          </a:xfrm>
          <a:prstGeom prst="rect">
            <a:avLst/>
          </a:prstGeom>
        </p:spPr>
        <p:txBody>
          <a:bodyPr vert="horz" wrap="square" lIns="0" tIns="13335" rIns="0" bIns="0" rtlCol="0">
            <a:spAutoFit/>
          </a:bodyPr>
          <a:lstStyle/>
          <a:p>
            <a:pPr marL="12700">
              <a:lnSpc>
                <a:spcPct val="100000"/>
              </a:lnSpc>
              <a:spcBef>
                <a:spcPts val="105"/>
              </a:spcBef>
              <a:tabLst>
                <a:tab pos="913765" algn="l"/>
              </a:tabLst>
            </a:pPr>
            <a:r>
              <a:rPr sz="1750" b="1" spc="-20" dirty="0">
                <a:solidFill>
                  <a:srgbClr val="737373"/>
                </a:solidFill>
                <a:latin typeface="Roboto"/>
                <a:cs typeface="Roboto"/>
              </a:rPr>
              <a:t>EEUU</a:t>
            </a:r>
            <a:r>
              <a:rPr sz="1750" b="1" dirty="0">
                <a:solidFill>
                  <a:srgbClr val="737373"/>
                </a:solidFill>
                <a:latin typeface="Roboto"/>
                <a:cs typeface="Roboto"/>
              </a:rPr>
              <a:t>	</a:t>
            </a:r>
            <a:r>
              <a:rPr sz="1750" b="1" spc="-25" dirty="0">
                <a:solidFill>
                  <a:srgbClr val="737373"/>
                </a:solidFill>
                <a:latin typeface="Roboto"/>
                <a:cs typeface="Roboto"/>
              </a:rPr>
              <a:t>UE</a:t>
            </a:r>
            <a:endParaRPr sz="1750">
              <a:latin typeface="Roboto"/>
              <a:cs typeface="Roboto"/>
            </a:endParaRPr>
          </a:p>
        </p:txBody>
      </p:sp>
      <p:sp>
        <p:nvSpPr>
          <p:cNvPr id="64" name="object 64"/>
          <p:cNvSpPr txBox="1"/>
          <p:nvPr/>
        </p:nvSpPr>
        <p:spPr>
          <a:xfrm>
            <a:off x="8849620" y="6754674"/>
            <a:ext cx="305435" cy="1885950"/>
          </a:xfrm>
          <a:prstGeom prst="rect">
            <a:avLst/>
          </a:prstGeom>
        </p:spPr>
        <p:txBody>
          <a:bodyPr vert="vert270" wrap="square" lIns="0" tIns="0" rIns="0" bIns="0" rtlCol="0">
            <a:spAutoFit/>
          </a:bodyPr>
          <a:lstStyle/>
          <a:p>
            <a:pPr marL="12700">
              <a:lnSpc>
                <a:spcPts val="2210"/>
              </a:lnSpc>
            </a:pPr>
            <a:r>
              <a:rPr sz="1850" b="1" spc="85" dirty="0">
                <a:solidFill>
                  <a:srgbClr val="FFFFFF"/>
                </a:solidFill>
                <a:latin typeface="Roboto"/>
                <a:cs typeface="Roboto"/>
              </a:rPr>
              <a:t>Estacionalidad*</a:t>
            </a:r>
            <a:endParaRPr sz="1850">
              <a:latin typeface="Roboto"/>
              <a:cs typeface="Roboto"/>
            </a:endParaRPr>
          </a:p>
        </p:txBody>
      </p:sp>
      <p:sp>
        <p:nvSpPr>
          <p:cNvPr id="65" name="object 65"/>
          <p:cNvSpPr txBox="1"/>
          <p:nvPr/>
        </p:nvSpPr>
        <p:spPr>
          <a:xfrm>
            <a:off x="9519587" y="6815069"/>
            <a:ext cx="361950" cy="231140"/>
          </a:xfrm>
          <a:prstGeom prst="rect">
            <a:avLst/>
          </a:prstGeom>
        </p:spPr>
        <p:txBody>
          <a:bodyPr vert="horz" wrap="square" lIns="0" tIns="12065" rIns="0" bIns="0" rtlCol="0">
            <a:spAutoFit/>
          </a:bodyPr>
          <a:lstStyle/>
          <a:p>
            <a:pPr marL="12700">
              <a:lnSpc>
                <a:spcPct val="100000"/>
              </a:lnSpc>
              <a:spcBef>
                <a:spcPts val="95"/>
              </a:spcBef>
            </a:pPr>
            <a:r>
              <a:rPr sz="1350" b="1" spc="-20" dirty="0">
                <a:solidFill>
                  <a:srgbClr val="FFFFFF"/>
                </a:solidFill>
                <a:latin typeface="Roboto"/>
                <a:cs typeface="Roboto"/>
              </a:rPr>
              <a:t>0,37</a:t>
            </a:r>
            <a:endParaRPr sz="1350">
              <a:latin typeface="Roboto"/>
              <a:cs typeface="Roboto"/>
            </a:endParaRPr>
          </a:p>
        </p:txBody>
      </p:sp>
      <p:sp>
        <p:nvSpPr>
          <p:cNvPr id="66" name="object 66"/>
          <p:cNvSpPr txBox="1"/>
          <p:nvPr/>
        </p:nvSpPr>
        <p:spPr>
          <a:xfrm>
            <a:off x="10293587" y="6949351"/>
            <a:ext cx="361950" cy="231140"/>
          </a:xfrm>
          <a:prstGeom prst="rect">
            <a:avLst/>
          </a:prstGeom>
        </p:spPr>
        <p:txBody>
          <a:bodyPr vert="horz" wrap="square" lIns="0" tIns="12065" rIns="0" bIns="0" rtlCol="0">
            <a:spAutoFit/>
          </a:bodyPr>
          <a:lstStyle/>
          <a:p>
            <a:pPr marL="12700">
              <a:lnSpc>
                <a:spcPct val="100000"/>
              </a:lnSpc>
              <a:spcBef>
                <a:spcPts val="95"/>
              </a:spcBef>
            </a:pPr>
            <a:r>
              <a:rPr sz="1350" b="1" spc="-20" dirty="0">
                <a:solidFill>
                  <a:srgbClr val="FFFFFF"/>
                </a:solidFill>
                <a:latin typeface="Roboto"/>
                <a:cs typeface="Roboto"/>
              </a:rPr>
              <a:t>0,36</a:t>
            </a:r>
            <a:endParaRPr sz="1350">
              <a:latin typeface="Roboto"/>
              <a:cs typeface="Roboto"/>
            </a:endParaRPr>
          </a:p>
        </p:txBody>
      </p:sp>
      <p:sp>
        <p:nvSpPr>
          <p:cNvPr id="67" name="object 67"/>
          <p:cNvSpPr txBox="1"/>
          <p:nvPr/>
        </p:nvSpPr>
        <p:spPr>
          <a:xfrm>
            <a:off x="8849611" y="3140420"/>
            <a:ext cx="305435" cy="878205"/>
          </a:xfrm>
          <a:prstGeom prst="rect">
            <a:avLst/>
          </a:prstGeom>
        </p:spPr>
        <p:txBody>
          <a:bodyPr vert="vert270" wrap="square" lIns="0" tIns="0" rIns="0" bIns="0" rtlCol="0">
            <a:spAutoFit/>
          </a:bodyPr>
          <a:lstStyle/>
          <a:p>
            <a:pPr marL="12700">
              <a:lnSpc>
                <a:spcPts val="2210"/>
              </a:lnSpc>
            </a:pPr>
            <a:r>
              <a:rPr sz="1850" b="1" spc="75" dirty="0">
                <a:solidFill>
                  <a:srgbClr val="FFFFFF"/>
                </a:solidFill>
                <a:latin typeface="Roboto"/>
                <a:cs typeface="Roboto"/>
              </a:rPr>
              <a:t>Divisas</a:t>
            </a:r>
            <a:endParaRPr sz="1850">
              <a:latin typeface="Roboto"/>
              <a:cs typeface="Roboto"/>
            </a:endParaRPr>
          </a:p>
        </p:txBody>
      </p:sp>
      <p:sp>
        <p:nvSpPr>
          <p:cNvPr id="68" name="object 68"/>
          <p:cNvSpPr txBox="1"/>
          <p:nvPr/>
        </p:nvSpPr>
        <p:spPr>
          <a:xfrm>
            <a:off x="9517401" y="2626355"/>
            <a:ext cx="429259" cy="231140"/>
          </a:xfrm>
          <a:prstGeom prst="rect">
            <a:avLst/>
          </a:prstGeom>
        </p:spPr>
        <p:txBody>
          <a:bodyPr vert="horz" wrap="square" lIns="0" tIns="12065" rIns="0" bIns="0" rtlCol="0">
            <a:spAutoFit/>
          </a:bodyPr>
          <a:lstStyle/>
          <a:p>
            <a:pPr marL="12700">
              <a:lnSpc>
                <a:spcPct val="100000"/>
              </a:lnSpc>
              <a:spcBef>
                <a:spcPts val="95"/>
              </a:spcBef>
            </a:pPr>
            <a:r>
              <a:rPr sz="1350" b="1" spc="-20" dirty="0">
                <a:solidFill>
                  <a:srgbClr val="FFFFFF"/>
                </a:solidFill>
                <a:latin typeface="Roboto"/>
                <a:cs typeface="Roboto"/>
              </a:rPr>
              <a:t>301K</a:t>
            </a:r>
            <a:endParaRPr sz="1350">
              <a:latin typeface="Roboto"/>
              <a:cs typeface="Roboto"/>
            </a:endParaRPr>
          </a:p>
        </p:txBody>
      </p:sp>
      <p:sp>
        <p:nvSpPr>
          <p:cNvPr id="69" name="object 69"/>
          <p:cNvSpPr txBox="1"/>
          <p:nvPr/>
        </p:nvSpPr>
        <p:spPr>
          <a:xfrm>
            <a:off x="10276389" y="2397303"/>
            <a:ext cx="429259" cy="231140"/>
          </a:xfrm>
          <a:prstGeom prst="rect">
            <a:avLst/>
          </a:prstGeom>
        </p:spPr>
        <p:txBody>
          <a:bodyPr vert="horz" wrap="square" lIns="0" tIns="12065" rIns="0" bIns="0" rtlCol="0">
            <a:spAutoFit/>
          </a:bodyPr>
          <a:lstStyle/>
          <a:p>
            <a:pPr marL="12700">
              <a:lnSpc>
                <a:spcPct val="100000"/>
              </a:lnSpc>
              <a:spcBef>
                <a:spcPts val="95"/>
              </a:spcBef>
            </a:pPr>
            <a:r>
              <a:rPr sz="1350" b="1" spc="-20" dirty="0">
                <a:solidFill>
                  <a:srgbClr val="FFFFFF"/>
                </a:solidFill>
                <a:latin typeface="Roboto"/>
                <a:cs typeface="Roboto"/>
              </a:rPr>
              <a:t>367K</a:t>
            </a:r>
            <a:endParaRPr sz="1350">
              <a:latin typeface="Roboto"/>
              <a:cs typeface="Roboto"/>
            </a:endParaRPr>
          </a:p>
        </p:txBody>
      </p:sp>
      <p:sp>
        <p:nvSpPr>
          <p:cNvPr id="70" name="object 70"/>
          <p:cNvSpPr txBox="1"/>
          <p:nvPr/>
        </p:nvSpPr>
        <p:spPr>
          <a:xfrm>
            <a:off x="9431497" y="4655535"/>
            <a:ext cx="1199515" cy="294005"/>
          </a:xfrm>
          <a:prstGeom prst="rect">
            <a:avLst/>
          </a:prstGeom>
        </p:spPr>
        <p:txBody>
          <a:bodyPr vert="horz" wrap="square" lIns="0" tIns="13335" rIns="0" bIns="0" rtlCol="0">
            <a:spAutoFit/>
          </a:bodyPr>
          <a:lstStyle/>
          <a:p>
            <a:pPr marL="12700">
              <a:lnSpc>
                <a:spcPct val="100000"/>
              </a:lnSpc>
              <a:spcBef>
                <a:spcPts val="105"/>
              </a:spcBef>
              <a:tabLst>
                <a:tab pos="913765" algn="l"/>
              </a:tabLst>
            </a:pPr>
            <a:r>
              <a:rPr sz="1750" b="1" spc="-20" dirty="0">
                <a:solidFill>
                  <a:srgbClr val="737373"/>
                </a:solidFill>
                <a:latin typeface="Roboto"/>
                <a:cs typeface="Roboto"/>
              </a:rPr>
              <a:t>EEUU</a:t>
            </a:r>
            <a:r>
              <a:rPr sz="1750" b="1" dirty="0">
                <a:solidFill>
                  <a:srgbClr val="737373"/>
                </a:solidFill>
                <a:latin typeface="Roboto"/>
                <a:cs typeface="Roboto"/>
              </a:rPr>
              <a:t>	</a:t>
            </a:r>
            <a:r>
              <a:rPr sz="1750" b="1" spc="-25" dirty="0">
                <a:solidFill>
                  <a:srgbClr val="737373"/>
                </a:solidFill>
                <a:latin typeface="Roboto"/>
                <a:cs typeface="Roboto"/>
              </a:rPr>
              <a:t>UE</a:t>
            </a:r>
            <a:endParaRPr sz="1750">
              <a:latin typeface="Roboto"/>
              <a:cs typeface="Roboto"/>
            </a:endParaRPr>
          </a:p>
        </p:txBody>
      </p:sp>
      <p:sp>
        <p:nvSpPr>
          <p:cNvPr id="71" name="object 71"/>
          <p:cNvSpPr txBox="1"/>
          <p:nvPr/>
        </p:nvSpPr>
        <p:spPr>
          <a:xfrm>
            <a:off x="8948919" y="8625046"/>
            <a:ext cx="2101215" cy="1083945"/>
          </a:xfrm>
          <a:prstGeom prst="rect">
            <a:avLst/>
          </a:prstGeom>
        </p:spPr>
        <p:txBody>
          <a:bodyPr vert="horz" wrap="square" lIns="0" tIns="13335" rIns="0" bIns="0" rtlCol="0">
            <a:spAutoFit/>
          </a:bodyPr>
          <a:lstStyle/>
          <a:p>
            <a:pPr marL="30480" algn="ctr">
              <a:lnSpc>
                <a:spcPct val="100000"/>
              </a:lnSpc>
              <a:spcBef>
                <a:spcPts val="105"/>
              </a:spcBef>
              <a:tabLst>
                <a:tab pos="931544" algn="l"/>
              </a:tabLst>
            </a:pPr>
            <a:r>
              <a:rPr sz="1750" b="1" spc="-20" dirty="0">
                <a:solidFill>
                  <a:srgbClr val="737373"/>
                </a:solidFill>
                <a:latin typeface="Roboto"/>
                <a:cs typeface="Roboto"/>
              </a:rPr>
              <a:t>EEUU</a:t>
            </a:r>
            <a:r>
              <a:rPr sz="1750" b="1" dirty="0">
                <a:solidFill>
                  <a:srgbClr val="737373"/>
                </a:solidFill>
                <a:latin typeface="Roboto"/>
                <a:cs typeface="Roboto"/>
              </a:rPr>
              <a:t>	</a:t>
            </a:r>
            <a:r>
              <a:rPr sz="1750" b="1" spc="-25" dirty="0">
                <a:solidFill>
                  <a:srgbClr val="737373"/>
                </a:solidFill>
                <a:latin typeface="Roboto"/>
                <a:cs typeface="Roboto"/>
              </a:rPr>
              <a:t>UE</a:t>
            </a:r>
            <a:endParaRPr sz="1750">
              <a:latin typeface="Roboto"/>
              <a:cs typeface="Roboto"/>
            </a:endParaRPr>
          </a:p>
          <a:p>
            <a:pPr>
              <a:lnSpc>
                <a:spcPct val="100000"/>
              </a:lnSpc>
              <a:spcBef>
                <a:spcPts val="55"/>
              </a:spcBef>
            </a:pPr>
            <a:endParaRPr sz="1650">
              <a:latin typeface="Roboto"/>
              <a:cs typeface="Roboto"/>
            </a:endParaRPr>
          </a:p>
          <a:p>
            <a:pPr marL="12700" marR="5080" algn="ctr">
              <a:lnSpc>
                <a:spcPts val="2020"/>
              </a:lnSpc>
            </a:pPr>
            <a:r>
              <a:rPr sz="1750" b="1" dirty="0">
                <a:solidFill>
                  <a:srgbClr val="737373"/>
                </a:solidFill>
                <a:latin typeface="Roboto"/>
                <a:cs typeface="Roboto"/>
              </a:rPr>
              <a:t>*Gini</a:t>
            </a:r>
            <a:r>
              <a:rPr sz="1750" b="1" spc="-5" dirty="0">
                <a:solidFill>
                  <a:srgbClr val="737373"/>
                </a:solidFill>
                <a:latin typeface="Roboto"/>
                <a:cs typeface="Roboto"/>
              </a:rPr>
              <a:t> </a:t>
            </a:r>
            <a:r>
              <a:rPr sz="1750" b="1" dirty="0">
                <a:solidFill>
                  <a:srgbClr val="737373"/>
                </a:solidFill>
                <a:latin typeface="Roboto"/>
                <a:cs typeface="Roboto"/>
              </a:rPr>
              <a:t>index:</a:t>
            </a:r>
            <a:r>
              <a:rPr sz="1750" b="1" spc="-5" dirty="0">
                <a:solidFill>
                  <a:srgbClr val="737373"/>
                </a:solidFill>
                <a:latin typeface="Roboto"/>
                <a:cs typeface="Roboto"/>
              </a:rPr>
              <a:t> </a:t>
            </a:r>
            <a:r>
              <a:rPr sz="1750" dirty="0">
                <a:solidFill>
                  <a:srgbClr val="737373"/>
                </a:solidFill>
                <a:latin typeface="Roboto"/>
                <a:cs typeface="Roboto"/>
              </a:rPr>
              <a:t>A</a:t>
            </a:r>
            <a:r>
              <a:rPr sz="1750" spc="-10" dirty="0">
                <a:solidFill>
                  <a:srgbClr val="737373"/>
                </a:solidFill>
                <a:latin typeface="Roboto"/>
                <a:cs typeface="Roboto"/>
              </a:rPr>
              <a:t> menor </a:t>
            </a:r>
            <a:r>
              <a:rPr sz="1750" dirty="0">
                <a:solidFill>
                  <a:srgbClr val="737373"/>
                </a:solidFill>
                <a:latin typeface="Roboto"/>
                <a:cs typeface="Roboto"/>
              </a:rPr>
              <a:t>valor</a:t>
            </a:r>
            <a:r>
              <a:rPr sz="1750" spc="-85" dirty="0">
                <a:solidFill>
                  <a:srgbClr val="737373"/>
                </a:solidFill>
                <a:latin typeface="Roboto"/>
                <a:cs typeface="Roboto"/>
              </a:rPr>
              <a:t> </a:t>
            </a:r>
            <a:r>
              <a:rPr sz="1750" dirty="0">
                <a:solidFill>
                  <a:srgbClr val="737373"/>
                </a:solidFill>
                <a:latin typeface="Roboto"/>
                <a:cs typeface="Roboto"/>
              </a:rPr>
              <a:t>mejor</a:t>
            </a:r>
            <a:r>
              <a:rPr sz="1750" spc="-80" dirty="0">
                <a:solidFill>
                  <a:srgbClr val="737373"/>
                </a:solidFill>
                <a:latin typeface="Roboto"/>
                <a:cs typeface="Roboto"/>
              </a:rPr>
              <a:t> </a:t>
            </a:r>
            <a:r>
              <a:rPr sz="1750" spc="-10" dirty="0">
                <a:solidFill>
                  <a:srgbClr val="737373"/>
                </a:solidFill>
                <a:latin typeface="Roboto"/>
                <a:cs typeface="Roboto"/>
              </a:rPr>
              <a:t>situación</a:t>
            </a:r>
            <a:endParaRPr sz="1750">
              <a:latin typeface="Roboto"/>
              <a:cs typeface="Roboto"/>
            </a:endParaRPr>
          </a:p>
        </p:txBody>
      </p:sp>
      <p:sp>
        <p:nvSpPr>
          <p:cNvPr id="72" name="object 72"/>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4.</a:t>
            </a:r>
            <a:r>
              <a:rPr spc="-70" dirty="0"/>
              <a:t> </a:t>
            </a:r>
            <a:r>
              <a:rPr spc="-30" dirty="0"/>
              <a:t>Situación</a:t>
            </a:r>
            <a:r>
              <a:rPr spc="-70" dirty="0"/>
              <a:t> </a:t>
            </a:r>
            <a:r>
              <a:rPr dirty="0"/>
              <a:t>de</a:t>
            </a:r>
            <a:r>
              <a:rPr spc="-65" dirty="0"/>
              <a:t> </a:t>
            </a:r>
            <a:r>
              <a:rPr spc="-10" dirty="0"/>
              <a:t>mercados</a:t>
            </a:r>
          </a:p>
        </p:txBody>
      </p:sp>
      <p:sp>
        <p:nvSpPr>
          <p:cNvPr id="73" name="object 73"/>
          <p:cNvSpPr txBox="1"/>
          <p:nvPr/>
        </p:nvSpPr>
        <p:spPr>
          <a:xfrm>
            <a:off x="13084117" y="4023817"/>
            <a:ext cx="889000" cy="294005"/>
          </a:xfrm>
          <a:prstGeom prst="rect">
            <a:avLst/>
          </a:prstGeom>
        </p:spPr>
        <p:txBody>
          <a:bodyPr vert="horz" wrap="square" lIns="0" tIns="13335" rIns="0" bIns="0" rtlCol="0">
            <a:spAutoFit/>
          </a:bodyPr>
          <a:lstStyle/>
          <a:p>
            <a:pPr marL="12700">
              <a:lnSpc>
                <a:spcPct val="100000"/>
              </a:lnSpc>
              <a:spcBef>
                <a:spcPts val="105"/>
              </a:spcBef>
            </a:pPr>
            <a:r>
              <a:rPr sz="1750" b="1" spc="-10" dirty="0">
                <a:solidFill>
                  <a:srgbClr val="FFFFFF"/>
                </a:solidFill>
                <a:latin typeface="Roboto"/>
                <a:cs typeface="Roboto"/>
              </a:rPr>
              <a:t>EUROPA</a:t>
            </a:r>
            <a:endParaRPr sz="1750">
              <a:latin typeface="Roboto"/>
              <a:cs typeface="Roboto"/>
            </a:endParaRPr>
          </a:p>
        </p:txBody>
      </p:sp>
      <p:sp>
        <p:nvSpPr>
          <p:cNvPr id="74" name="object 74"/>
          <p:cNvSpPr txBox="1"/>
          <p:nvPr/>
        </p:nvSpPr>
        <p:spPr>
          <a:xfrm rot="16680000">
            <a:off x="3951770" y="8393175"/>
            <a:ext cx="859446" cy="273050"/>
          </a:xfrm>
          <a:prstGeom prst="rect">
            <a:avLst/>
          </a:prstGeom>
        </p:spPr>
        <p:txBody>
          <a:bodyPr vert="horz" wrap="square" lIns="0" tIns="0" rIns="0" bIns="0" rtlCol="0">
            <a:spAutoFit/>
          </a:bodyPr>
          <a:lstStyle/>
          <a:p>
            <a:pPr>
              <a:lnSpc>
                <a:spcPts val="1985"/>
              </a:lnSpc>
            </a:pPr>
            <a:r>
              <a:rPr sz="2150" b="1" spc="-25" dirty="0">
                <a:solidFill>
                  <a:srgbClr val="E3112B"/>
                </a:solidFill>
                <a:latin typeface="Arial"/>
                <a:cs typeface="Arial"/>
              </a:rPr>
              <a:t>CH</a:t>
            </a:r>
            <a:r>
              <a:rPr sz="3225" b="1" spc="-37" baseline="1291" dirty="0">
                <a:solidFill>
                  <a:srgbClr val="E3112B"/>
                </a:solidFill>
                <a:latin typeface="Arial"/>
                <a:cs typeface="Arial"/>
              </a:rPr>
              <a:t>ILE</a:t>
            </a:r>
            <a:endParaRPr sz="3225" baseline="1291">
              <a:latin typeface="Arial"/>
              <a:cs typeface="Arial"/>
            </a:endParaRPr>
          </a:p>
        </p:txBody>
      </p:sp>
      <p:sp>
        <p:nvSpPr>
          <p:cNvPr id="75" name="object 75"/>
          <p:cNvSpPr/>
          <p:nvPr/>
        </p:nvSpPr>
        <p:spPr>
          <a:xfrm>
            <a:off x="8827267" y="5054780"/>
            <a:ext cx="2049780" cy="48260"/>
          </a:xfrm>
          <a:custGeom>
            <a:avLst/>
            <a:gdLst/>
            <a:ahLst/>
            <a:cxnLst/>
            <a:rect l="l" t="t" r="r" b="b"/>
            <a:pathLst>
              <a:path w="2049779" h="48260">
                <a:moveTo>
                  <a:pt x="2049363" y="48220"/>
                </a:moveTo>
                <a:lnTo>
                  <a:pt x="0" y="48220"/>
                </a:lnTo>
                <a:lnTo>
                  <a:pt x="0" y="0"/>
                </a:lnTo>
                <a:lnTo>
                  <a:pt x="2049363" y="0"/>
                </a:lnTo>
                <a:lnTo>
                  <a:pt x="2049363" y="48220"/>
                </a:lnTo>
                <a:close/>
              </a:path>
            </a:pathLst>
          </a:custGeom>
          <a:solidFill>
            <a:srgbClr val="E3112B"/>
          </a:solidFill>
        </p:spPr>
        <p:txBody>
          <a:bodyPr wrap="square" lIns="0" tIns="0" rIns="0" bIns="0" rtlCol="0"/>
          <a:lstStyle/>
          <a:p>
            <a:endParaRPr/>
          </a:p>
        </p:txBody>
      </p:sp>
      <p:sp>
        <p:nvSpPr>
          <p:cNvPr id="76" name="object 76"/>
          <p:cNvSpPr/>
          <p:nvPr/>
        </p:nvSpPr>
        <p:spPr>
          <a:xfrm>
            <a:off x="5953546" y="5054780"/>
            <a:ext cx="2049780" cy="48260"/>
          </a:xfrm>
          <a:custGeom>
            <a:avLst/>
            <a:gdLst/>
            <a:ahLst/>
            <a:cxnLst/>
            <a:rect l="l" t="t" r="r" b="b"/>
            <a:pathLst>
              <a:path w="2049779" h="48260">
                <a:moveTo>
                  <a:pt x="2049363" y="48220"/>
                </a:moveTo>
                <a:lnTo>
                  <a:pt x="0" y="48220"/>
                </a:lnTo>
                <a:lnTo>
                  <a:pt x="0" y="0"/>
                </a:lnTo>
                <a:lnTo>
                  <a:pt x="2049363" y="0"/>
                </a:lnTo>
                <a:lnTo>
                  <a:pt x="2049363" y="48220"/>
                </a:lnTo>
                <a:close/>
              </a:path>
            </a:pathLst>
          </a:custGeom>
          <a:solidFill>
            <a:srgbClr val="E3112B"/>
          </a:solidFill>
        </p:spPr>
        <p:txBody>
          <a:bodyPr wrap="square" lIns="0" tIns="0" rIns="0" bIns="0" rtlCol="0"/>
          <a:lstStyle/>
          <a:p>
            <a:endParaRPr/>
          </a:p>
        </p:txBody>
      </p:sp>
      <p:pic>
        <p:nvPicPr>
          <p:cNvPr id="77" name="object 77"/>
          <p:cNvPicPr/>
          <p:nvPr/>
        </p:nvPicPr>
        <p:blipFill>
          <a:blip r:embed="rId10" cstate="print"/>
          <a:stretch>
            <a:fillRect/>
          </a:stretch>
        </p:blipFill>
        <p:spPr>
          <a:xfrm>
            <a:off x="17316450" y="237491"/>
            <a:ext cx="742949" cy="819149"/>
          </a:xfrm>
          <a:prstGeom prst="rect">
            <a:avLst/>
          </a:prstGeom>
        </p:spPr>
      </p:pic>
      <p:sp>
        <p:nvSpPr>
          <p:cNvPr id="78" name="object 78"/>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79" name="object 79"/>
          <p:cNvSpPr txBox="1"/>
          <p:nvPr/>
        </p:nvSpPr>
        <p:spPr>
          <a:xfrm>
            <a:off x="17811802" y="9932975"/>
            <a:ext cx="229235"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09</a:t>
            </a:r>
            <a:endParaRPr sz="900">
              <a:latin typeface="Arial"/>
              <a:cs typeface="Aria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184832"/>
            <a:ext cx="18120995" cy="9610725"/>
            <a:chOff x="0" y="184832"/>
            <a:chExt cx="18120995" cy="9610725"/>
          </a:xfrm>
        </p:grpSpPr>
        <p:sp>
          <p:nvSpPr>
            <p:cNvPr id="3" name="object 3"/>
            <p:cNvSpPr/>
            <p:nvPr/>
          </p:nvSpPr>
          <p:spPr>
            <a:xfrm>
              <a:off x="166956" y="1113693"/>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pic>
          <p:nvPicPr>
            <p:cNvPr id="4" name="object 4"/>
            <p:cNvPicPr/>
            <p:nvPr/>
          </p:nvPicPr>
          <p:blipFill>
            <a:blip r:embed="rId2" cstate="print"/>
            <a:stretch>
              <a:fillRect/>
            </a:stretch>
          </p:blipFill>
          <p:spPr>
            <a:xfrm>
              <a:off x="0" y="1241656"/>
              <a:ext cx="18093856" cy="8553449"/>
            </a:xfrm>
            <a:prstGeom prst="rect">
              <a:avLst/>
            </a:prstGeom>
          </p:spPr>
        </p:pic>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sp>
          <p:nvSpPr>
            <p:cNvPr id="6" name="object 6"/>
            <p:cNvSpPr/>
            <p:nvPr/>
          </p:nvSpPr>
          <p:spPr>
            <a:xfrm>
              <a:off x="12402096" y="5640782"/>
              <a:ext cx="5694680" cy="3437890"/>
            </a:xfrm>
            <a:custGeom>
              <a:avLst/>
              <a:gdLst/>
              <a:ahLst/>
              <a:cxnLst/>
              <a:rect l="l" t="t" r="r" b="b"/>
              <a:pathLst>
                <a:path w="5694680" h="3437890">
                  <a:moveTo>
                    <a:pt x="914960" y="0"/>
                  </a:moveTo>
                  <a:lnTo>
                    <a:pt x="5694151" y="0"/>
                  </a:lnTo>
                  <a:lnTo>
                    <a:pt x="5694151" y="3437558"/>
                  </a:lnTo>
                  <a:lnTo>
                    <a:pt x="914960" y="3437558"/>
                  </a:lnTo>
                  <a:lnTo>
                    <a:pt x="0" y="1718778"/>
                  </a:lnTo>
                  <a:lnTo>
                    <a:pt x="914960" y="0"/>
                  </a:lnTo>
                  <a:close/>
                </a:path>
              </a:pathLst>
            </a:custGeom>
            <a:solidFill>
              <a:srgbClr val="E3112B"/>
            </a:solidFill>
          </p:spPr>
          <p:txBody>
            <a:bodyPr wrap="square" lIns="0" tIns="0" rIns="0" bIns="0" rtlCol="0"/>
            <a:lstStyle/>
            <a:p>
              <a:endParaRPr/>
            </a:p>
          </p:txBody>
        </p:sp>
        <p:sp>
          <p:nvSpPr>
            <p:cNvPr id="7" name="object 7"/>
            <p:cNvSpPr/>
            <p:nvPr/>
          </p:nvSpPr>
          <p:spPr>
            <a:xfrm>
              <a:off x="14719975" y="4663870"/>
              <a:ext cx="1705610" cy="1705610"/>
            </a:xfrm>
            <a:custGeom>
              <a:avLst/>
              <a:gdLst/>
              <a:ahLst/>
              <a:cxnLst/>
              <a:rect l="l" t="t" r="r" b="b"/>
              <a:pathLst>
                <a:path w="1705609" h="1705610">
                  <a:moveTo>
                    <a:pt x="852629" y="1705230"/>
                  </a:moveTo>
                  <a:lnTo>
                    <a:pt x="804233" y="1703881"/>
                  </a:lnTo>
                  <a:lnTo>
                    <a:pt x="756558" y="1699880"/>
                  </a:lnTo>
                  <a:lnTo>
                    <a:pt x="709664" y="1693299"/>
                  </a:lnTo>
                  <a:lnTo>
                    <a:pt x="663622" y="1684211"/>
                  </a:lnTo>
                  <a:lnTo>
                    <a:pt x="618503" y="1672688"/>
                  </a:lnTo>
                  <a:lnTo>
                    <a:pt x="574381" y="1658801"/>
                  </a:lnTo>
                  <a:lnTo>
                    <a:pt x="531327" y="1642622"/>
                  </a:lnTo>
                  <a:lnTo>
                    <a:pt x="489412" y="1624224"/>
                  </a:lnTo>
                  <a:lnTo>
                    <a:pt x="448710" y="1603678"/>
                  </a:lnTo>
                  <a:lnTo>
                    <a:pt x="409291" y="1581057"/>
                  </a:lnTo>
                  <a:lnTo>
                    <a:pt x="371228" y="1556432"/>
                  </a:lnTo>
                  <a:lnTo>
                    <a:pt x="334593" y="1529875"/>
                  </a:lnTo>
                  <a:lnTo>
                    <a:pt x="299458" y="1501459"/>
                  </a:lnTo>
                  <a:lnTo>
                    <a:pt x="265895" y="1471255"/>
                  </a:lnTo>
                  <a:lnTo>
                    <a:pt x="233975" y="1439335"/>
                  </a:lnTo>
                  <a:lnTo>
                    <a:pt x="203771" y="1405772"/>
                  </a:lnTo>
                  <a:lnTo>
                    <a:pt x="175355" y="1370637"/>
                  </a:lnTo>
                  <a:lnTo>
                    <a:pt x="148798" y="1334002"/>
                  </a:lnTo>
                  <a:lnTo>
                    <a:pt x="124173" y="1295939"/>
                  </a:lnTo>
                  <a:lnTo>
                    <a:pt x="101552" y="1256520"/>
                  </a:lnTo>
                  <a:lnTo>
                    <a:pt x="81006" y="1215818"/>
                  </a:lnTo>
                  <a:lnTo>
                    <a:pt x="62608" y="1173903"/>
                  </a:lnTo>
                  <a:lnTo>
                    <a:pt x="46429" y="1130849"/>
                  </a:lnTo>
                  <a:lnTo>
                    <a:pt x="32542" y="1086726"/>
                  </a:lnTo>
                  <a:lnTo>
                    <a:pt x="21019" y="1041608"/>
                  </a:lnTo>
                  <a:lnTo>
                    <a:pt x="11931" y="995566"/>
                  </a:lnTo>
                  <a:lnTo>
                    <a:pt x="5350" y="948672"/>
                  </a:lnTo>
                  <a:lnTo>
                    <a:pt x="1349" y="900997"/>
                  </a:lnTo>
                  <a:lnTo>
                    <a:pt x="0" y="852613"/>
                  </a:lnTo>
                  <a:lnTo>
                    <a:pt x="1349" y="804233"/>
                  </a:lnTo>
                  <a:lnTo>
                    <a:pt x="5350" y="756558"/>
                  </a:lnTo>
                  <a:lnTo>
                    <a:pt x="11931" y="709664"/>
                  </a:lnTo>
                  <a:lnTo>
                    <a:pt x="21019" y="663622"/>
                  </a:lnTo>
                  <a:lnTo>
                    <a:pt x="32542" y="618503"/>
                  </a:lnTo>
                  <a:lnTo>
                    <a:pt x="46429" y="574381"/>
                  </a:lnTo>
                  <a:lnTo>
                    <a:pt x="62608" y="531327"/>
                  </a:lnTo>
                  <a:lnTo>
                    <a:pt x="81006" y="489412"/>
                  </a:lnTo>
                  <a:lnTo>
                    <a:pt x="101552" y="448710"/>
                  </a:lnTo>
                  <a:lnTo>
                    <a:pt x="124173" y="409291"/>
                  </a:lnTo>
                  <a:lnTo>
                    <a:pt x="148798" y="371228"/>
                  </a:lnTo>
                  <a:lnTo>
                    <a:pt x="175355" y="334593"/>
                  </a:lnTo>
                  <a:lnTo>
                    <a:pt x="203771" y="299458"/>
                  </a:lnTo>
                  <a:lnTo>
                    <a:pt x="233975" y="265895"/>
                  </a:lnTo>
                  <a:lnTo>
                    <a:pt x="265895" y="233975"/>
                  </a:lnTo>
                  <a:lnTo>
                    <a:pt x="299458" y="203771"/>
                  </a:lnTo>
                  <a:lnTo>
                    <a:pt x="334593" y="175355"/>
                  </a:lnTo>
                  <a:lnTo>
                    <a:pt x="371228" y="148798"/>
                  </a:lnTo>
                  <a:lnTo>
                    <a:pt x="409291" y="124173"/>
                  </a:lnTo>
                  <a:lnTo>
                    <a:pt x="448710" y="101552"/>
                  </a:lnTo>
                  <a:lnTo>
                    <a:pt x="489412" y="81006"/>
                  </a:lnTo>
                  <a:lnTo>
                    <a:pt x="531327" y="62608"/>
                  </a:lnTo>
                  <a:lnTo>
                    <a:pt x="574381" y="46429"/>
                  </a:lnTo>
                  <a:lnTo>
                    <a:pt x="618503" y="32542"/>
                  </a:lnTo>
                  <a:lnTo>
                    <a:pt x="663622" y="21019"/>
                  </a:lnTo>
                  <a:lnTo>
                    <a:pt x="709664" y="11931"/>
                  </a:lnTo>
                  <a:lnTo>
                    <a:pt x="756558" y="5350"/>
                  </a:lnTo>
                  <a:lnTo>
                    <a:pt x="804233" y="1349"/>
                  </a:lnTo>
                  <a:lnTo>
                    <a:pt x="852615" y="0"/>
                  </a:lnTo>
                  <a:lnTo>
                    <a:pt x="900997" y="1349"/>
                  </a:lnTo>
                  <a:lnTo>
                    <a:pt x="948672" y="5350"/>
                  </a:lnTo>
                  <a:lnTo>
                    <a:pt x="995566" y="11931"/>
                  </a:lnTo>
                  <a:lnTo>
                    <a:pt x="1041608" y="21019"/>
                  </a:lnTo>
                  <a:lnTo>
                    <a:pt x="1086726" y="32542"/>
                  </a:lnTo>
                  <a:lnTo>
                    <a:pt x="1130849" y="46429"/>
                  </a:lnTo>
                  <a:lnTo>
                    <a:pt x="1173903" y="62608"/>
                  </a:lnTo>
                  <a:lnTo>
                    <a:pt x="1215817" y="81006"/>
                  </a:lnTo>
                  <a:lnTo>
                    <a:pt x="1256520" y="101552"/>
                  </a:lnTo>
                  <a:lnTo>
                    <a:pt x="1295939" y="124173"/>
                  </a:lnTo>
                  <a:lnTo>
                    <a:pt x="1334001" y="148798"/>
                  </a:lnTo>
                  <a:lnTo>
                    <a:pt x="1370636" y="175355"/>
                  </a:lnTo>
                  <a:lnTo>
                    <a:pt x="1405772" y="203771"/>
                  </a:lnTo>
                  <a:lnTo>
                    <a:pt x="1439335" y="233975"/>
                  </a:lnTo>
                  <a:lnTo>
                    <a:pt x="1471255" y="265895"/>
                  </a:lnTo>
                  <a:lnTo>
                    <a:pt x="1501459" y="299458"/>
                  </a:lnTo>
                  <a:lnTo>
                    <a:pt x="1529875" y="334593"/>
                  </a:lnTo>
                  <a:lnTo>
                    <a:pt x="1556432" y="371228"/>
                  </a:lnTo>
                  <a:lnTo>
                    <a:pt x="1581057" y="409291"/>
                  </a:lnTo>
                  <a:lnTo>
                    <a:pt x="1603678" y="448710"/>
                  </a:lnTo>
                  <a:lnTo>
                    <a:pt x="1624224" y="489412"/>
                  </a:lnTo>
                  <a:lnTo>
                    <a:pt x="1642622" y="531327"/>
                  </a:lnTo>
                  <a:lnTo>
                    <a:pt x="1658800" y="574381"/>
                  </a:lnTo>
                  <a:lnTo>
                    <a:pt x="1672687" y="618503"/>
                  </a:lnTo>
                  <a:lnTo>
                    <a:pt x="1684211" y="663622"/>
                  </a:lnTo>
                  <a:lnTo>
                    <a:pt x="1693299" y="709664"/>
                  </a:lnTo>
                  <a:lnTo>
                    <a:pt x="1699880" y="756558"/>
                  </a:lnTo>
                  <a:lnTo>
                    <a:pt x="1703881" y="804233"/>
                  </a:lnTo>
                  <a:lnTo>
                    <a:pt x="1705230" y="852617"/>
                  </a:lnTo>
                  <a:lnTo>
                    <a:pt x="1703881" y="900997"/>
                  </a:lnTo>
                  <a:lnTo>
                    <a:pt x="1699880" y="948672"/>
                  </a:lnTo>
                  <a:lnTo>
                    <a:pt x="1693299" y="995566"/>
                  </a:lnTo>
                  <a:lnTo>
                    <a:pt x="1684211" y="1041608"/>
                  </a:lnTo>
                  <a:lnTo>
                    <a:pt x="1672687" y="1086726"/>
                  </a:lnTo>
                  <a:lnTo>
                    <a:pt x="1658800" y="1130849"/>
                  </a:lnTo>
                  <a:lnTo>
                    <a:pt x="1642622" y="1173903"/>
                  </a:lnTo>
                  <a:lnTo>
                    <a:pt x="1624224" y="1215818"/>
                  </a:lnTo>
                  <a:lnTo>
                    <a:pt x="1603678" y="1256520"/>
                  </a:lnTo>
                  <a:lnTo>
                    <a:pt x="1581057" y="1295939"/>
                  </a:lnTo>
                  <a:lnTo>
                    <a:pt x="1556432" y="1334002"/>
                  </a:lnTo>
                  <a:lnTo>
                    <a:pt x="1529875" y="1370637"/>
                  </a:lnTo>
                  <a:lnTo>
                    <a:pt x="1501459" y="1405772"/>
                  </a:lnTo>
                  <a:lnTo>
                    <a:pt x="1471255" y="1439335"/>
                  </a:lnTo>
                  <a:lnTo>
                    <a:pt x="1439335" y="1471255"/>
                  </a:lnTo>
                  <a:lnTo>
                    <a:pt x="1405772" y="1501459"/>
                  </a:lnTo>
                  <a:lnTo>
                    <a:pt x="1370636" y="1529875"/>
                  </a:lnTo>
                  <a:lnTo>
                    <a:pt x="1334001" y="1556432"/>
                  </a:lnTo>
                  <a:lnTo>
                    <a:pt x="1295939" y="1581057"/>
                  </a:lnTo>
                  <a:lnTo>
                    <a:pt x="1256520" y="1603678"/>
                  </a:lnTo>
                  <a:lnTo>
                    <a:pt x="1215817" y="1624224"/>
                  </a:lnTo>
                  <a:lnTo>
                    <a:pt x="1173903" y="1642622"/>
                  </a:lnTo>
                  <a:lnTo>
                    <a:pt x="1130849" y="1658801"/>
                  </a:lnTo>
                  <a:lnTo>
                    <a:pt x="1086726" y="1672688"/>
                  </a:lnTo>
                  <a:lnTo>
                    <a:pt x="1041608" y="1684211"/>
                  </a:lnTo>
                  <a:lnTo>
                    <a:pt x="995566" y="1693299"/>
                  </a:lnTo>
                  <a:lnTo>
                    <a:pt x="948672" y="1699880"/>
                  </a:lnTo>
                  <a:lnTo>
                    <a:pt x="900997" y="1703881"/>
                  </a:lnTo>
                  <a:lnTo>
                    <a:pt x="852629" y="1705230"/>
                  </a:lnTo>
                  <a:close/>
                </a:path>
              </a:pathLst>
            </a:custGeom>
            <a:solidFill>
              <a:srgbClr val="F5A316"/>
            </a:solidFill>
          </p:spPr>
          <p:txBody>
            <a:bodyPr wrap="square" lIns="0" tIns="0" rIns="0" bIns="0" rtlCol="0"/>
            <a:lstStyle/>
            <a:p>
              <a:endParaRPr/>
            </a:p>
          </p:txBody>
        </p:sp>
        <p:sp>
          <p:nvSpPr>
            <p:cNvPr id="8" name="object 8"/>
            <p:cNvSpPr/>
            <p:nvPr/>
          </p:nvSpPr>
          <p:spPr>
            <a:xfrm>
              <a:off x="15143418" y="5089218"/>
              <a:ext cx="863600" cy="855344"/>
            </a:xfrm>
            <a:custGeom>
              <a:avLst/>
              <a:gdLst/>
              <a:ahLst/>
              <a:cxnLst/>
              <a:rect l="l" t="t" r="r" b="b"/>
              <a:pathLst>
                <a:path w="863600" h="855345">
                  <a:moveTo>
                    <a:pt x="688328" y="705922"/>
                  </a:moveTo>
                  <a:lnTo>
                    <a:pt x="644335" y="701762"/>
                  </a:lnTo>
                  <a:lnTo>
                    <a:pt x="606887" y="690413"/>
                  </a:lnTo>
                  <a:lnTo>
                    <a:pt x="558520" y="663062"/>
                  </a:lnTo>
                  <a:lnTo>
                    <a:pt x="512725" y="623589"/>
                  </a:lnTo>
                  <a:lnTo>
                    <a:pt x="93615" y="206810"/>
                  </a:lnTo>
                  <a:lnTo>
                    <a:pt x="49588" y="158529"/>
                  </a:lnTo>
                  <a:lnTo>
                    <a:pt x="18220" y="109196"/>
                  </a:lnTo>
                  <a:lnTo>
                    <a:pt x="3006" y="61538"/>
                  </a:lnTo>
                  <a:lnTo>
                    <a:pt x="0" y="34742"/>
                  </a:lnTo>
                  <a:lnTo>
                    <a:pt x="321" y="5433"/>
                  </a:lnTo>
                  <a:lnTo>
                    <a:pt x="494" y="2693"/>
                  </a:lnTo>
                  <a:lnTo>
                    <a:pt x="2707" y="513"/>
                  </a:lnTo>
                  <a:lnTo>
                    <a:pt x="5463" y="319"/>
                  </a:lnTo>
                  <a:lnTo>
                    <a:pt x="34946" y="0"/>
                  </a:lnTo>
                  <a:lnTo>
                    <a:pt x="61895" y="2989"/>
                  </a:lnTo>
                  <a:lnTo>
                    <a:pt x="109801" y="18120"/>
                  </a:lnTo>
                  <a:lnTo>
                    <a:pt x="159407" y="49315"/>
                  </a:lnTo>
                  <a:lnTo>
                    <a:pt x="207955" y="93100"/>
                  </a:lnTo>
                  <a:lnTo>
                    <a:pt x="627043" y="509901"/>
                  </a:lnTo>
                  <a:lnTo>
                    <a:pt x="666753" y="555444"/>
                  </a:lnTo>
                  <a:lnTo>
                    <a:pt x="694258" y="603544"/>
                  </a:lnTo>
                  <a:lnTo>
                    <a:pt x="707141" y="648972"/>
                  </a:lnTo>
                  <a:lnTo>
                    <a:pt x="709624" y="673790"/>
                  </a:lnTo>
                  <a:lnTo>
                    <a:pt x="709316" y="700274"/>
                  </a:lnTo>
                  <a:lnTo>
                    <a:pt x="709142" y="703014"/>
                  </a:lnTo>
                  <a:lnTo>
                    <a:pt x="706907" y="705236"/>
                  </a:lnTo>
                  <a:lnTo>
                    <a:pt x="704152" y="705409"/>
                  </a:lnTo>
                  <a:lnTo>
                    <a:pt x="688328" y="705922"/>
                  </a:lnTo>
                  <a:close/>
                </a:path>
                <a:path w="863600" h="855345">
                  <a:moveTo>
                    <a:pt x="626392" y="134139"/>
                  </a:moveTo>
                  <a:lnTo>
                    <a:pt x="624787" y="133535"/>
                  </a:lnTo>
                  <a:lnTo>
                    <a:pt x="620664" y="129414"/>
                  </a:lnTo>
                  <a:lnTo>
                    <a:pt x="616499" y="125228"/>
                  </a:lnTo>
                  <a:lnTo>
                    <a:pt x="614394" y="119704"/>
                  </a:lnTo>
                  <a:lnTo>
                    <a:pt x="614418" y="108570"/>
                  </a:lnTo>
                  <a:lnTo>
                    <a:pt x="616477" y="103111"/>
                  </a:lnTo>
                  <a:lnTo>
                    <a:pt x="624895" y="94740"/>
                  </a:lnTo>
                  <a:lnTo>
                    <a:pt x="630471" y="92647"/>
                  </a:lnTo>
                  <a:lnTo>
                    <a:pt x="641580" y="92647"/>
                  </a:lnTo>
                  <a:lnTo>
                    <a:pt x="647156" y="94761"/>
                  </a:lnTo>
                  <a:lnTo>
                    <a:pt x="676793" y="124257"/>
                  </a:lnTo>
                  <a:lnTo>
                    <a:pt x="674732" y="129932"/>
                  </a:lnTo>
                  <a:lnTo>
                    <a:pt x="626392" y="134139"/>
                  </a:lnTo>
                  <a:close/>
                </a:path>
                <a:path w="863600" h="855345">
                  <a:moveTo>
                    <a:pt x="443405" y="150041"/>
                  </a:moveTo>
                  <a:lnTo>
                    <a:pt x="441777" y="149459"/>
                  </a:lnTo>
                  <a:lnTo>
                    <a:pt x="433511" y="141216"/>
                  </a:lnTo>
                  <a:lnTo>
                    <a:pt x="431407" y="135671"/>
                  </a:lnTo>
                  <a:lnTo>
                    <a:pt x="431407" y="124796"/>
                  </a:lnTo>
                  <a:lnTo>
                    <a:pt x="447440" y="108570"/>
                  </a:lnTo>
                  <a:lnTo>
                    <a:pt x="458592" y="108570"/>
                  </a:lnTo>
                  <a:lnTo>
                    <a:pt x="464168" y="110685"/>
                  </a:lnTo>
                  <a:lnTo>
                    <a:pt x="493805" y="140181"/>
                  </a:lnTo>
                  <a:lnTo>
                    <a:pt x="491744" y="145855"/>
                  </a:lnTo>
                  <a:lnTo>
                    <a:pt x="443405" y="150041"/>
                  </a:lnTo>
                  <a:close/>
                </a:path>
                <a:path w="863600" h="855345">
                  <a:moveTo>
                    <a:pt x="539541" y="373427"/>
                  </a:moveTo>
                  <a:lnTo>
                    <a:pt x="533304" y="371608"/>
                  </a:lnTo>
                  <a:lnTo>
                    <a:pt x="527782" y="367925"/>
                  </a:lnTo>
                  <a:lnTo>
                    <a:pt x="510230" y="351828"/>
                  </a:lnTo>
                  <a:lnTo>
                    <a:pt x="354406" y="194619"/>
                  </a:lnTo>
                  <a:lnTo>
                    <a:pt x="356467" y="188944"/>
                  </a:lnTo>
                  <a:lnTo>
                    <a:pt x="437807" y="181867"/>
                  </a:lnTo>
                  <a:lnTo>
                    <a:pt x="437959" y="181867"/>
                  </a:lnTo>
                  <a:lnTo>
                    <a:pt x="620773" y="165943"/>
                  </a:lnTo>
                  <a:lnTo>
                    <a:pt x="620925" y="165943"/>
                  </a:lnTo>
                  <a:lnTo>
                    <a:pt x="785622" y="151616"/>
                  </a:lnTo>
                  <a:lnTo>
                    <a:pt x="787227" y="152177"/>
                  </a:lnTo>
                  <a:lnTo>
                    <a:pt x="788377" y="153321"/>
                  </a:lnTo>
                  <a:lnTo>
                    <a:pt x="850516" y="214081"/>
                  </a:lnTo>
                  <a:lnTo>
                    <a:pt x="849843" y="218569"/>
                  </a:lnTo>
                  <a:lnTo>
                    <a:pt x="552342" y="371226"/>
                  </a:lnTo>
                  <a:lnTo>
                    <a:pt x="546039" y="373320"/>
                  </a:lnTo>
                  <a:lnTo>
                    <a:pt x="539541" y="373427"/>
                  </a:lnTo>
                  <a:close/>
                </a:path>
                <a:path w="863600" h="855345">
                  <a:moveTo>
                    <a:pt x="213748" y="847299"/>
                  </a:moveTo>
                  <a:lnTo>
                    <a:pt x="152651" y="785502"/>
                  </a:lnTo>
                  <a:lnTo>
                    <a:pt x="151523" y="784337"/>
                  </a:lnTo>
                  <a:lnTo>
                    <a:pt x="150937" y="782762"/>
                  </a:lnTo>
                  <a:lnTo>
                    <a:pt x="188732" y="353274"/>
                  </a:lnTo>
                  <a:lnTo>
                    <a:pt x="194439" y="351203"/>
                  </a:lnTo>
                  <a:lnTo>
                    <a:pt x="331495" y="488453"/>
                  </a:lnTo>
                  <a:lnTo>
                    <a:pt x="368747" y="524767"/>
                  </a:lnTo>
                  <a:lnTo>
                    <a:pt x="372696" y="530107"/>
                  </a:lnTo>
                  <a:lnTo>
                    <a:pt x="374722" y="536254"/>
                  </a:lnTo>
                  <a:lnTo>
                    <a:pt x="374743" y="542721"/>
                  </a:lnTo>
                  <a:lnTo>
                    <a:pt x="372652" y="549063"/>
                  </a:lnTo>
                  <a:lnTo>
                    <a:pt x="218261" y="846630"/>
                  </a:lnTo>
                  <a:lnTo>
                    <a:pt x="213748" y="847299"/>
                  </a:lnTo>
                  <a:close/>
                </a:path>
                <a:path w="863600" h="855345">
                  <a:moveTo>
                    <a:pt x="139438" y="492596"/>
                  </a:moveTo>
                  <a:lnTo>
                    <a:pt x="113337" y="466661"/>
                  </a:lnTo>
                  <a:lnTo>
                    <a:pt x="109584" y="462561"/>
                  </a:lnTo>
                  <a:lnTo>
                    <a:pt x="107675" y="457296"/>
                  </a:lnTo>
                  <a:lnTo>
                    <a:pt x="107675" y="446443"/>
                  </a:lnTo>
                  <a:lnTo>
                    <a:pt x="109758" y="440898"/>
                  </a:lnTo>
                  <a:lnTo>
                    <a:pt x="118176" y="432591"/>
                  </a:lnTo>
                  <a:lnTo>
                    <a:pt x="123730" y="430498"/>
                  </a:lnTo>
                  <a:lnTo>
                    <a:pt x="134882" y="430498"/>
                  </a:lnTo>
                  <a:lnTo>
                    <a:pt x="140458" y="432591"/>
                  </a:lnTo>
                  <a:lnTo>
                    <a:pt x="147574" y="439689"/>
                  </a:lnTo>
                  <a:lnTo>
                    <a:pt x="148746" y="440833"/>
                  </a:lnTo>
                  <a:lnTo>
                    <a:pt x="149353" y="442451"/>
                  </a:lnTo>
                  <a:lnTo>
                    <a:pt x="145123" y="490503"/>
                  </a:lnTo>
                  <a:lnTo>
                    <a:pt x="139438" y="492596"/>
                  </a:lnTo>
                  <a:close/>
                </a:path>
                <a:path w="863600" h="855345">
                  <a:moveTo>
                    <a:pt x="734136" y="616210"/>
                  </a:moveTo>
                  <a:lnTo>
                    <a:pt x="731381" y="614527"/>
                  </a:lnTo>
                  <a:lnTo>
                    <a:pt x="728387" y="604947"/>
                  </a:lnTo>
                  <a:lnTo>
                    <a:pt x="725935" y="598215"/>
                  </a:lnTo>
                  <a:lnTo>
                    <a:pt x="709358" y="563624"/>
                  </a:lnTo>
                  <a:lnTo>
                    <a:pt x="701614" y="550875"/>
                  </a:lnTo>
                  <a:lnTo>
                    <a:pt x="704347" y="546042"/>
                  </a:lnTo>
                  <a:lnTo>
                    <a:pt x="826107" y="549063"/>
                  </a:lnTo>
                  <a:lnTo>
                    <a:pt x="827474" y="549645"/>
                  </a:lnTo>
                  <a:lnTo>
                    <a:pt x="860236" y="582226"/>
                  </a:lnTo>
                  <a:lnTo>
                    <a:pt x="863382" y="585333"/>
                  </a:lnTo>
                  <a:lnTo>
                    <a:pt x="861755" y="590663"/>
                  </a:lnTo>
                  <a:lnTo>
                    <a:pt x="734136" y="616210"/>
                  </a:lnTo>
                  <a:close/>
                </a:path>
                <a:path w="863600" h="855345">
                  <a:moveTo>
                    <a:pt x="123448" y="674554"/>
                  </a:moveTo>
                  <a:lnTo>
                    <a:pt x="93789" y="645037"/>
                  </a:lnTo>
                  <a:lnTo>
                    <a:pt x="91684" y="639513"/>
                  </a:lnTo>
                  <a:lnTo>
                    <a:pt x="91684" y="628444"/>
                  </a:lnTo>
                  <a:lnTo>
                    <a:pt x="93767" y="622920"/>
                  </a:lnTo>
                  <a:lnTo>
                    <a:pt x="102164" y="614570"/>
                  </a:lnTo>
                  <a:lnTo>
                    <a:pt x="107761" y="612456"/>
                  </a:lnTo>
                  <a:lnTo>
                    <a:pt x="118870" y="612456"/>
                  </a:lnTo>
                  <a:lnTo>
                    <a:pt x="124446" y="614570"/>
                  </a:lnTo>
                  <a:lnTo>
                    <a:pt x="132799" y="622856"/>
                  </a:lnTo>
                  <a:lnTo>
                    <a:pt x="133385" y="624474"/>
                  </a:lnTo>
                  <a:lnTo>
                    <a:pt x="129154" y="672483"/>
                  </a:lnTo>
                  <a:lnTo>
                    <a:pt x="123448" y="674554"/>
                  </a:lnTo>
                  <a:close/>
                </a:path>
                <a:path w="863600" h="855345">
                  <a:moveTo>
                    <a:pt x="592394" y="854807"/>
                  </a:moveTo>
                  <a:lnTo>
                    <a:pt x="556486" y="819098"/>
                  </a:lnTo>
                  <a:lnTo>
                    <a:pt x="555922" y="817760"/>
                  </a:lnTo>
                  <a:lnTo>
                    <a:pt x="553037" y="702928"/>
                  </a:lnTo>
                  <a:lnTo>
                    <a:pt x="557810" y="700187"/>
                  </a:lnTo>
                  <a:lnTo>
                    <a:pt x="561563" y="702431"/>
                  </a:lnTo>
                  <a:lnTo>
                    <a:pt x="569693" y="707086"/>
                  </a:lnTo>
                  <a:lnTo>
                    <a:pt x="610120" y="725022"/>
                  </a:lnTo>
                  <a:lnTo>
                    <a:pt x="620794" y="728172"/>
                  </a:lnTo>
                  <a:lnTo>
                    <a:pt x="622508" y="730934"/>
                  </a:lnTo>
                  <a:lnTo>
                    <a:pt x="597775" y="853211"/>
                  </a:lnTo>
                  <a:lnTo>
                    <a:pt x="592394" y="854807"/>
                  </a:lnTo>
                  <a:close/>
                </a:path>
              </a:pathLst>
            </a:custGeom>
            <a:solidFill>
              <a:srgbClr val="FFFFFF"/>
            </a:solidFill>
          </p:spPr>
          <p:txBody>
            <a:bodyPr wrap="square" lIns="0" tIns="0" rIns="0" bIns="0" rtlCol="0"/>
            <a:lstStyle/>
            <a:p>
              <a:endParaRPr/>
            </a:p>
          </p:txBody>
        </p:sp>
        <p:pic>
          <p:nvPicPr>
            <p:cNvPr id="9" name="object 9"/>
            <p:cNvPicPr/>
            <p:nvPr/>
          </p:nvPicPr>
          <p:blipFill>
            <a:blip r:embed="rId3" cstate="print"/>
            <a:stretch>
              <a:fillRect/>
            </a:stretch>
          </p:blipFill>
          <p:spPr>
            <a:xfrm>
              <a:off x="4950723" y="3597785"/>
              <a:ext cx="2638424" cy="2638424"/>
            </a:xfrm>
            <a:prstGeom prst="rect">
              <a:avLst/>
            </a:prstGeom>
          </p:spPr>
        </p:pic>
        <p:sp>
          <p:nvSpPr>
            <p:cNvPr id="10" name="object 10"/>
            <p:cNvSpPr/>
            <p:nvPr/>
          </p:nvSpPr>
          <p:spPr>
            <a:xfrm>
              <a:off x="5365715" y="4281134"/>
              <a:ext cx="1805305" cy="2912110"/>
            </a:xfrm>
            <a:custGeom>
              <a:avLst/>
              <a:gdLst/>
              <a:ahLst/>
              <a:cxnLst/>
              <a:rect l="l" t="t" r="r" b="b"/>
              <a:pathLst>
                <a:path w="1805304" h="2912109">
                  <a:moveTo>
                    <a:pt x="902379" y="2912105"/>
                  </a:moveTo>
                  <a:lnTo>
                    <a:pt x="0" y="2587248"/>
                  </a:lnTo>
                  <a:lnTo>
                    <a:pt x="0" y="0"/>
                  </a:lnTo>
                  <a:lnTo>
                    <a:pt x="1804759" y="0"/>
                  </a:lnTo>
                  <a:lnTo>
                    <a:pt x="1804759" y="2587248"/>
                  </a:lnTo>
                  <a:lnTo>
                    <a:pt x="902379" y="2912105"/>
                  </a:lnTo>
                  <a:close/>
                </a:path>
              </a:pathLst>
            </a:custGeom>
            <a:solidFill>
              <a:srgbClr val="FFFFFF"/>
            </a:solidFill>
          </p:spPr>
          <p:txBody>
            <a:bodyPr wrap="square" lIns="0" tIns="0" rIns="0" bIns="0" rtlCol="0"/>
            <a:lstStyle/>
            <a:p>
              <a:endParaRPr/>
            </a:p>
          </p:txBody>
        </p:sp>
        <p:sp>
          <p:nvSpPr>
            <p:cNvPr id="11" name="object 11"/>
            <p:cNvSpPr/>
            <p:nvPr/>
          </p:nvSpPr>
          <p:spPr>
            <a:xfrm>
              <a:off x="5163842" y="3839730"/>
              <a:ext cx="2208530" cy="2208530"/>
            </a:xfrm>
            <a:custGeom>
              <a:avLst/>
              <a:gdLst/>
              <a:ahLst/>
              <a:cxnLst/>
              <a:rect l="l" t="t" r="r" b="b"/>
              <a:pathLst>
                <a:path w="2208529" h="2208529">
                  <a:moveTo>
                    <a:pt x="1152153" y="1020"/>
                  </a:moveTo>
                  <a:lnTo>
                    <a:pt x="1056353" y="1020"/>
                  </a:lnTo>
                  <a:lnTo>
                    <a:pt x="1104253" y="0"/>
                  </a:lnTo>
                  <a:lnTo>
                    <a:pt x="1152153" y="1020"/>
                  </a:lnTo>
                  <a:close/>
                </a:path>
                <a:path w="2208529" h="2208529">
                  <a:moveTo>
                    <a:pt x="1104270" y="2208507"/>
                  </a:moveTo>
                  <a:lnTo>
                    <a:pt x="1056353" y="2207487"/>
                  </a:lnTo>
                  <a:lnTo>
                    <a:pt x="1008974" y="2204454"/>
                  </a:lnTo>
                  <a:lnTo>
                    <a:pt x="962158" y="2199450"/>
                  </a:lnTo>
                  <a:lnTo>
                    <a:pt x="915945" y="2192516"/>
                  </a:lnTo>
                  <a:lnTo>
                    <a:pt x="870379" y="2183693"/>
                  </a:lnTo>
                  <a:lnTo>
                    <a:pt x="825499" y="2173023"/>
                  </a:lnTo>
                  <a:lnTo>
                    <a:pt x="781347" y="2160547"/>
                  </a:lnTo>
                  <a:lnTo>
                    <a:pt x="737966" y="2146307"/>
                  </a:lnTo>
                  <a:lnTo>
                    <a:pt x="695396" y="2130344"/>
                  </a:lnTo>
                  <a:lnTo>
                    <a:pt x="653678" y="2112700"/>
                  </a:lnTo>
                  <a:lnTo>
                    <a:pt x="612855" y="2093416"/>
                  </a:lnTo>
                  <a:lnTo>
                    <a:pt x="572967" y="2072534"/>
                  </a:lnTo>
                  <a:lnTo>
                    <a:pt x="534056" y="2050094"/>
                  </a:lnTo>
                  <a:lnTo>
                    <a:pt x="496163" y="2026139"/>
                  </a:lnTo>
                  <a:lnTo>
                    <a:pt x="459331" y="2000710"/>
                  </a:lnTo>
                  <a:lnTo>
                    <a:pt x="423599" y="1973848"/>
                  </a:lnTo>
                  <a:lnTo>
                    <a:pt x="389011" y="1945594"/>
                  </a:lnTo>
                  <a:lnTo>
                    <a:pt x="355606" y="1915991"/>
                  </a:lnTo>
                  <a:lnTo>
                    <a:pt x="323428" y="1885079"/>
                  </a:lnTo>
                  <a:lnTo>
                    <a:pt x="292516" y="1852900"/>
                  </a:lnTo>
                  <a:lnTo>
                    <a:pt x="262913" y="1819496"/>
                  </a:lnTo>
                  <a:lnTo>
                    <a:pt x="234659" y="1784907"/>
                  </a:lnTo>
                  <a:lnTo>
                    <a:pt x="207797" y="1749176"/>
                  </a:lnTo>
                  <a:lnTo>
                    <a:pt x="182368" y="1712343"/>
                  </a:lnTo>
                  <a:lnTo>
                    <a:pt x="158412" y="1674451"/>
                  </a:lnTo>
                  <a:lnTo>
                    <a:pt x="135973" y="1635540"/>
                  </a:lnTo>
                  <a:lnTo>
                    <a:pt x="115090" y="1595652"/>
                  </a:lnTo>
                  <a:lnTo>
                    <a:pt x="95807" y="1554829"/>
                  </a:lnTo>
                  <a:lnTo>
                    <a:pt x="78162" y="1513111"/>
                  </a:lnTo>
                  <a:lnTo>
                    <a:pt x="62200" y="1470541"/>
                  </a:lnTo>
                  <a:lnTo>
                    <a:pt x="47960" y="1427159"/>
                  </a:lnTo>
                  <a:lnTo>
                    <a:pt x="35484" y="1383008"/>
                  </a:lnTo>
                  <a:lnTo>
                    <a:pt x="24814" y="1338128"/>
                  </a:lnTo>
                  <a:lnTo>
                    <a:pt x="15991" y="1292561"/>
                  </a:lnTo>
                  <a:lnTo>
                    <a:pt x="9057" y="1246349"/>
                  </a:lnTo>
                  <a:lnTo>
                    <a:pt x="4052" y="1199533"/>
                  </a:lnTo>
                  <a:lnTo>
                    <a:pt x="1019" y="1152154"/>
                  </a:lnTo>
                  <a:lnTo>
                    <a:pt x="0" y="1104236"/>
                  </a:lnTo>
                  <a:lnTo>
                    <a:pt x="1019" y="1056353"/>
                  </a:lnTo>
                  <a:lnTo>
                    <a:pt x="4052" y="1008974"/>
                  </a:lnTo>
                  <a:lnTo>
                    <a:pt x="9057" y="962158"/>
                  </a:lnTo>
                  <a:lnTo>
                    <a:pt x="15991" y="915946"/>
                  </a:lnTo>
                  <a:lnTo>
                    <a:pt x="24814" y="870379"/>
                  </a:lnTo>
                  <a:lnTo>
                    <a:pt x="35484" y="825499"/>
                  </a:lnTo>
                  <a:lnTo>
                    <a:pt x="47960" y="781348"/>
                  </a:lnTo>
                  <a:lnTo>
                    <a:pt x="62200" y="737966"/>
                  </a:lnTo>
                  <a:lnTo>
                    <a:pt x="78162" y="695396"/>
                  </a:lnTo>
                  <a:lnTo>
                    <a:pt x="95807" y="653678"/>
                  </a:lnTo>
                  <a:lnTo>
                    <a:pt x="115090" y="612855"/>
                  </a:lnTo>
                  <a:lnTo>
                    <a:pt x="135973" y="572967"/>
                  </a:lnTo>
                  <a:lnTo>
                    <a:pt x="158412" y="534056"/>
                  </a:lnTo>
                  <a:lnTo>
                    <a:pt x="182368" y="496164"/>
                  </a:lnTo>
                  <a:lnTo>
                    <a:pt x="207797" y="459331"/>
                  </a:lnTo>
                  <a:lnTo>
                    <a:pt x="234659" y="423600"/>
                  </a:lnTo>
                  <a:lnTo>
                    <a:pt x="262913" y="389011"/>
                  </a:lnTo>
                  <a:lnTo>
                    <a:pt x="292516" y="355607"/>
                  </a:lnTo>
                  <a:lnTo>
                    <a:pt x="323428" y="323428"/>
                  </a:lnTo>
                  <a:lnTo>
                    <a:pt x="355606" y="292516"/>
                  </a:lnTo>
                  <a:lnTo>
                    <a:pt x="389011" y="262913"/>
                  </a:lnTo>
                  <a:lnTo>
                    <a:pt x="423599" y="234659"/>
                  </a:lnTo>
                  <a:lnTo>
                    <a:pt x="459331" y="207797"/>
                  </a:lnTo>
                  <a:lnTo>
                    <a:pt x="496163" y="182368"/>
                  </a:lnTo>
                  <a:lnTo>
                    <a:pt x="534056" y="158413"/>
                  </a:lnTo>
                  <a:lnTo>
                    <a:pt x="572967" y="135973"/>
                  </a:lnTo>
                  <a:lnTo>
                    <a:pt x="612855" y="115091"/>
                  </a:lnTo>
                  <a:lnTo>
                    <a:pt x="653678" y="95807"/>
                  </a:lnTo>
                  <a:lnTo>
                    <a:pt x="695396" y="78163"/>
                  </a:lnTo>
                  <a:lnTo>
                    <a:pt x="737966" y="62200"/>
                  </a:lnTo>
                  <a:lnTo>
                    <a:pt x="781347" y="47960"/>
                  </a:lnTo>
                  <a:lnTo>
                    <a:pt x="825499" y="35485"/>
                  </a:lnTo>
                  <a:lnTo>
                    <a:pt x="870379" y="24815"/>
                  </a:lnTo>
                  <a:lnTo>
                    <a:pt x="915945" y="15992"/>
                  </a:lnTo>
                  <a:lnTo>
                    <a:pt x="962158" y="9057"/>
                  </a:lnTo>
                  <a:lnTo>
                    <a:pt x="1008974" y="4053"/>
                  </a:lnTo>
                  <a:lnTo>
                    <a:pt x="1056353" y="1020"/>
                  </a:lnTo>
                  <a:lnTo>
                    <a:pt x="1152153" y="1020"/>
                  </a:lnTo>
                  <a:lnTo>
                    <a:pt x="1199533" y="4053"/>
                  </a:lnTo>
                  <a:lnTo>
                    <a:pt x="1246349" y="9057"/>
                  </a:lnTo>
                  <a:lnTo>
                    <a:pt x="1292561" y="15992"/>
                  </a:lnTo>
                  <a:lnTo>
                    <a:pt x="1338128" y="24815"/>
                  </a:lnTo>
                  <a:lnTo>
                    <a:pt x="1383008" y="35485"/>
                  </a:lnTo>
                  <a:lnTo>
                    <a:pt x="1427159" y="47960"/>
                  </a:lnTo>
                  <a:lnTo>
                    <a:pt x="1470541" y="62200"/>
                  </a:lnTo>
                  <a:lnTo>
                    <a:pt x="1513111" y="78163"/>
                  </a:lnTo>
                  <a:lnTo>
                    <a:pt x="1554828" y="95807"/>
                  </a:lnTo>
                  <a:lnTo>
                    <a:pt x="1595652" y="115091"/>
                  </a:lnTo>
                  <a:lnTo>
                    <a:pt x="1635540" y="135973"/>
                  </a:lnTo>
                  <a:lnTo>
                    <a:pt x="1674451" y="158413"/>
                  </a:lnTo>
                  <a:lnTo>
                    <a:pt x="1712343" y="182368"/>
                  </a:lnTo>
                  <a:lnTo>
                    <a:pt x="1749176" y="207797"/>
                  </a:lnTo>
                  <a:lnTo>
                    <a:pt x="1784907" y="234659"/>
                  </a:lnTo>
                  <a:lnTo>
                    <a:pt x="1819496" y="262913"/>
                  </a:lnTo>
                  <a:lnTo>
                    <a:pt x="1852900" y="292516"/>
                  </a:lnTo>
                  <a:lnTo>
                    <a:pt x="1885079" y="323428"/>
                  </a:lnTo>
                  <a:lnTo>
                    <a:pt x="1915991" y="355607"/>
                  </a:lnTo>
                  <a:lnTo>
                    <a:pt x="1945594" y="389011"/>
                  </a:lnTo>
                  <a:lnTo>
                    <a:pt x="1973847" y="423600"/>
                  </a:lnTo>
                  <a:lnTo>
                    <a:pt x="2000709" y="459331"/>
                  </a:lnTo>
                  <a:lnTo>
                    <a:pt x="2026139" y="496164"/>
                  </a:lnTo>
                  <a:lnTo>
                    <a:pt x="2050094" y="534056"/>
                  </a:lnTo>
                  <a:lnTo>
                    <a:pt x="2072534" y="572967"/>
                  </a:lnTo>
                  <a:lnTo>
                    <a:pt x="2093416" y="612855"/>
                  </a:lnTo>
                  <a:lnTo>
                    <a:pt x="2112700" y="653678"/>
                  </a:lnTo>
                  <a:lnTo>
                    <a:pt x="2130344" y="695396"/>
                  </a:lnTo>
                  <a:lnTo>
                    <a:pt x="2146307" y="737966"/>
                  </a:lnTo>
                  <a:lnTo>
                    <a:pt x="2160547" y="781348"/>
                  </a:lnTo>
                  <a:lnTo>
                    <a:pt x="2173022" y="825499"/>
                  </a:lnTo>
                  <a:lnTo>
                    <a:pt x="2183692" y="870379"/>
                  </a:lnTo>
                  <a:lnTo>
                    <a:pt x="2192515" y="915946"/>
                  </a:lnTo>
                  <a:lnTo>
                    <a:pt x="2199450" y="962158"/>
                  </a:lnTo>
                  <a:lnTo>
                    <a:pt x="2204454" y="1008974"/>
                  </a:lnTo>
                  <a:lnTo>
                    <a:pt x="2207487" y="1056353"/>
                  </a:lnTo>
                  <a:lnTo>
                    <a:pt x="2208507" y="1104254"/>
                  </a:lnTo>
                  <a:lnTo>
                    <a:pt x="2207487" y="1152154"/>
                  </a:lnTo>
                  <a:lnTo>
                    <a:pt x="2204454" y="1199533"/>
                  </a:lnTo>
                  <a:lnTo>
                    <a:pt x="2199450" y="1246349"/>
                  </a:lnTo>
                  <a:lnTo>
                    <a:pt x="2192515" y="1292561"/>
                  </a:lnTo>
                  <a:lnTo>
                    <a:pt x="2183692" y="1338128"/>
                  </a:lnTo>
                  <a:lnTo>
                    <a:pt x="2173022" y="1383008"/>
                  </a:lnTo>
                  <a:lnTo>
                    <a:pt x="2160547" y="1427159"/>
                  </a:lnTo>
                  <a:lnTo>
                    <a:pt x="2146307" y="1470541"/>
                  </a:lnTo>
                  <a:lnTo>
                    <a:pt x="2130344" y="1513111"/>
                  </a:lnTo>
                  <a:lnTo>
                    <a:pt x="2112700" y="1554829"/>
                  </a:lnTo>
                  <a:lnTo>
                    <a:pt x="2093416" y="1595652"/>
                  </a:lnTo>
                  <a:lnTo>
                    <a:pt x="2072534" y="1635540"/>
                  </a:lnTo>
                  <a:lnTo>
                    <a:pt x="2050094" y="1674451"/>
                  </a:lnTo>
                  <a:lnTo>
                    <a:pt x="2026139" y="1712343"/>
                  </a:lnTo>
                  <a:lnTo>
                    <a:pt x="2000709" y="1749176"/>
                  </a:lnTo>
                  <a:lnTo>
                    <a:pt x="1973847" y="1784907"/>
                  </a:lnTo>
                  <a:lnTo>
                    <a:pt x="1945594" y="1819496"/>
                  </a:lnTo>
                  <a:lnTo>
                    <a:pt x="1915991" y="1852900"/>
                  </a:lnTo>
                  <a:lnTo>
                    <a:pt x="1885079" y="1885079"/>
                  </a:lnTo>
                  <a:lnTo>
                    <a:pt x="1852900" y="1915991"/>
                  </a:lnTo>
                  <a:lnTo>
                    <a:pt x="1819496" y="1945594"/>
                  </a:lnTo>
                  <a:lnTo>
                    <a:pt x="1784907" y="1973848"/>
                  </a:lnTo>
                  <a:lnTo>
                    <a:pt x="1749176" y="2000710"/>
                  </a:lnTo>
                  <a:lnTo>
                    <a:pt x="1712343" y="2026139"/>
                  </a:lnTo>
                  <a:lnTo>
                    <a:pt x="1674451" y="2050094"/>
                  </a:lnTo>
                  <a:lnTo>
                    <a:pt x="1635540" y="2072534"/>
                  </a:lnTo>
                  <a:lnTo>
                    <a:pt x="1595652" y="2093416"/>
                  </a:lnTo>
                  <a:lnTo>
                    <a:pt x="1554828" y="2112700"/>
                  </a:lnTo>
                  <a:lnTo>
                    <a:pt x="1513111" y="2130344"/>
                  </a:lnTo>
                  <a:lnTo>
                    <a:pt x="1470541" y="2146307"/>
                  </a:lnTo>
                  <a:lnTo>
                    <a:pt x="1427159" y="2160547"/>
                  </a:lnTo>
                  <a:lnTo>
                    <a:pt x="1383008" y="2173023"/>
                  </a:lnTo>
                  <a:lnTo>
                    <a:pt x="1338128" y="2183693"/>
                  </a:lnTo>
                  <a:lnTo>
                    <a:pt x="1292561" y="2192516"/>
                  </a:lnTo>
                  <a:lnTo>
                    <a:pt x="1246349" y="2199450"/>
                  </a:lnTo>
                  <a:lnTo>
                    <a:pt x="1199533" y="2204454"/>
                  </a:lnTo>
                  <a:lnTo>
                    <a:pt x="1152153" y="2207487"/>
                  </a:lnTo>
                  <a:lnTo>
                    <a:pt x="1104270" y="2208507"/>
                  </a:lnTo>
                  <a:close/>
                </a:path>
              </a:pathLst>
            </a:custGeom>
            <a:solidFill>
              <a:srgbClr val="0090AE"/>
            </a:solidFill>
          </p:spPr>
          <p:txBody>
            <a:bodyPr wrap="square" lIns="0" tIns="0" rIns="0" bIns="0" rtlCol="0"/>
            <a:lstStyle/>
            <a:p>
              <a:endParaRPr/>
            </a:p>
          </p:txBody>
        </p:sp>
        <p:pic>
          <p:nvPicPr>
            <p:cNvPr id="12" name="object 12"/>
            <p:cNvPicPr/>
            <p:nvPr/>
          </p:nvPicPr>
          <p:blipFill>
            <a:blip r:embed="rId4" cstate="print"/>
            <a:stretch>
              <a:fillRect/>
            </a:stretch>
          </p:blipFill>
          <p:spPr>
            <a:xfrm>
              <a:off x="5726469" y="6069965"/>
              <a:ext cx="1085849" cy="828674"/>
            </a:xfrm>
            <a:prstGeom prst="rect">
              <a:avLst/>
            </a:prstGeom>
          </p:spPr>
        </p:pic>
      </p:grpSp>
      <p:sp>
        <p:nvSpPr>
          <p:cNvPr id="13" name="object 13"/>
          <p:cNvSpPr txBox="1"/>
          <p:nvPr/>
        </p:nvSpPr>
        <p:spPr>
          <a:xfrm>
            <a:off x="5678921" y="4148188"/>
            <a:ext cx="1151255" cy="1680845"/>
          </a:xfrm>
          <a:prstGeom prst="rect">
            <a:avLst/>
          </a:prstGeom>
        </p:spPr>
        <p:txBody>
          <a:bodyPr vert="horz" wrap="square" lIns="0" tIns="11430" rIns="0" bIns="0" rtlCol="0">
            <a:spAutoFit/>
          </a:bodyPr>
          <a:lstStyle/>
          <a:p>
            <a:pPr marL="27305" algn="ctr">
              <a:lnSpc>
                <a:spcPts val="3860"/>
              </a:lnSpc>
              <a:spcBef>
                <a:spcPts val="90"/>
              </a:spcBef>
            </a:pPr>
            <a:r>
              <a:rPr sz="3550" b="1" spc="-45" dirty="0">
                <a:solidFill>
                  <a:srgbClr val="FFFFFF"/>
                </a:solidFill>
                <a:latin typeface="Roboto"/>
                <a:cs typeface="Roboto"/>
              </a:rPr>
              <a:t>EEUU</a:t>
            </a:r>
            <a:endParaRPr sz="3550">
              <a:latin typeface="Roboto"/>
              <a:cs typeface="Roboto"/>
            </a:endParaRPr>
          </a:p>
          <a:p>
            <a:pPr marL="27305" algn="ctr">
              <a:lnSpc>
                <a:spcPts val="5540"/>
              </a:lnSpc>
            </a:pPr>
            <a:r>
              <a:rPr sz="4950" b="1" spc="605" dirty="0">
                <a:solidFill>
                  <a:srgbClr val="FFFFFF"/>
                </a:solidFill>
                <a:latin typeface="Arial"/>
                <a:cs typeface="Arial"/>
              </a:rPr>
              <a:t>50</a:t>
            </a:r>
            <a:endParaRPr sz="4950">
              <a:latin typeface="Arial"/>
              <a:cs typeface="Arial"/>
            </a:endParaRPr>
          </a:p>
          <a:p>
            <a:pPr marL="12700" marR="23495" algn="ctr">
              <a:lnSpc>
                <a:spcPts val="1730"/>
              </a:lnSpc>
              <a:spcBef>
                <a:spcPts val="244"/>
              </a:spcBef>
            </a:pPr>
            <a:r>
              <a:rPr sz="1450" b="1" dirty="0">
                <a:solidFill>
                  <a:srgbClr val="FFFFFF"/>
                </a:solidFill>
                <a:latin typeface="Roboto"/>
                <a:cs typeface="Roboto"/>
              </a:rPr>
              <a:t>VUELOS</a:t>
            </a:r>
            <a:r>
              <a:rPr sz="1450" b="1" spc="-40" dirty="0">
                <a:solidFill>
                  <a:srgbClr val="FFFFFF"/>
                </a:solidFill>
                <a:latin typeface="Roboto"/>
                <a:cs typeface="Roboto"/>
              </a:rPr>
              <a:t> </a:t>
            </a:r>
            <a:r>
              <a:rPr sz="1450" b="1" spc="-25" dirty="0">
                <a:solidFill>
                  <a:srgbClr val="FFFFFF"/>
                </a:solidFill>
                <a:latin typeface="Roboto"/>
                <a:cs typeface="Roboto"/>
              </a:rPr>
              <a:t>POR </a:t>
            </a:r>
            <a:r>
              <a:rPr sz="1450" b="1" spc="-10" dirty="0">
                <a:solidFill>
                  <a:srgbClr val="FFFFFF"/>
                </a:solidFill>
                <a:latin typeface="Roboto"/>
                <a:cs typeface="Roboto"/>
              </a:rPr>
              <a:t>SEMANA</a:t>
            </a:r>
            <a:endParaRPr sz="1450">
              <a:latin typeface="Roboto"/>
              <a:cs typeface="Roboto"/>
            </a:endParaRPr>
          </a:p>
        </p:txBody>
      </p:sp>
      <p:grpSp>
        <p:nvGrpSpPr>
          <p:cNvPr id="14" name="object 14"/>
          <p:cNvGrpSpPr/>
          <p:nvPr/>
        </p:nvGrpSpPr>
        <p:grpSpPr>
          <a:xfrm>
            <a:off x="8781063" y="1628571"/>
            <a:ext cx="2676525" cy="4182745"/>
            <a:chOff x="8781063" y="1628571"/>
            <a:chExt cx="2676525" cy="4182745"/>
          </a:xfrm>
        </p:grpSpPr>
        <p:pic>
          <p:nvPicPr>
            <p:cNvPr id="15" name="object 15"/>
            <p:cNvPicPr/>
            <p:nvPr/>
          </p:nvPicPr>
          <p:blipFill>
            <a:blip r:embed="rId5" cstate="print"/>
            <a:stretch>
              <a:fillRect/>
            </a:stretch>
          </p:blipFill>
          <p:spPr>
            <a:xfrm>
              <a:off x="8781063" y="1628571"/>
              <a:ext cx="2676524" cy="2676524"/>
            </a:xfrm>
            <a:prstGeom prst="rect">
              <a:avLst/>
            </a:prstGeom>
          </p:spPr>
        </p:pic>
        <p:sp>
          <p:nvSpPr>
            <p:cNvPr id="16" name="object 16"/>
            <p:cNvSpPr/>
            <p:nvPr/>
          </p:nvSpPr>
          <p:spPr>
            <a:xfrm>
              <a:off x="9206437" y="2899008"/>
              <a:ext cx="1805305" cy="2912110"/>
            </a:xfrm>
            <a:custGeom>
              <a:avLst/>
              <a:gdLst/>
              <a:ahLst/>
              <a:cxnLst/>
              <a:rect l="l" t="t" r="r" b="b"/>
              <a:pathLst>
                <a:path w="1805304" h="2912110">
                  <a:moveTo>
                    <a:pt x="902379" y="2912105"/>
                  </a:moveTo>
                  <a:lnTo>
                    <a:pt x="0" y="2587248"/>
                  </a:lnTo>
                  <a:lnTo>
                    <a:pt x="0" y="0"/>
                  </a:lnTo>
                  <a:lnTo>
                    <a:pt x="1804759" y="0"/>
                  </a:lnTo>
                  <a:lnTo>
                    <a:pt x="1804759" y="2587248"/>
                  </a:lnTo>
                  <a:lnTo>
                    <a:pt x="902379" y="2912105"/>
                  </a:lnTo>
                  <a:close/>
                </a:path>
              </a:pathLst>
            </a:custGeom>
            <a:solidFill>
              <a:srgbClr val="FFFFFF"/>
            </a:solidFill>
          </p:spPr>
          <p:txBody>
            <a:bodyPr wrap="square" lIns="0" tIns="0" rIns="0" bIns="0" rtlCol="0"/>
            <a:lstStyle/>
            <a:p>
              <a:endParaRPr/>
            </a:p>
          </p:txBody>
        </p:sp>
        <p:sp>
          <p:nvSpPr>
            <p:cNvPr id="17" name="object 17"/>
            <p:cNvSpPr/>
            <p:nvPr/>
          </p:nvSpPr>
          <p:spPr>
            <a:xfrm>
              <a:off x="8968311" y="1868353"/>
              <a:ext cx="2208530" cy="2208530"/>
            </a:xfrm>
            <a:custGeom>
              <a:avLst/>
              <a:gdLst/>
              <a:ahLst/>
              <a:cxnLst/>
              <a:rect l="l" t="t" r="r" b="b"/>
              <a:pathLst>
                <a:path w="2208529" h="2208529">
                  <a:moveTo>
                    <a:pt x="1104278" y="2208507"/>
                  </a:moveTo>
                  <a:lnTo>
                    <a:pt x="1056353" y="2207487"/>
                  </a:lnTo>
                  <a:lnTo>
                    <a:pt x="1008974" y="2204454"/>
                  </a:lnTo>
                  <a:lnTo>
                    <a:pt x="962158" y="2199450"/>
                  </a:lnTo>
                  <a:lnTo>
                    <a:pt x="915946" y="2192515"/>
                  </a:lnTo>
                  <a:lnTo>
                    <a:pt x="870379" y="2183693"/>
                  </a:lnTo>
                  <a:lnTo>
                    <a:pt x="825499" y="2173023"/>
                  </a:lnTo>
                  <a:lnTo>
                    <a:pt x="781348" y="2160547"/>
                  </a:lnTo>
                  <a:lnTo>
                    <a:pt x="737966" y="2146307"/>
                  </a:lnTo>
                  <a:lnTo>
                    <a:pt x="695396" y="2130344"/>
                  </a:lnTo>
                  <a:lnTo>
                    <a:pt x="653678" y="2112700"/>
                  </a:lnTo>
                  <a:lnTo>
                    <a:pt x="612855" y="2093416"/>
                  </a:lnTo>
                  <a:lnTo>
                    <a:pt x="572967" y="2072534"/>
                  </a:lnTo>
                  <a:lnTo>
                    <a:pt x="534056" y="2050094"/>
                  </a:lnTo>
                  <a:lnTo>
                    <a:pt x="496164" y="2026139"/>
                  </a:lnTo>
                  <a:lnTo>
                    <a:pt x="459331" y="2000710"/>
                  </a:lnTo>
                  <a:lnTo>
                    <a:pt x="423600" y="1973848"/>
                  </a:lnTo>
                  <a:lnTo>
                    <a:pt x="389011" y="1945594"/>
                  </a:lnTo>
                  <a:lnTo>
                    <a:pt x="355607" y="1915991"/>
                  </a:lnTo>
                  <a:lnTo>
                    <a:pt x="323428" y="1885079"/>
                  </a:lnTo>
                  <a:lnTo>
                    <a:pt x="292516" y="1852900"/>
                  </a:lnTo>
                  <a:lnTo>
                    <a:pt x="262913" y="1819496"/>
                  </a:lnTo>
                  <a:lnTo>
                    <a:pt x="234659" y="1784907"/>
                  </a:lnTo>
                  <a:lnTo>
                    <a:pt x="207797" y="1749176"/>
                  </a:lnTo>
                  <a:lnTo>
                    <a:pt x="182368" y="1712343"/>
                  </a:lnTo>
                  <a:lnTo>
                    <a:pt x="158413" y="1674451"/>
                  </a:lnTo>
                  <a:lnTo>
                    <a:pt x="135973" y="1635540"/>
                  </a:lnTo>
                  <a:lnTo>
                    <a:pt x="115091" y="1595652"/>
                  </a:lnTo>
                  <a:lnTo>
                    <a:pt x="95807" y="1554829"/>
                  </a:lnTo>
                  <a:lnTo>
                    <a:pt x="78163" y="1513111"/>
                  </a:lnTo>
                  <a:lnTo>
                    <a:pt x="62200" y="1470541"/>
                  </a:lnTo>
                  <a:lnTo>
                    <a:pt x="47960" y="1427159"/>
                  </a:lnTo>
                  <a:lnTo>
                    <a:pt x="35484" y="1383008"/>
                  </a:lnTo>
                  <a:lnTo>
                    <a:pt x="24814" y="1338128"/>
                  </a:lnTo>
                  <a:lnTo>
                    <a:pt x="15991" y="1292561"/>
                  </a:lnTo>
                  <a:lnTo>
                    <a:pt x="9057" y="1246349"/>
                  </a:lnTo>
                  <a:lnTo>
                    <a:pt x="4053" y="1199533"/>
                  </a:lnTo>
                  <a:lnTo>
                    <a:pt x="1020" y="1152154"/>
                  </a:lnTo>
                  <a:lnTo>
                    <a:pt x="0" y="1104259"/>
                  </a:lnTo>
                  <a:lnTo>
                    <a:pt x="1020" y="1056353"/>
                  </a:lnTo>
                  <a:lnTo>
                    <a:pt x="4053" y="1008974"/>
                  </a:lnTo>
                  <a:lnTo>
                    <a:pt x="9057" y="962158"/>
                  </a:lnTo>
                  <a:lnTo>
                    <a:pt x="15991" y="915946"/>
                  </a:lnTo>
                  <a:lnTo>
                    <a:pt x="24814" y="870379"/>
                  </a:lnTo>
                  <a:lnTo>
                    <a:pt x="35484" y="825499"/>
                  </a:lnTo>
                  <a:lnTo>
                    <a:pt x="47960" y="781348"/>
                  </a:lnTo>
                  <a:lnTo>
                    <a:pt x="62200" y="737966"/>
                  </a:lnTo>
                  <a:lnTo>
                    <a:pt x="78163" y="695396"/>
                  </a:lnTo>
                  <a:lnTo>
                    <a:pt x="95807" y="653678"/>
                  </a:lnTo>
                  <a:lnTo>
                    <a:pt x="115091" y="612855"/>
                  </a:lnTo>
                  <a:lnTo>
                    <a:pt x="135973" y="572967"/>
                  </a:lnTo>
                  <a:lnTo>
                    <a:pt x="158413" y="534056"/>
                  </a:lnTo>
                  <a:lnTo>
                    <a:pt x="182368" y="496164"/>
                  </a:lnTo>
                  <a:lnTo>
                    <a:pt x="207797" y="459331"/>
                  </a:lnTo>
                  <a:lnTo>
                    <a:pt x="234659" y="423600"/>
                  </a:lnTo>
                  <a:lnTo>
                    <a:pt x="262913" y="389011"/>
                  </a:lnTo>
                  <a:lnTo>
                    <a:pt x="292516" y="355607"/>
                  </a:lnTo>
                  <a:lnTo>
                    <a:pt x="323428" y="323428"/>
                  </a:lnTo>
                  <a:lnTo>
                    <a:pt x="355607" y="292516"/>
                  </a:lnTo>
                  <a:lnTo>
                    <a:pt x="389011" y="262913"/>
                  </a:lnTo>
                  <a:lnTo>
                    <a:pt x="423600" y="234659"/>
                  </a:lnTo>
                  <a:lnTo>
                    <a:pt x="459331" y="207797"/>
                  </a:lnTo>
                  <a:lnTo>
                    <a:pt x="496164" y="182368"/>
                  </a:lnTo>
                  <a:lnTo>
                    <a:pt x="534056" y="158413"/>
                  </a:lnTo>
                  <a:lnTo>
                    <a:pt x="572967" y="135973"/>
                  </a:lnTo>
                  <a:lnTo>
                    <a:pt x="612855" y="115091"/>
                  </a:lnTo>
                  <a:lnTo>
                    <a:pt x="653678" y="95807"/>
                  </a:lnTo>
                  <a:lnTo>
                    <a:pt x="695396" y="78163"/>
                  </a:lnTo>
                  <a:lnTo>
                    <a:pt x="737966" y="62200"/>
                  </a:lnTo>
                  <a:lnTo>
                    <a:pt x="781348" y="47960"/>
                  </a:lnTo>
                  <a:lnTo>
                    <a:pt x="825499" y="35485"/>
                  </a:lnTo>
                  <a:lnTo>
                    <a:pt x="870379" y="24815"/>
                  </a:lnTo>
                  <a:lnTo>
                    <a:pt x="915946" y="15992"/>
                  </a:lnTo>
                  <a:lnTo>
                    <a:pt x="962158" y="9057"/>
                  </a:lnTo>
                  <a:lnTo>
                    <a:pt x="1008974" y="4053"/>
                  </a:lnTo>
                  <a:lnTo>
                    <a:pt x="1056353" y="1020"/>
                  </a:lnTo>
                  <a:lnTo>
                    <a:pt x="1104253" y="0"/>
                  </a:lnTo>
                  <a:lnTo>
                    <a:pt x="1152154" y="1020"/>
                  </a:lnTo>
                  <a:lnTo>
                    <a:pt x="1199533" y="4053"/>
                  </a:lnTo>
                  <a:lnTo>
                    <a:pt x="1246349" y="9057"/>
                  </a:lnTo>
                  <a:lnTo>
                    <a:pt x="1292561" y="15992"/>
                  </a:lnTo>
                  <a:lnTo>
                    <a:pt x="1338128" y="24815"/>
                  </a:lnTo>
                  <a:lnTo>
                    <a:pt x="1383008" y="35485"/>
                  </a:lnTo>
                  <a:lnTo>
                    <a:pt x="1427159" y="47960"/>
                  </a:lnTo>
                  <a:lnTo>
                    <a:pt x="1470541" y="62200"/>
                  </a:lnTo>
                  <a:lnTo>
                    <a:pt x="1513111" y="78163"/>
                  </a:lnTo>
                  <a:lnTo>
                    <a:pt x="1554829" y="95807"/>
                  </a:lnTo>
                  <a:lnTo>
                    <a:pt x="1595652" y="115091"/>
                  </a:lnTo>
                  <a:lnTo>
                    <a:pt x="1635540" y="135973"/>
                  </a:lnTo>
                  <a:lnTo>
                    <a:pt x="1674451" y="158413"/>
                  </a:lnTo>
                  <a:lnTo>
                    <a:pt x="1712343" y="182368"/>
                  </a:lnTo>
                  <a:lnTo>
                    <a:pt x="1749176" y="207797"/>
                  </a:lnTo>
                  <a:lnTo>
                    <a:pt x="1784907" y="234659"/>
                  </a:lnTo>
                  <a:lnTo>
                    <a:pt x="1819496" y="262913"/>
                  </a:lnTo>
                  <a:lnTo>
                    <a:pt x="1852900" y="292516"/>
                  </a:lnTo>
                  <a:lnTo>
                    <a:pt x="1885079" y="323428"/>
                  </a:lnTo>
                  <a:lnTo>
                    <a:pt x="1915991" y="355607"/>
                  </a:lnTo>
                  <a:lnTo>
                    <a:pt x="1945594" y="389011"/>
                  </a:lnTo>
                  <a:lnTo>
                    <a:pt x="1973848" y="423600"/>
                  </a:lnTo>
                  <a:lnTo>
                    <a:pt x="2000710" y="459331"/>
                  </a:lnTo>
                  <a:lnTo>
                    <a:pt x="2026139" y="496164"/>
                  </a:lnTo>
                  <a:lnTo>
                    <a:pt x="2050094" y="534056"/>
                  </a:lnTo>
                  <a:lnTo>
                    <a:pt x="2072534" y="572967"/>
                  </a:lnTo>
                  <a:lnTo>
                    <a:pt x="2093416" y="612855"/>
                  </a:lnTo>
                  <a:lnTo>
                    <a:pt x="2112700" y="653678"/>
                  </a:lnTo>
                  <a:lnTo>
                    <a:pt x="2130344" y="695396"/>
                  </a:lnTo>
                  <a:lnTo>
                    <a:pt x="2146307" y="737966"/>
                  </a:lnTo>
                  <a:lnTo>
                    <a:pt x="2160547" y="781348"/>
                  </a:lnTo>
                  <a:lnTo>
                    <a:pt x="2173023" y="825499"/>
                  </a:lnTo>
                  <a:lnTo>
                    <a:pt x="2183693" y="870379"/>
                  </a:lnTo>
                  <a:lnTo>
                    <a:pt x="2192515" y="915946"/>
                  </a:lnTo>
                  <a:lnTo>
                    <a:pt x="2199450" y="962158"/>
                  </a:lnTo>
                  <a:lnTo>
                    <a:pt x="2204454" y="1008974"/>
                  </a:lnTo>
                  <a:lnTo>
                    <a:pt x="2207487" y="1056353"/>
                  </a:lnTo>
                  <a:lnTo>
                    <a:pt x="2208507" y="1104259"/>
                  </a:lnTo>
                  <a:lnTo>
                    <a:pt x="2207487" y="1152154"/>
                  </a:lnTo>
                  <a:lnTo>
                    <a:pt x="2204454" y="1199533"/>
                  </a:lnTo>
                  <a:lnTo>
                    <a:pt x="2199450" y="1246349"/>
                  </a:lnTo>
                  <a:lnTo>
                    <a:pt x="2192515" y="1292561"/>
                  </a:lnTo>
                  <a:lnTo>
                    <a:pt x="2183693" y="1338128"/>
                  </a:lnTo>
                  <a:lnTo>
                    <a:pt x="2173023" y="1383008"/>
                  </a:lnTo>
                  <a:lnTo>
                    <a:pt x="2160547" y="1427159"/>
                  </a:lnTo>
                  <a:lnTo>
                    <a:pt x="2146307" y="1470541"/>
                  </a:lnTo>
                  <a:lnTo>
                    <a:pt x="2130344" y="1513111"/>
                  </a:lnTo>
                  <a:lnTo>
                    <a:pt x="2112700" y="1554829"/>
                  </a:lnTo>
                  <a:lnTo>
                    <a:pt x="2093416" y="1595652"/>
                  </a:lnTo>
                  <a:lnTo>
                    <a:pt x="2072534" y="1635540"/>
                  </a:lnTo>
                  <a:lnTo>
                    <a:pt x="2050094" y="1674451"/>
                  </a:lnTo>
                  <a:lnTo>
                    <a:pt x="2026139" y="1712343"/>
                  </a:lnTo>
                  <a:lnTo>
                    <a:pt x="2000710" y="1749176"/>
                  </a:lnTo>
                  <a:lnTo>
                    <a:pt x="1973848" y="1784907"/>
                  </a:lnTo>
                  <a:lnTo>
                    <a:pt x="1945594" y="1819496"/>
                  </a:lnTo>
                  <a:lnTo>
                    <a:pt x="1915991" y="1852900"/>
                  </a:lnTo>
                  <a:lnTo>
                    <a:pt x="1885079" y="1885079"/>
                  </a:lnTo>
                  <a:lnTo>
                    <a:pt x="1852900" y="1915991"/>
                  </a:lnTo>
                  <a:lnTo>
                    <a:pt x="1819496" y="1945594"/>
                  </a:lnTo>
                  <a:lnTo>
                    <a:pt x="1784907" y="1973848"/>
                  </a:lnTo>
                  <a:lnTo>
                    <a:pt x="1749176" y="2000710"/>
                  </a:lnTo>
                  <a:lnTo>
                    <a:pt x="1712343" y="2026139"/>
                  </a:lnTo>
                  <a:lnTo>
                    <a:pt x="1674451" y="2050094"/>
                  </a:lnTo>
                  <a:lnTo>
                    <a:pt x="1635540" y="2072534"/>
                  </a:lnTo>
                  <a:lnTo>
                    <a:pt x="1595652" y="2093416"/>
                  </a:lnTo>
                  <a:lnTo>
                    <a:pt x="1554829" y="2112700"/>
                  </a:lnTo>
                  <a:lnTo>
                    <a:pt x="1513111" y="2130344"/>
                  </a:lnTo>
                  <a:lnTo>
                    <a:pt x="1470541" y="2146307"/>
                  </a:lnTo>
                  <a:lnTo>
                    <a:pt x="1427159" y="2160547"/>
                  </a:lnTo>
                  <a:lnTo>
                    <a:pt x="1383008" y="2173023"/>
                  </a:lnTo>
                  <a:lnTo>
                    <a:pt x="1338128" y="2183693"/>
                  </a:lnTo>
                  <a:lnTo>
                    <a:pt x="1292561" y="2192515"/>
                  </a:lnTo>
                  <a:lnTo>
                    <a:pt x="1246349" y="2199450"/>
                  </a:lnTo>
                  <a:lnTo>
                    <a:pt x="1199533" y="2204454"/>
                  </a:lnTo>
                  <a:lnTo>
                    <a:pt x="1152154" y="2207487"/>
                  </a:lnTo>
                  <a:lnTo>
                    <a:pt x="1104278" y="2208507"/>
                  </a:lnTo>
                  <a:close/>
                </a:path>
              </a:pathLst>
            </a:custGeom>
            <a:solidFill>
              <a:srgbClr val="21408B"/>
            </a:solidFill>
          </p:spPr>
          <p:txBody>
            <a:bodyPr wrap="square" lIns="0" tIns="0" rIns="0" bIns="0" rtlCol="0"/>
            <a:lstStyle/>
            <a:p>
              <a:endParaRPr/>
            </a:p>
          </p:txBody>
        </p:sp>
      </p:grpSp>
      <p:sp>
        <p:nvSpPr>
          <p:cNvPr id="18" name="object 18"/>
          <p:cNvSpPr txBox="1"/>
          <p:nvPr/>
        </p:nvSpPr>
        <p:spPr>
          <a:xfrm>
            <a:off x="9602816" y="2680923"/>
            <a:ext cx="935355" cy="783590"/>
          </a:xfrm>
          <a:prstGeom prst="rect">
            <a:avLst/>
          </a:prstGeom>
        </p:spPr>
        <p:txBody>
          <a:bodyPr vert="horz" wrap="square" lIns="0" tIns="15240" rIns="0" bIns="0" rtlCol="0">
            <a:spAutoFit/>
          </a:bodyPr>
          <a:lstStyle/>
          <a:p>
            <a:pPr marL="12700">
              <a:lnSpc>
                <a:spcPct val="100000"/>
              </a:lnSpc>
              <a:spcBef>
                <a:spcPts val="120"/>
              </a:spcBef>
            </a:pPr>
            <a:r>
              <a:rPr sz="4950" b="1" spc="795" dirty="0">
                <a:solidFill>
                  <a:srgbClr val="FFFFFF"/>
                </a:solidFill>
                <a:latin typeface="Arial"/>
                <a:cs typeface="Arial"/>
              </a:rPr>
              <a:t>28</a:t>
            </a:r>
            <a:endParaRPr sz="4950">
              <a:latin typeface="Arial"/>
              <a:cs typeface="Arial"/>
            </a:endParaRPr>
          </a:p>
        </p:txBody>
      </p:sp>
      <p:sp>
        <p:nvSpPr>
          <p:cNvPr id="19" name="object 19"/>
          <p:cNvSpPr txBox="1">
            <a:spLocks noGrp="1"/>
          </p:cNvSpPr>
          <p:nvPr>
            <p:ph type="title"/>
          </p:nvPr>
        </p:nvSpPr>
        <p:spPr>
          <a:xfrm>
            <a:off x="9351072" y="2176811"/>
            <a:ext cx="1443355" cy="565150"/>
          </a:xfrm>
          <a:prstGeom prst="rect">
            <a:avLst/>
          </a:prstGeom>
        </p:spPr>
        <p:txBody>
          <a:bodyPr vert="horz" wrap="square" lIns="0" tIns="11430" rIns="0" bIns="0" rtlCol="0">
            <a:spAutoFit/>
          </a:bodyPr>
          <a:lstStyle/>
          <a:p>
            <a:pPr marL="12700">
              <a:lnSpc>
                <a:spcPct val="100000"/>
              </a:lnSpc>
              <a:spcBef>
                <a:spcPts val="90"/>
              </a:spcBef>
            </a:pPr>
            <a:r>
              <a:rPr sz="3550" b="1" spc="-10" dirty="0">
                <a:latin typeface="Roboto"/>
                <a:cs typeface="Roboto"/>
              </a:rPr>
              <a:t>Europa</a:t>
            </a:r>
            <a:endParaRPr sz="3550">
              <a:latin typeface="Roboto"/>
              <a:cs typeface="Roboto"/>
            </a:endParaRPr>
          </a:p>
        </p:txBody>
      </p:sp>
      <p:sp>
        <p:nvSpPr>
          <p:cNvPr id="20" name="object 20"/>
          <p:cNvSpPr txBox="1"/>
          <p:nvPr/>
        </p:nvSpPr>
        <p:spPr>
          <a:xfrm>
            <a:off x="9483390" y="3389692"/>
            <a:ext cx="1132205" cy="467995"/>
          </a:xfrm>
          <a:prstGeom prst="rect">
            <a:avLst/>
          </a:prstGeom>
        </p:spPr>
        <p:txBody>
          <a:bodyPr vert="horz" wrap="square" lIns="0" tIns="24130" rIns="0" bIns="0" rtlCol="0">
            <a:spAutoFit/>
          </a:bodyPr>
          <a:lstStyle/>
          <a:p>
            <a:pPr marL="206375" marR="5080" indent="-194310">
              <a:lnSpc>
                <a:spcPts val="1720"/>
              </a:lnSpc>
              <a:spcBef>
                <a:spcPts val="190"/>
              </a:spcBef>
            </a:pPr>
            <a:r>
              <a:rPr sz="1450" b="1" dirty="0">
                <a:solidFill>
                  <a:srgbClr val="FFFFFF"/>
                </a:solidFill>
                <a:latin typeface="Roboto"/>
                <a:cs typeface="Roboto"/>
              </a:rPr>
              <a:t>VUELOS</a:t>
            </a:r>
            <a:r>
              <a:rPr sz="1450" b="1" spc="-40" dirty="0">
                <a:solidFill>
                  <a:srgbClr val="FFFFFF"/>
                </a:solidFill>
                <a:latin typeface="Roboto"/>
                <a:cs typeface="Roboto"/>
              </a:rPr>
              <a:t> </a:t>
            </a:r>
            <a:r>
              <a:rPr sz="1450" b="1" spc="-25" dirty="0">
                <a:solidFill>
                  <a:srgbClr val="FFFFFF"/>
                </a:solidFill>
                <a:latin typeface="Roboto"/>
                <a:cs typeface="Roboto"/>
              </a:rPr>
              <a:t>POR </a:t>
            </a:r>
            <a:r>
              <a:rPr sz="1450" b="1" spc="-10" dirty="0">
                <a:solidFill>
                  <a:srgbClr val="FFFFFF"/>
                </a:solidFill>
                <a:latin typeface="Roboto"/>
                <a:cs typeface="Roboto"/>
              </a:rPr>
              <a:t>SEMANA</a:t>
            </a:r>
            <a:endParaRPr sz="1450">
              <a:latin typeface="Roboto"/>
              <a:cs typeface="Roboto"/>
            </a:endParaRPr>
          </a:p>
        </p:txBody>
      </p:sp>
      <p:grpSp>
        <p:nvGrpSpPr>
          <p:cNvPr id="21" name="object 21"/>
          <p:cNvGrpSpPr/>
          <p:nvPr/>
        </p:nvGrpSpPr>
        <p:grpSpPr>
          <a:xfrm>
            <a:off x="2400300" y="237491"/>
            <a:ext cx="15659100" cy="7308850"/>
            <a:chOff x="2400300" y="237491"/>
            <a:chExt cx="15659100" cy="7308850"/>
          </a:xfrm>
        </p:grpSpPr>
        <p:sp>
          <p:nvSpPr>
            <p:cNvPr id="22" name="object 22"/>
            <p:cNvSpPr/>
            <p:nvPr/>
          </p:nvSpPr>
          <p:spPr>
            <a:xfrm>
              <a:off x="9834919" y="4816016"/>
              <a:ext cx="200025" cy="438150"/>
            </a:xfrm>
            <a:custGeom>
              <a:avLst/>
              <a:gdLst/>
              <a:ahLst/>
              <a:cxnLst/>
              <a:rect l="l" t="t" r="r" b="b"/>
              <a:pathLst>
                <a:path w="200025" h="438150">
                  <a:moveTo>
                    <a:pt x="133350" y="437966"/>
                  </a:moveTo>
                  <a:lnTo>
                    <a:pt x="0" y="437966"/>
                  </a:lnTo>
                  <a:lnTo>
                    <a:pt x="0" y="0"/>
                  </a:lnTo>
                  <a:lnTo>
                    <a:pt x="133350" y="0"/>
                  </a:lnTo>
                  <a:lnTo>
                    <a:pt x="159301" y="5295"/>
                  </a:lnTo>
                  <a:lnTo>
                    <a:pt x="180495" y="19735"/>
                  </a:lnTo>
                  <a:lnTo>
                    <a:pt x="194785" y="41153"/>
                  </a:lnTo>
                  <a:lnTo>
                    <a:pt x="200025" y="67379"/>
                  </a:lnTo>
                  <a:lnTo>
                    <a:pt x="200025" y="370587"/>
                  </a:lnTo>
                  <a:lnTo>
                    <a:pt x="194785" y="396813"/>
                  </a:lnTo>
                  <a:lnTo>
                    <a:pt x="180495" y="418230"/>
                  </a:lnTo>
                  <a:lnTo>
                    <a:pt x="159301" y="432671"/>
                  </a:lnTo>
                  <a:lnTo>
                    <a:pt x="133350" y="437966"/>
                  </a:lnTo>
                  <a:close/>
                </a:path>
              </a:pathLst>
            </a:custGeom>
            <a:solidFill>
              <a:srgbClr val="EC2938"/>
            </a:solidFill>
          </p:spPr>
          <p:txBody>
            <a:bodyPr wrap="square" lIns="0" tIns="0" rIns="0" bIns="0" rtlCol="0"/>
            <a:lstStyle/>
            <a:p>
              <a:endParaRPr/>
            </a:p>
          </p:txBody>
        </p:sp>
        <p:sp>
          <p:nvSpPr>
            <p:cNvPr id="23" name="object 23"/>
            <p:cNvSpPr/>
            <p:nvPr/>
          </p:nvSpPr>
          <p:spPr>
            <a:xfrm>
              <a:off x="9434869" y="4816016"/>
              <a:ext cx="200025" cy="438150"/>
            </a:xfrm>
            <a:custGeom>
              <a:avLst/>
              <a:gdLst/>
              <a:ahLst/>
              <a:cxnLst/>
              <a:rect l="l" t="t" r="r" b="b"/>
              <a:pathLst>
                <a:path w="200025" h="438150">
                  <a:moveTo>
                    <a:pt x="200025" y="437966"/>
                  </a:moveTo>
                  <a:lnTo>
                    <a:pt x="66675" y="437966"/>
                  </a:lnTo>
                  <a:lnTo>
                    <a:pt x="40723" y="432671"/>
                  </a:lnTo>
                  <a:lnTo>
                    <a:pt x="19529" y="418230"/>
                  </a:lnTo>
                  <a:lnTo>
                    <a:pt x="5239" y="396813"/>
                  </a:lnTo>
                  <a:lnTo>
                    <a:pt x="0" y="370587"/>
                  </a:lnTo>
                  <a:lnTo>
                    <a:pt x="0" y="67379"/>
                  </a:lnTo>
                  <a:lnTo>
                    <a:pt x="5239" y="41153"/>
                  </a:lnTo>
                  <a:lnTo>
                    <a:pt x="19529" y="19735"/>
                  </a:lnTo>
                  <a:lnTo>
                    <a:pt x="40723" y="5295"/>
                  </a:lnTo>
                  <a:lnTo>
                    <a:pt x="66675" y="0"/>
                  </a:lnTo>
                  <a:lnTo>
                    <a:pt x="200025" y="0"/>
                  </a:lnTo>
                  <a:lnTo>
                    <a:pt x="200025" y="437966"/>
                  </a:lnTo>
                  <a:close/>
                </a:path>
              </a:pathLst>
            </a:custGeom>
            <a:solidFill>
              <a:srgbClr val="002494"/>
            </a:solidFill>
          </p:spPr>
          <p:txBody>
            <a:bodyPr wrap="square" lIns="0" tIns="0" rIns="0" bIns="0" rtlCol="0"/>
            <a:lstStyle/>
            <a:p>
              <a:endParaRPr/>
            </a:p>
          </p:txBody>
        </p:sp>
        <p:sp>
          <p:nvSpPr>
            <p:cNvPr id="24" name="object 24"/>
            <p:cNvSpPr/>
            <p:nvPr/>
          </p:nvSpPr>
          <p:spPr>
            <a:xfrm>
              <a:off x="9634894" y="4816016"/>
              <a:ext cx="200025" cy="438150"/>
            </a:xfrm>
            <a:custGeom>
              <a:avLst/>
              <a:gdLst/>
              <a:ahLst/>
              <a:cxnLst/>
              <a:rect l="l" t="t" r="r" b="b"/>
              <a:pathLst>
                <a:path w="200025" h="438150">
                  <a:moveTo>
                    <a:pt x="200025" y="437966"/>
                  </a:moveTo>
                  <a:lnTo>
                    <a:pt x="0" y="437966"/>
                  </a:lnTo>
                  <a:lnTo>
                    <a:pt x="0" y="0"/>
                  </a:lnTo>
                  <a:lnTo>
                    <a:pt x="200025" y="0"/>
                  </a:lnTo>
                  <a:lnTo>
                    <a:pt x="200025" y="437966"/>
                  </a:lnTo>
                  <a:close/>
                </a:path>
              </a:pathLst>
            </a:custGeom>
            <a:solidFill>
              <a:srgbClr val="EDEDED"/>
            </a:solidFill>
          </p:spPr>
          <p:txBody>
            <a:bodyPr wrap="square" lIns="0" tIns="0" rIns="0" bIns="0" rtlCol="0"/>
            <a:lstStyle/>
            <a:p>
              <a:endParaRPr/>
            </a:p>
          </p:txBody>
        </p:sp>
        <p:sp>
          <p:nvSpPr>
            <p:cNvPr id="25" name="object 25"/>
            <p:cNvSpPr/>
            <p:nvPr/>
          </p:nvSpPr>
          <p:spPr>
            <a:xfrm>
              <a:off x="10198180" y="5119224"/>
              <a:ext cx="600075" cy="135255"/>
            </a:xfrm>
            <a:custGeom>
              <a:avLst/>
              <a:gdLst/>
              <a:ahLst/>
              <a:cxnLst/>
              <a:rect l="l" t="t" r="r" b="b"/>
              <a:pathLst>
                <a:path w="600075" h="135254">
                  <a:moveTo>
                    <a:pt x="533400" y="134758"/>
                  </a:moveTo>
                  <a:lnTo>
                    <a:pt x="66675" y="134758"/>
                  </a:lnTo>
                  <a:lnTo>
                    <a:pt x="40723" y="129463"/>
                  </a:lnTo>
                  <a:lnTo>
                    <a:pt x="19529" y="115023"/>
                  </a:lnTo>
                  <a:lnTo>
                    <a:pt x="5239" y="93605"/>
                  </a:lnTo>
                  <a:lnTo>
                    <a:pt x="0" y="67379"/>
                  </a:lnTo>
                  <a:lnTo>
                    <a:pt x="0" y="0"/>
                  </a:lnTo>
                  <a:lnTo>
                    <a:pt x="600075" y="0"/>
                  </a:lnTo>
                  <a:lnTo>
                    <a:pt x="600075" y="67379"/>
                  </a:lnTo>
                  <a:lnTo>
                    <a:pt x="594835" y="93605"/>
                  </a:lnTo>
                  <a:lnTo>
                    <a:pt x="580545" y="115023"/>
                  </a:lnTo>
                  <a:lnTo>
                    <a:pt x="559351" y="129463"/>
                  </a:lnTo>
                  <a:lnTo>
                    <a:pt x="533400" y="134758"/>
                  </a:lnTo>
                  <a:close/>
                </a:path>
              </a:pathLst>
            </a:custGeom>
            <a:solidFill>
              <a:srgbClr val="FFCC04"/>
            </a:solidFill>
          </p:spPr>
          <p:txBody>
            <a:bodyPr wrap="square" lIns="0" tIns="0" rIns="0" bIns="0" rtlCol="0"/>
            <a:lstStyle/>
            <a:p>
              <a:endParaRPr/>
            </a:p>
          </p:txBody>
        </p:sp>
        <p:sp>
          <p:nvSpPr>
            <p:cNvPr id="26" name="object 26"/>
            <p:cNvSpPr/>
            <p:nvPr/>
          </p:nvSpPr>
          <p:spPr>
            <a:xfrm>
              <a:off x="10198180" y="4967620"/>
              <a:ext cx="600075" cy="151765"/>
            </a:xfrm>
            <a:custGeom>
              <a:avLst/>
              <a:gdLst/>
              <a:ahLst/>
              <a:cxnLst/>
              <a:rect l="l" t="t" r="r" b="b"/>
              <a:pathLst>
                <a:path w="600075" h="151764">
                  <a:moveTo>
                    <a:pt x="600075" y="151603"/>
                  </a:moveTo>
                  <a:lnTo>
                    <a:pt x="0" y="151603"/>
                  </a:lnTo>
                  <a:lnTo>
                    <a:pt x="0" y="0"/>
                  </a:lnTo>
                  <a:lnTo>
                    <a:pt x="600075" y="0"/>
                  </a:lnTo>
                  <a:lnTo>
                    <a:pt x="600075" y="151603"/>
                  </a:lnTo>
                  <a:close/>
                </a:path>
              </a:pathLst>
            </a:custGeom>
            <a:solidFill>
              <a:srgbClr val="EC1F24"/>
            </a:solidFill>
          </p:spPr>
          <p:txBody>
            <a:bodyPr wrap="square" lIns="0" tIns="0" rIns="0" bIns="0" rtlCol="0"/>
            <a:lstStyle/>
            <a:p>
              <a:endParaRPr/>
            </a:p>
          </p:txBody>
        </p:sp>
        <p:sp>
          <p:nvSpPr>
            <p:cNvPr id="27" name="object 27"/>
            <p:cNvSpPr/>
            <p:nvPr/>
          </p:nvSpPr>
          <p:spPr>
            <a:xfrm>
              <a:off x="10198180" y="4816016"/>
              <a:ext cx="600075" cy="151765"/>
            </a:xfrm>
            <a:custGeom>
              <a:avLst/>
              <a:gdLst/>
              <a:ahLst/>
              <a:cxnLst/>
              <a:rect l="l" t="t" r="r" b="b"/>
              <a:pathLst>
                <a:path w="600075" h="151764">
                  <a:moveTo>
                    <a:pt x="600075" y="151603"/>
                  </a:moveTo>
                  <a:lnTo>
                    <a:pt x="0" y="151603"/>
                  </a:lnTo>
                  <a:lnTo>
                    <a:pt x="0" y="67379"/>
                  </a:lnTo>
                  <a:lnTo>
                    <a:pt x="5239" y="41153"/>
                  </a:lnTo>
                  <a:lnTo>
                    <a:pt x="19529" y="19735"/>
                  </a:lnTo>
                  <a:lnTo>
                    <a:pt x="40723" y="5295"/>
                  </a:lnTo>
                  <a:lnTo>
                    <a:pt x="66675" y="0"/>
                  </a:lnTo>
                  <a:lnTo>
                    <a:pt x="533400" y="0"/>
                  </a:lnTo>
                  <a:lnTo>
                    <a:pt x="559351" y="5295"/>
                  </a:lnTo>
                  <a:lnTo>
                    <a:pt x="580545" y="19735"/>
                  </a:lnTo>
                  <a:lnTo>
                    <a:pt x="594835" y="41153"/>
                  </a:lnTo>
                  <a:lnTo>
                    <a:pt x="600075" y="67379"/>
                  </a:lnTo>
                  <a:lnTo>
                    <a:pt x="600075" y="151603"/>
                  </a:lnTo>
                  <a:close/>
                </a:path>
              </a:pathLst>
            </a:custGeom>
            <a:solidFill>
              <a:srgbClr val="131313"/>
            </a:solidFill>
          </p:spPr>
          <p:txBody>
            <a:bodyPr wrap="square" lIns="0" tIns="0" rIns="0" bIns="0" rtlCol="0"/>
            <a:lstStyle/>
            <a:p>
              <a:endParaRPr/>
            </a:p>
          </p:txBody>
        </p:sp>
        <p:sp>
          <p:nvSpPr>
            <p:cNvPr id="28" name="object 28"/>
            <p:cNvSpPr/>
            <p:nvPr/>
          </p:nvSpPr>
          <p:spPr>
            <a:xfrm>
              <a:off x="10186023" y="4285307"/>
              <a:ext cx="600075" cy="438150"/>
            </a:xfrm>
            <a:custGeom>
              <a:avLst/>
              <a:gdLst/>
              <a:ahLst/>
              <a:cxnLst/>
              <a:rect l="l" t="t" r="r" b="b"/>
              <a:pathLst>
                <a:path w="600075" h="438150">
                  <a:moveTo>
                    <a:pt x="216693" y="98323"/>
                  </a:moveTo>
                  <a:lnTo>
                    <a:pt x="77743" y="0"/>
                  </a:lnTo>
                  <a:lnTo>
                    <a:pt x="216693" y="0"/>
                  </a:lnTo>
                  <a:lnTo>
                    <a:pt x="216693" y="98323"/>
                  </a:lnTo>
                  <a:close/>
                </a:path>
                <a:path w="600075" h="438150">
                  <a:moveTo>
                    <a:pt x="93811" y="134758"/>
                  </a:moveTo>
                  <a:lnTo>
                    <a:pt x="0" y="134758"/>
                  </a:lnTo>
                  <a:lnTo>
                    <a:pt x="0" y="68373"/>
                  </a:lnTo>
                  <a:lnTo>
                    <a:pt x="93811" y="134758"/>
                  </a:lnTo>
                  <a:close/>
                </a:path>
                <a:path w="600075" h="438150">
                  <a:moveTo>
                    <a:pt x="0" y="369593"/>
                  </a:moveTo>
                  <a:lnTo>
                    <a:pt x="0" y="303207"/>
                  </a:lnTo>
                  <a:lnTo>
                    <a:pt x="93845" y="303207"/>
                  </a:lnTo>
                  <a:lnTo>
                    <a:pt x="0" y="369593"/>
                  </a:lnTo>
                  <a:close/>
                </a:path>
                <a:path w="600075" h="438150">
                  <a:moveTo>
                    <a:pt x="216693" y="437966"/>
                  </a:moveTo>
                  <a:lnTo>
                    <a:pt x="77743" y="437966"/>
                  </a:lnTo>
                  <a:lnTo>
                    <a:pt x="216693" y="339643"/>
                  </a:lnTo>
                  <a:lnTo>
                    <a:pt x="216693" y="437966"/>
                  </a:lnTo>
                  <a:close/>
                </a:path>
                <a:path w="600075" h="438150">
                  <a:moveTo>
                    <a:pt x="600075" y="369610"/>
                  </a:moveTo>
                  <a:lnTo>
                    <a:pt x="506213" y="303207"/>
                  </a:lnTo>
                  <a:lnTo>
                    <a:pt x="600075" y="303207"/>
                  </a:lnTo>
                  <a:lnTo>
                    <a:pt x="600075" y="369610"/>
                  </a:lnTo>
                  <a:close/>
                </a:path>
                <a:path w="600075" h="438150">
                  <a:moveTo>
                    <a:pt x="522315" y="437966"/>
                  </a:moveTo>
                  <a:lnTo>
                    <a:pt x="383381" y="437966"/>
                  </a:lnTo>
                  <a:lnTo>
                    <a:pt x="383381" y="339659"/>
                  </a:lnTo>
                  <a:lnTo>
                    <a:pt x="522315" y="437966"/>
                  </a:lnTo>
                  <a:close/>
                </a:path>
                <a:path w="600075" h="438150">
                  <a:moveTo>
                    <a:pt x="383381" y="98323"/>
                  </a:moveTo>
                  <a:lnTo>
                    <a:pt x="383381" y="0"/>
                  </a:lnTo>
                  <a:lnTo>
                    <a:pt x="522348" y="0"/>
                  </a:lnTo>
                  <a:lnTo>
                    <a:pt x="383381" y="98323"/>
                  </a:lnTo>
                  <a:close/>
                </a:path>
                <a:path w="600075" h="438150">
                  <a:moveTo>
                    <a:pt x="600075" y="134758"/>
                  </a:moveTo>
                  <a:lnTo>
                    <a:pt x="506246" y="134758"/>
                  </a:lnTo>
                  <a:lnTo>
                    <a:pt x="600075" y="68373"/>
                  </a:lnTo>
                  <a:lnTo>
                    <a:pt x="600075" y="134758"/>
                  </a:lnTo>
                  <a:close/>
                </a:path>
              </a:pathLst>
            </a:custGeom>
            <a:solidFill>
              <a:srgbClr val="00247D"/>
            </a:solidFill>
          </p:spPr>
          <p:txBody>
            <a:bodyPr wrap="square" lIns="0" tIns="0" rIns="0" bIns="0" rtlCol="0"/>
            <a:lstStyle/>
            <a:p>
              <a:endParaRPr/>
            </a:p>
          </p:txBody>
        </p:sp>
        <p:sp>
          <p:nvSpPr>
            <p:cNvPr id="29" name="object 29"/>
            <p:cNvSpPr/>
            <p:nvPr/>
          </p:nvSpPr>
          <p:spPr>
            <a:xfrm>
              <a:off x="10188640" y="4287244"/>
              <a:ext cx="594995" cy="434340"/>
            </a:xfrm>
            <a:custGeom>
              <a:avLst/>
              <a:gdLst/>
              <a:ahLst/>
              <a:cxnLst/>
              <a:rect l="l" t="t" r="r" b="b"/>
              <a:pathLst>
                <a:path w="594995" h="434339">
                  <a:moveTo>
                    <a:pt x="578322" y="415832"/>
                  </a:moveTo>
                  <a:lnTo>
                    <a:pt x="416435" y="301270"/>
                  </a:lnTo>
                  <a:lnTo>
                    <a:pt x="474559" y="301270"/>
                  </a:lnTo>
                  <a:lnTo>
                    <a:pt x="594824" y="386370"/>
                  </a:lnTo>
                  <a:lnTo>
                    <a:pt x="592070" y="394579"/>
                  </a:lnTo>
                  <a:lnTo>
                    <a:pt x="588379" y="402289"/>
                  </a:lnTo>
                  <a:lnTo>
                    <a:pt x="583786" y="409404"/>
                  </a:lnTo>
                  <a:lnTo>
                    <a:pt x="578322" y="415832"/>
                  </a:lnTo>
                  <a:close/>
                </a:path>
                <a:path w="594995" h="434339">
                  <a:moveTo>
                    <a:pt x="48822" y="434092"/>
                  </a:moveTo>
                  <a:lnTo>
                    <a:pt x="39729" y="431241"/>
                  </a:lnTo>
                  <a:lnTo>
                    <a:pt x="31245" y="427189"/>
                  </a:lnTo>
                  <a:lnTo>
                    <a:pt x="23474" y="422020"/>
                  </a:lnTo>
                  <a:lnTo>
                    <a:pt x="16518" y="415815"/>
                  </a:lnTo>
                  <a:lnTo>
                    <a:pt x="178388" y="301270"/>
                  </a:lnTo>
                  <a:lnTo>
                    <a:pt x="214076" y="301270"/>
                  </a:lnTo>
                  <a:lnTo>
                    <a:pt x="214076" y="317155"/>
                  </a:lnTo>
                  <a:lnTo>
                    <a:pt x="48822" y="434092"/>
                  </a:lnTo>
                  <a:close/>
                </a:path>
                <a:path w="594995" h="434339">
                  <a:moveTo>
                    <a:pt x="416452" y="132821"/>
                  </a:moveTo>
                  <a:lnTo>
                    <a:pt x="380764" y="132821"/>
                  </a:lnTo>
                  <a:lnTo>
                    <a:pt x="380764" y="116937"/>
                  </a:lnTo>
                  <a:lnTo>
                    <a:pt x="546034" y="0"/>
                  </a:lnTo>
                  <a:lnTo>
                    <a:pt x="555125" y="2850"/>
                  </a:lnTo>
                  <a:lnTo>
                    <a:pt x="563603" y="6902"/>
                  </a:lnTo>
                  <a:lnTo>
                    <a:pt x="571369" y="12071"/>
                  </a:lnTo>
                  <a:lnTo>
                    <a:pt x="578322" y="18276"/>
                  </a:lnTo>
                  <a:lnTo>
                    <a:pt x="416452" y="132821"/>
                  </a:lnTo>
                  <a:close/>
                </a:path>
                <a:path w="594995" h="434339">
                  <a:moveTo>
                    <a:pt x="178388" y="132821"/>
                  </a:moveTo>
                  <a:lnTo>
                    <a:pt x="120265" y="132821"/>
                  </a:lnTo>
                  <a:lnTo>
                    <a:pt x="0" y="47738"/>
                  </a:lnTo>
                  <a:lnTo>
                    <a:pt x="2763" y="39532"/>
                  </a:lnTo>
                  <a:lnTo>
                    <a:pt x="6459" y="31826"/>
                  </a:lnTo>
                  <a:lnTo>
                    <a:pt x="11054" y="24711"/>
                  </a:lnTo>
                  <a:lnTo>
                    <a:pt x="16518" y="18276"/>
                  </a:lnTo>
                  <a:lnTo>
                    <a:pt x="178388" y="132821"/>
                  </a:lnTo>
                  <a:close/>
                </a:path>
              </a:pathLst>
            </a:custGeom>
            <a:solidFill>
              <a:srgbClr val="CF1B2A"/>
            </a:solidFill>
          </p:spPr>
          <p:txBody>
            <a:bodyPr wrap="square" lIns="0" tIns="0" rIns="0" bIns="0" rtlCol="0"/>
            <a:lstStyle/>
            <a:p>
              <a:endParaRPr/>
            </a:p>
          </p:txBody>
        </p:sp>
        <p:sp>
          <p:nvSpPr>
            <p:cNvPr id="30" name="object 30"/>
            <p:cNvSpPr/>
            <p:nvPr/>
          </p:nvSpPr>
          <p:spPr>
            <a:xfrm>
              <a:off x="10186023" y="4285307"/>
              <a:ext cx="600075" cy="438150"/>
            </a:xfrm>
            <a:custGeom>
              <a:avLst/>
              <a:gdLst/>
              <a:ahLst/>
              <a:cxnLst/>
              <a:rect l="l" t="t" r="r" b="b"/>
              <a:pathLst>
                <a:path w="600075" h="438150">
                  <a:moveTo>
                    <a:pt x="383381" y="437966"/>
                  </a:moveTo>
                  <a:lnTo>
                    <a:pt x="350043" y="437966"/>
                  </a:lnTo>
                  <a:lnTo>
                    <a:pt x="350043" y="269517"/>
                  </a:lnTo>
                  <a:lnTo>
                    <a:pt x="600075" y="269517"/>
                  </a:lnTo>
                  <a:lnTo>
                    <a:pt x="600075" y="303207"/>
                  </a:lnTo>
                  <a:lnTo>
                    <a:pt x="419052" y="303207"/>
                  </a:lnTo>
                  <a:lnTo>
                    <a:pt x="470562" y="339659"/>
                  </a:lnTo>
                  <a:lnTo>
                    <a:pt x="383381" y="339659"/>
                  </a:lnTo>
                  <a:lnTo>
                    <a:pt x="383381" y="437966"/>
                  </a:lnTo>
                  <a:close/>
                </a:path>
                <a:path w="600075" h="438150">
                  <a:moveTo>
                    <a:pt x="597441" y="388307"/>
                  </a:moveTo>
                  <a:lnTo>
                    <a:pt x="477176" y="303207"/>
                  </a:lnTo>
                  <a:lnTo>
                    <a:pt x="506213" y="303207"/>
                  </a:lnTo>
                  <a:lnTo>
                    <a:pt x="600075" y="369610"/>
                  </a:lnTo>
                  <a:lnTo>
                    <a:pt x="600075" y="376752"/>
                  </a:lnTo>
                  <a:lnTo>
                    <a:pt x="598991" y="382631"/>
                  </a:lnTo>
                  <a:lnTo>
                    <a:pt x="597441" y="388307"/>
                  </a:lnTo>
                  <a:close/>
                </a:path>
                <a:path w="600075" h="438150">
                  <a:moveTo>
                    <a:pt x="533400" y="437966"/>
                  </a:moveTo>
                  <a:lnTo>
                    <a:pt x="522315" y="437966"/>
                  </a:lnTo>
                  <a:lnTo>
                    <a:pt x="383381" y="339659"/>
                  </a:lnTo>
                  <a:lnTo>
                    <a:pt x="470562" y="339659"/>
                  </a:lnTo>
                  <a:lnTo>
                    <a:pt x="580939" y="417769"/>
                  </a:lnTo>
                  <a:lnTo>
                    <a:pt x="571024" y="426169"/>
                  </a:lnTo>
                  <a:lnTo>
                    <a:pt x="559613" y="432529"/>
                  </a:lnTo>
                  <a:lnTo>
                    <a:pt x="546981" y="436558"/>
                  </a:lnTo>
                  <a:lnTo>
                    <a:pt x="533400" y="437966"/>
                  </a:lnTo>
                  <a:close/>
                </a:path>
                <a:path w="600075" h="438150">
                  <a:moveTo>
                    <a:pt x="77743" y="437966"/>
                  </a:moveTo>
                  <a:lnTo>
                    <a:pt x="61407" y="437966"/>
                  </a:lnTo>
                  <a:lnTo>
                    <a:pt x="56340" y="437191"/>
                  </a:lnTo>
                  <a:lnTo>
                    <a:pt x="51439" y="436012"/>
                  </a:lnTo>
                  <a:lnTo>
                    <a:pt x="216693" y="319092"/>
                  </a:lnTo>
                  <a:lnTo>
                    <a:pt x="216693" y="303207"/>
                  </a:lnTo>
                  <a:lnTo>
                    <a:pt x="0" y="303207"/>
                  </a:lnTo>
                  <a:lnTo>
                    <a:pt x="0" y="269517"/>
                  </a:lnTo>
                  <a:lnTo>
                    <a:pt x="250031" y="269517"/>
                  </a:lnTo>
                  <a:lnTo>
                    <a:pt x="250031" y="339643"/>
                  </a:lnTo>
                  <a:lnTo>
                    <a:pt x="216693" y="339643"/>
                  </a:lnTo>
                  <a:lnTo>
                    <a:pt x="77743" y="437966"/>
                  </a:lnTo>
                  <a:close/>
                </a:path>
                <a:path w="600075" h="438150">
                  <a:moveTo>
                    <a:pt x="19135" y="417752"/>
                  </a:moveTo>
                  <a:lnTo>
                    <a:pt x="11159" y="407836"/>
                  </a:lnTo>
                  <a:lnTo>
                    <a:pt x="5136" y="396500"/>
                  </a:lnTo>
                  <a:lnTo>
                    <a:pt x="1328" y="383999"/>
                  </a:lnTo>
                  <a:lnTo>
                    <a:pt x="0" y="370587"/>
                  </a:lnTo>
                  <a:lnTo>
                    <a:pt x="0" y="369593"/>
                  </a:lnTo>
                  <a:lnTo>
                    <a:pt x="93845" y="303207"/>
                  </a:lnTo>
                  <a:lnTo>
                    <a:pt x="181005" y="303207"/>
                  </a:lnTo>
                  <a:lnTo>
                    <a:pt x="19135" y="417752"/>
                  </a:lnTo>
                  <a:close/>
                </a:path>
                <a:path w="600075" h="438150">
                  <a:moveTo>
                    <a:pt x="250031" y="437966"/>
                  </a:moveTo>
                  <a:lnTo>
                    <a:pt x="216693" y="437966"/>
                  </a:lnTo>
                  <a:lnTo>
                    <a:pt x="216693" y="339643"/>
                  </a:lnTo>
                  <a:lnTo>
                    <a:pt x="250031" y="339643"/>
                  </a:lnTo>
                  <a:lnTo>
                    <a:pt x="250031" y="437966"/>
                  </a:lnTo>
                  <a:close/>
                </a:path>
                <a:path w="600075" h="438150">
                  <a:moveTo>
                    <a:pt x="600075" y="168448"/>
                  </a:moveTo>
                  <a:lnTo>
                    <a:pt x="350043" y="168448"/>
                  </a:lnTo>
                  <a:lnTo>
                    <a:pt x="350043" y="0"/>
                  </a:lnTo>
                  <a:lnTo>
                    <a:pt x="383381" y="0"/>
                  </a:lnTo>
                  <a:lnTo>
                    <a:pt x="383381" y="98323"/>
                  </a:lnTo>
                  <a:lnTo>
                    <a:pt x="412426" y="98323"/>
                  </a:lnTo>
                  <a:lnTo>
                    <a:pt x="383381" y="118874"/>
                  </a:lnTo>
                  <a:lnTo>
                    <a:pt x="383381" y="134758"/>
                  </a:lnTo>
                  <a:lnTo>
                    <a:pt x="600075" y="134758"/>
                  </a:lnTo>
                  <a:lnTo>
                    <a:pt x="600075" y="168448"/>
                  </a:lnTo>
                  <a:close/>
                </a:path>
                <a:path w="600075" h="438150">
                  <a:moveTo>
                    <a:pt x="412426" y="98323"/>
                  </a:moveTo>
                  <a:lnTo>
                    <a:pt x="383381" y="98323"/>
                  </a:lnTo>
                  <a:lnTo>
                    <a:pt x="522348" y="0"/>
                  </a:lnTo>
                  <a:lnTo>
                    <a:pt x="538667" y="0"/>
                  </a:lnTo>
                  <a:lnTo>
                    <a:pt x="543734" y="774"/>
                  </a:lnTo>
                  <a:lnTo>
                    <a:pt x="548651" y="1937"/>
                  </a:lnTo>
                  <a:lnTo>
                    <a:pt x="412426" y="98323"/>
                  </a:lnTo>
                  <a:close/>
                </a:path>
                <a:path w="600075" h="438150">
                  <a:moveTo>
                    <a:pt x="506246" y="134758"/>
                  </a:moveTo>
                  <a:lnTo>
                    <a:pt x="419069" y="134758"/>
                  </a:lnTo>
                  <a:lnTo>
                    <a:pt x="580939" y="20213"/>
                  </a:lnTo>
                  <a:lnTo>
                    <a:pt x="588915" y="30129"/>
                  </a:lnTo>
                  <a:lnTo>
                    <a:pt x="594938" y="41465"/>
                  </a:lnTo>
                  <a:lnTo>
                    <a:pt x="598746" y="53966"/>
                  </a:lnTo>
                  <a:lnTo>
                    <a:pt x="600075" y="67379"/>
                  </a:lnTo>
                  <a:lnTo>
                    <a:pt x="600075" y="68373"/>
                  </a:lnTo>
                  <a:lnTo>
                    <a:pt x="506246" y="134758"/>
                  </a:lnTo>
                  <a:close/>
                </a:path>
                <a:path w="600075" h="438150">
                  <a:moveTo>
                    <a:pt x="250031" y="168448"/>
                  </a:moveTo>
                  <a:lnTo>
                    <a:pt x="0" y="168448"/>
                  </a:lnTo>
                  <a:lnTo>
                    <a:pt x="0" y="134758"/>
                  </a:lnTo>
                  <a:lnTo>
                    <a:pt x="181005" y="134758"/>
                  </a:lnTo>
                  <a:lnTo>
                    <a:pt x="19135" y="20213"/>
                  </a:lnTo>
                  <a:lnTo>
                    <a:pt x="29048" y="11803"/>
                  </a:lnTo>
                  <a:lnTo>
                    <a:pt x="40455" y="5438"/>
                  </a:lnTo>
                  <a:lnTo>
                    <a:pt x="53086" y="1407"/>
                  </a:lnTo>
                  <a:lnTo>
                    <a:pt x="66675" y="0"/>
                  </a:lnTo>
                  <a:lnTo>
                    <a:pt x="77743" y="0"/>
                  </a:lnTo>
                  <a:lnTo>
                    <a:pt x="216693" y="98323"/>
                  </a:lnTo>
                  <a:lnTo>
                    <a:pt x="250031" y="98323"/>
                  </a:lnTo>
                  <a:lnTo>
                    <a:pt x="250031" y="168448"/>
                  </a:lnTo>
                  <a:close/>
                </a:path>
                <a:path w="600075" h="438150">
                  <a:moveTo>
                    <a:pt x="250031" y="98323"/>
                  </a:moveTo>
                  <a:lnTo>
                    <a:pt x="216693" y="98323"/>
                  </a:lnTo>
                  <a:lnTo>
                    <a:pt x="216693" y="0"/>
                  </a:lnTo>
                  <a:lnTo>
                    <a:pt x="250031" y="0"/>
                  </a:lnTo>
                  <a:lnTo>
                    <a:pt x="250031" y="98323"/>
                  </a:lnTo>
                  <a:close/>
                </a:path>
                <a:path w="600075" h="438150">
                  <a:moveTo>
                    <a:pt x="122882" y="134758"/>
                  </a:moveTo>
                  <a:lnTo>
                    <a:pt x="93811" y="134758"/>
                  </a:lnTo>
                  <a:lnTo>
                    <a:pt x="0" y="68373"/>
                  </a:lnTo>
                  <a:lnTo>
                    <a:pt x="0" y="61214"/>
                  </a:lnTo>
                  <a:lnTo>
                    <a:pt x="1083" y="55352"/>
                  </a:lnTo>
                  <a:lnTo>
                    <a:pt x="2616" y="49675"/>
                  </a:lnTo>
                  <a:lnTo>
                    <a:pt x="122882" y="134758"/>
                  </a:lnTo>
                  <a:close/>
                </a:path>
              </a:pathLst>
            </a:custGeom>
            <a:solidFill>
              <a:srgbClr val="EDEDED"/>
            </a:solidFill>
          </p:spPr>
          <p:txBody>
            <a:bodyPr wrap="square" lIns="0" tIns="0" rIns="0" bIns="0" rtlCol="0"/>
            <a:lstStyle/>
            <a:p>
              <a:endParaRPr/>
            </a:p>
          </p:txBody>
        </p:sp>
        <p:sp>
          <p:nvSpPr>
            <p:cNvPr id="31" name="object 31"/>
            <p:cNvSpPr/>
            <p:nvPr/>
          </p:nvSpPr>
          <p:spPr>
            <a:xfrm>
              <a:off x="10186022" y="4285347"/>
              <a:ext cx="600075" cy="438150"/>
            </a:xfrm>
            <a:custGeom>
              <a:avLst/>
              <a:gdLst/>
              <a:ahLst/>
              <a:cxnLst/>
              <a:rect l="l" t="t" r="r" b="b"/>
              <a:pathLst>
                <a:path w="600075" h="438150">
                  <a:moveTo>
                    <a:pt x="600075" y="168529"/>
                  </a:moveTo>
                  <a:lnTo>
                    <a:pt x="350037" y="168529"/>
                  </a:lnTo>
                  <a:lnTo>
                    <a:pt x="350037" y="0"/>
                  </a:lnTo>
                  <a:lnTo>
                    <a:pt x="250024" y="0"/>
                  </a:lnTo>
                  <a:lnTo>
                    <a:pt x="250024" y="168529"/>
                  </a:lnTo>
                  <a:lnTo>
                    <a:pt x="0" y="168529"/>
                  </a:lnTo>
                  <a:lnTo>
                    <a:pt x="0" y="269379"/>
                  </a:lnTo>
                  <a:lnTo>
                    <a:pt x="250024" y="269379"/>
                  </a:lnTo>
                  <a:lnTo>
                    <a:pt x="250024" y="437896"/>
                  </a:lnTo>
                  <a:lnTo>
                    <a:pt x="350037" y="437896"/>
                  </a:lnTo>
                  <a:lnTo>
                    <a:pt x="350037" y="269379"/>
                  </a:lnTo>
                  <a:lnTo>
                    <a:pt x="600075" y="269379"/>
                  </a:lnTo>
                  <a:lnTo>
                    <a:pt x="600075" y="168529"/>
                  </a:lnTo>
                  <a:close/>
                </a:path>
              </a:pathLst>
            </a:custGeom>
            <a:solidFill>
              <a:srgbClr val="CF1B2A"/>
            </a:solidFill>
          </p:spPr>
          <p:txBody>
            <a:bodyPr wrap="square" lIns="0" tIns="0" rIns="0" bIns="0" rtlCol="0"/>
            <a:lstStyle/>
            <a:p>
              <a:endParaRPr/>
            </a:p>
          </p:txBody>
        </p:sp>
        <p:sp>
          <p:nvSpPr>
            <p:cNvPr id="32" name="object 32"/>
            <p:cNvSpPr/>
            <p:nvPr/>
          </p:nvSpPr>
          <p:spPr>
            <a:xfrm>
              <a:off x="9418252" y="4285215"/>
              <a:ext cx="647700" cy="438150"/>
            </a:xfrm>
            <a:custGeom>
              <a:avLst/>
              <a:gdLst/>
              <a:ahLst/>
              <a:cxnLst/>
              <a:rect l="l" t="t" r="r" b="b"/>
              <a:pathLst>
                <a:path w="647700" h="438150">
                  <a:moveTo>
                    <a:pt x="566343" y="438150"/>
                  </a:moveTo>
                  <a:lnTo>
                    <a:pt x="80986" y="438150"/>
                  </a:lnTo>
                  <a:lnTo>
                    <a:pt x="49456" y="431691"/>
                  </a:lnTo>
                  <a:lnTo>
                    <a:pt x="23714" y="414081"/>
                  </a:lnTo>
                  <a:lnTo>
                    <a:pt x="6362" y="387967"/>
                  </a:lnTo>
                  <a:lnTo>
                    <a:pt x="0" y="355996"/>
                  </a:lnTo>
                  <a:lnTo>
                    <a:pt x="0" y="82153"/>
                  </a:lnTo>
                  <a:lnTo>
                    <a:pt x="6352" y="50182"/>
                  </a:lnTo>
                  <a:lnTo>
                    <a:pt x="23688" y="24068"/>
                  </a:lnTo>
                  <a:lnTo>
                    <a:pt x="49426" y="6458"/>
                  </a:lnTo>
                  <a:lnTo>
                    <a:pt x="80986" y="0"/>
                  </a:lnTo>
                  <a:lnTo>
                    <a:pt x="566343" y="0"/>
                  </a:lnTo>
                  <a:lnTo>
                    <a:pt x="597873" y="6458"/>
                  </a:lnTo>
                  <a:lnTo>
                    <a:pt x="623615" y="24068"/>
                  </a:lnTo>
                  <a:lnTo>
                    <a:pt x="640968" y="50182"/>
                  </a:lnTo>
                  <a:lnTo>
                    <a:pt x="647330" y="82153"/>
                  </a:lnTo>
                  <a:lnTo>
                    <a:pt x="647330" y="355996"/>
                  </a:lnTo>
                  <a:lnTo>
                    <a:pt x="640978" y="387967"/>
                  </a:lnTo>
                  <a:lnTo>
                    <a:pt x="623641" y="414081"/>
                  </a:lnTo>
                  <a:lnTo>
                    <a:pt x="597903" y="431691"/>
                  </a:lnTo>
                  <a:lnTo>
                    <a:pt x="566343" y="438150"/>
                  </a:lnTo>
                  <a:close/>
                </a:path>
              </a:pathLst>
            </a:custGeom>
            <a:solidFill>
              <a:srgbClr val="D90F23"/>
            </a:solidFill>
          </p:spPr>
          <p:txBody>
            <a:bodyPr wrap="square" lIns="0" tIns="0" rIns="0" bIns="0" rtlCol="0"/>
            <a:lstStyle/>
            <a:p>
              <a:endParaRPr/>
            </a:p>
          </p:txBody>
        </p:sp>
        <p:sp>
          <p:nvSpPr>
            <p:cNvPr id="33" name="object 33"/>
            <p:cNvSpPr/>
            <p:nvPr/>
          </p:nvSpPr>
          <p:spPr>
            <a:xfrm>
              <a:off x="9418252" y="4394753"/>
              <a:ext cx="647700" cy="219075"/>
            </a:xfrm>
            <a:custGeom>
              <a:avLst/>
              <a:gdLst/>
              <a:ahLst/>
              <a:cxnLst/>
              <a:rect l="l" t="t" r="r" b="b"/>
              <a:pathLst>
                <a:path w="647700" h="219075">
                  <a:moveTo>
                    <a:pt x="647330" y="219075"/>
                  </a:moveTo>
                  <a:lnTo>
                    <a:pt x="0" y="219075"/>
                  </a:lnTo>
                  <a:lnTo>
                    <a:pt x="0" y="0"/>
                  </a:lnTo>
                  <a:lnTo>
                    <a:pt x="647330" y="0"/>
                  </a:lnTo>
                  <a:lnTo>
                    <a:pt x="647330" y="219075"/>
                  </a:lnTo>
                  <a:close/>
                </a:path>
              </a:pathLst>
            </a:custGeom>
            <a:solidFill>
              <a:srgbClr val="F1C400"/>
            </a:solidFill>
          </p:spPr>
          <p:txBody>
            <a:bodyPr wrap="square" lIns="0" tIns="0" rIns="0" bIns="0" rtlCol="0"/>
            <a:lstStyle/>
            <a:p>
              <a:endParaRPr/>
            </a:p>
          </p:txBody>
        </p:sp>
        <p:pic>
          <p:nvPicPr>
            <p:cNvPr id="34" name="object 34"/>
            <p:cNvPicPr/>
            <p:nvPr/>
          </p:nvPicPr>
          <p:blipFill>
            <a:blip r:embed="rId6" cstate="print"/>
            <a:stretch>
              <a:fillRect/>
            </a:stretch>
          </p:blipFill>
          <p:spPr>
            <a:xfrm>
              <a:off x="9478939" y="4408445"/>
              <a:ext cx="229262" cy="192902"/>
            </a:xfrm>
            <a:prstGeom prst="rect">
              <a:avLst/>
            </a:prstGeom>
          </p:spPr>
        </p:pic>
        <p:pic>
          <p:nvPicPr>
            <p:cNvPr id="35" name="object 35"/>
            <p:cNvPicPr/>
            <p:nvPr/>
          </p:nvPicPr>
          <p:blipFill>
            <a:blip r:embed="rId7" cstate="print"/>
            <a:stretch>
              <a:fillRect/>
            </a:stretch>
          </p:blipFill>
          <p:spPr>
            <a:xfrm>
              <a:off x="9574926" y="5627654"/>
              <a:ext cx="1798141" cy="1914139"/>
            </a:xfrm>
            <a:prstGeom prst="rect">
              <a:avLst/>
            </a:prstGeom>
          </p:spPr>
        </p:pic>
        <p:pic>
          <p:nvPicPr>
            <p:cNvPr id="36" name="object 36"/>
            <p:cNvPicPr/>
            <p:nvPr/>
          </p:nvPicPr>
          <p:blipFill>
            <a:blip r:embed="rId8" cstate="print"/>
            <a:stretch>
              <a:fillRect/>
            </a:stretch>
          </p:blipFill>
          <p:spPr>
            <a:xfrm>
              <a:off x="11143742" y="6232318"/>
              <a:ext cx="1128868" cy="1191906"/>
            </a:xfrm>
            <a:prstGeom prst="rect">
              <a:avLst/>
            </a:prstGeom>
          </p:spPr>
        </p:pic>
        <p:pic>
          <p:nvPicPr>
            <p:cNvPr id="37" name="object 37"/>
            <p:cNvPicPr/>
            <p:nvPr/>
          </p:nvPicPr>
          <p:blipFill>
            <a:blip r:embed="rId9" cstate="print"/>
            <a:stretch>
              <a:fillRect/>
            </a:stretch>
          </p:blipFill>
          <p:spPr>
            <a:xfrm>
              <a:off x="2400300" y="5143519"/>
              <a:ext cx="1454009" cy="1474844"/>
            </a:xfrm>
            <a:prstGeom prst="rect">
              <a:avLst/>
            </a:prstGeom>
          </p:spPr>
        </p:pic>
        <p:pic>
          <p:nvPicPr>
            <p:cNvPr id="38" name="object 38"/>
            <p:cNvPicPr/>
            <p:nvPr/>
          </p:nvPicPr>
          <p:blipFill>
            <a:blip r:embed="rId10" cstate="print"/>
            <a:stretch>
              <a:fillRect/>
            </a:stretch>
          </p:blipFill>
          <p:spPr>
            <a:xfrm>
              <a:off x="3422669" y="5192937"/>
              <a:ext cx="2386228" cy="2353128"/>
            </a:xfrm>
            <a:prstGeom prst="rect">
              <a:avLst/>
            </a:prstGeom>
          </p:spPr>
        </p:pic>
        <p:pic>
          <p:nvPicPr>
            <p:cNvPr id="39" name="object 39"/>
            <p:cNvPicPr/>
            <p:nvPr/>
          </p:nvPicPr>
          <p:blipFill>
            <a:blip r:embed="rId11" cstate="print"/>
            <a:stretch>
              <a:fillRect/>
            </a:stretch>
          </p:blipFill>
          <p:spPr>
            <a:xfrm>
              <a:off x="13731128" y="6685557"/>
              <a:ext cx="140554" cy="140556"/>
            </a:xfrm>
            <a:prstGeom prst="rect">
              <a:avLst/>
            </a:prstGeom>
          </p:spPr>
        </p:pic>
        <p:pic>
          <p:nvPicPr>
            <p:cNvPr id="40" name="object 40"/>
            <p:cNvPicPr/>
            <p:nvPr/>
          </p:nvPicPr>
          <p:blipFill>
            <a:blip r:embed="rId12" cstate="print"/>
            <a:stretch>
              <a:fillRect/>
            </a:stretch>
          </p:blipFill>
          <p:spPr>
            <a:xfrm>
              <a:off x="17316450" y="237491"/>
              <a:ext cx="742949" cy="819149"/>
            </a:xfrm>
            <a:prstGeom prst="rect">
              <a:avLst/>
            </a:prstGeom>
          </p:spPr>
        </p:pic>
      </p:grpSp>
      <p:sp>
        <p:nvSpPr>
          <p:cNvPr id="41" name="object 41"/>
          <p:cNvSpPr txBox="1"/>
          <p:nvPr/>
        </p:nvSpPr>
        <p:spPr>
          <a:xfrm>
            <a:off x="637985" y="384148"/>
            <a:ext cx="453326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4.</a:t>
            </a:r>
            <a:r>
              <a:rPr sz="3000" spc="-70" dirty="0">
                <a:solidFill>
                  <a:srgbClr val="FFFFFF"/>
                </a:solidFill>
                <a:latin typeface="Roboto"/>
                <a:cs typeface="Roboto"/>
              </a:rPr>
              <a:t> </a:t>
            </a:r>
            <a:r>
              <a:rPr sz="3000" spc="-30" dirty="0">
                <a:solidFill>
                  <a:srgbClr val="FFFFFF"/>
                </a:solidFill>
                <a:latin typeface="Roboto"/>
                <a:cs typeface="Roboto"/>
              </a:rPr>
              <a:t>Situación</a:t>
            </a:r>
            <a:r>
              <a:rPr sz="3000" spc="-70" dirty="0">
                <a:solidFill>
                  <a:srgbClr val="FFFFFF"/>
                </a:solidFill>
                <a:latin typeface="Roboto"/>
                <a:cs typeface="Roboto"/>
              </a:rPr>
              <a:t> </a:t>
            </a:r>
            <a:r>
              <a:rPr sz="3000" dirty="0">
                <a:solidFill>
                  <a:srgbClr val="FFFFFF"/>
                </a:solidFill>
                <a:latin typeface="Roboto"/>
                <a:cs typeface="Roboto"/>
              </a:rPr>
              <a:t>de</a:t>
            </a:r>
            <a:r>
              <a:rPr sz="3000" spc="-65" dirty="0">
                <a:solidFill>
                  <a:srgbClr val="FFFFFF"/>
                </a:solidFill>
                <a:latin typeface="Roboto"/>
                <a:cs typeface="Roboto"/>
              </a:rPr>
              <a:t> </a:t>
            </a:r>
            <a:r>
              <a:rPr sz="3000" spc="-10" dirty="0">
                <a:solidFill>
                  <a:srgbClr val="FFFFFF"/>
                </a:solidFill>
                <a:latin typeface="Roboto"/>
                <a:cs typeface="Roboto"/>
              </a:rPr>
              <a:t>mercados</a:t>
            </a:r>
            <a:endParaRPr sz="3000">
              <a:latin typeface="Roboto"/>
              <a:cs typeface="Roboto"/>
            </a:endParaRPr>
          </a:p>
        </p:txBody>
      </p:sp>
      <p:sp>
        <p:nvSpPr>
          <p:cNvPr id="44" name="object 44"/>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45" name="object 45"/>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10</a:t>
            </a:r>
          </a:p>
        </p:txBody>
      </p:sp>
      <p:sp>
        <p:nvSpPr>
          <p:cNvPr id="42" name="object 42"/>
          <p:cNvSpPr txBox="1"/>
          <p:nvPr/>
        </p:nvSpPr>
        <p:spPr>
          <a:xfrm>
            <a:off x="14101522" y="6458338"/>
            <a:ext cx="3383915" cy="1816100"/>
          </a:xfrm>
          <a:prstGeom prst="rect">
            <a:avLst/>
          </a:prstGeom>
        </p:spPr>
        <p:txBody>
          <a:bodyPr vert="horz" wrap="square" lIns="0" tIns="12700" rIns="0" bIns="0" rtlCol="0">
            <a:spAutoFit/>
          </a:bodyPr>
          <a:lstStyle/>
          <a:p>
            <a:pPr marL="12700" marR="5080">
              <a:lnSpc>
                <a:spcPct val="108800"/>
              </a:lnSpc>
              <a:spcBef>
                <a:spcPts val="100"/>
              </a:spcBef>
            </a:pPr>
            <a:r>
              <a:rPr sz="2700" b="1" spc="-10" dirty="0">
                <a:solidFill>
                  <a:srgbClr val="FFFFFF"/>
                </a:solidFill>
                <a:latin typeface="Roboto"/>
                <a:cs typeface="Roboto"/>
              </a:rPr>
              <a:t>Sin</a:t>
            </a:r>
            <a:r>
              <a:rPr sz="2700" b="1" spc="-140" dirty="0">
                <a:solidFill>
                  <a:srgbClr val="FFFFFF"/>
                </a:solidFill>
                <a:latin typeface="Roboto"/>
                <a:cs typeface="Roboto"/>
              </a:rPr>
              <a:t> </a:t>
            </a:r>
            <a:r>
              <a:rPr sz="2700" b="1" dirty="0">
                <a:solidFill>
                  <a:srgbClr val="FFFFFF"/>
                </a:solidFill>
                <a:latin typeface="Roboto"/>
                <a:cs typeface="Roboto"/>
              </a:rPr>
              <a:t>embargo</a:t>
            </a:r>
            <a:r>
              <a:rPr sz="2700" b="1" spc="-135" dirty="0">
                <a:solidFill>
                  <a:srgbClr val="FFFFFF"/>
                </a:solidFill>
                <a:latin typeface="Roboto"/>
                <a:cs typeface="Roboto"/>
              </a:rPr>
              <a:t> </a:t>
            </a:r>
            <a:r>
              <a:rPr sz="2700" b="1" spc="-10" dirty="0">
                <a:solidFill>
                  <a:srgbClr val="FFFFFF"/>
                </a:solidFill>
                <a:latin typeface="Roboto"/>
                <a:cs typeface="Roboto"/>
              </a:rPr>
              <a:t>Europa </a:t>
            </a:r>
            <a:r>
              <a:rPr sz="2700" b="1" dirty="0">
                <a:solidFill>
                  <a:srgbClr val="FFFFFF"/>
                </a:solidFill>
                <a:latin typeface="Roboto"/>
                <a:cs typeface="Roboto"/>
              </a:rPr>
              <a:t>tiene</a:t>
            </a:r>
            <a:r>
              <a:rPr sz="2700" b="1" spc="-125" dirty="0">
                <a:solidFill>
                  <a:srgbClr val="FFFFFF"/>
                </a:solidFill>
                <a:latin typeface="Roboto"/>
                <a:cs typeface="Roboto"/>
              </a:rPr>
              <a:t> </a:t>
            </a:r>
            <a:r>
              <a:rPr sz="2700" b="1" spc="-20" dirty="0">
                <a:solidFill>
                  <a:srgbClr val="FFFFFF"/>
                </a:solidFill>
                <a:latin typeface="Roboto"/>
                <a:cs typeface="Roboto"/>
              </a:rPr>
              <a:t>menos </a:t>
            </a:r>
            <a:r>
              <a:rPr sz="2700" b="1" spc="-25" dirty="0">
                <a:solidFill>
                  <a:srgbClr val="FFFFFF"/>
                </a:solidFill>
                <a:latin typeface="Roboto"/>
                <a:cs typeface="Roboto"/>
              </a:rPr>
              <a:t>conectividad</a:t>
            </a:r>
            <a:r>
              <a:rPr sz="2700" b="1" spc="-75" dirty="0">
                <a:solidFill>
                  <a:srgbClr val="FFFFFF"/>
                </a:solidFill>
                <a:latin typeface="Roboto"/>
                <a:cs typeface="Roboto"/>
              </a:rPr>
              <a:t> </a:t>
            </a:r>
            <a:r>
              <a:rPr sz="2700" b="1" spc="-10" dirty="0">
                <a:solidFill>
                  <a:srgbClr val="FFFFFF"/>
                </a:solidFill>
                <a:latin typeface="Roboto"/>
                <a:cs typeface="Roboto"/>
              </a:rPr>
              <a:t>respecto </a:t>
            </a:r>
            <a:r>
              <a:rPr sz="2700" b="1" dirty="0">
                <a:solidFill>
                  <a:srgbClr val="FFFFFF"/>
                </a:solidFill>
                <a:latin typeface="Roboto"/>
                <a:cs typeface="Roboto"/>
              </a:rPr>
              <a:t>a</a:t>
            </a:r>
            <a:r>
              <a:rPr sz="2700" b="1" spc="-95" dirty="0">
                <a:solidFill>
                  <a:srgbClr val="FFFFFF"/>
                </a:solidFill>
                <a:latin typeface="Roboto"/>
                <a:cs typeface="Roboto"/>
              </a:rPr>
              <a:t> </a:t>
            </a:r>
            <a:r>
              <a:rPr sz="2700" b="1" spc="-25" dirty="0">
                <a:solidFill>
                  <a:srgbClr val="FFFFFF"/>
                </a:solidFill>
                <a:latin typeface="Roboto"/>
                <a:cs typeface="Roboto"/>
              </a:rPr>
              <a:t>Estados</a:t>
            </a:r>
            <a:r>
              <a:rPr sz="2700" b="1" spc="-90" dirty="0">
                <a:solidFill>
                  <a:srgbClr val="FFFFFF"/>
                </a:solidFill>
                <a:latin typeface="Roboto"/>
                <a:cs typeface="Roboto"/>
              </a:rPr>
              <a:t> </a:t>
            </a:r>
            <a:r>
              <a:rPr sz="2700" b="1" spc="-10" dirty="0">
                <a:solidFill>
                  <a:srgbClr val="FFFFFF"/>
                </a:solidFill>
                <a:latin typeface="Roboto"/>
                <a:cs typeface="Roboto"/>
              </a:rPr>
              <a:t>Unidos</a:t>
            </a:r>
            <a:endParaRPr sz="2700">
              <a:latin typeface="Roboto"/>
              <a:cs typeface="Roboto"/>
            </a:endParaRPr>
          </a:p>
        </p:txBody>
      </p:sp>
      <p:sp>
        <p:nvSpPr>
          <p:cNvPr id="43" name="object 43"/>
          <p:cNvSpPr txBox="1"/>
          <p:nvPr/>
        </p:nvSpPr>
        <p:spPr>
          <a:xfrm rot="16680000">
            <a:off x="4068502" y="8393175"/>
            <a:ext cx="859446" cy="273050"/>
          </a:xfrm>
          <a:prstGeom prst="rect">
            <a:avLst/>
          </a:prstGeom>
        </p:spPr>
        <p:txBody>
          <a:bodyPr vert="horz" wrap="square" lIns="0" tIns="0" rIns="0" bIns="0" rtlCol="0">
            <a:spAutoFit/>
          </a:bodyPr>
          <a:lstStyle/>
          <a:p>
            <a:pPr>
              <a:lnSpc>
                <a:spcPts val="1985"/>
              </a:lnSpc>
            </a:pPr>
            <a:r>
              <a:rPr sz="2150" b="1" spc="-25" dirty="0">
                <a:solidFill>
                  <a:srgbClr val="E3112B"/>
                </a:solidFill>
                <a:latin typeface="Arial"/>
                <a:cs typeface="Arial"/>
              </a:rPr>
              <a:t>CH</a:t>
            </a:r>
            <a:r>
              <a:rPr sz="3225" b="1" spc="-37" baseline="1291" dirty="0">
                <a:solidFill>
                  <a:srgbClr val="E3112B"/>
                </a:solidFill>
                <a:latin typeface="Arial"/>
                <a:cs typeface="Arial"/>
              </a:rPr>
              <a:t>ILE</a:t>
            </a:r>
            <a:endParaRPr sz="3225" baseline="1291">
              <a:latin typeface="Arial"/>
              <a:cs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77462"/>
            <a:ext cx="18120995" cy="9765030"/>
            <a:chOff x="166956" y="177462"/>
            <a:chExt cx="18120995" cy="9765030"/>
          </a:xfrm>
        </p:grpSpPr>
        <p:sp>
          <p:nvSpPr>
            <p:cNvPr id="3" name="object 3"/>
            <p:cNvSpPr/>
            <p:nvPr/>
          </p:nvSpPr>
          <p:spPr>
            <a:xfrm>
              <a:off x="166956" y="1113691"/>
              <a:ext cx="10622915" cy="8675370"/>
            </a:xfrm>
            <a:custGeom>
              <a:avLst/>
              <a:gdLst/>
              <a:ahLst/>
              <a:cxnLst/>
              <a:rect l="l" t="t" r="r" b="b"/>
              <a:pathLst>
                <a:path w="10622915" h="8675370">
                  <a:moveTo>
                    <a:pt x="0" y="8675017"/>
                  </a:moveTo>
                  <a:lnTo>
                    <a:pt x="10622449" y="8675017"/>
                  </a:lnTo>
                  <a:lnTo>
                    <a:pt x="1062244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0789406" y="177462"/>
              <a:ext cx="7498715" cy="9765030"/>
            </a:xfrm>
            <a:custGeom>
              <a:avLst/>
              <a:gdLst/>
              <a:ahLst/>
              <a:cxnLst/>
              <a:rect l="l" t="t" r="r" b="b"/>
              <a:pathLst>
                <a:path w="7498715" h="9765030">
                  <a:moveTo>
                    <a:pt x="7498258" y="9764613"/>
                  </a:moveTo>
                  <a:lnTo>
                    <a:pt x="0" y="9764613"/>
                  </a:lnTo>
                  <a:lnTo>
                    <a:pt x="0" y="0"/>
                  </a:lnTo>
                  <a:lnTo>
                    <a:pt x="7498258" y="0"/>
                  </a:lnTo>
                  <a:lnTo>
                    <a:pt x="7498258" y="9764613"/>
                  </a:lnTo>
                  <a:close/>
                </a:path>
              </a:pathLst>
            </a:custGeom>
            <a:solidFill>
              <a:srgbClr val="FFFFFF"/>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pic>
          <p:nvPicPr>
            <p:cNvPr id="6" name="object 6"/>
            <p:cNvPicPr/>
            <p:nvPr/>
          </p:nvPicPr>
          <p:blipFill>
            <a:blip r:embed="rId2" cstate="print"/>
            <a:stretch>
              <a:fillRect/>
            </a:stretch>
          </p:blipFill>
          <p:spPr>
            <a:xfrm>
              <a:off x="514797" y="2563570"/>
              <a:ext cx="10601324" cy="6572249"/>
            </a:xfrm>
            <a:prstGeom prst="rect">
              <a:avLst/>
            </a:prstGeom>
          </p:spPr>
        </p:pic>
        <p:pic>
          <p:nvPicPr>
            <p:cNvPr id="7" name="object 7"/>
            <p:cNvPicPr/>
            <p:nvPr/>
          </p:nvPicPr>
          <p:blipFill>
            <a:blip r:embed="rId3" cstate="print"/>
            <a:stretch>
              <a:fillRect/>
            </a:stretch>
          </p:blipFill>
          <p:spPr>
            <a:xfrm>
              <a:off x="3696642" y="5907121"/>
              <a:ext cx="1079045" cy="1079045"/>
            </a:xfrm>
            <a:prstGeom prst="rect">
              <a:avLst/>
            </a:prstGeom>
          </p:spPr>
        </p:pic>
        <p:sp>
          <p:nvSpPr>
            <p:cNvPr id="8" name="object 8"/>
            <p:cNvSpPr/>
            <p:nvPr/>
          </p:nvSpPr>
          <p:spPr>
            <a:xfrm>
              <a:off x="3792049" y="5991183"/>
              <a:ext cx="899160" cy="899160"/>
            </a:xfrm>
            <a:custGeom>
              <a:avLst/>
              <a:gdLst/>
              <a:ahLst/>
              <a:cxnLst/>
              <a:rect l="l" t="t" r="r" b="b"/>
              <a:pathLst>
                <a:path w="899160" h="899159">
                  <a:moveTo>
                    <a:pt x="449344" y="898673"/>
                  </a:moveTo>
                  <a:lnTo>
                    <a:pt x="400376" y="896036"/>
                  </a:lnTo>
                  <a:lnTo>
                    <a:pt x="352943" y="888309"/>
                  </a:lnTo>
                  <a:lnTo>
                    <a:pt x="307311" y="875766"/>
                  </a:lnTo>
                  <a:lnTo>
                    <a:pt x="263754" y="858680"/>
                  </a:lnTo>
                  <a:lnTo>
                    <a:pt x="222547" y="837325"/>
                  </a:lnTo>
                  <a:lnTo>
                    <a:pt x="183964" y="811977"/>
                  </a:lnTo>
                  <a:lnTo>
                    <a:pt x="148278" y="782909"/>
                  </a:lnTo>
                  <a:lnTo>
                    <a:pt x="115764" y="750395"/>
                  </a:lnTo>
                  <a:lnTo>
                    <a:pt x="86695" y="714709"/>
                  </a:lnTo>
                  <a:lnTo>
                    <a:pt x="61347" y="676125"/>
                  </a:lnTo>
                  <a:lnTo>
                    <a:pt x="39993" y="634918"/>
                  </a:lnTo>
                  <a:lnTo>
                    <a:pt x="22907" y="591361"/>
                  </a:lnTo>
                  <a:lnTo>
                    <a:pt x="10363" y="545730"/>
                  </a:lnTo>
                  <a:lnTo>
                    <a:pt x="2636" y="498296"/>
                  </a:lnTo>
                  <a:lnTo>
                    <a:pt x="0" y="449335"/>
                  </a:lnTo>
                  <a:lnTo>
                    <a:pt x="2636" y="400376"/>
                  </a:lnTo>
                  <a:lnTo>
                    <a:pt x="10363" y="352943"/>
                  </a:lnTo>
                  <a:lnTo>
                    <a:pt x="22907" y="307311"/>
                  </a:lnTo>
                  <a:lnTo>
                    <a:pt x="39993" y="263754"/>
                  </a:lnTo>
                  <a:lnTo>
                    <a:pt x="61347" y="222547"/>
                  </a:lnTo>
                  <a:lnTo>
                    <a:pt x="86695" y="183964"/>
                  </a:lnTo>
                  <a:lnTo>
                    <a:pt x="115764" y="148278"/>
                  </a:lnTo>
                  <a:lnTo>
                    <a:pt x="148278" y="115764"/>
                  </a:lnTo>
                  <a:lnTo>
                    <a:pt x="183964" y="86695"/>
                  </a:lnTo>
                  <a:lnTo>
                    <a:pt x="222547" y="61347"/>
                  </a:lnTo>
                  <a:lnTo>
                    <a:pt x="263754" y="39993"/>
                  </a:lnTo>
                  <a:lnTo>
                    <a:pt x="307311" y="22907"/>
                  </a:lnTo>
                  <a:lnTo>
                    <a:pt x="352943" y="10363"/>
                  </a:lnTo>
                  <a:lnTo>
                    <a:pt x="400376" y="2636"/>
                  </a:lnTo>
                  <a:lnTo>
                    <a:pt x="449336" y="0"/>
                  </a:lnTo>
                  <a:lnTo>
                    <a:pt x="498296" y="2636"/>
                  </a:lnTo>
                  <a:lnTo>
                    <a:pt x="545729" y="10363"/>
                  </a:lnTo>
                  <a:lnTo>
                    <a:pt x="591361" y="22907"/>
                  </a:lnTo>
                  <a:lnTo>
                    <a:pt x="634918" y="39993"/>
                  </a:lnTo>
                  <a:lnTo>
                    <a:pt x="676125" y="61347"/>
                  </a:lnTo>
                  <a:lnTo>
                    <a:pt x="714708" y="86695"/>
                  </a:lnTo>
                  <a:lnTo>
                    <a:pt x="750394" y="115764"/>
                  </a:lnTo>
                  <a:lnTo>
                    <a:pt x="782908" y="148278"/>
                  </a:lnTo>
                  <a:lnTo>
                    <a:pt x="811977" y="183964"/>
                  </a:lnTo>
                  <a:lnTo>
                    <a:pt x="837325" y="222547"/>
                  </a:lnTo>
                  <a:lnTo>
                    <a:pt x="858679" y="263754"/>
                  </a:lnTo>
                  <a:lnTo>
                    <a:pt x="875765" y="307311"/>
                  </a:lnTo>
                  <a:lnTo>
                    <a:pt x="888309" y="352943"/>
                  </a:lnTo>
                  <a:lnTo>
                    <a:pt x="896036" y="400376"/>
                  </a:lnTo>
                  <a:lnTo>
                    <a:pt x="898673" y="449336"/>
                  </a:lnTo>
                  <a:lnTo>
                    <a:pt x="896036" y="498296"/>
                  </a:lnTo>
                  <a:lnTo>
                    <a:pt x="888309" y="545730"/>
                  </a:lnTo>
                  <a:lnTo>
                    <a:pt x="875765" y="591361"/>
                  </a:lnTo>
                  <a:lnTo>
                    <a:pt x="858679" y="634918"/>
                  </a:lnTo>
                  <a:lnTo>
                    <a:pt x="837325" y="676125"/>
                  </a:lnTo>
                  <a:lnTo>
                    <a:pt x="811977" y="714709"/>
                  </a:lnTo>
                  <a:lnTo>
                    <a:pt x="782908" y="750395"/>
                  </a:lnTo>
                  <a:lnTo>
                    <a:pt x="750394" y="782909"/>
                  </a:lnTo>
                  <a:lnTo>
                    <a:pt x="714708" y="811977"/>
                  </a:lnTo>
                  <a:lnTo>
                    <a:pt x="676125" y="837325"/>
                  </a:lnTo>
                  <a:lnTo>
                    <a:pt x="634918" y="858680"/>
                  </a:lnTo>
                  <a:lnTo>
                    <a:pt x="591361" y="875766"/>
                  </a:lnTo>
                  <a:lnTo>
                    <a:pt x="545729" y="888309"/>
                  </a:lnTo>
                  <a:lnTo>
                    <a:pt x="498296" y="896036"/>
                  </a:lnTo>
                  <a:lnTo>
                    <a:pt x="449344" y="898673"/>
                  </a:lnTo>
                  <a:close/>
                </a:path>
              </a:pathLst>
            </a:custGeom>
            <a:solidFill>
              <a:srgbClr val="FFFFFF"/>
            </a:solidFill>
          </p:spPr>
          <p:txBody>
            <a:bodyPr wrap="square" lIns="0" tIns="0" rIns="0" bIns="0" rtlCol="0"/>
            <a:lstStyle/>
            <a:p>
              <a:endParaRPr/>
            </a:p>
          </p:txBody>
        </p:sp>
        <p:sp>
          <p:nvSpPr>
            <p:cNvPr id="9" name="object 9"/>
            <p:cNvSpPr/>
            <p:nvPr/>
          </p:nvSpPr>
          <p:spPr>
            <a:xfrm>
              <a:off x="3951475" y="6182062"/>
              <a:ext cx="580390" cy="418465"/>
            </a:xfrm>
            <a:custGeom>
              <a:avLst/>
              <a:gdLst/>
              <a:ahLst/>
              <a:cxnLst/>
              <a:rect l="l" t="t" r="r" b="b"/>
              <a:pathLst>
                <a:path w="580389" h="418465">
                  <a:moveTo>
                    <a:pt x="515462" y="418271"/>
                  </a:moveTo>
                  <a:lnTo>
                    <a:pt x="64432" y="418271"/>
                  </a:lnTo>
                  <a:lnTo>
                    <a:pt x="39353" y="413214"/>
                  </a:lnTo>
                  <a:lnTo>
                    <a:pt x="18872" y="399423"/>
                  </a:lnTo>
                  <a:lnTo>
                    <a:pt x="5063" y="378968"/>
                  </a:lnTo>
                  <a:lnTo>
                    <a:pt x="0" y="353922"/>
                  </a:lnTo>
                  <a:lnTo>
                    <a:pt x="0" y="64349"/>
                  </a:lnTo>
                  <a:lnTo>
                    <a:pt x="5063" y="39302"/>
                  </a:lnTo>
                  <a:lnTo>
                    <a:pt x="18872" y="18848"/>
                  </a:lnTo>
                  <a:lnTo>
                    <a:pt x="39353" y="5057"/>
                  </a:lnTo>
                  <a:lnTo>
                    <a:pt x="64432" y="0"/>
                  </a:lnTo>
                  <a:lnTo>
                    <a:pt x="515462" y="0"/>
                  </a:lnTo>
                  <a:lnTo>
                    <a:pt x="540541" y="5057"/>
                  </a:lnTo>
                  <a:lnTo>
                    <a:pt x="561022" y="18848"/>
                  </a:lnTo>
                  <a:lnTo>
                    <a:pt x="574831" y="39302"/>
                  </a:lnTo>
                  <a:lnTo>
                    <a:pt x="579895" y="64349"/>
                  </a:lnTo>
                  <a:lnTo>
                    <a:pt x="579895" y="353922"/>
                  </a:lnTo>
                  <a:lnTo>
                    <a:pt x="574831" y="378968"/>
                  </a:lnTo>
                  <a:lnTo>
                    <a:pt x="561022" y="399423"/>
                  </a:lnTo>
                  <a:lnTo>
                    <a:pt x="540541" y="413214"/>
                  </a:lnTo>
                  <a:lnTo>
                    <a:pt x="515462" y="418271"/>
                  </a:lnTo>
                  <a:close/>
                </a:path>
              </a:pathLst>
            </a:custGeom>
            <a:solidFill>
              <a:srgbClr val="009A3A"/>
            </a:solidFill>
          </p:spPr>
          <p:txBody>
            <a:bodyPr wrap="square" lIns="0" tIns="0" rIns="0" bIns="0" rtlCol="0"/>
            <a:lstStyle/>
            <a:p>
              <a:endParaRPr/>
            </a:p>
          </p:txBody>
        </p:sp>
        <p:sp>
          <p:nvSpPr>
            <p:cNvPr id="10" name="object 10"/>
            <p:cNvSpPr/>
            <p:nvPr/>
          </p:nvSpPr>
          <p:spPr>
            <a:xfrm>
              <a:off x="4004181" y="6212226"/>
              <a:ext cx="474980" cy="358140"/>
            </a:xfrm>
            <a:custGeom>
              <a:avLst/>
              <a:gdLst/>
              <a:ahLst/>
              <a:cxnLst/>
              <a:rect l="l" t="t" r="r" b="b"/>
              <a:pathLst>
                <a:path w="474979" h="358140">
                  <a:moveTo>
                    <a:pt x="237241" y="357927"/>
                  </a:moveTo>
                  <a:lnTo>
                    <a:pt x="0" y="178971"/>
                  </a:lnTo>
                  <a:lnTo>
                    <a:pt x="237241" y="0"/>
                  </a:lnTo>
                  <a:lnTo>
                    <a:pt x="474483" y="178971"/>
                  </a:lnTo>
                  <a:lnTo>
                    <a:pt x="237241" y="357927"/>
                  </a:lnTo>
                  <a:close/>
                </a:path>
              </a:pathLst>
            </a:custGeom>
            <a:solidFill>
              <a:srgbClr val="FEDE00"/>
            </a:solidFill>
          </p:spPr>
          <p:txBody>
            <a:bodyPr wrap="square" lIns="0" tIns="0" rIns="0" bIns="0" rtlCol="0"/>
            <a:lstStyle/>
            <a:p>
              <a:endParaRPr/>
            </a:p>
          </p:txBody>
        </p:sp>
        <p:pic>
          <p:nvPicPr>
            <p:cNvPr id="11" name="object 11"/>
            <p:cNvPicPr/>
            <p:nvPr/>
          </p:nvPicPr>
          <p:blipFill>
            <a:blip r:embed="rId4" cstate="print"/>
            <a:stretch>
              <a:fillRect/>
            </a:stretch>
          </p:blipFill>
          <p:spPr>
            <a:xfrm>
              <a:off x="4137009" y="6286083"/>
              <a:ext cx="208053" cy="207784"/>
            </a:xfrm>
            <a:prstGeom prst="rect">
              <a:avLst/>
            </a:prstGeom>
          </p:spPr>
        </p:pic>
      </p:grpSp>
      <p:sp>
        <p:nvSpPr>
          <p:cNvPr id="12" name="object 12"/>
          <p:cNvSpPr txBox="1"/>
          <p:nvPr/>
        </p:nvSpPr>
        <p:spPr>
          <a:xfrm>
            <a:off x="4069260" y="6618054"/>
            <a:ext cx="312420" cy="158750"/>
          </a:xfrm>
          <a:prstGeom prst="rect">
            <a:avLst/>
          </a:prstGeom>
        </p:spPr>
        <p:txBody>
          <a:bodyPr vert="horz" wrap="square" lIns="0" tIns="15240" rIns="0" bIns="0" rtlCol="0">
            <a:spAutoFit/>
          </a:bodyPr>
          <a:lstStyle/>
          <a:p>
            <a:pPr marL="12700">
              <a:lnSpc>
                <a:spcPct val="100000"/>
              </a:lnSpc>
              <a:spcBef>
                <a:spcPts val="120"/>
              </a:spcBef>
            </a:pPr>
            <a:r>
              <a:rPr sz="850" b="1" spc="-10" dirty="0">
                <a:solidFill>
                  <a:srgbClr val="737373"/>
                </a:solidFill>
                <a:latin typeface="Roboto"/>
                <a:cs typeface="Roboto"/>
              </a:rPr>
              <a:t>Brasil</a:t>
            </a:r>
            <a:endParaRPr sz="850">
              <a:latin typeface="Roboto"/>
              <a:cs typeface="Roboto"/>
            </a:endParaRPr>
          </a:p>
        </p:txBody>
      </p:sp>
      <p:grpSp>
        <p:nvGrpSpPr>
          <p:cNvPr id="13" name="object 13"/>
          <p:cNvGrpSpPr/>
          <p:nvPr/>
        </p:nvGrpSpPr>
        <p:grpSpPr>
          <a:xfrm>
            <a:off x="3546429" y="7344518"/>
            <a:ext cx="1072515" cy="1072515"/>
            <a:chOff x="3546429" y="7344518"/>
            <a:chExt cx="1072515" cy="1072515"/>
          </a:xfrm>
        </p:grpSpPr>
        <p:pic>
          <p:nvPicPr>
            <p:cNvPr id="14" name="object 14"/>
            <p:cNvPicPr/>
            <p:nvPr/>
          </p:nvPicPr>
          <p:blipFill>
            <a:blip r:embed="rId5" cstate="print"/>
            <a:stretch>
              <a:fillRect/>
            </a:stretch>
          </p:blipFill>
          <p:spPr>
            <a:xfrm>
              <a:off x="3546429" y="7344518"/>
              <a:ext cx="1072378" cy="1072378"/>
            </a:xfrm>
            <a:prstGeom prst="rect">
              <a:avLst/>
            </a:prstGeom>
          </p:spPr>
        </p:pic>
        <p:sp>
          <p:nvSpPr>
            <p:cNvPr id="15" name="object 15"/>
            <p:cNvSpPr/>
            <p:nvPr/>
          </p:nvSpPr>
          <p:spPr>
            <a:xfrm>
              <a:off x="3639372" y="7392307"/>
              <a:ext cx="890269" cy="890269"/>
            </a:xfrm>
            <a:custGeom>
              <a:avLst/>
              <a:gdLst/>
              <a:ahLst/>
              <a:cxnLst/>
              <a:rect l="l" t="t" r="r" b="b"/>
              <a:pathLst>
                <a:path w="890270" h="890270">
                  <a:moveTo>
                    <a:pt x="444953" y="889890"/>
                  </a:moveTo>
                  <a:lnTo>
                    <a:pt x="396463" y="887279"/>
                  </a:lnTo>
                  <a:lnTo>
                    <a:pt x="349494" y="879628"/>
                  </a:lnTo>
                  <a:lnTo>
                    <a:pt x="304308" y="867207"/>
                  </a:lnTo>
                  <a:lnTo>
                    <a:pt x="261177" y="850287"/>
                  </a:lnTo>
                  <a:lnTo>
                    <a:pt x="220372" y="829142"/>
                  </a:lnTo>
                  <a:lnTo>
                    <a:pt x="182166" y="804041"/>
                  </a:lnTo>
                  <a:lnTo>
                    <a:pt x="146829" y="775257"/>
                  </a:lnTo>
                  <a:lnTo>
                    <a:pt x="114632" y="743061"/>
                  </a:lnTo>
                  <a:lnTo>
                    <a:pt x="85848" y="707724"/>
                  </a:lnTo>
                  <a:lnTo>
                    <a:pt x="60748" y="669517"/>
                  </a:lnTo>
                  <a:lnTo>
                    <a:pt x="39602" y="628713"/>
                  </a:lnTo>
                  <a:lnTo>
                    <a:pt x="22683" y="585582"/>
                  </a:lnTo>
                  <a:lnTo>
                    <a:pt x="10262" y="540396"/>
                  </a:lnTo>
                  <a:lnTo>
                    <a:pt x="2610" y="493426"/>
                  </a:lnTo>
                  <a:lnTo>
                    <a:pt x="0" y="444945"/>
                  </a:lnTo>
                  <a:lnTo>
                    <a:pt x="2610" y="396463"/>
                  </a:lnTo>
                  <a:lnTo>
                    <a:pt x="10262" y="349493"/>
                  </a:lnTo>
                  <a:lnTo>
                    <a:pt x="22683" y="304307"/>
                  </a:lnTo>
                  <a:lnTo>
                    <a:pt x="39602" y="261177"/>
                  </a:lnTo>
                  <a:lnTo>
                    <a:pt x="60748" y="220372"/>
                  </a:lnTo>
                  <a:lnTo>
                    <a:pt x="85848" y="182166"/>
                  </a:lnTo>
                  <a:lnTo>
                    <a:pt x="114632" y="146829"/>
                  </a:lnTo>
                  <a:lnTo>
                    <a:pt x="146829" y="114632"/>
                  </a:lnTo>
                  <a:lnTo>
                    <a:pt x="182166" y="85848"/>
                  </a:lnTo>
                  <a:lnTo>
                    <a:pt x="220372" y="60747"/>
                  </a:lnTo>
                  <a:lnTo>
                    <a:pt x="261177" y="39602"/>
                  </a:lnTo>
                  <a:lnTo>
                    <a:pt x="304308" y="22683"/>
                  </a:lnTo>
                  <a:lnTo>
                    <a:pt x="349494" y="10262"/>
                  </a:lnTo>
                  <a:lnTo>
                    <a:pt x="396463" y="2610"/>
                  </a:lnTo>
                  <a:lnTo>
                    <a:pt x="444945" y="0"/>
                  </a:lnTo>
                  <a:lnTo>
                    <a:pt x="493427" y="2610"/>
                  </a:lnTo>
                  <a:lnTo>
                    <a:pt x="540396" y="10262"/>
                  </a:lnTo>
                  <a:lnTo>
                    <a:pt x="585582" y="22683"/>
                  </a:lnTo>
                  <a:lnTo>
                    <a:pt x="628713" y="39602"/>
                  </a:lnTo>
                  <a:lnTo>
                    <a:pt x="669517" y="60747"/>
                  </a:lnTo>
                  <a:lnTo>
                    <a:pt x="707724" y="85848"/>
                  </a:lnTo>
                  <a:lnTo>
                    <a:pt x="743061" y="114632"/>
                  </a:lnTo>
                  <a:lnTo>
                    <a:pt x="775257" y="146829"/>
                  </a:lnTo>
                  <a:lnTo>
                    <a:pt x="804041" y="182166"/>
                  </a:lnTo>
                  <a:lnTo>
                    <a:pt x="829142" y="220372"/>
                  </a:lnTo>
                  <a:lnTo>
                    <a:pt x="850287" y="261177"/>
                  </a:lnTo>
                  <a:lnTo>
                    <a:pt x="867206" y="304307"/>
                  </a:lnTo>
                  <a:lnTo>
                    <a:pt x="879627" y="349493"/>
                  </a:lnTo>
                  <a:lnTo>
                    <a:pt x="887279" y="396463"/>
                  </a:lnTo>
                  <a:lnTo>
                    <a:pt x="889890" y="444944"/>
                  </a:lnTo>
                  <a:lnTo>
                    <a:pt x="887279" y="493426"/>
                  </a:lnTo>
                  <a:lnTo>
                    <a:pt x="879627" y="540396"/>
                  </a:lnTo>
                  <a:lnTo>
                    <a:pt x="867206" y="585582"/>
                  </a:lnTo>
                  <a:lnTo>
                    <a:pt x="850287" y="628713"/>
                  </a:lnTo>
                  <a:lnTo>
                    <a:pt x="829142" y="669517"/>
                  </a:lnTo>
                  <a:lnTo>
                    <a:pt x="804041" y="707724"/>
                  </a:lnTo>
                  <a:lnTo>
                    <a:pt x="775257" y="743061"/>
                  </a:lnTo>
                  <a:lnTo>
                    <a:pt x="743061" y="775257"/>
                  </a:lnTo>
                  <a:lnTo>
                    <a:pt x="707724" y="804041"/>
                  </a:lnTo>
                  <a:lnTo>
                    <a:pt x="669517" y="829142"/>
                  </a:lnTo>
                  <a:lnTo>
                    <a:pt x="628713" y="850287"/>
                  </a:lnTo>
                  <a:lnTo>
                    <a:pt x="585582" y="867207"/>
                  </a:lnTo>
                  <a:lnTo>
                    <a:pt x="540396" y="879628"/>
                  </a:lnTo>
                  <a:lnTo>
                    <a:pt x="493427" y="887279"/>
                  </a:lnTo>
                  <a:lnTo>
                    <a:pt x="444953" y="889890"/>
                  </a:lnTo>
                  <a:close/>
                </a:path>
              </a:pathLst>
            </a:custGeom>
            <a:solidFill>
              <a:srgbClr val="FFFFFF"/>
            </a:solidFill>
          </p:spPr>
          <p:txBody>
            <a:bodyPr wrap="square" lIns="0" tIns="0" rIns="0" bIns="0" rtlCol="0"/>
            <a:lstStyle/>
            <a:p>
              <a:endParaRPr/>
            </a:p>
          </p:txBody>
        </p:sp>
        <p:sp>
          <p:nvSpPr>
            <p:cNvPr id="16" name="object 16"/>
            <p:cNvSpPr/>
            <p:nvPr/>
          </p:nvSpPr>
          <p:spPr>
            <a:xfrm>
              <a:off x="3797239" y="7563578"/>
              <a:ext cx="579120" cy="417830"/>
            </a:xfrm>
            <a:custGeom>
              <a:avLst/>
              <a:gdLst/>
              <a:ahLst/>
              <a:cxnLst/>
              <a:rect l="l" t="t" r="r" b="b"/>
              <a:pathLst>
                <a:path w="579120" h="417829">
                  <a:moveTo>
                    <a:pt x="514572" y="417480"/>
                  </a:moveTo>
                  <a:lnTo>
                    <a:pt x="64321" y="417480"/>
                  </a:lnTo>
                  <a:lnTo>
                    <a:pt x="39285" y="412432"/>
                  </a:lnTo>
                  <a:lnTo>
                    <a:pt x="18840" y="398667"/>
                  </a:lnTo>
                  <a:lnTo>
                    <a:pt x="5055" y="378251"/>
                  </a:lnTo>
                  <a:lnTo>
                    <a:pt x="0" y="353252"/>
                  </a:lnTo>
                  <a:lnTo>
                    <a:pt x="0" y="64227"/>
                  </a:lnTo>
                  <a:lnTo>
                    <a:pt x="5055" y="39228"/>
                  </a:lnTo>
                  <a:lnTo>
                    <a:pt x="18840" y="18812"/>
                  </a:lnTo>
                  <a:lnTo>
                    <a:pt x="39285" y="5047"/>
                  </a:lnTo>
                  <a:lnTo>
                    <a:pt x="64321" y="0"/>
                  </a:lnTo>
                  <a:lnTo>
                    <a:pt x="514572" y="0"/>
                  </a:lnTo>
                  <a:lnTo>
                    <a:pt x="539608" y="5047"/>
                  </a:lnTo>
                  <a:lnTo>
                    <a:pt x="560054" y="18812"/>
                  </a:lnTo>
                  <a:lnTo>
                    <a:pt x="573839" y="39228"/>
                  </a:lnTo>
                  <a:lnTo>
                    <a:pt x="578894" y="64227"/>
                  </a:lnTo>
                  <a:lnTo>
                    <a:pt x="578894" y="353252"/>
                  </a:lnTo>
                  <a:lnTo>
                    <a:pt x="573839" y="378251"/>
                  </a:lnTo>
                  <a:lnTo>
                    <a:pt x="560054" y="398667"/>
                  </a:lnTo>
                  <a:lnTo>
                    <a:pt x="539608" y="412432"/>
                  </a:lnTo>
                  <a:lnTo>
                    <a:pt x="514572" y="417480"/>
                  </a:lnTo>
                  <a:close/>
                </a:path>
              </a:pathLst>
            </a:custGeom>
            <a:solidFill>
              <a:srgbClr val="74AADA"/>
            </a:solidFill>
          </p:spPr>
          <p:txBody>
            <a:bodyPr wrap="square" lIns="0" tIns="0" rIns="0" bIns="0" rtlCol="0"/>
            <a:lstStyle/>
            <a:p>
              <a:endParaRPr/>
            </a:p>
          </p:txBody>
        </p:sp>
        <p:sp>
          <p:nvSpPr>
            <p:cNvPr id="17" name="object 17"/>
            <p:cNvSpPr/>
            <p:nvPr/>
          </p:nvSpPr>
          <p:spPr>
            <a:xfrm>
              <a:off x="3797239" y="7692034"/>
              <a:ext cx="579120" cy="160655"/>
            </a:xfrm>
            <a:custGeom>
              <a:avLst/>
              <a:gdLst/>
              <a:ahLst/>
              <a:cxnLst/>
              <a:rect l="l" t="t" r="r" b="b"/>
              <a:pathLst>
                <a:path w="579120" h="160654">
                  <a:moveTo>
                    <a:pt x="578894" y="160569"/>
                  </a:moveTo>
                  <a:lnTo>
                    <a:pt x="0" y="160569"/>
                  </a:lnTo>
                  <a:lnTo>
                    <a:pt x="0" y="0"/>
                  </a:lnTo>
                  <a:lnTo>
                    <a:pt x="578894" y="0"/>
                  </a:lnTo>
                  <a:lnTo>
                    <a:pt x="578894" y="160569"/>
                  </a:lnTo>
                  <a:close/>
                </a:path>
              </a:pathLst>
            </a:custGeom>
            <a:solidFill>
              <a:srgbClr val="EDEDED"/>
            </a:solidFill>
          </p:spPr>
          <p:txBody>
            <a:bodyPr wrap="square" lIns="0" tIns="0" rIns="0" bIns="0" rtlCol="0"/>
            <a:lstStyle/>
            <a:p>
              <a:endParaRPr/>
            </a:p>
          </p:txBody>
        </p:sp>
        <p:pic>
          <p:nvPicPr>
            <p:cNvPr id="18" name="object 18"/>
            <p:cNvPicPr/>
            <p:nvPr/>
          </p:nvPicPr>
          <p:blipFill>
            <a:blip r:embed="rId6" cstate="print"/>
            <a:stretch>
              <a:fillRect/>
            </a:stretch>
          </p:blipFill>
          <p:spPr>
            <a:xfrm>
              <a:off x="4006285" y="7692034"/>
              <a:ext cx="160804" cy="160569"/>
            </a:xfrm>
            <a:prstGeom prst="rect">
              <a:avLst/>
            </a:prstGeom>
          </p:spPr>
        </p:pic>
      </p:grpSp>
      <p:sp>
        <p:nvSpPr>
          <p:cNvPr id="19" name="object 19"/>
          <p:cNvSpPr txBox="1"/>
          <p:nvPr/>
        </p:nvSpPr>
        <p:spPr>
          <a:xfrm>
            <a:off x="3816399" y="7996686"/>
            <a:ext cx="509905" cy="157480"/>
          </a:xfrm>
          <a:prstGeom prst="rect">
            <a:avLst/>
          </a:prstGeom>
        </p:spPr>
        <p:txBody>
          <a:bodyPr vert="horz" wrap="square" lIns="0" tIns="14604" rIns="0" bIns="0" rtlCol="0">
            <a:spAutoFit/>
          </a:bodyPr>
          <a:lstStyle/>
          <a:p>
            <a:pPr marL="12700">
              <a:lnSpc>
                <a:spcPct val="100000"/>
              </a:lnSpc>
              <a:spcBef>
                <a:spcPts val="114"/>
              </a:spcBef>
            </a:pPr>
            <a:r>
              <a:rPr sz="850" b="1" spc="-10" dirty="0">
                <a:solidFill>
                  <a:srgbClr val="737373"/>
                </a:solidFill>
                <a:latin typeface="Roboto"/>
                <a:cs typeface="Roboto"/>
              </a:rPr>
              <a:t>Argentina</a:t>
            </a:r>
            <a:endParaRPr sz="850">
              <a:latin typeface="Roboto"/>
              <a:cs typeface="Roboto"/>
            </a:endParaRPr>
          </a:p>
        </p:txBody>
      </p:sp>
      <p:grpSp>
        <p:nvGrpSpPr>
          <p:cNvPr id="20" name="object 20"/>
          <p:cNvGrpSpPr/>
          <p:nvPr/>
        </p:nvGrpSpPr>
        <p:grpSpPr>
          <a:xfrm>
            <a:off x="1823262" y="6041838"/>
            <a:ext cx="1085850" cy="1085850"/>
            <a:chOff x="1823262" y="6041838"/>
            <a:chExt cx="1085850" cy="1085850"/>
          </a:xfrm>
        </p:grpSpPr>
        <p:pic>
          <p:nvPicPr>
            <p:cNvPr id="21" name="object 21"/>
            <p:cNvPicPr/>
            <p:nvPr/>
          </p:nvPicPr>
          <p:blipFill>
            <a:blip r:embed="rId7" cstate="print"/>
            <a:stretch>
              <a:fillRect/>
            </a:stretch>
          </p:blipFill>
          <p:spPr>
            <a:xfrm>
              <a:off x="1823262" y="6041838"/>
              <a:ext cx="1085793" cy="1085793"/>
            </a:xfrm>
            <a:prstGeom prst="rect">
              <a:avLst/>
            </a:prstGeom>
          </p:spPr>
        </p:pic>
        <p:sp>
          <p:nvSpPr>
            <p:cNvPr id="22" name="object 22"/>
            <p:cNvSpPr/>
            <p:nvPr/>
          </p:nvSpPr>
          <p:spPr>
            <a:xfrm>
              <a:off x="1934871" y="6132817"/>
              <a:ext cx="901700" cy="901700"/>
            </a:xfrm>
            <a:custGeom>
              <a:avLst/>
              <a:gdLst/>
              <a:ahLst/>
              <a:cxnLst/>
              <a:rect l="l" t="t" r="r" b="b"/>
              <a:pathLst>
                <a:path w="901700" h="901700">
                  <a:moveTo>
                    <a:pt x="450829" y="901635"/>
                  </a:moveTo>
                  <a:lnTo>
                    <a:pt x="401696" y="898991"/>
                  </a:lnTo>
                  <a:lnTo>
                    <a:pt x="354106" y="891238"/>
                  </a:lnTo>
                  <a:lnTo>
                    <a:pt x="308324" y="878653"/>
                  </a:lnTo>
                  <a:lnTo>
                    <a:pt x="264624" y="861511"/>
                  </a:lnTo>
                  <a:lnTo>
                    <a:pt x="223281" y="840086"/>
                  </a:lnTo>
                  <a:lnTo>
                    <a:pt x="184570" y="814654"/>
                  </a:lnTo>
                  <a:lnTo>
                    <a:pt x="148767" y="785490"/>
                  </a:lnTo>
                  <a:lnTo>
                    <a:pt x="116145" y="752869"/>
                  </a:lnTo>
                  <a:lnTo>
                    <a:pt x="86981" y="717065"/>
                  </a:lnTo>
                  <a:lnTo>
                    <a:pt x="61549" y="678354"/>
                  </a:lnTo>
                  <a:lnTo>
                    <a:pt x="40125" y="637011"/>
                  </a:lnTo>
                  <a:lnTo>
                    <a:pt x="22982" y="593311"/>
                  </a:lnTo>
                  <a:lnTo>
                    <a:pt x="10398" y="547529"/>
                  </a:lnTo>
                  <a:lnTo>
                    <a:pt x="2645" y="499939"/>
                  </a:lnTo>
                  <a:lnTo>
                    <a:pt x="0" y="450818"/>
                  </a:lnTo>
                  <a:lnTo>
                    <a:pt x="2645" y="401696"/>
                  </a:lnTo>
                  <a:lnTo>
                    <a:pt x="10398" y="354107"/>
                  </a:lnTo>
                  <a:lnTo>
                    <a:pt x="22982" y="308325"/>
                  </a:lnTo>
                  <a:lnTo>
                    <a:pt x="40125" y="264624"/>
                  </a:lnTo>
                  <a:lnTo>
                    <a:pt x="61549" y="223281"/>
                  </a:lnTo>
                  <a:lnTo>
                    <a:pt x="86981" y="184571"/>
                  </a:lnTo>
                  <a:lnTo>
                    <a:pt x="116145" y="148767"/>
                  </a:lnTo>
                  <a:lnTo>
                    <a:pt x="148767" y="116146"/>
                  </a:lnTo>
                  <a:lnTo>
                    <a:pt x="184570" y="86981"/>
                  </a:lnTo>
                  <a:lnTo>
                    <a:pt x="223281" y="61549"/>
                  </a:lnTo>
                  <a:lnTo>
                    <a:pt x="264624" y="40125"/>
                  </a:lnTo>
                  <a:lnTo>
                    <a:pt x="308324" y="22983"/>
                  </a:lnTo>
                  <a:lnTo>
                    <a:pt x="354106" y="10398"/>
                  </a:lnTo>
                  <a:lnTo>
                    <a:pt x="401696" y="2645"/>
                  </a:lnTo>
                  <a:lnTo>
                    <a:pt x="450818" y="0"/>
                  </a:lnTo>
                  <a:lnTo>
                    <a:pt x="499939" y="2645"/>
                  </a:lnTo>
                  <a:lnTo>
                    <a:pt x="547529" y="10398"/>
                  </a:lnTo>
                  <a:lnTo>
                    <a:pt x="593311" y="22983"/>
                  </a:lnTo>
                  <a:lnTo>
                    <a:pt x="637011" y="40125"/>
                  </a:lnTo>
                  <a:lnTo>
                    <a:pt x="678354" y="61549"/>
                  </a:lnTo>
                  <a:lnTo>
                    <a:pt x="717065" y="86981"/>
                  </a:lnTo>
                  <a:lnTo>
                    <a:pt x="752868" y="116146"/>
                  </a:lnTo>
                  <a:lnTo>
                    <a:pt x="785490" y="148767"/>
                  </a:lnTo>
                  <a:lnTo>
                    <a:pt x="814654" y="184571"/>
                  </a:lnTo>
                  <a:lnTo>
                    <a:pt x="840086" y="223281"/>
                  </a:lnTo>
                  <a:lnTo>
                    <a:pt x="861510" y="264624"/>
                  </a:lnTo>
                  <a:lnTo>
                    <a:pt x="878653" y="308325"/>
                  </a:lnTo>
                  <a:lnTo>
                    <a:pt x="891238" y="354107"/>
                  </a:lnTo>
                  <a:lnTo>
                    <a:pt x="898990" y="401696"/>
                  </a:lnTo>
                  <a:lnTo>
                    <a:pt x="901636" y="450818"/>
                  </a:lnTo>
                  <a:lnTo>
                    <a:pt x="898990" y="499939"/>
                  </a:lnTo>
                  <a:lnTo>
                    <a:pt x="891238" y="547529"/>
                  </a:lnTo>
                  <a:lnTo>
                    <a:pt x="878653" y="593311"/>
                  </a:lnTo>
                  <a:lnTo>
                    <a:pt x="861510" y="637011"/>
                  </a:lnTo>
                  <a:lnTo>
                    <a:pt x="840086" y="678354"/>
                  </a:lnTo>
                  <a:lnTo>
                    <a:pt x="814654" y="717065"/>
                  </a:lnTo>
                  <a:lnTo>
                    <a:pt x="785490" y="752869"/>
                  </a:lnTo>
                  <a:lnTo>
                    <a:pt x="752868" y="785490"/>
                  </a:lnTo>
                  <a:lnTo>
                    <a:pt x="717065" y="814654"/>
                  </a:lnTo>
                  <a:lnTo>
                    <a:pt x="678354" y="840086"/>
                  </a:lnTo>
                  <a:lnTo>
                    <a:pt x="637011" y="861511"/>
                  </a:lnTo>
                  <a:lnTo>
                    <a:pt x="593311" y="878653"/>
                  </a:lnTo>
                  <a:lnTo>
                    <a:pt x="547529" y="891238"/>
                  </a:lnTo>
                  <a:lnTo>
                    <a:pt x="499939" y="898991"/>
                  </a:lnTo>
                  <a:lnTo>
                    <a:pt x="450829" y="901635"/>
                  </a:lnTo>
                  <a:close/>
                </a:path>
              </a:pathLst>
            </a:custGeom>
            <a:solidFill>
              <a:srgbClr val="FFFFFF"/>
            </a:solidFill>
          </p:spPr>
          <p:txBody>
            <a:bodyPr wrap="square" lIns="0" tIns="0" rIns="0" bIns="0" rtlCol="0"/>
            <a:lstStyle/>
            <a:p>
              <a:endParaRPr/>
            </a:p>
          </p:txBody>
        </p:sp>
        <p:sp>
          <p:nvSpPr>
            <p:cNvPr id="23" name="object 23"/>
            <p:cNvSpPr/>
            <p:nvPr/>
          </p:nvSpPr>
          <p:spPr>
            <a:xfrm>
              <a:off x="2094823" y="6322744"/>
              <a:ext cx="194945" cy="419734"/>
            </a:xfrm>
            <a:custGeom>
              <a:avLst/>
              <a:gdLst/>
              <a:ahLst/>
              <a:cxnLst/>
              <a:rect l="l" t="t" r="r" b="b"/>
              <a:pathLst>
                <a:path w="194944" h="419734">
                  <a:moveTo>
                    <a:pt x="194652" y="419528"/>
                  </a:moveTo>
                  <a:lnTo>
                    <a:pt x="64884" y="419528"/>
                  </a:lnTo>
                  <a:lnTo>
                    <a:pt x="39629" y="414456"/>
                  </a:lnTo>
                  <a:lnTo>
                    <a:pt x="19004" y="400623"/>
                  </a:lnTo>
                  <a:lnTo>
                    <a:pt x="5099" y="380107"/>
                  </a:lnTo>
                  <a:lnTo>
                    <a:pt x="0" y="354985"/>
                  </a:lnTo>
                  <a:lnTo>
                    <a:pt x="0" y="64542"/>
                  </a:lnTo>
                  <a:lnTo>
                    <a:pt x="5099" y="39420"/>
                  </a:lnTo>
                  <a:lnTo>
                    <a:pt x="19004" y="18905"/>
                  </a:lnTo>
                  <a:lnTo>
                    <a:pt x="39629" y="5072"/>
                  </a:lnTo>
                  <a:lnTo>
                    <a:pt x="64884" y="0"/>
                  </a:lnTo>
                  <a:lnTo>
                    <a:pt x="194652" y="0"/>
                  </a:lnTo>
                  <a:lnTo>
                    <a:pt x="194652" y="419528"/>
                  </a:lnTo>
                  <a:close/>
                </a:path>
              </a:pathLst>
            </a:custGeom>
            <a:solidFill>
              <a:srgbClr val="D90F23"/>
            </a:solidFill>
          </p:spPr>
          <p:txBody>
            <a:bodyPr wrap="square" lIns="0" tIns="0" rIns="0" bIns="0" rtlCol="0"/>
            <a:lstStyle/>
            <a:p>
              <a:endParaRPr/>
            </a:p>
          </p:txBody>
        </p:sp>
        <p:sp>
          <p:nvSpPr>
            <p:cNvPr id="24" name="object 24"/>
            <p:cNvSpPr/>
            <p:nvPr/>
          </p:nvSpPr>
          <p:spPr>
            <a:xfrm>
              <a:off x="2289475" y="6322744"/>
              <a:ext cx="194945" cy="419734"/>
            </a:xfrm>
            <a:custGeom>
              <a:avLst/>
              <a:gdLst/>
              <a:ahLst/>
              <a:cxnLst/>
              <a:rect l="l" t="t" r="r" b="b"/>
              <a:pathLst>
                <a:path w="194944" h="419734">
                  <a:moveTo>
                    <a:pt x="194652" y="419528"/>
                  </a:moveTo>
                  <a:lnTo>
                    <a:pt x="0" y="419528"/>
                  </a:lnTo>
                  <a:lnTo>
                    <a:pt x="0" y="0"/>
                  </a:lnTo>
                  <a:lnTo>
                    <a:pt x="194652" y="0"/>
                  </a:lnTo>
                  <a:lnTo>
                    <a:pt x="194652" y="419528"/>
                  </a:lnTo>
                  <a:close/>
                </a:path>
              </a:pathLst>
            </a:custGeom>
            <a:solidFill>
              <a:srgbClr val="EDEDED"/>
            </a:solidFill>
          </p:spPr>
          <p:txBody>
            <a:bodyPr wrap="square" lIns="0" tIns="0" rIns="0" bIns="0" rtlCol="0"/>
            <a:lstStyle/>
            <a:p>
              <a:endParaRPr/>
            </a:p>
          </p:txBody>
        </p:sp>
        <p:sp>
          <p:nvSpPr>
            <p:cNvPr id="25" name="object 25"/>
            <p:cNvSpPr/>
            <p:nvPr/>
          </p:nvSpPr>
          <p:spPr>
            <a:xfrm>
              <a:off x="2484127" y="6322744"/>
              <a:ext cx="194945" cy="419734"/>
            </a:xfrm>
            <a:custGeom>
              <a:avLst/>
              <a:gdLst/>
              <a:ahLst/>
              <a:cxnLst/>
              <a:rect l="l" t="t" r="r" b="b"/>
              <a:pathLst>
                <a:path w="194944" h="419734">
                  <a:moveTo>
                    <a:pt x="129768" y="419528"/>
                  </a:moveTo>
                  <a:lnTo>
                    <a:pt x="0" y="419528"/>
                  </a:lnTo>
                  <a:lnTo>
                    <a:pt x="0" y="0"/>
                  </a:lnTo>
                  <a:lnTo>
                    <a:pt x="129768" y="0"/>
                  </a:lnTo>
                  <a:lnTo>
                    <a:pt x="155022" y="5072"/>
                  </a:lnTo>
                  <a:lnTo>
                    <a:pt x="175647" y="18905"/>
                  </a:lnTo>
                  <a:lnTo>
                    <a:pt x="189552" y="39420"/>
                  </a:lnTo>
                  <a:lnTo>
                    <a:pt x="194652" y="64542"/>
                  </a:lnTo>
                  <a:lnTo>
                    <a:pt x="194652" y="354985"/>
                  </a:lnTo>
                  <a:lnTo>
                    <a:pt x="189552" y="380107"/>
                  </a:lnTo>
                  <a:lnTo>
                    <a:pt x="175647" y="400623"/>
                  </a:lnTo>
                  <a:lnTo>
                    <a:pt x="155022" y="414456"/>
                  </a:lnTo>
                  <a:lnTo>
                    <a:pt x="129768" y="419528"/>
                  </a:lnTo>
                  <a:close/>
                </a:path>
              </a:pathLst>
            </a:custGeom>
            <a:solidFill>
              <a:srgbClr val="D90F23"/>
            </a:solidFill>
          </p:spPr>
          <p:txBody>
            <a:bodyPr wrap="square" lIns="0" tIns="0" rIns="0" bIns="0" rtlCol="0"/>
            <a:lstStyle/>
            <a:p>
              <a:endParaRPr/>
            </a:p>
          </p:txBody>
        </p:sp>
      </p:grpSp>
      <p:sp>
        <p:nvSpPr>
          <p:cNvPr id="26" name="object 26"/>
          <p:cNvSpPr txBox="1"/>
          <p:nvPr/>
        </p:nvSpPr>
        <p:spPr>
          <a:xfrm>
            <a:off x="2252087" y="6763184"/>
            <a:ext cx="260350" cy="159385"/>
          </a:xfrm>
          <a:prstGeom prst="rect">
            <a:avLst/>
          </a:prstGeom>
        </p:spPr>
        <p:txBody>
          <a:bodyPr vert="horz" wrap="square" lIns="0" tIns="15875" rIns="0" bIns="0" rtlCol="0">
            <a:spAutoFit/>
          </a:bodyPr>
          <a:lstStyle/>
          <a:p>
            <a:pPr marL="12700">
              <a:lnSpc>
                <a:spcPct val="100000"/>
              </a:lnSpc>
              <a:spcBef>
                <a:spcPts val="125"/>
              </a:spcBef>
            </a:pPr>
            <a:r>
              <a:rPr sz="850" b="1" spc="-20" dirty="0">
                <a:solidFill>
                  <a:srgbClr val="737373"/>
                </a:solidFill>
                <a:latin typeface="Roboto"/>
                <a:cs typeface="Roboto"/>
              </a:rPr>
              <a:t>Perú</a:t>
            </a:r>
            <a:endParaRPr sz="850">
              <a:latin typeface="Roboto"/>
              <a:cs typeface="Roboto"/>
            </a:endParaRPr>
          </a:p>
        </p:txBody>
      </p:sp>
      <p:grpSp>
        <p:nvGrpSpPr>
          <p:cNvPr id="27" name="object 27"/>
          <p:cNvGrpSpPr/>
          <p:nvPr/>
        </p:nvGrpSpPr>
        <p:grpSpPr>
          <a:xfrm>
            <a:off x="1568064" y="4540519"/>
            <a:ext cx="1061085" cy="1061085"/>
            <a:chOff x="1568064" y="4540519"/>
            <a:chExt cx="1061085" cy="1061085"/>
          </a:xfrm>
        </p:grpSpPr>
        <p:pic>
          <p:nvPicPr>
            <p:cNvPr id="28" name="object 28"/>
            <p:cNvPicPr/>
            <p:nvPr/>
          </p:nvPicPr>
          <p:blipFill>
            <a:blip r:embed="rId8" cstate="print"/>
            <a:stretch>
              <a:fillRect/>
            </a:stretch>
          </p:blipFill>
          <p:spPr>
            <a:xfrm>
              <a:off x="1568064" y="4540519"/>
              <a:ext cx="1060672" cy="1060672"/>
            </a:xfrm>
            <a:prstGeom prst="rect">
              <a:avLst/>
            </a:prstGeom>
          </p:spPr>
        </p:pic>
        <p:sp>
          <p:nvSpPr>
            <p:cNvPr id="29" name="object 29"/>
            <p:cNvSpPr/>
            <p:nvPr/>
          </p:nvSpPr>
          <p:spPr>
            <a:xfrm>
              <a:off x="1609370" y="4615544"/>
              <a:ext cx="903605" cy="903605"/>
            </a:xfrm>
            <a:custGeom>
              <a:avLst/>
              <a:gdLst/>
              <a:ahLst/>
              <a:cxnLst/>
              <a:rect l="l" t="t" r="r" b="b"/>
              <a:pathLst>
                <a:path w="903605" h="903604">
                  <a:moveTo>
                    <a:pt x="451784" y="903554"/>
                  </a:moveTo>
                  <a:lnTo>
                    <a:pt x="402551" y="900903"/>
                  </a:lnTo>
                  <a:lnTo>
                    <a:pt x="354860" y="893134"/>
                  </a:lnTo>
                  <a:lnTo>
                    <a:pt x="308980" y="880522"/>
                  </a:lnTo>
                  <a:lnTo>
                    <a:pt x="265187" y="863344"/>
                  </a:lnTo>
                  <a:lnTo>
                    <a:pt x="223756" y="841873"/>
                  </a:lnTo>
                  <a:lnTo>
                    <a:pt x="184963" y="816387"/>
                  </a:lnTo>
                  <a:lnTo>
                    <a:pt x="149083" y="787161"/>
                  </a:lnTo>
                  <a:lnTo>
                    <a:pt x="116392" y="754470"/>
                  </a:lnTo>
                  <a:lnTo>
                    <a:pt x="87166" y="718591"/>
                  </a:lnTo>
                  <a:lnTo>
                    <a:pt x="61680" y="679798"/>
                  </a:lnTo>
                  <a:lnTo>
                    <a:pt x="40210" y="638367"/>
                  </a:lnTo>
                  <a:lnTo>
                    <a:pt x="23031" y="594573"/>
                  </a:lnTo>
                  <a:lnTo>
                    <a:pt x="10420" y="548694"/>
                  </a:lnTo>
                  <a:lnTo>
                    <a:pt x="2650" y="501003"/>
                  </a:lnTo>
                  <a:lnTo>
                    <a:pt x="0" y="451778"/>
                  </a:lnTo>
                  <a:lnTo>
                    <a:pt x="2650" y="402551"/>
                  </a:lnTo>
                  <a:lnTo>
                    <a:pt x="10420" y="354860"/>
                  </a:lnTo>
                  <a:lnTo>
                    <a:pt x="23031" y="308980"/>
                  </a:lnTo>
                  <a:lnTo>
                    <a:pt x="40210" y="265187"/>
                  </a:lnTo>
                  <a:lnTo>
                    <a:pt x="61680" y="223756"/>
                  </a:lnTo>
                  <a:lnTo>
                    <a:pt x="87166" y="184963"/>
                  </a:lnTo>
                  <a:lnTo>
                    <a:pt x="116392" y="149083"/>
                  </a:lnTo>
                  <a:lnTo>
                    <a:pt x="149083" y="116392"/>
                  </a:lnTo>
                  <a:lnTo>
                    <a:pt x="184963" y="87166"/>
                  </a:lnTo>
                  <a:lnTo>
                    <a:pt x="223756" y="61680"/>
                  </a:lnTo>
                  <a:lnTo>
                    <a:pt x="265187" y="40210"/>
                  </a:lnTo>
                  <a:lnTo>
                    <a:pt x="308980" y="23031"/>
                  </a:lnTo>
                  <a:lnTo>
                    <a:pt x="354860" y="10420"/>
                  </a:lnTo>
                  <a:lnTo>
                    <a:pt x="402551" y="2650"/>
                  </a:lnTo>
                  <a:lnTo>
                    <a:pt x="451777" y="0"/>
                  </a:lnTo>
                  <a:lnTo>
                    <a:pt x="501003" y="2650"/>
                  </a:lnTo>
                  <a:lnTo>
                    <a:pt x="548694" y="10420"/>
                  </a:lnTo>
                  <a:lnTo>
                    <a:pt x="594573" y="23031"/>
                  </a:lnTo>
                  <a:lnTo>
                    <a:pt x="638366" y="40210"/>
                  </a:lnTo>
                  <a:lnTo>
                    <a:pt x="679797" y="61680"/>
                  </a:lnTo>
                  <a:lnTo>
                    <a:pt x="718591" y="87166"/>
                  </a:lnTo>
                  <a:lnTo>
                    <a:pt x="754470" y="116392"/>
                  </a:lnTo>
                  <a:lnTo>
                    <a:pt x="787161" y="149083"/>
                  </a:lnTo>
                  <a:lnTo>
                    <a:pt x="816387" y="184963"/>
                  </a:lnTo>
                  <a:lnTo>
                    <a:pt x="841873" y="223756"/>
                  </a:lnTo>
                  <a:lnTo>
                    <a:pt x="863343" y="265187"/>
                  </a:lnTo>
                  <a:lnTo>
                    <a:pt x="880522" y="308980"/>
                  </a:lnTo>
                  <a:lnTo>
                    <a:pt x="893134" y="354860"/>
                  </a:lnTo>
                  <a:lnTo>
                    <a:pt x="900903" y="402551"/>
                  </a:lnTo>
                  <a:lnTo>
                    <a:pt x="903554" y="451776"/>
                  </a:lnTo>
                  <a:lnTo>
                    <a:pt x="900903" y="501003"/>
                  </a:lnTo>
                  <a:lnTo>
                    <a:pt x="893134" y="548694"/>
                  </a:lnTo>
                  <a:lnTo>
                    <a:pt x="880522" y="594573"/>
                  </a:lnTo>
                  <a:lnTo>
                    <a:pt x="863343" y="638367"/>
                  </a:lnTo>
                  <a:lnTo>
                    <a:pt x="841873" y="679798"/>
                  </a:lnTo>
                  <a:lnTo>
                    <a:pt x="816387" y="718591"/>
                  </a:lnTo>
                  <a:lnTo>
                    <a:pt x="787161" y="754470"/>
                  </a:lnTo>
                  <a:lnTo>
                    <a:pt x="754470" y="787161"/>
                  </a:lnTo>
                  <a:lnTo>
                    <a:pt x="718591" y="816387"/>
                  </a:lnTo>
                  <a:lnTo>
                    <a:pt x="679797" y="841873"/>
                  </a:lnTo>
                  <a:lnTo>
                    <a:pt x="638366" y="863344"/>
                  </a:lnTo>
                  <a:lnTo>
                    <a:pt x="594573" y="880522"/>
                  </a:lnTo>
                  <a:lnTo>
                    <a:pt x="548694" y="893134"/>
                  </a:lnTo>
                  <a:lnTo>
                    <a:pt x="501003" y="900903"/>
                  </a:lnTo>
                  <a:lnTo>
                    <a:pt x="451784" y="903554"/>
                  </a:lnTo>
                  <a:close/>
                </a:path>
              </a:pathLst>
            </a:custGeom>
            <a:solidFill>
              <a:srgbClr val="FFFFFF"/>
            </a:solidFill>
          </p:spPr>
          <p:txBody>
            <a:bodyPr wrap="square" lIns="0" tIns="0" rIns="0" bIns="0" rtlCol="0"/>
            <a:lstStyle/>
            <a:p>
              <a:endParaRPr/>
            </a:p>
          </p:txBody>
        </p:sp>
        <p:pic>
          <p:nvPicPr>
            <p:cNvPr id="30" name="object 30"/>
            <p:cNvPicPr/>
            <p:nvPr/>
          </p:nvPicPr>
          <p:blipFill>
            <a:blip r:embed="rId9" cstate="print"/>
            <a:stretch>
              <a:fillRect/>
            </a:stretch>
          </p:blipFill>
          <p:spPr>
            <a:xfrm>
              <a:off x="1620983" y="4713586"/>
              <a:ext cx="877797" cy="676635"/>
            </a:xfrm>
            <a:prstGeom prst="rect">
              <a:avLst/>
            </a:prstGeom>
          </p:spPr>
        </p:pic>
      </p:grpSp>
      <p:sp>
        <p:nvSpPr>
          <p:cNvPr id="31" name="object 31"/>
          <p:cNvSpPr txBox="1"/>
          <p:nvPr/>
        </p:nvSpPr>
        <p:spPr>
          <a:xfrm>
            <a:off x="1911276" y="5243571"/>
            <a:ext cx="242570" cy="159385"/>
          </a:xfrm>
          <a:prstGeom prst="rect">
            <a:avLst/>
          </a:prstGeom>
        </p:spPr>
        <p:txBody>
          <a:bodyPr vert="horz" wrap="square" lIns="0" tIns="15875" rIns="0" bIns="0" rtlCol="0">
            <a:spAutoFit/>
          </a:bodyPr>
          <a:lstStyle/>
          <a:p>
            <a:pPr marL="12700">
              <a:lnSpc>
                <a:spcPct val="100000"/>
              </a:lnSpc>
              <a:spcBef>
                <a:spcPts val="125"/>
              </a:spcBef>
            </a:pPr>
            <a:r>
              <a:rPr sz="850" b="1" spc="-25" dirty="0">
                <a:solidFill>
                  <a:srgbClr val="737373"/>
                </a:solidFill>
                <a:latin typeface="Roboto"/>
                <a:cs typeface="Roboto"/>
              </a:rPr>
              <a:t>USA</a:t>
            </a:r>
            <a:endParaRPr sz="850">
              <a:latin typeface="Roboto"/>
              <a:cs typeface="Roboto"/>
            </a:endParaRPr>
          </a:p>
        </p:txBody>
      </p:sp>
      <p:grpSp>
        <p:nvGrpSpPr>
          <p:cNvPr id="32" name="object 32"/>
          <p:cNvGrpSpPr/>
          <p:nvPr/>
        </p:nvGrpSpPr>
        <p:grpSpPr>
          <a:xfrm>
            <a:off x="1991451" y="7023086"/>
            <a:ext cx="1076960" cy="1076960"/>
            <a:chOff x="1991451" y="7023086"/>
            <a:chExt cx="1076960" cy="1076960"/>
          </a:xfrm>
        </p:grpSpPr>
        <p:pic>
          <p:nvPicPr>
            <p:cNvPr id="33" name="object 33"/>
            <p:cNvPicPr/>
            <p:nvPr/>
          </p:nvPicPr>
          <p:blipFill>
            <a:blip r:embed="rId10" cstate="print"/>
            <a:stretch>
              <a:fillRect/>
            </a:stretch>
          </p:blipFill>
          <p:spPr>
            <a:xfrm>
              <a:off x="1991451" y="7023086"/>
              <a:ext cx="1076828" cy="1076828"/>
            </a:xfrm>
            <a:prstGeom prst="rect">
              <a:avLst/>
            </a:prstGeom>
          </p:spPr>
        </p:pic>
        <p:sp>
          <p:nvSpPr>
            <p:cNvPr id="34" name="object 34"/>
            <p:cNvSpPr/>
            <p:nvPr/>
          </p:nvSpPr>
          <p:spPr>
            <a:xfrm>
              <a:off x="2087445" y="7106813"/>
              <a:ext cx="887094" cy="887094"/>
            </a:xfrm>
            <a:custGeom>
              <a:avLst/>
              <a:gdLst/>
              <a:ahLst/>
              <a:cxnLst/>
              <a:rect l="l" t="t" r="r" b="b"/>
              <a:pathLst>
                <a:path w="887094" h="887095">
                  <a:moveTo>
                    <a:pt x="443372" y="886740"/>
                  </a:moveTo>
                  <a:lnTo>
                    <a:pt x="395059" y="884138"/>
                  </a:lnTo>
                  <a:lnTo>
                    <a:pt x="348256" y="876514"/>
                  </a:lnTo>
                  <a:lnTo>
                    <a:pt x="303230" y="864137"/>
                  </a:lnTo>
                  <a:lnTo>
                    <a:pt x="260252" y="847277"/>
                  </a:lnTo>
                  <a:lnTo>
                    <a:pt x="219592" y="826207"/>
                  </a:lnTo>
                  <a:lnTo>
                    <a:pt x="181521" y="801195"/>
                  </a:lnTo>
                  <a:lnTo>
                    <a:pt x="146309" y="772513"/>
                  </a:lnTo>
                  <a:lnTo>
                    <a:pt x="114226" y="740431"/>
                  </a:lnTo>
                  <a:lnTo>
                    <a:pt x="85544" y="705219"/>
                  </a:lnTo>
                  <a:lnTo>
                    <a:pt x="60532" y="667147"/>
                  </a:lnTo>
                  <a:lnTo>
                    <a:pt x="39462" y="626487"/>
                  </a:lnTo>
                  <a:lnTo>
                    <a:pt x="22603" y="583509"/>
                  </a:lnTo>
                  <a:lnTo>
                    <a:pt x="10226" y="538483"/>
                  </a:lnTo>
                  <a:lnTo>
                    <a:pt x="2601" y="491680"/>
                  </a:lnTo>
                  <a:lnTo>
                    <a:pt x="0" y="443367"/>
                  </a:lnTo>
                  <a:lnTo>
                    <a:pt x="2601" y="395060"/>
                  </a:lnTo>
                  <a:lnTo>
                    <a:pt x="10226" y="348257"/>
                  </a:lnTo>
                  <a:lnTo>
                    <a:pt x="22603" y="303231"/>
                  </a:lnTo>
                  <a:lnTo>
                    <a:pt x="39462" y="260252"/>
                  </a:lnTo>
                  <a:lnTo>
                    <a:pt x="60532" y="219592"/>
                  </a:lnTo>
                  <a:lnTo>
                    <a:pt x="85544" y="181521"/>
                  </a:lnTo>
                  <a:lnTo>
                    <a:pt x="114226" y="146309"/>
                  </a:lnTo>
                  <a:lnTo>
                    <a:pt x="146309" y="114227"/>
                  </a:lnTo>
                  <a:lnTo>
                    <a:pt x="181521" y="85544"/>
                  </a:lnTo>
                  <a:lnTo>
                    <a:pt x="219592" y="60533"/>
                  </a:lnTo>
                  <a:lnTo>
                    <a:pt x="260252" y="39462"/>
                  </a:lnTo>
                  <a:lnTo>
                    <a:pt x="303230" y="22603"/>
                  </a:lnTo>
                  <a:lnTo>
                    <a:pt x="348256" y="10226"/>
                  </a:lnTo>
                  <a:lnTo>
                    <a:pt x="395059" y="2601"/>
                  </a:lnTo>
                  <a:lnTo>
                    <a:pt x="443369" y="0"/>
                  </a:lnTo>
                  <a:lnTo>
                    <a:pt x="491680" y="2601"/>
                  </a:lnTo>
                  <a:lnTo>
                    <a:pt x="538483" y="10226"/>
                  </a:lnTo>
                  <a:lnTo>
                    <a:pt x="583509" y="22603"/>
                  </a:lnTo>
                  <a:lnTo>
                    <a:pt x="626487" y="39462"/>
                  </a:lnTo>
                  <a:lnTo>
                    <a:pt x="667147" y="60533"/>
                  </a:lnTo>
                  <a:lnTo>
                    <a:pt x="705218" y="85544"/>
                  </a:lnTo>
                  <a:lnTo>
                    <a:pt x="740430" y="114227"/>
                  </a:lnTo>
                  <a:lnTo>
                    <a:pt x="772513" y="146309"/>
                  </a:lnTo>
                  <a:lnTo>
                    <a:pt x="801195" y="181521"/>
                  </a:lnTo>
                  <a:lnTo>
                    <a:pt x="826207" y="219592"/>
                  </a:lnTo>
                  <a:lnTo>
                    <a:pt x="847277" y="260252"/>
                  </a:lnTo>
                  <a:lnTo>
                    <a:pt x="864137" y="303231"/>
                  </a:lnTo>
                  <a:lnTo>
                    <a:pt x="876514" y="348257"/>
                  </a:lnTo>
                  <a:lnTo>
                    <a:pt x="884138" y="395060"/>
                  </a:lnTo>
                  <a:lnTo>
                    <a:pt x="886740" y="443370"/>
                  </a:lnTo>
                  <a:lnTo>
                    <a:pt x="884138" y="491680"/>
                  </a:lnTo>
                  <a:lnTo>
                    <a:pt x="876514" y="538483"/>
                  </a:lnTo>
                  <a:lnTo>
                    <a:pt x="864137" y="583509"/>
                  </a:lnTo>
                  <a:lnTo>
                    <a:pt x="847277" y="626487"/>
                  </a:lnTo>
                  <a:lnTo>
                    <a:pt x="826207" y="667147"/>
                  </a:lnTo>
                  <a:lnTo>
                    <a:pt x="801195" y="705219"/>
                  </a:lnTo>
                  <a:lnTo>
                    <a:pt x="772513" y="740431"/>
                  </a:lnTo>
                  <a:lnTo>
                    <a:pt x="740430" y="772513"/>
                  </a:lnTo>
                  <a:lnTo>
                    <a:pt x="705218" y="801195"/>
                  </a:lnTo>
                  <a:lnTo>
                    <a:pt x="667147" y="826207"/>
                  </a:lnTo>
                  <a:lnTo>
                    <a:pt x="626487" y="847277"/>
                  </a:lnTo>
                  <a:lnTo>
                    <a:pt x="583509" y="864137"/>
                  </a:lnTo>
                  <a:lnTo>
                    <a:pt x="538483" y="876514"/>
                  </a:lnTo>
                  <a:lnTo>
                    <a:pt x="491680" y="884138"/>
                  </a:lnTo>
                  <a:lnTo>
                    <a:pt x="443372" y="886740"/>
                  </a:lnTo>
                  <a:close/>
                </a:path>
              </a:pathLst>
            </a:custGeom>
            <a:solidFill>
              <a:srgbClr val="FFFFFF"/>
            </a:solidFill>
          </p:spPr>
          <p:txBody>
            <a:bodyPr wrap="square" lIns="0" tIns="0" rIns="0" bIns="0" rtlCol="0"/>
            <a:lstStyle/>
            <a:p>
              <a:endParaRPr/>
            </a:p>
          </p:txBody>
        </p:sp>
        <p:sp>
          <p:nvSpPr>
            <p:cNvPr id="35" name="object 35"/>
            <p:cNvSpPr/>
            <p:nvPr/>
          </p:nvSpPr>
          <p:spPr>
            <a:xfrm>
              <a:off x="2244905" y="7330853"/>
              <a:ext cx="574040" cy="413384"/>
            </a:xfrm>
            <a:custGeom>
              <a:avLst/>
              <a:gdLst/>
              <a:ahLst/>
              <a:cxnLst/>
              <a:rect l="l" t="t" r="r" b="b"/>
              <a:pathLst>
                <a:path w="574039" h="413384">
                  <a:moveTo>
                    <a:pt x="510227" y="412784"/>
                  </a:moveTo>
                  <a:lnTo>
                    <a:pt x="63778" y="412784"/>
                  </a:lnTo>
                  <a:lnTo>
                    <a:pt x="38953" y="407793"/>
                  </a:lnTo>
                  <a:lnTo>
                    <a:pt x="18681" y="394183"/>
                  </a:lnTo>
                  <a:lnTo>
                    <a:pt x="5012" y="373997"/>
                  </a:lnTo>
                  <a:lnTo>
                    <a:pt x="0" y="349279"/>
                  </a:lnTo>
                  <a:lnTo>
                    <a:pt x="0" y="63505"/>
                  </a:lnTo>
                  <a:lnTo>
                    <a:pt x="5012" y="38787"/>
                  </a:lnTo>
                  <a:lnTo>
                    <a:pt x="18681" y="18601"/>
                  </a:lnTo>
                  <a:lnTo>
                    <a:pt x="38953" y="4990"/>
                  </a:lnTo>
                  <a:lnTo>
                    <a:pt x="63778" y="0"/>
                  </a:lnTo>
                  <a:lnTo>
                    <a:pt x="510227" y="0"/>
                  </a:lnTo>
                  <a:lnTo>
                    <a:pt x="535051" y="4990"/>
                  </a:lnTo>
                  <a:lnTo>
                    <a:pt x="555324" y="18601"/>
                  </a:lnTo>
                  <a:lnTo>
                    <a:pt x="568993" y="38787"/>
                  </a:lnTo>
                  <a:lnTo>
                    <a:pt x="574005" y="63505"/>
                  </a:lnTo>
                  <a:lnTo>
                    <a:pt x="574005" y="349279"/>
                  </a:lnTo>
                  <a:lnTo>
                    <a:pt x="568993" y="373997"/>
                  </a:lnTo>
                  <a:lnTo>
                    <a:pt x="555324" y="394183"/>
                  </a:lnTo>
                  <a:lnTo>
                    <a:pt x="535051" y="407793"/>
                  </a:lnTo>
                  <a:lnTo>
                    <a:pt x="510227" y="412784"/>
                  </a:lnTo>
                  <a:close/>
                </a:path>
              </a:pathLst>
            </a:custGeom>
            <a:solidFill>
              <a:srgbClr val="007833"/>
            </a:solidFill>
          </p:spPr>
          <p:txBody>
            <a:bodyPr wrap="square" lIns="0" tIns="0" rIns="0" bIns="0" rtlCol="0"/>
            <a:lstStyle/>
            <a:p>
              <a:endParaRPr/>
            </a:p>
          </p:txBody>
        </p:sp>
        <p:sp>
          <p:nvSpPr>
            <p:cNvPr id="36" name="object 36"/>
            <p:cNvSpPr/>
            <p:nvPr/>
          </p:nvSpPr>
          <p:spPr>
            <a:xfrm>
              <a:off x="2244905" y="7457863"/>
              <a:ext cx="574040" cy="159385"/>
            </a:xfrm>
            <a:custGeom>
              <a:avLst/>
              <a:gdLst/>
              <a:ahLst/>
              <a:cxnLst/>
              <a:rect l="l" t="t" r="r" b="b"/>
              <a:pathLst>
                <a:path w="574039" h="159384">
                  <a:moveTo>
                    <a:pt x="574005" y="158763"/>
                  </a:moveTo>
                  <a:lnTo>
                    <a:pt x="0" y="158763"/>
                  </a:lnTo>
                  <a:lnTo>
                    <a:pt x="0" y="0"/>
                  </a:lnTo>
                  <a:lnTo>
                    <a:pt x="574005" y="0"/>
                  </a:lnTo>
                  <a:lnTo>
                    <a:pt x="574005" y="158763"/>
                  </a:lnTo>
                  <a:close/>
                </a:path>
              </a:pathLst>
            </a:custGeom>
            <a:solidFill>
              <a:srgbClr val="FFDF00"/>
            </a:solidFill>
          </p:spPr>
          <p:txBody>
            <a:bodyPr wrap="square" lIns="0" tIns="0" rIns="0" bIns="0" rtlCol="0"/>
            <a:lstStyle/>
            <a:p>
              <a:endParaRPr/>
            </a:p>
          </p:txBody>
        </p:sp>
        <p:sp>
          <p:nvSpPr>
            <p:cNvPr id="37" name="object 37"/>
            <p:cNvSpPr/>
            <p:nvPr/>
          </p:nvSpPr>
          <p:spPr>
            <a:xfrm>
              <a:off x="2244905" y="7330853"/>
              <a:ext cx="574040" cy="127635"/>
            </a:xfrm>
            <a:custGeom>
              <a:avLst/>
              <a:gdLst/>
              <a:ahLst/>
              <a:cxnLst/>
              <a:rect l="l" t="t" r="r" b="b"/>
              <a:pathLst>
                <a:path w="574039" h="127634">
                  <a:moveTo>
                    <a:pt x="574005" y="127010"/>
                  </a:moveTo>
                  <a:lnTo>
                    <a:pt x="0" y="127010"/>
                  </a:lnTo>
                  <a:lnTo>
                    <a:pt x="0" y="63505"/>
                  </a:lnTo>
                  <a:lnTo>
                    <a:pt x="5012" y="38787"/>
                  </a:lnTo>
                  <a:lnTo>
                    <a:pt x="18681" y="18601"/>
                  </a:lnTo>
                  <a:lnTo>
                    <a:pt x="38953" y="4990"/>
                  </a:lnTo>
                  <a:lnTo>
                    <a:pt x="63778" y="0"/>
                  </a:lnTo>
                  <a:lnTo>
                    <a:pt x="510227" y="0"/>
                  </a:lnTo>
                  <a:lnTo>
                    <a:pt x="535051" y="4990"/>
                  </a:lnTo>
                  <a:lnTo>
                    <a:pt x="555324" y="18601"/>
                  </a:lnTo>
                  <a:lnTo>
                    <a:pt x="568993" y="38787"/>
                  </a:lnTo>
                  <a:lnTo>
                    <a:pt x="574005" y="63505"/>
                  </a:lnTo>
                  <a:lnTo>
                    <a:pt x="574005" y="127010"/>
                  </a:lnTo>
                  <a:close/>
                </a:path>
              </a:pathLst>
            </a:custGeom>
            <a:solidFill>
              <a:srgbClr val="D52A1D"/>
            </a:solidFill>
          </p:spPr>
          <p:txBody>
            <a:bodyPr wrap="square" lIns="0" tIns="0" rIns="0" bIns="0" rtlCol="0"/>
            <a:lstStyle/>
            <a:p>
              <a:endParaRPr/>
            </a:p>
          </p:txBody>
        </p:sp>
        <p:pic>
          <p:nvPicPr>
            <p:cNvPr id="38" name="object 38"/>
            <p:cNvPicPr/>
            <p:nvPr/>
          </p:nvPicPr>
          <p:blipFill>
            <a:blip r:embed="rId11" cstate="print"/>
            <a:stretch>
              <a:fillRect/>
            </a:stretch>
          </p:blipFill>
          <p:spPr>
            <a:xfrm>
              <a:off x="2450495" y="7465548"/>
              <a:ext cx="162810" cy="143537"/>
            </a:xfrm>
            <a:prstGeom prst="rect">
              <a:avLst/>
            </a:prstGeom>
          </p:spPr>
        </p:pic>
      </p:grpSp>
      <p:sp>
        <p:nvSpPr>
          <p:cNvPr id="39" name="object 39"/>
          <p:cNvSpPr txBox="1"/>
          <p:nvPr/>
        </p:nvSpPr>
        <p:spPr>
          <a:xfrm>
            <a:off x="2356532" y="7746759"/>
            <a:ext cx="358775" cy="156845"/>
          </a:xfrm>
          <a:prstGeom prst="rect">
            <a:avLst/>
          </a:prstGeom>
        </p:spPr>
        <p:txBody>
          <a:bodyPr vert="horz" wrap="square" lIns="0" tIns="13970" rIns="0" bIns="0" rtlCol="0">
            <a:spAutoFit/>
          </a:bodyPr>
          <a:lstStyle/>
          <a:p>
            <a:pPr marL="12700">
              <a:lnSpc>
                <a:spcPct val="100000"/>
              </a:lnSpc>
              <a:spcBef>
                <a:spcPts val="110"/>
              </a:spcBef>
            </a:pPr>
            <a:r>
              <a:rPr sz="850" b="1" spc="-10" dirty="0">
                <a:solidFill>
                  <a:srgbClr val="737373"/>
                </a:solidFill>
                <a:latin typeface="Roboto"/>
                <a:cs typeface="Roboto"/>
              </a:rPr>
              <a:t>Bolivia</a:t>
            </a:r>
            <a:endParaRPr sz="850">
              <a:latin typeface="Roboto"/>
              <a:cs typeface="Roboto"/>
            </a:endParaRPr>
          </a:p>
        </p:txBody>
      </p:sp>
      <p:grpSp>
        <p:nvGrpSpPr>
          <p:cNvPr id="40" name="object 40"/>
          <p:cNvGrpSpPr/>
          <p:nvPr/>
        </p:nvGrpSpPr>
        <p:grpSpPr>
          <a:xfrm>
            <a:off x="7480976" y="6264526"/>
            <a:ext cx="1066800" cy="1066800"/>
            <a:chOff x="7480976" y="6264526"/>
            <a:chExt cx="1066800" cy="1066800"/>
          </a:xfrm>
        </p:grpSpPr>
        <p:pic>
          <p:nvPicPr>
            <p:cNvPr id="41" name="object 41"/>
            <p:cNvPicPr/>
            <p:nvPr/>
          </p:nvPicPr>
          <p:blipFill>
            <a:blip r:embed="rId12" cstate="print"/>
            <a:stretch>
              <a:fillRect/>
            </a:stretch>
          </p:blipFill>
          <p:spPr>
            <a:xfrm>
              <a:off x="7480976" y="6264526"/>
              <a:ext cx="1066597" cy="1066597"/>
            </a:xfrm>
            <a:prstGeom prst="rect">
              <a:avLst/>
            </a:prstGeom>
          </p:spPr>
        </p:pic>
        <p:sp>
          <p:nvSpPr>
            <p:cNvPr id="42" name="object 42"/>
            <p:cNvSpPr/>
            <p:nvPr/>
          </p:nvSpPr>
          <p:spPr>
            <a:xfrm>
              <a:off x="7618743" y="6355845"/>
              <a:ext cx="885190" cy="885190"/>
            </a:xfrm>
            <a:custGeom>
              <a:avLst/>
              <a:gdLst/>
              <a:ahLst/>
              <a:cxnLst/>
              <a:rect l="l" t="t" r="r" b="b"/>
              <a:pathLst>
                <a:path w="885190" h="885190">
                  <a:moveTo>
                    <a:pt x="442547" y="885093"/>
                  </a:moveTo>
                  <a:lnTo>
                    <a:pt x="394326" y="882496"/>
                  </a:lnTo>
                  <a:lnTo>
                    <a:pt x="347610" y="874886"/>
                  </a:lnTo>
                  <a:lnTo>
                    <a:pt x="302667" y="862532"/>
                  </a:lnTo>
                  <a:lnTo>
                    <a:pt x="259769" y="845704"/>
                  </a:lnTo>
                  <a:lnTo>
                    <a:pt x="219184" y="824672"/>
                  </a:lnTo>
                  <a:lnTo>
                    <a:pt x="181184" y="799707"/>
                  </a:lnTo>
                  <a:lnTo>
                    <a:pt x="146037" y="771078"/>
                  </a:lnTo>
                  <a:lnTo>
                    <a:pt x="114014" y="739055"/>
                  </a:lnTo>
                  <a:lnTo>
                    <a:pt x="85385" y="703909"/>
                  </a:lnTo>
                  <a:lnTo>
                    <a:pt x="60420" y="665908"/>
                  </a:lnTo>
                  <a:lnTo>
                    <a:pt x="39388" y="625324"/>
                  </a:lnTo>
                  <a:lnTo>
                    <a:pt x="22561" y="582425"/>
                  </a:lnTo>
                  <a:lnTo>
                    <a:pt x="10207" y="537483"/>
                  </a:lnTo>
                  <a:lnTo>
                    <a:pt x="2596" y="490767"/>
                  </a:lnTo>
                  <a:lnTo>
                    <a:pt x="0" y="442547"/>
                  </a:lnTo>
                  <a:lnTo>
                    <a:pt x="2596" y="394326"/>
                  </a:lnTo>
                  <a:lnTo>
                    <a:pt x="10207" y="347610"/>
                  </a:lnTo>
                  <a:lnTo>
                    <a:pt x="22561" y="302667"/>
                  </a:lnTo>
                  <a:lnTo>
                    <a:pt x="39388" y="259769"/>
                  </a:lnTo>
                  <a:lnTo>
                    <a:pt x="60420" y="219185"/>
                  </a:lnTo>
                  <a:lnTo>
                    <a:pt x="85385" y="181184"/>
                  </a:lnTo>
                  <a:lnTo>
                    <a:pt x="114014" y="146037"/>
                  </a:lnTo>
                  <a:lnTo>
                    <a:pt x="146037" y="114014"/>
                  </a:lnTo>
                  <a:lnTo>
                    <a:pt x="181184" y="85385"/>
                  </a:lnTo>
                  <a:lnTo>
                    <a:pt x="219184" y="60420"/>
                  </a:lnTo>
                  <a:lnTo>
                    <a:pt x="259769" y="39389"/>
                  </a:lnTo>
                  <a:lnTo>
                    <a:pt x="302667" y="22561"/>
                  </a:lnTo>
                  <a:lnTo>
                    <a:pt x="347610" y="10207"/>
                  </a:lnTo>
                  <a:lnTo>
                    <a:pt x="394326" y="2596"/>
                  </a:lnTo>
                  <a:lnTo>
                    <a:pt x="442547" y="0"/>
                  </a:lnTo>
                  <a:lnTo>
                    <a:pt x="490767" y="2596"/>
                  </a:lnTo>
                  <a:lnTo>
                    <a:pt x="537483" y="10207"/>
                  </a:lnTo>
                  <a:lnTo>
                    <a:pt x="582426" y="22561"/>
                  </a:lnTo>
                  <a:lnTo>
                    <a:pt x="625324" y="39389"/>
                  </a:lnTo>
                  <a:lnTo>
                    <a:pt x="665908" y="60420"/>
                  </a:lnTo>
                  <a:lnTo>
                    <a:pt x="703909" y="85385"/>
                  </a:lnTo>
                  <a:lnTo>
                    <a:pt x="739055" y="114014"/>
                  </a:lnTo>
                  <a:lnTo>
                    <a:pt x="771078" y="146037"/>
                  </a:lnTo>
                  <a:lnTo>
                    <a:pt x="799707" y="181184"/>
                  </a:lnTo>
                  <a:lnTo>
                    <a:pt x="824672" y="219185"/>
                  </a:lnTo>
                  <a:lnTo>
                    <a:pt x="845704" y="259769"/>
                  </a:lnTo>
                  <a:lnTo>
                    <a:pt x="862532" y="302667"/>
                  </a:lnTo>
                  <a:lnTo>
                    <a:pt x="874886" y="347610"/>
                  </a:lnTo>
                  <a:lnTo>
                    <a:pt x="882496" y="394326"/>
                  </a:lnTo>
                  <a:lnTo>
                    <a:pt x="885093" y="442548"/>
                  </a:lnTo>
                  <a:lnTo>
                    <a:pt x="882496" y="490767"/>
                  </a:lnTo>
                  <a:lnTo>
                    <a:pt x="874886" y="537483"/>
                  </a:lnTo>
                  <a:lnTo>
                    <a:pt x="862532" y="582425"/>
                  </a:lnTo>
                  <a:lnTo>
                    <a:pt x="845704" y="625324"/>
                  </a:lnTo>
                  <a:lnTo>
                    <a:pt x="824672" y="665908"/>
                  </a:lnTo>
                  <a:lnTo>
                    <a:pt x="799707" y="703909"/>
                  </a:lnTo>
                  <a:lnTo>
                    <a:pt x="771078" y="739055"/>
                  </a:lnTo>
                  <a:lnTo>
                    <a:pt x="739055" y="771078"/>
                  </a:lnTo>
                  <a:lnTo>
                    <a:pt x="703909" y="799707"/>
                  </a:lnTo>
                  <a:lnTo>
                    <a:pt x="665908" y="824672"/>
                  </a:lnTo>
                  <a:lnTo>
                    <a:pt x="625324" y="845704"/>
                  </a:lnTo>
                  <a:lnTo>
                    <a:pt x="582426" y="862532"/>
                  </a:lnTo>
                  <a:lnTo>
                    <a:pt x="537483" y="874886"/>
                  </a:lnTo>
                  <a:lnTo>
                    <a:pt x="490767" y="882496"/>
                  </a:lnTo>
                  <a:lnTo>
                    <a:pt x="442547" y="885093"/>
                  </a:lnTo>
                  <a:close/>
                </a:path>
              </a:pathLst>
            </a:custGeom>
            <a:solidFill>
              <a:srgbClr val="FFFFFF"/>
            </a:solidFill>
          </p:spPr>
          <p:txBody>
            <a:bodyPr wrap="square" lIns="0" tIns="0" rIns="0" bIns="0" rtlCol="0"/>
            <a:lstStyle/>
            <a:p>
              <a:endParaRPr/>
            </a:p>
          </p:txBody>
        </p:sp>
        <p:sp>
          <p:nvSpPr>
            <p:cNvPr id="43" name="object 43"/>
            <p:cNvSpPr/>
            <p:nvPr/>
          </p:nvSpPr>
          <p:spPr>
            <a:xfrm>
              <a:off x="7777584" y="6538936"/>
              <a:ext cx="538480" cy="387350"/>
            </a:xfrm>
            <a:custGeom>
              <a:avLst/>
              <a:gdLst/>
              <a:ahLst/>
              <a:cxnLst/>
              <a:rect l="l" t="t" r="r" b="b"/>
              <a:pathLst>
                <a:path w="538479" h="387350">
                  <a:moveTo>
                    <a:pt x="478238" y="386815"/>
                  </a:moveTo>
                  <a:lnTo>
                    <a:pt x="59779" y="386815"/>
                  </a:lnTo>
                  <a:lnTo>
                    <a:pt x="36511" y="382139"/>
                  </a:lnTo>
                  <a:lnTo>
                    <a:pt x="17509" y="369385"/>
                  </a:lnTo>
                  <a:lnTo>
                    <a:pt x="4698" y="350468"/>
                  </a:lnTo>
                  <a:lnTo>
                    <a:pt x="0" y="327305"/>
                  </a:lnTo>
                  <a:lnTo>
                    <a:pt x="0" y="59510"/>
                  </a:lnTo>
                  <a:lnTo>
                    <a:pt x="667" y="50591"/>
                  </a:lnTo>
                  <a:lnTo>
                    <a:pt x="2604" y="42086"/>
                  </a:lnTo>
                  <a:lnTo>
                    <a:pt x="5712" y="34092"/>
                  </a:lnTo>
                  <a:lnTo>
                    <a:pt x="9893" y="26705"/>
                  </a:lnTo>
                  <a:lnTo>
                    <a:pt x="50693" y="26764"/>
                  </a:lnTo>
                  <a:lnTo>
                    <a:pt x="50753" y="669"/>
                  </a:lnTo>
                  <a:lnTo>
                    <a:pt x="56716" y="0"/>
                  </a:lnTo>
                  <a:lnTo>
                    <a:pt x="478238" y="0"/>
                  </a:lnTo>
                  <a:lnTo>
                    <a:pt x="501506" y="4676"/>
                  </a:lnTo>
                  <a:lnTo>
                    <a:pt x="520508" y="17430"/>
                  </a:lnTo>
                  <a:lnTo>
                    <a:pt x="533320" y="36346"/>
                  </a:lnTo>
                  <a:lnTo>
                    <a:pt x="538018" y="59510"/>
                  </a:lnTo>
                  <a:lnTo>
                    <a:pt x="538018" y="327305"/>
                  </a:lnTo>
                  <a:lnTo>
                    <a:pt x="533320" y="350468"/>
                  </a:lnTo>
                  <a:lnTo>
                    <a:pt x="520508" y="369385"/>
                  </a:lnTo>
                  <a:lnTo>
                    <a:pt x="501506" y="382139"/>
                  </a:lnTo>
                  <a:lnTo>
                    <a:pt x="478238" y="386815"/>
                  </a:lnTo>
                  <a:close/>
                </a:path>
              </a:pathLst>
            </a:custGeom>
            <a:solidFill>
              <a:srgbClr val="00247D"/>
            </a:solidFill>
          </p:spPr>
          <p:txBody>
            <a:bodyPr wrap="square" lIns="0" tIns="0" rIns="0" bIns="0" rtlCol="0"/>
            <a:lstStyle/>
            <a:p>
              <a:endParaRPr/>
            </a:p>
          </p:txBody>
        </p:sp>
        <p:sp>
          <p:nvSpPr>
            <p:cNvPr id="44" name="object 44"/>
            <p:cNvSpPr/>
            <p:nvPr/>
          </p:nvSpPr>
          <p:spPr>
            <a:xfrm>
              <a:off x="7871050" y="6565671"/>
              <a:ext cx="426084" cy="320040"/>
            </a:xfrm>
            <a:custGeom>
              <a:avLst/>
              <a:gdLst/>
              <a:ahLst/>
              <a:cxnLst/>
              <a:rect l="l" t="t" r="r" b="b"/>
              <a:pathLst>
                <a:path w="426084" h="320040">
                  <a:moveTo>
                    <a:pt x="50185" y="246208"/>
                  </a:moveTo>
                  <a:lnTo>
                    <a:pt x="31907" y="246208"/>
                  </a:lnTo>
                  <a:lnTo>
                    <a:pt x="41038" y="223163"/>
                  </a:lnTo>
                  <a:lnTo>
                    <a:pt x="50185" y="246208"/>
                  </a:lnTo>
                  <a:close/>
                </a:path>
                <a:path w="426084" h="320040">
                  <a:moveTo>
                    <a:pt x="22776" y="302832"/>
                  </a:moveTo>
                  <a:lnTo>
                    <a:pt x="24584" y="278135"/>
                  </a:lnTo>
                  <a:lnTo>
                    <a:pt x="0" y="274401"/>
                  </a:lnTo>
                  <a:lnTo>
                    <a:pt x="20519" y="260416"/>
                  </a:lnTo>
                  <a:lnTo>
                    <a:pt x="8130" y="238948"/>
                  </a:lnTo>
                  <a:lnTo>
                    <a:pt x="31907" y="246208"/>
                  </a:lnTo>
                  <a:lnTo>
                    <a:pt x="69767" y="246208"/>
                  </a:lnTo>
                  <a:lnTo>
                    <a:pt x="61558" y="260416"/>
                  </a:lnTo>
                  <a:lnTo>
                    <a:pt x="82092" y="274401"/>
                  </a:lnTo>
                  <a:lnTo>
                    <a:pt x="57508" y="278135"/>
                  </a:lnTo>
                  <a:lnTo>
                    <a:pt x="58086" y="286035"/>
                  </a:lnTo>
                  <a:lnTo>
                    <a:pt x="41038" y="286035"/>
                  </a:lnTo>
                  <a:lnTo>
                    <a:pt x="22776" y="302832"/>
                  </a:lnTo>
                  <a:close/>
                </a:path>
                <a:path w="426084" h="320040">
                  <a:moveTo>
                    <a:pt x="69767" y="246208"/>
                  </a:moveTo>
                  <a:lnTo>
                    <a:pt x="50185" y="246208"/>
                  </a:lnTo>
                  <a:lnTo>
                    <a:pt x="73962" y="238948"/>
                  </a:lnTo>
                  <a:lnTo>
                    <a:pt x="69767" y="246208"/>
                  </a:lnTo>
                  <a:close/>
                </a:path>
                <a:path w="426084" h="320040">
                  <a:moveTo>
                    <a:pt x="59316" y="302832"/>
                  </a:moveTo>
                  <a:lnTo>
                    <a:pt x="41038" y="286035"/>
                  </a:lnTo>
                  <a:lnTo>
                    <a:pt x="58086" y="286035"/>
                  </a:lnTo>
                  <a:lnTo>
                    <a:pt x="59316" y="302832"/>
                  </a:lnTo>
                  <a:close/>
                </a:path>
                <a:path w="426084" h="320040">
                  <a:moveTo>
                    <a:pt x="330238" y="15070"/>
                  </a:moveTo>
                  <a:lnTo>
                    <a:pt x="318267" y="15070"/>
                  </a:lnTo>
                  <a:lnTo>
                    <a:pt x="324245" y="0"/>
                  </a:lnTo>
                  <a:lnTo>
                    <a:pt x="330238" y="15070"/>
                  </a:lnTo>
                  <a:close/>
                </a:path>
                <a:path w="426084" h="320040">
                  <a:moveTo>
                    <a:pt x="312304" y="52115"/>
                  </a:moveTo>
                  <a:lnTo>
                    <a:pt x="313485" y="35958"/>
                  </a:lnTo>
                  <a:lnTo>
                    <a:pt x="297389" y="33519"/>
                  </a:lnTo>
                  <a:lnTo>
                    <a:pt x="310825" y="24369"/>
                  </a:lnTo>
                  <a:lnTo>
                    <a:pt x="302724" y="10325"/>
                  </a:lnTo>
                  <a:lnTo>
                    <a:pt x="318267" y="15070"/>
                  </a:lnTo>
                  <a:lnTo>
                    <a:pt x="343054" y="15070"/>
                  </a:lnTo>
                  <a:lnTo>
                    <a:pt x="337681" y="24369"/>
                  </a:lnTo>
                  <a:lnTo>
                    <a:pt x="351101" y="33519"/>
                  </a:lnTo>
                  <a:lnTo>
                    <a:pt x="335021" y="35958"/>
                  </a:lnTo>
                  <a:lnTo>
                    <a:pt x="335399" y="41136"/>
                  </a:lnTo>
                  <a:lnTo>
                    <a:pt x="324245" y="41136"/>
                  </a:lnTo>
                  <a:lnTo>
                    <a:pt x="312304" y="52115"/>
                  </a:lnTo>
                  <a:close/>
                </a:path>
                <a:path w="426084" h="320040">
                  <a:moveTo>
                    <a:pt x="343054" y="15070"/>
                  </a:moveTo>
                  <a:lnTo>
                    <a:pt x="330238" y="15070"/>
                  </a:lnTo>
                  <a:lnTo>
                    <a:pt x="345796" y="10325"/>
                  </a:lnTo>
                  <a:lnTo>
                    <a:pt x="343054" y="15070"/>
                  </a:lnTo>
                  <a:close/>
                </a:path>
                <a:path w="426084" h="320040">
                  <a:moveTo>
                    <a:pt x="336201" y="52116"/>
                  </a:moveTo>
                  <a:lnTo>
                    <a:pt x="324245" y="41136"/>
                  </a:lnTo>
                  <a:lnTo>
                    <a:pt x="335399" y="41136"/>
                  </a:lnTo>
                  <a:lnTo>
                    <a:pt x="336201" y="52116"/>
                  </a:lnTo>
                  <a:close/>
                </a:path>
                <a:path w="426084" h="320040">
                  <a:moveTo>
                    <a:pt x="270458" y="104336"/>
                  </a:moveTo>
                  <a:lnTo>
                    <a:pt x="258487" y="104336"/>
                  </a:lnTo>
                  <a:lnTo>
                    <a:pt x="264465" y="89265"/>
                  </a:lnTo>
                  <a:lnTo>
                    <a:pt x="270458" y="104336"/>
                  </a:lnTo>
                  <a:close/>
                </a:path>
                <a:path w="426084" h="320040">
                  <a:moveTo>
                    <a:pt x="252524" y="141396"/>
                  </a:moveTo>
                  <a:lnTo>
                    <a:pt x="253705" y="125239"/>
                  </a:lnTo>
                  <a:lnTo>
                    <a:pt x="237609" y="122799"/>
                  </a:lnTo>
                  <a:lnTo>
                    <a:pt x="251045" y="113634"/>
                  </a:lnTo>
                  <a:lnTo>
                    <a:pt x="242945" y="99590"/>
                  </a:lnTo>
                  <a:lnTo>
                    <a:pt x="258487" y="104336"/>
                  </a:lnTo>
                  <a:lnTo>
                    <a:pt x="270458" y="104336"/>
                  </a:lnTo>
                  <a:lnTo>
                    <a:pt x="283274" y="104336"/>
                  </a:lnTo>
                  <a:lnTo>
                    <a:pt x="277901" y="113634"/>
                  </a:lnTo>
                  <a:lnTo>
                    <a:pt x="291322" y="122799"/>
                  </a:lnTo>
                  <a:lnTo>
                    <a:pt x="275241" y="125239"/>
                  </a:lnTo>
                  <a:lnTo>
                    <a:pt x="275618" y="130401"/>
                  </a:lnTo>
                  <a:lnTo>
                    <a:pt x="264465" y="130401"/>
                  </a:lnTo>
                  <a:lnTo>
                    <a:pt x="252524" y="141396"/>
                  </a:lnTo>
                  <a:close/>
                </a:path>
                <a:path w="426084" h="320040">
                  <a:moveTo>
                    <a:pt x="283274" y="104336"/>
                  </a:moveTo>
                  <a:lnTo>
                    <a:pt x="270458" y="104336"/>
                  </a:lnTo>
                  <a:lnTo>
                    <a:pt x="286016" y="99590"/>
                  </a:lnTo>
                  <a:lnTo>
                    <a:pt x="283274" y="104336"/>
                  </a:lnTo>
                  <a:close/>
                </a:path>
                <a:path w="426084" h="320040">
                  <a:moveTo>
                    <a:pt x="276421" y="141396"/>
                  </a:moveTo>
                  <a:lnTo>
                    <a:pt x="264465" y="130401"/>
                  </a:lnTo>
                  <a:lnTo>
                    <a:pt x="275618" y="130401"/>
                  </a:lnTo>
                  <a:lnTo>
                    <a:pt x="276421" y="141396"/>
                  </a:lnTo>
                  <a:close/>
                </a:path>
                <a:path w="426084" h="320040">
                  <a:moveTo>
                    <a:pt x="404963" y="74581"/>
                  </a:moveTo>
                  <a:lnTo>
                    <a:pt x="392992" y="74581"/>
                  </a:lnTo>
                  <a:lnTo>
                    <a:pt x="398970" y="59510"/>
                  </a:lnTo>
                  <a:lnTo>
                    <a:pt x="404963" y="74581"/>
                  </a:lnTo>
                  <a:close/>
                </a:path>
                <a:path w="426084" h="320040">
                  <a:moveTo>
                    <a:pt x="387029" y="111641"/>
                  </a:moveTo>
                  <a:lnTo>
                    <a:pt x="388210" y="95484"/>
                  </a:lnTo>
                  <a:lnTo>
                    <a:pt x="372114" y="93044"/>
                  </a:lnTo>
                  <a:lnTo>
                    <a:pt x="385549" y="83879"/>
                  </a:lnTo>
                  <a:lnTo>
                    <a:pt x="377449" y="69835"/>
                  </a:lnTo>
                  <a:lnTo>
                    <a:pt x="392992" y="74581"/>
                  </a:lnTo>
                  <a:lnTo>
                    <a:pt x="404963" y="74581"/>
                  </a:lnTo>
                  <a:lnTo>
                    <a:pt x="417778" y="74581"/>
                  </a:lnTo>
                  <a:lnTo>
                    <a:pt x="412405" y="83879"/>
                  </a:lnTo>
                  <a:lnTo>
                    <a:pt x="425826" y="93044"/>
                  </a:lnTo>
                  <a:lnTo>
                    <a:pt x="409745" y="95484"/>
                  </a:lnTo>
                  <a:lnTo>
                    <a:pt x="410123" y="100646"/>
                  </a:lnTo>
                  <a:lnTo>
                    <a:pt x="398970" y="100646"/>
                  </a:lnTo>
                  <a:lnTo>
                    <a:pt x="387029" y="111641"/>
                  </a:lnTo>
                  <a:close/>
                </a:path>
                <a:path w="426084" h="320040">
                  <a:moveTo>
                    <a:pt x="417778" y="74581"/>
                  </a:moveTo>
                  <a:lnTo>
                    <a:pt x="404963" y="74581"/>
                  </a:lnTo>
                  <a:lnTo>
                    <a:pt x="420521" y="69835"/>
                  </a:lnTo>
                  <a:lnTo>
                    <a:pt x="417778" y="74581"/>
                  </a:lnTo>
                  <a:close/>
                </a:path>
                <a:path w="426084" h="320040">
                  <a:moveTo>
                    <a:pt x="410926" y="111641"/>
                  </a:moveTo>
                  <a:lnTo>
                    <a:pt x="398970" y="100646"/>
                  </a:lnTo>
                  <a:lnTo>
                    <a:pt x="410123" y="100646"/>
                  </a:lnTo>
                  <a:lnTo>
                    <a:pt x="410926" y="111641"/>
                  </a:lnTo>
                  <a:close/>
                </a:path>
                <a:path w="426084" h="320040">
                  <a:moveTo>
                    <a:pt x="330238" y="282866"/>
                  </a:moveTo>
                  <a:lnTo>
                    <a:pt x="318267" y="282866"/>
                  </a:lnTo>
                  <a:lnTo>
                    <a:pt x="324245" y="267795"/>
                  </a:lnTo>
                  <a:lnTo>
                    <a:pt x="330238" y="282866"/>
                  </a:lnTo>
                  <a:close/>
                </a:path>
                <a:path w="426084" h="320040">
                  <a:moveTo>
                    <a:pt x="312304" y="319926"/>
                  </a:moveTo>
                  <a:lnTo>
                    <a:pt x="313485" y="303769"/>
                  </a:lnTo>
                  <a:lnTo>
                    <a:pt x="297389" y="301329"/>
                  </a:lnTo>
                  <a:lnTo>
                    <a:pt x="310825" y="292165"/>
                  </a:lnTo>
                  <a:lnTo>
                    <a:pt x="302724" y="278120"/>
                  </a:lnTo>
                  <a:lnTo>
                    <a:pt x="318267" y="282866"/>
                  </a:lnTo>
                  <a:lnTo>
                    <a:pt x="343054" y="282866"/>
                  </a:lnTo>
                  <a:lnTo>
                    <a:pt x="337681" y="292165"/>
                  </a:lnTo>
                  <a:lnTo>
                    <a:pt x="351101" y="301329"/>
                  </a:lnTo>
                  <a:lnTo>
                    <a:pt x="335021" y="303769"/>
                  </a:lnTo>
                  <a:lnTo>
                    <a:pt x="335398" y="308932"/>
                  </a:lnTo>
                  <a:lnTo>
                    <a:pt x="324245" y="308932"/>
                  </a:lnTo>
                  <a:lnTo>
                    <a:pt x="312304" y="319926"/>
                  </a:lnTo>
                  <a:close/>
                </a:path>
                <a:path w="426084" h="320040">
                  <a:moveTo>
                    <a:pt x="343054" y="282866"/>
                  </a:moveTo>
                  <a:lnTo>
                    <a:pt x="330238" y="282866"/>
                  </a:lnTo>
                  <a:lnTo>
                    <a:pt x="345796" y="278120"/>
                  </a:lnTo>
                  <a:lnTo>
                    <a:pt x="343054" y="282866"/>
                  </a:lnTo>
                  <a:close/>
                </a:path>
                <a:path w="426084" h="320040">
                  <a:moveTo>
                    <a:pt x="336201" y="319926"/>
                  </a:moveTo>
                  <a:lnTo>
                    <a:pt x="324245" y="308932"/>
                  </a:lnTo>
                  <a:lnTo>
                    <a:pt x="335398" y="308932"/>
                  </a:lnTo>
                  <a:lnTo>
                    <a:pt x="336201" y="319926"/>
                  </a:lnTo>
                  <a:close/>
                </a:path>
                <a:path w="426084" h="320040">
                  <a:moveTo>
                    <a:pt x="361040" y="163831"/>
                  </a:moveTo>
                  <a:lnTo>
                    <a:pt x="362713" y="154086"/>
                  </a:lnTo>
                  <a:lnTo>
                    <a:pt x="355615" y="147198"/>
                  </a:lnTo>
                  <a:lnTo>
                    <a:pt x="365433" y="145784"/>
                  </a:lnTo>
                  <a:lnTo>
                    <a:pt x="369827" y="136917"/>
                  </a:lnTo>
                  <a:lnTo>
                    <a:pt x="374221" y="145784"/>
                  </a:lnTo>
                  <a:lnTo>
                    <a:pt x="384040" y="147198"/>
                  </a:lnTo>
                  <a:lnTo>
                    <a:pt x="376941" y="154086"/>
                  </a:lnTo>
                  <a:lnTo>
                    <a:pt x="377825" y="159234"/>
                  </a:lnTo>
                  <a:lnTo>
                    <a:pt x="369827" y="159234"/>
                  </a:lnTo>
                  <a:lnTo>
                    <a:pt x="361040" y="163831"/>
                  </a:lnTo>
                  <a:close/>
                </a:path>
                <a:path w="426084" h="320040">
                  <a:moveTo>
                    <a:pt x="378615" y="163831"/>
                  </a:moveTo>
                  <a:lnTo>
                    <a:pt x="369827" y="159234"/>
                  </a:lnTo>
                  <a:lnTo>
                    <a:pt x="377825" y="159234"/>
                  </a:lnTo>
                  <a:lnTo>
                    <a:pt x="378615" y="163831"/>
                  </a:lnTo>
                  <a:close/>
                </a:path>
              </a:pathLst>
            </a:custGeom>
            <a:solidFill>
              <a:srgbClr val="FFFFFF"/>
            </a:solidFill>
          </p:spPr>
          <p:txBody>
            <a:bodyPr wrap="square" lIns="0" tIns="0" rIns="0" bIns="0" rtlCol="0"/>
            <a:lstStyle/>
            <a:p>
              <a:endParaRPr/>
            </a:p>
          </p:txBody>
        </p:sp>
        <p:sp>
          <p:nvSpPr>
            <p:cNvPr id="45" name="object 45"/>
            <p:cNvSpPr/>
            <p:nvPr/>
          </p:nvSpPr>
          <p:spPr>
            <a:xfrm>
              <a:off x="7777584" y="6538936"/>
              <a:ext cx="284480" cy="193675"/>
            </a:xfrm>
            <a:custGeom>
              <a:avLst/>
              <a:gdLst/>
              <a:ahLst/>
              <a:cxnLst/>
              <a:rect l="l" t="t" r="r" b="b"/>
              <a:pathLst>
                <a:path w="284479" h="193675">
                  <a:moveTo>
                    <a:pt x="283954" y="26764"/>
                  </a:moveTo>
                  <a:lnTo>
                    <a:pt x="50693" y="26764"/>
                  </a:lnTo>
                  <a:lnTo>
                    <a:pt x="50753" y="669"/>
                  </a:lnTo>
                  <a:lnTo>
                    <a:pt x="54997" y="0"/>
                  </a:lnTo>
                  <a:lnTo>
                    <a:pt x="283954" y="0"/>
                  </a:lnTo>
                  <a:lnTo>
                    <a:pt x="283954" y="26764"/>
                  </a:lnTo>
                  <a:close/>
                </a:path>
                <a:path w="284479" h="193675">
                  <a:moveTo>
                    <a:pt x="283954" y="193407"/>
                  </a:moveTo>
                  <a:lnTo>
                    <a:pt x="0" y="193407"/>
                  </a:lnTo>
                  <a:lnTo>
                    <a:pt x="0" y="59510"/>
                  </a:lnTo>
                  <a:lnTo>
                    <a:pt x="9893" y="26705"/>
                  </a:lnTo>
                  <a:lnTo>
                    <a:pt x="283954" y="26764"/>
                  </a:lnTo>
                  <a:lnTo>
                    <a:pt x="283954" y="193407"/>
                  </a:lnTo>
                  <a:close/>
                </a:path>
              </a:pathLst>
            </a:custGeom>
            <a:solidFill>
              <a:srgbClr val="00247D"/>
            </a:solidFill>
          </p:spPr>
          <p:txBody>
            <a:bodyPr wrap="square" lIns="0" tIns="0" rIns="0" bIns="0" rtlCol="0"/>
            <a:lstStyle/>
            <a:p>
              <a:endParaRPr/>
            </a:p>
          </p:txBody>
        </p:sp>
        <p:sp>
          <p:nvSpPr>
            <p:cNvPr id="46" name="object 46"/>
            <p:cNvSpPr/>
            <p:nvPr/>
          </p:nvSpPr>
          <p:spPr>
            <a:xfrm>
              <a:off x="7777584" y="6538936"/>
              <a:ext cx="284480" cy="193675"/>
            </a:xfrm>
            <a:custGeom>
              <a:avLst/>
              <a:gdLst/>
              <a:ahLst/>
              <a:cxnLst/>
              <a:rect l="l" t="t" r="r" b="b"/>
              <a:pathLst>
                <a:path w="284479" h="193675">
                  <a:moveTo>
                    <a:pt x="283954" y="193407"/>
                  </a:moveTo>
                  <a:lnTo>
                    <a:pt x="249102" y="193407"/>
                  </a:lnTo>
                  <a:lnTo>
                    <a:pt x="179339" y="144773"/>
                  </a:lnTo>
                  <a:lnTo>
                    <a:pt x="179339" y="193407"/>
                  </a:lnTo>
                  <a:lnTo>
                    <a:pt x="104614" y="193407"/>
                  </a:lnTo>
                  <a:lnTo>
                    <a:pt x="104614" y="155202"/>
                  </a:lnTo>
                  <a:lnTo>
                    <a:pt x="49796" y="193407"/>
                  </a:lnTo>
                  <a:lnTo>
                    <a:pt x="0" y="193407"/>
                  </a:lnTo>
                  <a:lnTo>
                    <a:pt x="0" y="175049"/>
                  </a:lnTo>
                  <a:lnTo>
                    <a:pt x="58061" y="133897"/>
                  </a:lnTo>
                  <a:lnTo>
                    <a:pt x="0" y="133897"/>
                  </a:lnTo>
                  <a:lnTo>
                    <a:pt x="0" y="59510"/>
                  </a:lnTo>
                  <a:lnTo>
                    <a:pt x="56985" y="59510"/>
                  </a:lnTo>
                  <a:lnTo>
                    <a:pt x="9893" y="26705"/>
                  </a:lnTo>
                  <a:lnTo>
                    <a:pt x="11298" y="24592"/>
                  </a:lnTo>
                  <a:lnTo>
                    <a:pt x="14451" y="20694"/>
                  </a:lnTo>
                  <a:lnTo>
                    <a:pt x="70091" y="59510"/>
                  </a:lnTo>
                  <a:lnTo>
                    <a:pt x="96036" y="59510"/>
                  </a:lnTo>
                  <a:lnTo>
                    <a:pt x="25765" y="10563"/>
                  </a:lnTo>
                  <a:lnTo>
                    <a:pt x="31418" y="7079"/>
                  </a:lnTo>
                  <a:lnTo>
                    <a:pt x="37519" y="4243"/>
                  </a:lnTo>
                  <a:lnTo>
                    <a:pt x="43990" y="2094"/>
                  </a:lnTo>
                  <a:lnTo>
                    <a:pt x="50753" y="669"/>
                  </a:lnTo>
                  <a:lnTo>
                    <a:pt x="104614" y="38220"/>
                  </a:lnTo>
                  <a:lnTo>
                    <a:pt x="104614" y="0"/>
                  </a:lnTo>
                  <a:lnTo>
                    <a:pt x="179339" y="0"/>
                  </a:lnTo>
                  <a:lnTo>
                    <a:pt x="179339" y="48634"/>
                  </a:lnTo>
                  <a:lnTo>
                    <a:pt x="249117" y="0"/>
                  </a:lnTo>
                  <a:lnTo>
                    <a:pt x="283954" y="0"/>
                  </a:lnTo>
                  <a:lnTo>
                    <a:pt x="283954" y="30186"/>
                  </a:lnTo>
                  <a:lnTo>
                    <a:pt x="241898" y="59510"/>
                  </a:lnTo>
                  <a:lnTo>
                    <a:pt x="283954" y="59510"/>
                  </a:lnTo>
                  <a:lnTo>
                    <a:pt x="283954" y="133897"/>
                  </a:lnTo>
                  <a:lnTo>
                    <a:pt x="241884" y="133897"/>
                  </a:lnTo>
                  <a:lnTo>
                    <a:pt x="283954" y="163221"/>
                  </a:lnTo>
                  <a:lnTo>
                    <a:pt x="283954" y="193407"/>
                  </a:lnTo>
                  <a:close/>
                </a:path>
              </a:pathLst>
            </a:custGeom>
            <a:solidFill>
              <a:srgbClr val="EDEDED"/>
            </a:solidFill>
          </p:spPr>
          <p:txBody>
            <a:bodyPr wrap="square" lIns="0" tIns="0" rIns="0" bIns="0" rtlCol="0"/>
            <a:lstStyle/>
            <a:p>
              <a:endParaRPr/>
            </a:p>
          </p:txBody>
        </p:sp>
        <p:sp>
          <p:nvSpPr>
            <p:cNvPr id="47" name="object 47"/>
            <p:cNvSpPr/>
            <p:nvPr/>
          </p:nvSpPr>
          <p:spPr>
            <a:xfrm>
              <a:off x="7777581" y="6538937"/>
              <a:ext cx="284480" cy="193675"/>
            </a:xfrm>
            <a:custGeom>
              <a:avLst/>
              <a:gdLst/>
              <a:ahLst/>
              <a:cxnLst/>
              <a:rect l="l" t="t" r="r" b="b"/>
              <a:pathLst>
                <a:path w="284479" h="193675">
                  <a:moveTo>
                    <a:pt x="96012" y="59512"/>
                  </a:moveTo>
                  <a:lnTo>
                    <a:pt x="25768" y="10566"/>
                  </a:lnTo>
                  <a:lnTo>
                    <a:pt x="21564" y="13474"/>
                  </a:lnTo>
                  <a:lnTo>
                    <a:pt x="17780" y="16865"/>
                  </a:lnTo>
                  <a:lnTo>
                    <a:pt x="14452" y="20701"/>
                  </a:lnTo>
                  <a:lnTo>
                    <a:pt x="70091" y="59512"/>
                  </a:lnTo>
                  <a:lnTo>
                    <a:pt x="96012" y="59512"/>
                  </a:lnTo>
                  <a:close/>
                </a:path>
                <a:path w="284479" h="193675">
                  <a:moveTo>
                    <a:pt x="104609" y="133908"/>
                  </a:moveTo>
                  <a:lnTo>
                    <a:pt x="96202" y="133908"/>
                  </a:lnTo>
                  <a:lnTo>
                    <a:pt x="10972" y="193408"/>
                  </a:lnTo>
                  <a:lnTo>
                    <a:pt x="36779" y="193408"/>
                  </a:lnTo>
                  <a:lnTo>
                    <a:pt x="104609" y="146126"/>
                  </a:lnTo>
                  <a:lnTo>
                    <a:pt x="104609" y="133908"/>
                  </a:lnTo>
                  <a:close/>
                </a:path>
                <a:path w="284479" h="193675">
                  <a:moveTo>
                    <a:pt x="283946" y="172313"/>
                  </a:moveTo>
                  <a:lnTo>
                    <a:pt x="228854" y="133908"/>
                  </a:lnTo>
                  <a:lnTo>
                    <a:pt x="202806" y="133908"/>
                  </a:lnTo>
                  <a:lnTo>
                    <a:pt x="283946" y="190461"/>
                  </a:lnTo>
                  <a:lnTo>
                    <a:pt x="283946" y="172313"/>
                  </a:lnTo>
                  <a:close/>
                </a:path>
                <a:path w="284479" h="193675">
                  <a:moveTo>
                    <a:pt x="283946" y="73875"/>
                  </a:moveTo>
                  <a:lnTo>
                    <a:pt x="164388" y="73875"/>
                  </a:lnTo>
                  <a:lnTo>
                    <a:pt x="164388" y="381"/>
                  </a:lnTo>
                  <a:lnTo>
                    <a:pt x="119557" y="381"/>
                  </a:lnTo>
                  <a:lnTo>
                    <a:pt x="119557" y="73875"/>
                  </a:lnTo>
                  <a:lnTo>
                    <a:pt x="0" y="73875"/>
                  </a:lnTo>
                  <a:lnTo>
                    <a:pt x="0" y="119494"/>
                  </a:lnTo>
                  <a:lnTo>
                    <a:pt x="119557" y="119494"/>
                  </a:lnTo>
                  <a:lnTo>
                    <a:pt x="119557" y="192976"/>
                  </a:lnTo>
                  <a:lnTo>
                    <a:pt x="164388" y="192976"/>
                  </a:lnTo>
                  <a:lnTo>
                    <a:pt x="164388" y="119494"/>
                  </a:lnTo>
                  <a:lnTo>
                    <a:pt x="283946" y="119494"/>
                  </a:lnTo>
                  <a:lnTo>
                    <a:pt x="283946" y="73875"/>
                  </a:lnTo>
                  <a:close/>
                </a:path>
                <a:path w="284479" h="193675">
                  <a:moveTo>
                    <a:pt x="283946" y="0"/>
                  </a:moveTo>
                  <a:lnTo>
                    <a:pt x="262115" y="0"/>
                  </a:lnTo>
                  <a:lnTo>
                    <a:pt x="179336" y="57708"/>
                  </a:lnTo>
                  <a:lnTo>
                    <a:pt x="179336" y="59512"/>
                  </a:lnTo>
                  <a:lnTo>
                    <a:pt x="202819" y="59512"/>
                  </a:lnTo>
                  <a:lnTo>
                    <a:pt x="283946" y="2946"/>
                  </a:lnTo>
                  <a:lnTo>
                    <a:pt x="283946" y="0"/>
                  </a:lnTo>
                  <a:close/>
                </a:path>
              </a:pathLst>
            </a:custGeom>
            <a:solidFill>
              <a:srgbClr val="CF1B2A"/>
            </a:solidFill>
          </p:spPr>
          <p:txBody>
            <a:bodyPr wrap="square" lIns="0" tIns="0" rIns="0" bIns="0" rtlCol="0"/>
            <a:lstStyle/>
            <a:p>
              <a:endParaRPr/>
            </a:p>
          </p:txBody>
        </p:sp>
      </p:grpSp>
      <p:sp>
        <p:nvSpPr>
          <p:cNvPr id="48" name="object 48"/>
          <p:cNvSpPr txBox="1"/>
          <p:nvPr/>
        </p:nvSpPr>
        <p:spPr>
          <a:xfrm>
            <a:off x="7794749" y="6956898"/>
            <a:ext cx="468630" cy="156845"/>
          </a:xfrm>
          <a:prstGeom prst="rect">
            <a:avLst/>
          </a:prstGeom>
        </p:spPr>
        <p:txBody>
          <a:bodyPr vert="horz" wrap="square" lIns="0" tIns="13970" rIns="0" bIns="0" rtlCol="0">
            <a:spAutoFit/>
          </a:bodyPr>
          <a:lstStyle/>
          <a:p>
            <a:pPr marL="12700">
              <a:lnSpc>
                <a:spcPct val="100000"/>
              </a:lnSpc>
              <a:spcBef>
                <a:spcPts val="110"/>
              </a:spcBef>
            </a:pPr>
            <a:r>
              <a:rPr sz="850" b="1" spc="-10" dirty="0">
                <a:solidFill>
                  <a:srgbClr val="737373"/>
                </a:solidFill>
                <a:latin typeface="Roboto"/>
                <a:cs typeface="Roboto"/>
              </a:rPr>
              <a:t>Australia</a:t>
            </a:r>
            <a:endParaRPr sz="850">
              <a:latin typeface="Roboto"/>
              <a:cs typeface="Roboto"/>
            </a:endParaRPr>
          </a:p>
        </p:txBody>
      </p:sp>
      <p:grpSp>
        <p:nvGrpSpPr>
          <p:cNvPr id="49" name="object 49"/>
          <p:cNvGrpSpPr/>
          <p:nvPr/>
        </p:nvGrpSpPr>
        <p:grpSpPr>
          <a:xfrm>
            <a:off x="2906855" y="5307880"/>
            <a:ext cx="1065530" cy="1065530"/>
            <a:chOff x="2906855" y="5307880"/>
            <a:chExt cx="1065530" cy="1065530"/>
          </a:xfrm>
        </p:grpSpPr>
        <p:pic>
          <p:nvPicPr>
            <p:cNvPr id="50" name="object 50"/>
            <p:cNvPicPr/>
            <p:nvPr/>
          </p:nvPicPr>
          <p:blipFill>
            <a:blip r:embed="rId12" cstate="print"/>
            <a:stretch>
              <a:fillRect/>
            </a:stretch>
          </p:blipFill>
          <p:spPr>
            <a:xfrm>
              <a:off x="2906855" y="5307880"/>
              <a:ext cx="1065076" cy="1065076"/>
            </a:xfrm>
            <a:prstGeom prst="rect">
              <a:avLst/>
            </a:prstGeom>
          </p:spPr>
        </p:pic>
        <p:sp>
          <p:nvSpPr>
            <p:cNvPr id="51" name="object 51"/>
            <p:cNvSpPr/>
            <p:nvPr/>
          </p:nvSpPr>
          <p:spPr>
            <a:xfrm>
              <a:off x="3030704" y="5394900"/>
              <a:ext cx="892175" cy="892175"/>
            </a:xfrm>
            <a:custGeom>
              <a:avLst/>
              <a:gdLst/>
              <a:ahLst/>
              <a:cxnLst/>
              <a:rect l="l" t="t" r="r" b="b"/>
              <a:pathLst>
                <a:path w="892175" h="892175">
                  <a:moveTo>
                    <a:pt x="445972" y="891927"/>
                  </a:moveTo>
                  <a:lnTo>
                    <a:pt x="397371" y="889311"/>
                  </a:lnTo>
                  <a:lnTo>
                    <a:pt x="350294" y="881642"/>
                  </a:lnTo>
                  <a:lnTo>
                    <a:pt x="305004" y="869192"/>
                  </a:lnTo>
                  <a:lnTo>
                    <a:pt x="261775" y="852235"/>
                  </a:lnTo>
                  <a:lnTo>
                    <a:pt x="220877" y="831041"/>
                  </a:lnTo>
                  <a:lnTo>
                    <a:pt x="182583" y="805883"/>
                  </a:lnTo>
                  <a:lnTo>
                    <a:pt x="147165" y="777032"/>
                  </a:lnTo>
                  <a:lnTo>
                    <a:pt x="114895" y="744762"/>
                  </a:lnTo>
                  <a:lnTo>
                    <a:pt x="86045" y="709344"/>
                  </a:lnTo>
                  <a:lnTo>
                    <a:pt x="60887" y="671050"/>
                  </a:lnTo>
                  <a:lnTo>
                    <a:pt x="39693" y="630152"/>
                  </a:lnTo>
                  <a:lnTo>
                    <a:pt x="22735" y="586923"/>
                  </a:lnTo>
                  <a:lnTo>
                    <a:pt x="10286" y="541633"/>
                  </a:lnTo>
                  <a:lnTo>
                    <a:pt x="2616" y="494556"/>
                  </a:lnTo>
                  <a:lnTo>
                    <a:pt x="0" y="445963"/>
                  </a:lnTo>
                  <a:lnTo>
                    <a:pt x="2616" y="397371"/>
                  </a:lnTo>
                  <a:lnTo>
                    <a:pt x="10286" y="350294"/>
                  </a:lnTo>
                  <a:lnTo>
                    <a:pt x="22735" y="305004"/>
                  </a:lnTo>
                  <a:lnTo>
                    <a:pt x="39693" y="261775"/>
                  </a:lnTo>
                  <a:lnTo>
                    <a:pt x="60887" y="220877"/>
                  </a:lnTo>
                  <a:lnTo>
                    <a:pt x="86045" y="182583"/>
                  </a:lnTo>
                  <a:lnTo>
                    <a:pt x="114895" y="147165"/>
                  </a:lnTo>
                  <a:lnTo>
                    <a:pt x="147165" y="114895"/>
                  </a:lnTo>
                  <a:lnTo>
                    <a:pt x="182583" y="86045"/>
                  </a:lnTo>
                  <a:lnTo>
                    <a:pt x="220877" y="60887"/>
                  </a:lnTo>
                  <a:lnTo>
                    <a:pt x="261775" y="39693"/>
                  </a:lnTo>
                  <a:lnTo>
                    <a:pt x="305004" y="22735"/>
                  </a:lnTo>
                  <a:lnTo>
                    <a:pt x="350294" y="10286"/>
                  </a:lnTo>
                  <a:lnTo>
                    <a:pt x="397371" y="2616"/>
                  </a:lnTo>
                  <a:lnTo>
                    <a:pt x="445963" y="0"/>
                  </a:lnTo>
                  <a:lnTo>
                    <a:pt x="494556" y="2616"/>
                  </a:lnTo>
                  <a:lnTo>
                    <a:pt x="541633" y="10286"/>
                  </a:lnTo>
                  <a:lnTo>
                    <a:pt x="586923" y="22735"/>
                  </a:lnTo>
                  <a:lnTo>
                    <a:pt x="630152" y="39693"/>
                  </a:lnTo>
                  <a:lnTo>
                    <a:pt x="671050" y="60887"/>
                  </a:lnTo>
                  <a:lnTo>
                    <a:pt x="709344" y="86045"/>
                  </a:lnTo>
                  <a:lnTo>
                    <a:pt x="744762" y="114895"/>
                  </a:lnTo>
                  <a:lnTo>
                    <a:pt x="777032" y="147165"/>
                  </a:lnTo>
                  <a:lnTo>
                    <a:pt x="805882" y="182583"/>
                  </a:lnTo>
                  <a:lnTo>
                    <a:pt x="831040" y="220877"/>
                  </a:lnTo>
                  <a:lnTo>
                    <a:pt x="852234" y="261775"/>
                  </a:lnTo>
                  <a:lnTo>
                    <a:pt x="869192" y="305004"/>
                  </a:lnTo>
                  <a:lnTo>
                    <a:pt x="881641" y="350294"/>
                  </a:lnTo>
                  <a:lnTo>
                    <a:pt x="889311" y="397371"/>
                  </a:lnTo>
                  <a:lnTo>
                    <a:pt x="891928" y="445964"/>
                  </a:lnTo>
                  <a:lnTo>
                    <a:pt x="889311" y="494556"/>
                  </a:lnTo>
                  <a:lnTo>
                    <a:pt x="881641" y="541633"/>
                  </a:lnTo>
                  <a:lnTo>
                    <a:pt x="869192" y="586923"/>
                  </a:lnTo>
                  <a:lnTo>
                    <a:pt x="852234" y="630152"/>
                  </a:lnTo>
                  <a:lnTo>
                    <a:pt x="831040" y="671050"/>
                  </a:lnTo>
                  <a:lnTo>
                    <a:pt x="805882" y="709344"/>
                  </a:lnTo>
                  <a:lnTo>
                    <a:pt x="777032" y="744762"/>
                  </a:lnTo>
                  <a:lnTo>
                    <a:pt x="744762" y="777032"/>
                  </a:lnTo>
                  <a:lnTo>
                    <a:pt x="709344" y="805883"/>
                  </a:lnTo>
                  <a:lnTo>
                    <a:pt x="671050" y="831041"/>
                  </a:lnTo>
                  <a:lnTo>
                    <a:pt x="630152" y="852235"/>
                  </a:lnTo>
                  <a:lnTo>
                    <a:pt x="586923" y="869192"/>
                  </a:lnTo>
                  <a:lnTo>
                    <a:pt x="541633" y="881642"/>
                  </a:lnTo>
                  <a:lnTo>
                    <a:pt x="494556" y="889311"/>
                  </a:lnTo>
                  <a:lnTo>
                    <a:pt x="445972" y="891927"/>
                  </a:lnTo>
                  <a:close/>
                </a:path>
              </a:pathLst>
            </a:custGeom>
            <a:solidFill>
              <a:srgbClr val="FFFFFF"/>
            </a:solidFill>
          </p:spPr>
          <p:txBody>
            <a:bodyPr wrap="square" lIns="0" tIns="0" rIns="0" bIns="0" rtlCol="0"/>
            <a:lstStyle/>
            <a:p>
              <a:endParaRPr/>
            </a:p>
          </p:txBody>
        </p:sp>
        <p:sp>
          <p:nvSpPr>
            <p:cNvPr id="52" name="object 52"/>
            <p:cNvSpPr/>
            <p:nvPr/>
          </p:nvSpPr>
          <p:spPr>
            <a:xfrm>
              <a:off x="3231129" y="5621578"/>
              <a:ext cx="487680" cy="176530"/>
            </a:xfrm>
            <a:custGeom>
              <a:avLst/>
              <a:gdLst/>
              <a:ahLst/>
              <a:cxnLst/>
              <a:rect l="l" t="t" r="r" b="b"/>
              <a:pathLst>
                <a:path w="487679" h="176529">
                  <a:moveTo>
                    <a:pt x="487407" y="175992"/>
                  </a:moveTo>
                  <a:lnTo>
                    <a:pt x="0" y="175992"/>
                  </a:lnTo>
                  <a:lnTo>
                    <a:pt x="0" y="54151"/>
                  </a:lnTo>
                  <a:lnTo>
                    <a:pt x="4256" y="33074"/>
                  </a:lnTo>
                  <a:lnTo>
                    <a:pt x="15862" y="15861"/>
                  </a:lnTo>
                  <a:lnTo>
                    <a:pt x="33077" y="4255"/>
                  </a:lnTo>
                  <a:lnTo>
                    <a:pt x="54156" y="0"/>
                  </a:lnTo>
                  <a:lnTo>
                    <a:pt x="433251" y="0"/>
                  </a:lnTo>
                  <a:lnTo>
                    <a:pt x="454330" y="4255"/>
                  </a:lnTo>
                  <a:lnTo>
                    <a:pt x="471544" y="15861"/>
                  </a:lnTo>
                  <a:lnTo>
                    <a:pt x="483151" y="33074"/>
                  </a:lnTo>
                  <a:lnTo>
                    <a:pt x="487407" y="54151"/>
                  </a:lnTo>
                  <a:lnTo>
                    <a:pt x="487407" y="175992"/>
                  </a:lnTo>
                  <a:close/>
                </a:path>
              </a:pathLst>
            </a:custGeom>
            <a:solidFill>
              <a:srgbClr val="FAD016"/>
            </a:solidFill>
          </p:spPr>
          <p:txBody>
            <a:bodyPr wrap="square" lIns="0" tIns="0" rIns="0" bIns="0" rtlCol="0"/>
            <a:lstStyle/>
            <a:p>
              <a:endParaRPr/>
            </a:p>
          </p:txBody>
        </p:sp>
        <p:sp>
          <p:nvSpPr>
            <p:cNvPr id="53" name="object 53"/>
            <p:cNvSpPr/>
            <p:nvPr/>
          </p:nvSpPr>
          <p:spPr>
            <a:xfrm>
              <a:off x="3231129" y="5797571"/>
              <a:ext cx="487680" cy="95250"/>
            </a:xfrm>
            <a:custGeom>
              <a:avLst/>
              <a:gdLst/>
              <a:ahLst/>
              <a:cxnLst/>
              <a:rect l="l" t="t" r="r" b="b"/>
              <a:pathLst>
                <a:path w="487679" h="95250">
                  <a:moveTo>
                    <a:pt x="487407" y="94765"/>
                  </a:moveTo>
                  <a:lnTo>
                    <a:pt x="0" y="94765"/>
                  </a:lnTo>
                  <a:lnTo>
                    <a:pt x="0" y="0"/>
                  </a:lnTo>
                  <a:lnTo>
                    <a:pt x="487407" y="0"/>
                  </a:lnTo>
                  <a:lnTo>
                    <a:pt x="487407" y="94765"/>
                  </a:lnTo>
                  <a:close/>
                </a:path>
              </a:pathLst>
            </a:custGeom>
            <a:solidFill>
              <a:srgbClr val="21408B"/>
            </a:solidFill>
          </p:spPr>
          <p:txBody>
            <a:bodyPr wrap="square" lIns="0" tIns="0" rIns="0" bIns="0" rtlCol="0"/>
            <a:lstStyle/>
            <a:p>
              <a:endParaRPr/>
            </a:p>
          </p:txBody>
        </p:sp>
        <p:sp>
          <p:nvSpPr>
            <p:cNvPr id="54" name="object 54"/>
            <p:cNvSpPr/>
            <p:nvPr/>
          </p:nvSpPr>
          <p:spPr>
            <a:xfrm>
              <a:off x="3231129" y="5892336"/>
              <a:ext cx="487680" cy="81280"/>
            </a:xfrm>
            <a:custGeom>
              <a:avLst/>
              <a:gdLst/>
              <a:ahLst/>
              <a:cxnLst/>
              <a:rect l="l" t="t" r="r" b="b"/>
              <a:pathLst>
                <a:path w="487679" h="81279">
                  <a:moveTo>
                    <a:pt x="433251" y="81227"/>
                  </a:moveTo>
                  <a:lnTo>
                    <a:pt x="54156" y="81227"/>
                  </a:lnTo>
                  <a:lnTo>
                    <a:pt x="33077" y="76971"/>
                  </a:lnTo>
                  <a:lnTo>
                    <a:pt x="15862" y="65366"/>
                  </a:lnTo>
                  <a:lnTo>
                    <a:pt x="4256" y="48153"/>
                  </a:lnTo>
                  <a:lnTo>
                    <a:pt x="0" y="27075"/>
                  </a:lnTo>
                  <a:lnTo>
                    <a:pt x="0" y="0"/>
                  </a:lnTo>
                  <a:lnTo>
                    <a:pt x="487407" y="0"/>
                  </a:lnTo>
                  <a:lnTo>
                    <a:pt x="487407" y="27075"/>
                  </a:lnTo>
                  <a:lnTo>
                    <a:pt x="483151" y="48153"/>
                  </a:lnTo>
                  <a:lnTo>
                    <a:pt x="471544" y="65366"/>
                  </a:lnTo>
                  <a:lnTo>
                    <a:pt x="454330" y="76971"/>
                  </a:lnTo>
                  <a:lnTo>
                    <a:pt x="433251" y="81227"/>
                  </a:lnTo>
                  <a:close/>
                </a:path>
              </a:pathLst>
            </a:custGeom>
            <a:solidFill>
              <a:srgbClr val="CD2028"/>
            </a:solidFill>
          </p:spPr>
          <p:txBody>
            <a:bodyPr wrap="square" lIns="0" tIns="0" rIns="0" bIns="0" rtlCol="0"/>
            <a:lstStyle/>
            <a:p>
              <a:endParaRPr/>
            </a:p>
          </p:txBody>
        </p:sp>
      </p:grpSp>
      <p:sp>
        <p:nvSpPr>
          <p:cNvPr id="55" name="object 55"/>
          <p:cNvSpPr txBox="1"/>
          <p:nvPr/>
        </p:nvSpPr>
        <p:spPr>
          <a:xfrm>
            <a:off x="3227335" y="5996510"/>
            <a:ext cx="497205" cy="158115"/>
          </a:xfrm>
          <a:prstGeom prst="rect">
            <a:avLst/>
          </a:prstGeom>
        </p:spPr>
        <p:txBody>
          <a:bodyPr vert="horz" wrap="square" lIns="0" tIns="14604" rIns="0" bIns="0" rtlCol="0">
            <a:spAutoFit/>
          </a:bodyPr>
          <a:lstStyle/>
          <a:p>
            <a:pPr marL="12700">
              <a:lnSpc>
                <a:spcPct val="100000"/>
              </a:lnSpc>
              <a:spcBef>
                <a:spcPts val="114"/>
              </a:spcBef>
            </a:pPr>
            <a:r>
              <a:rPr sz="850" b="1" spc="-10" dirty="0">
                <a:solidFill>
                  <a:srgbClr val="737373"/>
                </a:solidFill>
                <a:latin typeface="Roboto"/>
                <a:cs typeface="Roboto"/>
              </a:rPr>
              <a:t>Colombia</a:t>
            </a:r>
            <a:endParaRPr sz="850">
              <a:latin typeface="Roboto"/>
              <a:cs typeface="Roboto"/>
            </a:endParaRPr>
          </a:p>
        </p:txBody>
      </p:sp>
      <p:grpSp>
        <p:nvGrpSpPr>
          <p:cNvPr id="56" name="object 56"/>
          <p:cNvGrpSpPr/>
          <p:nvPr/>
        </p:nvGrpSpPr>
        <p:grpSpPr>
          <a:xfrm>
            <a:off x="10766799" y="2362830"/>
            <a:ext cx="5524500" cy="7429500"/>
            <a:chOff x="10766799" y="2362830"/>
            <a:chExt cx="5524500" cy="7429500"/>
          </a:xfrm>
        </p:grpSpPr>
        <p:pic>
          <p:nvPicPr>
            <p:cNvPr id="57" name="object 57"/>
            <p:cNvPicPr/>
            <p:nvPr/>
          </p:nvPicPr>
          <p:blipFill>
            <a:blip r:embed="rId13" cstate="print"/>
            <a:stretch>
              <a:fillRect/>
            </a:stretch>
          </p:blipFill>
          <p:spPr>
            <a:xfrm>
              <a:off x="10766799" y="2362830"/>
              <a:ext cx="5524499" cy="7429499"/>
            </a:xfrm>
            <a:prstGeom prst="rect">
              <a:avLst/>
            </a:prstGeom>
          </p:spPr>
        </p:pic>
        <p:pic>
          <p:nvPicPr>
            <p:cNvPr id="58" name="object 58"/>
            <p:cNvPicPr/>
            <p:nvPr/>
          </p:nvPicPr>
          <p:blipFill>
            <a:blip r:embed="rId14" cstate="print"/>
            <a:stretch>
              <a:fillRect/>
            </a:stretch>
          </p:blipFill>
          <p:spPr>
            <a:xfrm>
              <a:off x="13864677" y="4608379"/>
              <a:ext cx="1396072" cy="1396072"/>
            </a:xfrm>
            <a:prstGeom prst="rect">
              <a:avLst/>
            </a:prstGeom>
          </p:spPr>
        </p:pic>
        <p:sp>
          <p:nvSpPr>
            <p:cNvPr id="59" name="object 59"/>
            <p:cNvSpPr/>
            <p:nvPr/>
          </p:nvSpPr>
          <p:spPr>
            <a:xfrm>
              <a:off x="14008116" y="4690270"/>
              <a:ext cx="1196975" cy="1196975"/>
            </a:xfrm>
            <a:custGeom>
              <a:avLst/>
              <a:gdLst/>
              <a:ahLst/>
              <a:cxnLst/>
              <a:rect l="l" t="t" r="r" b="b"/>
              <a:pathLst>
                <a:path w="1196975" h="1196975">
                  <a:moveTo>
                    <a:pt x="598429" y="1196862"/>
                  </a:moveTo>
                  <a:lnTo>
                    <a:pt x="549348" y="1194878"/>
                  </a:lnTo>
                  <a:lnTo>
                    <a:pt x="501360" y="1189029"/>
                  </a:lnTo>
                  <a:lnTo>
                    <a:pt x="454618" y="1179470"/>
                  </a:lnTo>
                  <a:lnTo>
                    <a:pt x="409278" y="1166353"/>
                  </a:lnTo>
                  <a:lnTo>
                    <a:pt x="365492" y="1149834"/>
                  </a:lnTo>
                  <a:lnTo>
                    <a:pt x="323414" y="1130066"/>
                  </a:lnTo>
                  <a:lnTo>
                    <a:pt x="283200" y="1107203"/>
                  </a:lnTo>
                  <a:lnTo>
                    <a:pt x="245002" y="1081399"/>
                  </a:lnTo>
                  <a:lnTo>
                    <a:pt x="208975" y="1052809"/>
                  </a:lnTo>
                  <a:lnTo>
                    <a:pt x="175273" y="1021585"/>
                  </a:lnTo>
                  <a:lnTo>
                    <a:pt x="144050" y="987883"/>
                  </a:lnTo>
                  <a:lnTo>
                    <a:pt x="115459" y="951856"/>
                  </a:lnTo>
                  <a:lnTo>
                    <a:pt x="89656" y="913659"/>
                  </a:lnTo>
                  <a:lnTo>
                    <a:pt x="66793" y="873444"/>
                  </a:lnTo>
                  <a:lnTo>
                    <a:pt x="47025" y="831367"/>
                  </a:lnTo>
                  <a:lnTo>
                    <a:pt x="30505" y="787581"/>
                  </a:lnTo>
                  <a:lnTo>
                    <a:pt x="17389" y="742241"/>
                  </a:lnTo>
                  <a:lnTo>
                    <a:pt x="7829" y="695499"/>
                  </a:lnTo>
                  <a:lnTo>
                    <a:pt x="1981" y="647511"/>
                  </a:lnTo>
                  <a:lnTo>
                    <a:pt x="0" y="598430"/>
                  </a:lnTo>
                  <a:lnTo>
                    <a:pt x="1981" y="549350"/>
                  </a:lnTo>
                  <a:lnTo>
                    <a:pt x="7829" y="501362"/>
                  </a:lnTo>
                  <a:lnTo>
                    <a:pt x="17389" y="454621"/>
                  </a:lnTo>
                  <a:lnTo>
                    <a:pt x="30505" y="409280"/>
                  </a:lnTo>
                  <a:lnTo>
                    <a:pt x="47025" y="365494"/>
                  </a:lnTo>
                  <a:lnTo>
                    <a:pt x="66793" y="323417"/>
                  </a:lnTo>
                  <a:lnTo>
                    <a:pt x="89656" y="283203"/>
                  </a:lnTo>
                  <a:lnTo>
                    <a:pt x="115459" y="245005"/>
                  </a:lnTo>
                  <a:lnTo>
                    <a:pt x="144050" y="208978"/>
                  </a:lnTo>
                  <a:lnTo>
                    <a:pt x="175273" y="175276"/>
                  </a:lnTo>
                  <a:lnTo>
                    <a:pt x="208975" y="144053"/>
                  </a:lnTo>
                  <a:lnTo>
                    <a:pt x="245002" y="115462"/>
                  </a:lnTo>
                  <a:lnTo>
                    <a:pt x="283200" y="89658"/>
                  </a:lnTo>
                  <a:lnTo>
                    <a:pt x="323414" y="66795"/>
                  </a:lnTo>
                  <a:lnTo>
                    <a:pt x="365492" y="47027"/>
                  </a:lnTo>
                  <a:lnTo>
                    <a:pt x="409278" y="30508"/>
                  </a:lnTo>
                  <a:lnTo>
                    <a:pt x="454618" y="17391"/>
                  </a:lnTo>
                  <a:lnTo>
                    <a:pt x="501360" y="7832"/>
                  </a:lnTo>
                  <a:lnTo>
                    <a:pt x="549348" y="1983"/>
                  </a:lnTo>
                  <a:lnTo>
                    <a:pt x="598429" y="0"/>
                  </a:lnTo>
                  <a:lnTo>
                    <a:pt x="647509" y="1983"/>
                  </a:lnTo>
                  <a:lnTo>
                    <a:pt x="695497" y="7832"/>
                  </a:lnTo>
                  <a:lnTo>
                    <a:pt x="742238" y="17391"/>
                  </a:lnTo>
                  <a:lnTo>
                    <a:pt x="787579" y="30508"/>
                  </a:lnTo>
                  <a:lnTo>
                    <a:pt x="831365" y="47027"/>
                  </a:lnTo>
                  <a:lnTo>
                    <a:pt x="873442" y="66795"/>
                  </a:lnTo>
                  <a:lnTo>
                    <a:pt x="913656" y="89658"/>
                  </a:lnTo>
                  <a:lnTo>
                    <a:pt x="951854" y="115462"/>
                  </a:lnTo>
                  <a:lnTo>
                    <a:pt x="987881" y="144053"/>
                  </a:lnTo>
                  <a:lnTo>
                    <a:pt x="1021583" y="175276"/>
                  </a:lnTo>
                  <a:lnTo>
                    <a:pt x="1052806" y="208978"/>
                  </a:lnTo>
                  <a:lnTo>
                    <a:pt x="1081397" y="245005"/>
                  </a:lnTo>
                  <a:lnTo>
                    <a:pt x="1107201" y="283203"/>
                  </a:lnTo>
                  <a:lnTo>
                    <a:pt x="1130063" y="323417"/>
                  </a:lnTo>
                  <a:lnTo>
                    <a:pt x="1149832" y="365494"/>
                  </a:lnTo>
                  <a:lnTo>
                    <a:pt x="1166351" y="409280"/>
                  </a:lnTo>
                  <a:lnTo>
                    <a:pt x="1179467" y="454621"/>
                  </a:lnTo>
                  <a:lnTo>
                    <a:pt x="1189027" y="501362"/>
                  </a:lnTo>
                  <a:lnTo>
                    <a:pt x="1194875" y="549350"/>
                  </a:lnTo>
                  <a:lnTo>
                    <a:pt x="1196858" y="598462"/>
                  </a:lnTo>
                  <a:lnTo>
                    <a:pt x="1194875" y="647511"/>
                  </a:lnTo>
                  <a:lnTo>
                    <a:pt x="1189027" y="695499"/>
                  </a:lnTo>
                  <a:lnTo>
                    <a:pt x="1179467" y="742241"/>
                  </a:lnTo>
                  <a:lnTo>
                    <a:pt x="1166351" y="787581"/>
                  </a:lnTo>
                  <a:lnTo>
                    <a:pt x="1149832" y="831367"/>
                  </a:lnTo>
                  <a:lnTo>
                    <a:pt x="1130063" y="873444"/>
                  </a:lnTo>
                  <a:lnTo>
                    <a:pt x="1107201" y="913659"/>
                  </a:lnTo>
                  <a:lnTo>
                    <a:pt x="1081397" y="951856"/>
                  </a:lnTo>
                  <a:lnTo>
                    <a:pt x="1052806" y="987883"/>
                  </a:lnTo>
                  <a:lnTo>
                    <a:pt x="1021583" y="1021585"/>
                  </a:lnTo>
                  <a:lnTo>
                    <a:pt x="987881" y="1052809"/>
                  </a:lnTo>
                  <a:lnTo>
                    <a:pt x="951854" y="1081399"/>
                  </a:lnTo>
                  <a:lnTo>
                    <a:pt x="913656" y="1107203"/>
                  </a:lnTo>
                  <a:lnTo>
                    <a:pt x="873442" y="1130066"/>
                  </a:lnTo>
                  <a:lnTo>
                    <a:pt x="831365" y="1149834"/>
                  </a:lnTo>
                  <a:lnTo>
                    <a:pt x="787579" y="1166353"/>
                  </a:lnTo>
                  <a:lnTo>
                    <a:pt x="742238" y="1179470"/>
                  </a:lnTo>
                  <a:lnTo>
                    <a:pt x="695497" y="1189029"/>
                  </a:lnTo>
                  <a:lnTo>
                    <a:pt x="647509" y="1194878"/>
                  </a:lnTo>
                  <a:lnTo>
                    <a:pt x="598429" y="1196862"/>
                  </a:lnTo>
                  <a:close/>
                </a:path>
              </a:pathLst>
            </a:custGeom>
            <a:solidFill>
              <a:srgbClr val="FFFFFF"/>
            </a:solidFill>
          </p:spPr>
          <p:txBody>
            <a:bodyPr wrap="square" lIns="0" tIns="0" rIns="0" bIns="0" rtlCol="0"/>
            <a:lstStyle/>
            <a:p>
              <a:endParaRPr/>
            </a:p>
          </p:txBody>
        </p:sp>
        <p:sp>
          <p:nvSpPr>
            <p:cNvPr id="60" name="object 60"/>
            <p:cNvSpPr/>
            <p:nvPr/>
          </p:nvSpPr>
          <p:spPr>
            <a:xfrm>
              <a:off x="14220438" y="4944522"/>
              <a:ext cx="769620" cy="560070"/>
            </a:xfrm>
            <a:custGeom>
              <a:avLst/>
              <a:gdLst/>
              <a:ahLst/>
              <a:cxnLst/>
              <a:rect l="l" t="t" r="r" b="b"/>
              <a:pathLst>
                <a:path w="769619" h="560070">
                  <a:moveTo>
                    <a:pt x="683638" y="559845"/>
                  </a:moveTo>
                  <a:lnTo>
                    <a:pt x="85454" y="559845"/>
                  </a:lnTo>
                  <a:lnTo>
                    <a:pt x="52193" y="553076"/>
                  </a:lnTo>
                  <a:lnTo>
                    <a:pt x="25030" y="534617"/>
                  </a:lnTo>
                  <a:lnTo>
                    <a:pt x="6715" y="507240"/>
                  </a:lnTo>
                  <a:lnTo>
                    <a:pt x="0" y="473715"/>
                  </a:lnTo>
                  <a:lnTo>
                    <a:pt x="0" y="86130"/>
                  </a:lnTo>
                  <a:lnTo>
                    <a:pt x="6715" y="52605"/>
                  </a:lnTo>
                  <a:lnTo>
                    <a:pt x="25030" y="25228"/>
                  </a:lnTo>
                  <a:lnTo>
                    <a:pt x="52193" y="6768"/>
                  </a:lnTo>
                  <a:lnTo>
                    <a:pt x="85454" y="0"/>
                  </a:lnTo>
                  <a:lnTo>
                    <a:pt x="683638" y="0"/>
                  </a:lnTo>
                  <a:lnTo>
                    <a:pt x="716900" y="6768"/>
                  </a:lnTo>
                  <a:lnTo>
                    <a:pt x="744063" y="25228"/>
                  </a:lnTo>
                  <a:lnTo>
                    <a:pt x="762377" y="52605"/>
                  </a:lnTo>
                  <a:lnTo>
                    <a:pt x="769093" y="86130"/>
                  </a:lnTo>
                  <a:lnTo>
                    <a:pt x="769093" y="473715"/>
                  </a:lnTo>
                  <a:lnTo>
                    <a:pt x="762377" y="507240"/>
                  </a:lnTo>
                  <a:lnTo>
                    <a:pt x="744063" y="534617"/>
                  </a:lnTo>
                  <a:lnTo>
                    <a:pt x="716900" y="553076"/>
                  </a:lnTo>
                  <a:lnTo>
                    <a:pt x="683638" y="559845"/>
                  </a:lnTo>
                  <a:close/>
                </a:path>
              </a:pathLst>
            </a:custGeom>
            <a:solidFill>
              <a:srgbClr val="009A3A"/>
            </a:solidFill>
          </p:spPr>
          <p:txBody>
            <a:bodyPr wrap="square" lIns="0" tIns="0" rIns="0" bIns="0" rtlCol="0"/>
            <a:lstStyle/>
            <a:p>
              <a:endParaRPr/>
            </a:p>
          </p:txBody>
        </p:sp>
        <p:sp>
          <p:nvSpPr>
            <p:cNvPr id="61" name="object 61"/>
            <p:cNvSpPr/>
            <p:nvPr/>
          </p:nvSpPr>
          <p:spPr>
            <a:xfrm>
              <a:off x="14290340" y="4984895"/>
              <a:ext cx="629285" cy="479425"/>
            </a:xfrm>
            <a:custGeom>
              <a:avLst/>
              <a:gdLst/>
              <a:ahLst/>
              <a:cxnLst/>
              <a:rect l="l" t="t" r="r" b="b"/>
              <a:pathLst>
                <a:path w="629284" h="479425">
                  <a:moveTo>
                    <a:pt x="314644" y="479077"/>
                  </a:moveTo>
                  <a:lnTo>
                    <a:pt x="0" y="239549"/>
                  </a:lnTo>
                  <a:lnTo>
                    <a:pt x="314644" y="0"/>
                  </a:lnTo>
                  <a:lnTo>
                    <a:pt x="629289" y="239549"/>
                  </a:lnTo>
                  <a:lnTo>
                    <a:pt x="314644" y="479077"/>
                  </a:lnTo>
                  <a:close/>
                </a:path>
              </a:pathLst>
            </a:custGeom>
            <a:solidFill>
              <a:srgbClr val="FEDE00"/>
            </a:solidFill>
          </p:spPr>
          <p:txBody>
            <a:bodyPr wrap="square" lIns="0" tIns="0" rIns="0" bIns="0" rtlCol="0"/>
            <a:lstStyle/>
            <a:p>
              <a:endParaRPr/>
            </a:p>
          </p:txBody>
        </p:sp>
        <p:sp>
          <p:nvSpPr>
            <p:cNvPr id="62" name="object 62"/>
            <p:cNvSpPr/>
            <p:nvPr/>
          </p:nvSpPr>
          <p:spPr>
            <a:xfrm>
              <a:off x="14466506" y="5083751"/>
              <a:ext cx="276225" cy="278130"/>
            </a:xfrm>
            <a:custGeom>
              <a:avLst/>
              <a:gdLst/>
              <a:ahLst/>
              <a:cxnLst/>
              <a:rect l="l" t="t" r="r" b="b"/>
              <a:pathLst>
                <a:path w="276225" h="278129">
                  <a:moveTo>
                    <a:pt x="137966" y="278114"/>
                  </a:moveTo>
                  <a:lnTo>
                    <a:pt x="97916" y="272127"/>
                  </a:lnTo>
                  <a:lnTo>
                    <a:pt x="61316" y="254678"/>
                  </a:lnTo>
                  <a:lnTo>
                    <a:pt x="31315" y="227274"/>
                  </a:lnTo>
                  <a:lnTo>
                    <a:pt x="10502" y="192271"/>
                  </a:lnTo>
                  <a:lnTo>
                    <a:pt x="662" y="152687"/>
                  </a:lnTo>
                  <a:lnTo>
                    <a:pt x="0" y="139057"/>
                  </a:lnTo>
                  <a:lnTo>
                    <a:pt x="662" y="125426"/>
                  </a:lnTo>
                  <a:lnTo>
                    <a:pt x="10502" y="85842"/>
                  </a:lnTo>
                  <a:lnTo>
                    <a:pt x="31315" y="50839"/>
                  </a:lnTo>
                  <a:lnTo>
                    <a:pt x="61316" y="23435"/>
                  </a:lnTo>
                  <a:lnTo>
                    <a:pt x="97916" y="5986"/>
                  </a:lnTo>
                  <a:lnTo>
                    <a:pt x="137966" y="0"/>
                  </a:lnTo>
                  <a:lnTo>
                    <a:pt x="151490" y="667"/>
                  </a:lnTo>
                  <a:lnTo>
                    <a:pt x="190764" y="10585"/>
                  </a:lnTo>
                  <a:lnTo>
                    <a:pt x="225493" y="31563"/>
                  </a:lnTo>
                  <a:lnTo>
                    <a:pt x="252682" y="61801"/>
                  </a:lnTo>
                  <a:lnTo>
                    <a:pt x="269994" y="98690"/>
                  </a:lnTo>
                  <a:lnTo>
                    <a:pt x="275933" y="139057"/>
                  </a:lnTo>
                  <a:lnTo>
                    <a:pt x="275270" y="152687"/>
                  </a:lnTo>
                  <a:lnTo>
                    <a:pt x="265431" y="192271"/>
                  </a:lnTo>
                  <a:lnTo>
                    <a:pt x="244617" y="227274"/>
                  </a:lnTo>
                  <a:lnTo>
                    <a:pt x="214617" y="254678"/>
                  </a:lnTo>
                  <a:lnTo>
                    <a:pt x="178016" y="272127"/>
                  </a:lnTo>
                  <a:lnTo>
                    <a:pt x="137966" y="278114"/>
                  </a:lnTo>
                  <a:close/>
                </a:path>
              </a:pathLst>
            </a:custGeom>
            <a:solidFill>
              <a:srgbClr val="002675"/>
            </a:solidFill>
          </p:spPr>
          <p:txBody>
            <a:bodyPr wrap="square" lIns="0" tIns="0" rIns="0" bIns="0" rtlCol="0"/>
            <a:lstStyle/>
            <a:p>
              <a:endParaRPr/>
            </a:p>
          </p:txBody>
        </p:sp>
        <p:sp>
          <p:nvSpPr>
            <p:cNvPr id="63" name="object 63"/>
            <p:cNvSpPr/>
            <p:nvPr/>
          </p:nvSpPr>
          <p:spPr>
            <a:xfrm>
              <a:off x="14468364" y="5157414"/>
              <a:ext cx="269875" cy="142875"/>
            </a:xfrm>
            <a:custGeom>
              <a:avLst/>
              <a:gdLst/>
              <a:ahLst/>
              <a:cxnLst/>
              <a:rect l="l" t="t" r="r" b="b"/>
              <a:pathLst>
                <a:path w="269875" h="142875">
                  <a:moveTo>
                    <a:pt x="250895" y="142502"/>
                  </a:moveTo>
                  <a:lnTo>
                    <a:pt x="220975" y="114522"/>
                  </a:lnTo>
                  <a:lnTo>
                    <a:pt x="182719" y="89585"/>
                  </a:lnTo>
                  <a:lnTo>
                    <a:pt x="138810" y="68855"/>
                  </a:lnTo>
                  <a:lnTo>
                    <a:pt x="91932" y="53497"/>
                  </a:lnTo>
                  <a:lnTo>
                    <a:pt x="44767" y="44677"/>
                  </a:lnTo>
                  <a:lnTo>
                    <a:pt x="0" y="43560"/>
                  </a:lnTo>
                  <a:lnTo>
                    <a:pt x="2273" y="32093"/>
                  </a:lnTo>
                  <a:lnTo>
                    <a:pt x="5431" y="20980"/>
                  </a:lnTo>
                  <a:lnTo>
                    <a:pt x="9463" y="10267"/>
                  </a:lnTo>
                  <a:lnTo>
                    <a:pt x="14356" y="0"/>
                  </a:lnTo>
                  <a:lnTo>
                    <a:pt x="58968" y="3040"/>
                  </a:lnTo>
                  <a:lnTo>
                    <a:pt x="105278" y="12168"/>
                  </a:lnTo>
                  <a:lnTo>
                    <a:pt x="151399" y="26872"/>
                  </a:lnTo>
                  <a:lnTo>
                    <a:pt x="195444" y="46644"/>
                  </a:lnTo>
                  <a:lnTo>
                    <a:pt x="235527" y="70973"/>
                  </a:lnTo>
                  <a:lnTo>
                    <a:pt x="269759" y="99351"/>
                  </a:lnTo>
                  <a:lnTo>
                    <a:pt x="266370" y="110841"/>
                  </a:lnTo>
                  <a:lnTo>
                    <a:pt x="262082" y="121895"/>
                  </a:lnTo>
                  <a:lnTo>
                    <a:pt x="256916" y="132465"/>
                  </a:lnTo>
                  <a:lnTo>
                    <a:pt x="250895" y="142502"/>
                  </a:lnTo>
                  <a:close/>
                </a:path>
              </a:pathLst>
            </a:custGeom>
            <a:solidFill>
              <a:srgbClr val="CBE8D4"/>
            </a:solidFill>
          </p:spPr>
          <p:txBody>
            <a:bodyPr wrap="square" lIns="0" tIns="0" rIns="0" bIns="0" rtlCol="0"/>
            <a:lstStyle/>
            <a:p>
              <a:endParaRPr/>
            </a:p>
          </p:txBody>
        </p:sp>
        <p:sp>
          <p:nvSpPr>
            <p:cNvPr id="64" name="object 64"/>
            <p:cNvSpPr/>
            <p:nvPr/>
          </p:nvSpPr>
          <p:spPr>
            <a:xfrm>
              <a:off x="14476803" y="5229462"/>
              <a:ext cx="43180" cy="64769"/>
            </a:xfrm>
            <a:custGeom>
              <a:avLst/>
              <a:gdLst/>
              <a:ahLst/>
              <a:cxnLst/>
              <a:rect l="l" t="t" r="r" b="b"/>
              <a:pathLst>
                <a:path w="43180" h="64770">
                  <a:moveTo>
                    <a:pt x="21363" y="21532"/>
                  </a:moveTo>
                  <a:lnTo>
                    <a:pt x="0" y="21532"/>
                  </a:lnTo>
                  <a:lnTo>
                    <a:pt x="0" y="0"/>
                  </a:lnTo>
                  <a:lnTo>
                    <a:pt x="21363" y="0"/>
                  </a:lnTo>
                  <a:lnTo>
                    <a:pt x="21363" y="21532"/>
                  </a:lnTo>
                  <a:close/>
                </a:path>
                <a:path w="43180" h="64770">
                  <a:moveTo>
                    <a:pt x="42727" y="64597"/>
                  </a:moveTo>
                  <a:lnTo>
                    <a:pt x="21363" y="64597"/>
                  </a:lnTo>
                  <a:lnTo>
                    <a:pt x="21363" y="43065"/>
                  </a:lnTo>
                  <a:lnTo>
                    <a:pt x="42727" y="43065"/>
                  </a:lnTo>
                  <a:lnTo>
                    <a:pt x="42727" y="64597"/>
                  </a:lnTo>
                  <a:close/>
                </a:path>
              </a:pathLst>
            </a:custGeom>
            <a:solidFill>
              <a:srgbClr val="87C8F9"/>
            </a:solidFill>
          </p:spPr>
          <p:txBody>
            <a:bodyPr wrap="square" lIns="0" tIns="0" rIns="0" bIns="0" rtlCol="0"/>
            <a:lstStyle/>
            <a:p>
              <a:endParaRPr/>
            </a:p>
          </p:txBody>
        </p:sp>
        <p:sp>
          <p:nvSpPr>
            <p:cNvPr id="65" name="object 65"/>
            <p:cNvSpPr/>
            <p:nvPr/>
          </p:nvSpPr>
          <p:spPr>
            <a:xfrm>
              <a:off x="14540891" y="5186400"/>
              <a:ext cx="149860" cy="151130"/>
            </a:xfrm>
            <a:custGeom>
              <a:avLst/>
              <a:gdLst/>
              <a:ahLst/>
              <a:cxnLst/>
              <a:rect l="l" t="t" r="r" b="b"/>
              <a:pathLst>
                <a:path w="149859" h="151129">
                  <a:moveTo>
                    <a:pt x="21361" y="43065"/>
                  </a:moveTo>
                  <a:lnTo>
                    <a:pt x="0" y="43065"/>
                  </a:lnTo>
                  <a:lnTo>
                    <a:pt x="0" y="64604"/>
                  </a:lnTo>
                  <a:lnTo>
                    <a:pt x="21361" y="64604"/>
                  </a:lnTo>
                  <a:lnTo>
                    <a:pt x="21361" y="43065"/>
                  </a:lnTo>
                  <a:close/>
                </a:path>
                <a:path w="149859" h="151129">
                  <a:moveTo>
                    <a:pt x="64084" y="64604"/>
                  </a:moveTo>
                  <a:lnTo>
                    <a:pt x="42722" y="64604"/>
                  </a:lnTo>
                  <a:lnTo>
                    <a:pt x="42722" y="86131"/>
                  </a:lnTo>
                  <a:lnTo>
                    <a:pt x="64084" y="86131"/>
                  </a:lnTo>
                  <a:lnTo>
                    <a:pt x="64084" y="64604"/>
                  </a:lnTo>
                  <a:close/>
                </a:path>
                <a:path w="149859" h="151129">
                  <a:moveTo>
                    <a:pt x="85458" y="129197"/>
                  </a:moveTo>
                  <a:lnTo>
                    <a:pt x="64084" y="129197"/>
                  </a:lnTo>
                  <a:lnTo>
                    <a:pt x="64084" y="150736"/>
                  </a:lnTo>
                  <a:lnTo>
                    <a:pt x="85458" y="150736"/>
                  </a:lnTo>
                  <a:lnTo>
                    <a:pt x="85458" y="129197"/>
                  </a:lnTo>
                  <a:close/>
                </a:path>
                <a:path w="149859" h="151129">
                  <a:moveTo>
                    <a:pt x="149542" y="107670"/>
                  </a:moveTo>
                  <a:lnTo>
                    <a:pt x="128181" y="107670"/>
                  </a:lnTo>
                  <a:lnTo>
                    <a:pt x="128181" y="129197"/>
                  </a:lnTo>
                  <a:lnTo>
                    <a:pt x="149542" y="129197"/>
                  </a:lnTo>
                  <a:lnTo>
                    <a:pt x="149542" y="107670"/>
                  </a:lnTo>
                  <a:close/>
                </a:path>
                <a:path w="149859" h="151129">
                  <a:moveTo>
                    <a:pt x="149542" y="0"/>
                  </a:moveTo>
                  <a:lnTo>
                    <a:pt x="128181" y="0"/>
                  </a:lnTo>
                  <a:lnTo>
                    <a:pt x="128181" y="21539"/>
                  </a:lnTo>
                  <a:lnTo>
                    <a:pt x="149542" y="21539"/>
                  </a:lnTo>
                  <a:lnTo>
                    <a:pt x="149542" y="0"/>
                  </a:lnTo>
                  <a:close/>
                </a:path>
              </a:pathLst>
            </a:custGeom>
            <a:solidFill>
              <a:srgbClr val="54ABED"/>
            </a:solidFill>
          </p:spPr>
          <p:txBody>
            <a:bodyPr wrap="square" lIns="0" tIns="0" rIns="0" bIns="0" rtlCol="0"/>
            <a:lstStyle/>
            <a:p>
              <a:endParaRPr/>
            </a:p>
          </p:txBody>
        </p:sp>
        <p:sp>
          <p:nvSpPr>
            <p:cNvPr id="66" name="object 66"/>
            <p:cNvSpPr/>
            <p:nvPr/>
          </p:nvSpPr>
          <p:spPr>
            <a:xfrm>
              <a:off x="14626349" y="5272527"/>
              <a:ext cx="21590" cy="21590"/>
            </a:xfrm>
            <a:custGeom>
              <a:avLst/>
              <a:gdLst/>
              <a:ahLst/>
              <a:cxnLst/>
              <a:rect l="l" t="t" r="r" b="b"/>
              <a:pathLst>
                <a:path w="21590" h="21589">
                  <a:moveTo>
                    <a:pt x="21363" y="21532"/>
                  </a:moveTo>
                  <a:lnTo>
                    <a:pt x="0" y="21532"/>
                  </a:lnTo>
                  <a:lnTo>
                    <a:pt x="0" y="0"/>
                  </a:lnTo>
                  <a:lnTo>
                    <a:pt x="21363" y="0"/>
                  </a:lnTo>
                  <a:lnTo>
                    <a:pt x="21363" y="21532"/>
                  </a:lnTo>
                  <a:close/>
                </a:path>
              </a:pathLst>
            </a:custGeom>
            <a:solidFill>
              <a:srgbClr val="3B87C2"/>
            </a:solidFill>
          </p:spPr>
          <p:txBody>
            <a:bodyPr wrap="square" lIns="0" tIns="0" rIns="0" bIns="0" rtlCol="0"/>
            <a:lstStyle/>
            <a:p>
              <a:endParaRPr/>
            </a:p>
          </p:txBody>
        </p:sp>
      </p:grpSp>
      <p:sp>
        <p:nvSpPr>
          <p:cNvPr id="67" name="object 67"/>
          <p:cNvSpPr txBox="1"/>
          <p:nvPr/>
        </p:nvSpPr>
        <p:spPr>
          <a:xfrm>
            <a:off x="14381520" y="5529359"/>
            <a:ext cx="407670" cy="203200"/>
          </a:xfrm>
          <a:prstGeom prst="rect">
            <a:avLst/>
          </a:prstGeom>
        </p:spPr>
        <p:txBody>
          <a:bodyPr vert="horz" wrap="square" lIns="0" tIns="13970" rIns="0" bIns="0" rtlCol="0">
            <a:spAutoFit/>
          </a:bodyPr>
          <a:lstStyle/>
          <a:p>
            <a:pPr marL="12700">
              <a:lnSpc>
                <a:spcPct val="100000"/>
              </a:lnSpc>
              <a:spcBef>
                <a:spcPts val="110"/>
              </a:spcBef>
            </a:pPr>
            <a:r>
              <a:rPr sz="1150" b="1" spc="-10" dirty="0">
                <a:solidFill>
                  <a:srgbClr val="737373"/>
                </a:solidFill>
                <a:latin typeface="Roboto"/>
                <a:cs typeface="Roboto"/>
              </a:rPr>
              <a:t>Brasil</a:t>
            </a:r>
            <a:endParaRPr sz="1150">
              <a:latin typeface="Roboto"/>
              <a:cs typeface="Roboto"/>
            </a:endParaRPr>
          </a:p>
        </p:txBody>
      </p:sp>
      <p:grpSp>
        <p:nvGrpSpPr>
          <p:cNvPr id="68" name="object 68"/>
          <p:cNvGrpSpPr/>
          <p:nvPr/>
        </p:nvGrpSpPr>
        <p:grpSpPr>
          <a:xfrm>
            <a:off x="243390" y="1218122"/>
            <a:ext cx="18044795" cy="7716520"/>
            <a:chOff x="243390" y="1218122"/>
            <a:chExt cx="18044795" cy="7716520"/>
          </a:xfrm>
        </p:grpSpPr>
        <p:pic>
          <p:nvPicPr>
            <p:cNvPr id="69" name="object 69"/>
            <p:cNvPicPr/>
            <p:nvPr/>
          </p:nvPicPr>
          <p:blipFill>
            <a:blip r:embed="rId15" cstate="print"/>
            <a:stretch>
              <a:fillRect/>
            </a:stretch>
          </p:blipFill>
          <p:spPr>
            <a:xfrm>
              <a:off x="11116866" y="1218122"/>
              <a:ext cx="7171132" cy="2258514"/>
            </a:xfrm>
            <a:prstGeom prst="rect">
              <a:avLst/>
            </a:prstGeom>
          </p:spPr>
        </p:pic>
        <p:sp>
          <p:nvSpPr>
            <p:cNvPr id="70" name="object 70"/>
            <p:cNvSpPr/>
            <p:nvPr/>
          </p:nvSpPr>
          <p:spPr>
            <a:xfrm>
              <a:off x="11444660" y="1614999"/>
              <a:ext cx="5948045" cy="1369695"/>
            </a:xfrm>
            <a:custGeom>
              <a:avLst/>
              <a:gdLst/>
              <a:ahLst/>
              <a:cxnLst/>
              <a:rect l="l" t="t" r="r" b="b"/>
              <a:pathLst>
                <a:path w="5948044" h="1369695">
                  <a:moveTo>
                    <a:pt x="5233014" y="1369659"/>
                  </a:moveTo>
                  <a:lnTo>
                    <a:pt x="714594" y="1369659"/>
                  </a:lnTo>
                  <a:lnTo>
                    <a:pt x="665668" y="1368079"/>
                  </a:lnTo>
                  <a:lnTo>
                    <a:pt x="617626" y="1363408"/>
                  </a:lnTo>
                  <a:lnTo>
                    <a:pt x="570576" y="1355746"/>
                  </a:lnTo>
                  <a:lnTo>
                    <a:pt x="524623" y="1345196"/>
                  </a:lnTo>
                  <a:lnTo>
                    <a:pt x="479875" y="1331861"/>
                  </a:lnTo>
                  <a:lnTo>
                    <a:pt x="436437" y="1315842"/>
                  </a:lnTo>
                  <a:lnTo>
                    <a:pt x="394416" y="1297241"/>
                  </a:lnTo>
                  <a:lnTo>
                    <a:pt x="353918" y="1276160"/>
                  </a:lnTo>
                  <a:lnTo>
                    <a:pt x="315050" y="1252701"/>
                  </a:lnTo>
                  <a:lnTo>
                    <a:pt x="277919" y="1226966"/>
                  </a:lnTo>
                  <a:lnTo>
                    <a:pt x="242630" y="1199058"/>
                  </a:lnTo>
                  <a:lnTo>
                    <a:pt x="209290" y="1169077"/>
                  </a:lnTo>
                  <a:lnTo>
                    <a:pt x="178006" y="1137127"/>
                  </a:lnTo>
                  <a:lnTo>
                    <a:pt x="148884" y="1103309"/>
                  </a:lnTo>
                  <a:lnTo>
                    <a:pt x="122030" y="1067724"/>
                  </a:lnTo>
                  <a:lnTo>
                    <a:pt x="97552" y="1030476"/>
                  </a:lnTo>
                  <a:lnTo>
                    <a:pt x="75554" y="991666"/>
                  </a:lnTo>
                  <a:lnTo>
                    <a:pt x="56144" y="951396"/>
                  </a:lnTo>
                  <a:lnTo>
                    <a:pt x="39428" y="909768"/>
                  </a:lnTo>
                  <a:lnTo>
                    <a:pt x="25513" y="866884"/>
                  </a:lnTo>
                  <a:lnTo>
                    <a:pt x="14505" y="822847"/>
                  </a:lnTo>
                  <a:lnTo>
                    <a:pt x="6510" y="777757"/>
                  </a:lnTo>
                  <a:lnTo>
                    <a:pt x="1635" y="731717"/>
                  </a:lnTo>
                  <a:lnTo>
                    <a:pt x="0" y="685196"/>
                  </a:lnTo>
                  <a:lnTo>
                    <a:pt x="0" y="684463"/>
                  </a:lnTo>
                  <a:lnTo>
                    <a:pt x="1635" y="637942"/>
                  </a:lnTo>
                  <a:lnTo>
                    <a:pt x="6510" y="591902"/>
                  </a:lnTo>
                  <a:lnTo>
                    <a:pt x="14505" y="546812"/>
                  </a:lnTo>
                  <a:lnTo>
                    <a:pt x="25513" y="502775"/>
                  </a:lnTo>
                  <a:lnTo>
                    <a:pt x="39428" y="459891"/>
                  </a:lnTo>
                  <a:lnTo>
                    <a:pt x="56144" y="418263"/>
                  </a:lnTo>
                  <a:lnTo>
                    <a:pt x="75554" y="377993"/>
                  </a:lnTo>
                  <a:lnTo>
                    <a:pt x="97552" y="339183"/>
                  </a:lnTo>
                  <a:lnTo>
                    <a:pt x="122030" y="301935"/>
                  </a:lnTo>
                  <a:lnTo>
                    <a:pt x="148884" y="266350"/>
                  </a:lnTo>
                  <a:lnTo>
                    <a:pt x="178006" y="232532"/>
                  </a:lnTo>
                  <a:lnTo>
                    <a:pt x="209290" y="200582"/>
                  </a:lnTo>
                  <a:lnTo>
                    <a:pt x="242630" y="170601"/>
                  </a:lnTo>
                  <a:lnTo>
                    <a:pt x="277919" y="142692"/>
                  </a:lnTo>
                  <a:lnTo>
                    <a:pt x="315050" y="116958"/>
                  </a:lnTo>
                  <a:lnTo>
                    <a:pt x="353918" y="93499"/>
                  </a:lnTo>
                  <a:lnTo>
                    <a:pt x="394416" y="72418"/>
                  </a:lnTo>
                  <a:lnTo>
                    <a:pt x="436437" y="53817"/>
                  </a:lnTo>
                  <a:lnTo>
                    <a:pt x="479875" y="37798"/>
                  </a:lnTo>
                  <a:lnTo>
                    <a:pt x="524623" y="24462"/>
                  </a:lnTo>
                  <a:lnTo>
                    <a:pt x="570576" y="13913"/>
                  </a:lnTo>
                  <a:lnTo>
                    <a:pt x="617626" y="6251"/>
                  </a:lnTo>
                  <a:lnTo>
                    <a:pt x="665668" y="1579"/>
                  </a:lnTo>
                  <a:lnTo>
                    <a:pt x="714594" y="0"/>
                  </a:lnTo>
                  <a:lnTo>
                    <a:pt x="5233014" y="0"/>
                  </a:lnTo>
                  <a:lnTo>
                    <a:pt x="5281940" y="1579"/>
                  </a:lnTo>
                  <a:lnTo>
                    <a:pt x="5329982" y="6251"/>
                  </a:lnTo>
                  <a:lnTo>
                    <a:pt x="5377032" y="13913"/>
                  </a:lnTo>
                  <a:lnTo>
                    <a:pt x="5422985" y="24462"/>
                  </a:lnTo>
                  <a:lnTo>
                    <a:pt x="5467733" y="37798"/>
                  </a:lnTo>
                  <a:lnTo>
                    <a:pt x="5511172" y="53817"/>
                  </a:lnTo>
                  <a:lnTo>
                    <a:pt x="5553193" y="72418"/>
                  </a:lnTo>
                  <a:lnTo>
                    <a:pt x="5593690" y="93499"/>
                  </a:lnTo>
                  <a:lnTo>
                    <a:pt x="5632558" y="116958"/>
                  </a:lnTo>
                  <a:lnTo>
                    <a:pt x="5669690" y="142692"/>
                  </a:lnTo>
                  <a:lnTo>
                    <a:pt x="5704979" y="170601"/>
                  </a:lnTo>
                  <a:lnTo>
                    <a:pt x="5738318" y="200582"/>
                  </a:lnTo>
                  <a:lnTo>
                    <a:pt x="5769602" y="232532"/>
                  </a:lnTo>
                  <a:lnTo>
                    <a:pt x="5798725" y="266350"/>
                  </a:lnTo>
                  <a:lnTo>
                    <a:pt x="5825578" y="301935"/>
                  </a:lnTo>
                  <a:lnTo>
                    <a:pt x="5850057" y="339183"/>
                  </a:lnTo>
                  <a:lnTo>
                    <a:pt x="5872055" y="377993"/>
                  </a:lnTo>
                  <a:lnTo>
                    <a:pt x="5891465" y="418263"/>
                  </a:lnTo>
                  <a:lnTo>
                    <a:pt x="5908181" y="459891"/>
                  </a:lnTo>
                  <a:lnTo>
                    <a:pt x="5922096" y="502775"/>
                  </a:lnTo>
                  <a:lnTo>
                    <a:pt x="5933104" y="546812"/>
                  </a:lnTo>
                  <a:lnTo>
                    <a:pt x="5941099" y="591902"/>
                  </a:lnTo>
                  <a:lnTo>
                    <a:pt x="5945974" y="637942"/>
                  </a:lnTo>
                  <a:lnTo>
                    <a:pt x="5947610" y="684463"/>
                  </a:lnTo>
                  <a:lnTo>
                    <a:pt x="5947610" y="685196"/>
                  </a:lnTo>
                  <a:lnTo>
                    <a:pt x="5945974" y="731717"/>
                  </a:lnTo>
                  <a:lnTo>
                    <a:pt x="5941099" y="777757"/>
                  </a:lnTo>
                  <a:lnTo>
                    <a:pt x="5933104" y="822847"/>
                  </a:lnTo>
                  <a:lnTo>
                    <a:pt x="5922096" y="866884"/>
                  </a:lnTo>
                  <a:lnTo>
                    <a:pt x="5908181" y="909768"/>
                  </a:lnTo>
                  <a:lnTo>
                    <a:pt x="5891465" y="951396"/>
                  </a:lnTo>
                  <a:lnTo>
                    <a:pt x="5872055" y="991666"/>
                  </a:lnTo>
                  <a:lnTo>
                    <a:pt x="5850057" y="1030476"/>
                  </a:lnTo>
                  <a:lnTo>
                    <a:pt x="5825578" y="1067724"/>
                  </a:lnTo>
                  <a:lnTo>
                    <a:pt x="5798725" y="1103309"/>
                  </a:lnTo>
                  <a:lnTo>
                    <a:pt x="5769602" y="1137127"/>
                  </a:lnTo>
                  <a:lnTo>
                    <a:pt x="5738318" y="1169077"/>
                  </a:lnTo>
                  <a:lnTo>
                    <a:pt x="5704979" y="1199058"/>
                  </a:lnTo>
                  <a:lnTo>
                    <a:pt x="5669690" y="1226966"/>
                  </a:lnTo>
                  <a:lnTo>
                    <a:pt x="5632558" y="1252701"/>
                  </a:lnTo>
                  <a:lnTo>
                    <a:pt x="5593690" y="1276160"/>
                  </a:lnTo>
                  <a:lnTo>
                    <a:pt x="5553193" y="1297241"/>
                  </a:lnTo>
                  <a:lnTo>
                    <a:pt x="5511172" y="1315842"/>
                  </a:lnTo>
                  <a:lnTo>
                    <a:pt x="5467733" y="1331861"/>
                  </a:lnTo>
                  <a:lnTo>
                    <a:pt x="5422985" y="1345196"/>
                  </a:lnTo>
                  <a:lnTo>
                    <a:pt x="5377032" y="1355746"/>
                  </a:lnTo>
                  <a:lnTo>
                    <a:pt x="5329982" y="1363408"/>
                  </a:lnTo>
                  <a:lnTo>
                    <a:pt x="5281940" y="1368079"/>
                  </a:lnTo>
                  <a:lnTo>
                    <a:pt x="5233014" y="1369659"/>
                  </a:lnTo>
                  <a:close/>
                </a:path>
              </a:pathLst>
            </a:custGeom>
            <a:solidFill>
              <a:srgbClr val="FFFFFF"/>
            </a:solidFill>
          </p:spPr>
          <p:txBody>
            <a:bodyPr wrap="square" lIns="0" tIns="0" rIns="0" bIns="0" rtlCol="0"/>
            <a:lstStyle/>
            <a:p>
              <a:endParaRPr/>
            </a:p>
          </p:txBody>
        </p:sp>
        <p:sp>
          <p:nvSpPr>
            <p:cNvPr id="71" name="object 71"/>
            <p:cNvSpPr/>
            <p:nvPr/>
          </p:nvSpPr>
          <p:spPr>
            <a:xfrm>
              <a:off x="11444647" y="1614999"/>
              <a:ext cx="1369695" cy="1369695"/>
            </a:xfrm>
            <a:custGeom>
              <a:avLst/>
              <a:gdLst/>
              <a:ahLst/>
              <a:cxnLst/>
              <a:rect l="l" t="t" r="r" b="b"/>
              <a:pathLst>
                <a:path w="1369695" h="1369695">
                  <a:moveTo>
                    <a:pt x="684843" y="1369659"/>
                  </a:moveTo>
                  <a:lnTo>
                    <a:pt x="635921" y="1367940"/>
                  </a:lnTo>
                  <a:lnTo>
                    <a:pt x="587942" y="1362859"/>
                  </a:lnTo>
                  <a:lnTo>
                    <a:pt x="541006" y="1354531"/>
                  </a:lnTo>
                  <a:lnTo>
                    <a:pt x="495230" y="1343074"/>
                  </a:lnTo>
                  <a:lnTo>
                    <a:pt x="450730" y="1328603"/>
                  </a:lnTo>
                  <a:lnTo>
                    <a:pt x="407622" y="1311234"/>
                  </a:lnTo>
                  <a:lnTo>
                    <a:pt x="366022" y="1291083"/>
                  </a:lnTo>
                  <a:lnTo>
                    <a:pt x="326044" y="1268265"/>
                  </a:lnTo>
                  <a:lnTo>
                    <a:pt x="287806" y="1242896"/>
                  </a:lnTo>
                  <a:lnTo>
                    <a:pt x="251424" y="1215093"/>
                  </a:lnTo>
                  <a:lnTo>
                    <a:pt x="217012" y="1184971"/>
                  </a:lnTo>
                  <a:lnTo>
                    <a:pt x="184687" y="1152647"/>
                  </a:lnTo>
                  <a:lnTo>
                    <a:pt x="154565" y="1118235"/>
                  </a:lnTo>
                  <a:lnTo>
                    <a:pt x="126762" y="1081852"/>
                  </a:lnTo>
                  <a:lnTo>
                    <a:pt x="101394" y="1043614"/>
                  </a:lnTo>
                  <a:lnTo>
                    <a:pt x="78576" y="1003637"/>
                  </a:lnTo>
                  <a:lnTo>
                    <a:pt x="58424" y="962036"/>
                  </a:lnTo>
                  <a:lnTo>
                    <a:pt x="41055" y="918928"/>
                  </a:lnTo>
                  <a:lnTo>
                    <a:pt x="26584" y="874428"/>
                  </a:lnTo>
                  <a:lnTo>
                    <a:pt x="15127" y="828652"/>
                  </a:lnTo>
                  <a:lnTo>
                    <a:pt x="6800" y="781717"/>
                  </a:lnTo>
                  <a:lnTo>
                    <a:pt x="1719" y="733737"/>
                  </a:lnTo>
                  <a:lnTo>
                    <a:pt x="0" y="684832"/>
                  </a:lnTo>
                  <a:lnTo>
                    <a:pt x="1719" y="635922"/>
                  </a:lnTo>
                  <a:lnTo>
                    <a:pt x="6800" y="587942"/>
                  </a:lnTo>
                  <a:lnTo>
                    <a:pt x="15127" y="541006"/>
                  </a:lnTo>
                  <a:lnTo>
                    <a:pt x="26584" y="495231"/>
                  </a:lnTo>
                  <a:lnTo>
                    <a:pt x="41055" y="450731"/>
                  </a:lnTo>
                  <a:lnTo>
                    <a:pt x="58424" y="407622"/>
                  </a:lnTo>
                  <a:lnTo>
                    <a:pt x="78576" y="366022"/>
                  </a:lnTo>
                  <a:lnTo>
                    <a:pt x="101394" y="326044"/>
                  </a:lnTo>
                  <a:lnTo>
                    <a:pt x="126762" y="287806"/>
                  </a:lnTo>
                  <a:lnTo>
                    <a:pt x="154565" y="251424"/>
                  </a:lnTo>
                  <a:lnTo>
                    <a:pt x="184687" y="217012"/>
                  </a:lnTo>
                  <a:lnTo>
                    <a:pt x="217012" y="184687"/>
                  </a:lnTo>
                  <a:lnTo>
                    <a:pt x="251424" y="154565"/>
                  </a:lnTo>
                  <a:lnTo>
                    <a:pt x="287806" y="126762"/>
                  </a:lnTo>
                  <a:lnTo>
                    <a:pt x="326044" y="101394"/>
                  </a:lnTo>
                  <a:lnTo>
                    <a:pt x="366022" y="78576"/>
                  </a:lnTo>
                  <a:lnTo>
                    <a:pt x="407622" y="58425"/>
                  </a:lnTo>
                  <a:lnTo>
                    <a:pt x="450730" y="41055"/>
                  </a:lnTo>
                  <a:lnTo>
                    <a:pt x="495230" y="26584"/>
                  </a:lnTo>
                  <a:lnTo>
                    <a:pt x="541006" y="15127"/>
                  </a:lnTo>
                  <a:lnTo>
                    <a:pt x="587942" y="6800"/>
                  </a:lnTo>
                  <a:lnTo>
                    <a:pt x="635921" y="1719"/>
                  </a:lnTo>
                  <a:lnTo>
                    <a:pt x="684829" y="0"/>
                  </a:lnTo>
                  <a:lnTo>
                    <a:pt x="733737" y="1719"/>
                  </a:lnTo>
                  <a:lnTo>
                    <a:pt x="781716" y="6800"/>
                  </a:lnTo>
                  <a:lnTo>
                    <a:pt x="828652" y="15127"/>
                  </a:lnTo>
                  <a:lnTo>
                    <a:pt x="874428" y="26584"/>
                  </a:lnTo>
                  <a:lnTo>
                    <a:pt x="918928" y="41055"/>
                  </a:lnTo>
                  <a:lnTo>
                    <a:pt x="962036" y="58425"/>
                  </a:lnTo>
                  <a:lnTo>
                    <a:pt x="1003637" y="78576"/>
                  </a:lnTo>
                  <a:lnTo>
                    <a:pt x="1043614" y="101394"/>
                  </a:lnTo>
                  <a:lnTo>
                    <a:pt x="1081852" y="126762"/>
                  </a:lnTo>
                  <a:lnTo>
                    <a:pt x="1118235" y="154565"/>
                  </a:lnTo>
                  <a:lnTo>
                    <a:pt x="1152646" y="184687"/>
                  </a:lnTo>
                  <a:lnTo>
                    <a:pt x="1184971" y="217012"/>
                  </a:lnTo>
                  <a:lnTo>
                    <a:pt x="1215093" y="251424"/>
                  </a:lnTo>
                  <a:lnTo>
                    <a:pt x="1242896" y="287806"/>
                  </a:lnTo>
                  <a:lnTo>
                    <a:pt x="1268264" y="326044"/>
                  </a:lnTo>
                  <a:lnTo>
                    <a:pt x="1291082" y="366022"/>
                  </a:lnTo>
                  <a:lnTo>
                    <a:pt x="1311233" y="407622"/>
                  </a:lnTo>
                  <a:lnTo>
                    <a:pt x="1328603" y="450731"/>
                  </a:lnTo>
                  <a:lnTo>
                    <a:pt x="1343074" y="495231"/>
                  </a:lnTo>
                  <a:lnTo>
                    <a:pt x="1354531" y="541006"/>
                  </a:lnTo>
                  <a:lnTo>
                    <a:pt x="1362858" y="587942"/>
                  </a:lnTo>
                  <a:lnTo>
                    <a:pt x="1367939" y="635922"/>
                  </a:lnTo>
                  <a:lnTo>
                    <a:pt x="1369658" y="684827"/>
                  </a:lnTo>
                  <a:lnTo>
                    <a:pt x="1367939" y="733737"/>
                  </a:lnTo>
                  <a:lnTo>
                    <a:pt x="1362858" y="781717"/>
                  </a:lnTo>
                  <a:lnTo>
                    <a:pt x="1354531" y="828652"/>
                  </a:lnTo>
                  <a:lnTo>
                    <a:pt x="1343074" y="874428"/>
                  </a:lnTo>
                  <a:lnTo>
                    <a:pt x="1328603" y="918928"/>
                  </a:lnTo>
                  <a:lnTo>
                    <a:pt x="1311233" y="962036"/>
                  </a:lnTo>
                  <a:lnTo>
                    <a:pt x="1291082" y="1003637"/>
                  </a:lnTo>
                  <a:lnTo>
                    <a:pt x="1268264" y="1043614"/>
                  </a:lnTo>
                  <a:lnTo>
                    <a:pt x="1242896" y="1081852"/>
                  </a:lnTo>
                  <a:lnTo>
                    <a:pt x="1215093" y="1118235"/>
                  </a:lnTo>
                  <a:lnTo>
                    <a:pt x="1184971" y="1152647"/>
                  </a:lnTo>
                  <a:lnTo>
                    <a:pt x="1152646" y="1184971"/>
                  </a:lnTo>
                  <a:lnTo>
                    <a:pt x="1118235" y="1215093"/>
                  </a:lnTo>
                  <a:lnTo>
                    <a:pt x="1081852" y="1242896"/>
                  </a:lnTo>
                  <a:lnTo>
                    <a:pt x="1043614" y="1268265"/>
                  </a:lnTo>
                  <a:lnTo>
                    <a:pt x="1003637" y="1291083"/>
                  </a:lnTo>
                  <a:lnTo>
                    <a:pt x="962036" y="1311234"/>
                  </a:lnTo>
                  <a:lnTo>
                    <a:pt x="918928" y="1328603"/>
                  </a:lnTo>
                  <a:lnTo>
                    <a:pt x="874428" y="1343074"/>
                  </a:lnTo>
                  <a:lnTo>
                    <a:pt x="828652" y="1354531"/>
                  </a:lnTo>
                  <a:lnTo>
                    <a:pt x="781716" y="1362859"/>
                  </a:lnTo>
                  <a:lnTo>
                    <a:pt x="733737" y="1367940"/>
                  </a:lnTo>
                  <a:lnTo>
                    <a:pt x="684843" y="1369659"/>
                  </a:lnTo>
                  <a:close/>
                </a:path>
              </a:pathLst>
            </a:custGeom>
            <a:solidFill>
              <a:srgbClr val="0090AE"/>
            </a:solidFill>
          </p:spPr>
          <p:txBody>
            <a:bodyPr wrap="square" lIns="0" tIns="0" rIns="0" bIns="0" rtlCol="0"/>
            <a:lstStyle/>
            <a:p>
              <a:endParaRPr/>
            </a:p>
          </p:txBody>
        </p:sp>
        <p:sp>
          <p:nvSpPr>
            <p:cNvPr id="72" name="object 72"/>
            <p:cNvSpPr/>
            <p:nvPr/>
          </p:nvSpPr>
          <p:spPr>
            <a:xfrm>
              <a:off x="5711729" y="1636279"/>
              <a:ext cx="4195445" cy="1340485"/>
            </a:xfrm>
            <a:custGeom>
              <a:avLst/>
              <a:gdLst/>
              <a:ahLst/>
              <a:cxnLst/>
              <a:rect l="l" t="t" r="r" b="b"/>
              <a:pathLst>
                <a:path w="4195445" h="1340485">
                  <a:moveTo>
                    <a:pt x="4195166" y="666158"/>
                  </a:moveTo>
                  <a:lnTo>
                    <a:pt x="4195166" y="674321"/>
                  </a:lnTo>
                  <a:lnTo>
                    <a:pt x="3763827" y="1340479"/>
                  </a:lnTo>
                  <a:lnTo>
                    <a:pt x="0" y="1340479"/>
                  </a:lnTo>
                  <a:lnTo>
                    <a:pt x="0" y="0"/>
                  </a:lnTo>
                  <a:lnTo>
                    <a:pt x="3763827" y="0"/>
                  </a:lnTo>
                  <a:lnTo>
                    <a:pt x="4195166" y="666158"/>
                  </a:lnTo>
                  <a:close/>
                </a:path>
              </a:pathLst>
            </a:custGeom>
            <a:solidFill>
              <a:srgbClr val="E3112B"/>
            </a:solidFill>
          </p:spPr>
          <p:txBody>
            <a:bodyPr wrap="square" lIns="0" tIns="0" rIns="0" bIns="0" rtlCol="0"/>
            <a:lstStyle/>
            <a:p>
              <a:endParaRPr/>
            </a:p>
          </p:txBody>
        </p:sp>
        <p:pic>
          <p:nvPicPr>
            <p:cNvPr id="73" name="object 73"/>
            <p:cNvPicPr/>
            <p:nvPr/>
          </p:nvPicPr>
          <p:blipFill>
            <a:blip r:embed="rId16" cstate="print"/>
            <a:stretch>
              <a:fillRect/>
            </a:stretch>
          </p:blipFill>
          <p:spPr>
            <a:xfrm>
              <a:off x="243390" y="1218122"/>
              <a:ext cx="7243126" cy="2258514"/>
            </a:xfrm>
            <a:prstGeom prst="rect">
              <a:avLst/>
            </a:prstGeom>
          </p:spPr>
        </p:pic>
        <p:sp>
          <p:nvSpPr>
            <p:cNvPr id="74" name="object 74"/>
            <p:cNvSpPr/>
            <p:nvPr/>
          </p:nvSpPr>
          <p:spPr>
            <a:xfrm>
              <a:off x="571184" y="1614999"/>
              <a:ext cx="5948045" cy="1369695"/>
            </a:xfrm>
            <a:custGeom>
              <a:avLst/>
              <a:gdLst/>
              <a:ahLst/>
              <a:cxnLst/>
              <a:rect l="l" t="t" r="r" b="b"/>
              <a:pathLst>
                <a:path w="5948045" h="1369695">
                  <a:moveTo>
                    <a:pt x="5233014" y="1369659"/>
                  </a:moveTo>
                  <a:lnTo>
                    <a:pt x="714595" y="1369659"/>
                  </a:lnTo>
                  <a:lnTo>
                    <a:pt x="665669" y="1368079"/>
                  </a:lnTo>
                  <a:lnTo>
                    <a:pt x="617627" y="1363408"/>
                  </a:lnTo>
                  <a:lnTo>
                    <a:pt x="570577" y="1355746"/>
                  </a:lnTo>
                  <a:lnTo>
                    <a:pt x="524624" y="1345196"/>
                  </a:lnTo>
                  <a:lnTo>
                    <a:pt x="479876" y="1331861"/>
                  </a:lnTo>
                  <a:lnTo>
                    <a:pt x="436438" y="1315842"/>
                  </a:lnTo>
                  <a:lnTo>
                    <a:pt x="394417" y="1297241"/>
                  </a:lnTo>
                  <a:lnTo>
                    <a:pt x="353919" y="1276160"/>
                  </a:lnTo>
                  <a:lnTo>
                    <a:pt x="315051" y="1252701"/>
                  </a:lnTo>
                  <a:lnTo>
                    <a:pt x="277920" y="1226966"/>
                  </a:lnTo>
                  <a:lnTo>
                    <a:pt x="242631" y="1199058"/>
                  </a:lnTo>
                  <a:lnTo>
                    <a:pt x="209291" y="1169077"/>
                  </a:lnTo>
                  <a:lnTo>
                    <a:pt x="178007" y="1137127"/>
                  </a:lnTo>
                  <a:lnTo>
                    <a:pt x="148885" y="1103309"/>
                  </a:lnTo>
                  <a:lnTo>
                    <a:pt x="122031" y="1067724"/>
                  </a:lnTo>
                  <a:lnTo>
                    <a:pt x="97552" y="1030476"/>
                  </a:lnTo>
                  <a:lnTo>
                    <a:pt x="75555" y="991666"/>
                  </a:lnTo>
                  <a:lnTo>
                    <a:pt x="56145" y="951396"/>
                  </a:lnTo>
                  <a:lnTo>
                    <a:pt x="39429" y="909768"/>
                  </a:lnTo>
                  <a:lnTo>
                    <a:pt x="25514" y="866884"/>
                  </a:lnTo>
                  <a:lnTo>
                    <a:pt x="14506" y="822847"/>
                  </a:lnTo>
                  <a:lnTo>
                    <a:pt x="6511" y="777757"/>
                  </a:lnTo>
                  <a:lnTo>
                    <a:pt x="1636" y="731717"/>
                  </a:lnTo>
                  <a:lnTo>
                    <a:pt x="0" y="685176"/>
                  </a:lnTo>
                  <a:lnTo>
                    <a:pt x="0" y="684483"/>
                  </a:lnTo>
                  <a:lnTo>
                    <a:pt x="1636" y="637942"/>
                  </a:lnTo>
                  <a:lnTo>
                    <a:pt x="6511" y="591902"/>
                  </a:lnTo>
                  <a:lnTo>
                    <a:pt x="14506" y="546812"/>
                  </a:lnTo>
                  <a:lnTo>
                    <a:pt x="25514" y="502775"/>
                  </a:lnTo>
                  <a:lnTo>
                    <a:pt x="39429" y="459891"/>
                  </a:lnTo>
                  <a:lnTo>
                    <a:pt x="56145" y="418263"/>
                  </a:lnTo>
                  <a:lnTo>
                    <a:pt x="75555" y="377993"/>
                  </a:lnTo>
                  <a:lnTo>
                    <a:pt x="97552" y="339183"/>
                  </a:lnTo>
                  <a:lnTo>
                    <a:pt x="122031" y="301935"/>
                  </a:lnTo>
                  <a:lnTo>
                    <a:pt x="148885" y="266350"/>
                  </a:lnTo>
                  <a:lnTo>
                    <a:pt x="178007" y="232532"/>
                  </a:lnTo>
                  <a:lnTo>
                    <a:pt x="209291" y="200582"/>
                  </a:lnTo>
                  <a:lnTo>
                    <a:pt x="242631" y="170601"/>
                  </a:lnTo>
                  <a:lnTo>
                    <a:pt x="277920" y="142692"/>
                  </a:lnTo>
                  <a:lnTo>
                    <a:pt x="315051" y="116958"/>
                  </a:lnTo>
                  <a:lnTo>
                    <a:pt x="353919" y="93499"/>
                  </a:lnTo>
                  <a:lnTo>
                    <a:pt x="394417" y="72418"/>
                  </a:lnTo>
                  <a:lnTo>
                    <a:pt x="436438" y="53817"/>
                  </a:lnTo>
                  <a:lnTo>
                    <a:pt x="479876" y="37798"/>
                  </a:lnTo>
                  <a:lnTo>
                    <a:pt x="524624" y="24462"/>
                  </a:lnTo>
                  <a:lnTo>
                    <a:pt x="570577" y="13913"/>
                  </a:lnTo>
                  <a:lnTo>
                    <a:pt x="617627" y="6251"/>
                  </a:lnTo>
                  <a:lnTo>
                    <a:pt x="665669" y="1579"/>
                  </a:lnTo>
                  <a:lnTo>
                    <a:pt x="714595" y="0"/>
                  </a:lnTo>
                  <a:lnTo>
                    <a:pt x="5233014" y="0"/>
                  </a:lnTo>
                  <a:lnTo>
                    <a:pt x="5281941" y="1579"/>
                  </a:lnTo>
                  <a:lnTo>
                    <a:pt x="5329982" y="6251"/>
                  </a:lnTo>
                  <a:lnTo>
                    <a:pt x="5377033" y="13913"/>
                  </a:lnTo>
                  <a:lnTo>
                    <a:pt x="5422985" y="24462"/>
                  </a:lnTo>
                  <a:lnTo>
                    <a:pt x="5467734" y="37798"/>
                  </a:lnTo>
                  <a:lnTo>
                    <a:pt x="5511172" y="53817"/>
                  </a:lnTo>
                  <a:lnTo>
                    <a:pt x="5553193" y="72418"/>
                  </a:lnTo>
                  <a:lnTo>
                    <a:pt x="5593691" y="93499"/>
                  </a:lnTo>
                  <a:lnTo>
                    <a:pt x="5632559" y="116958"/>
                  </a:lnTo>
                  <a:lnTo>
                    <a:pt x="5669690" y="142692"/>
                  </a:lnTo>
                  <a:lnTo>
                    <a:pt x="5704979" y="170601"/>
                  </a:lnTo>
                  <a:lnTo>
                    <a:pt x="5738319" y="200582"/>
                  </a:lnTo>
                  <a:lnTo>
                    <a:pt x="5769603" y="232532"/>
                  </a:lnTo>
                  <a:lnTo>
                    <a:pt x="5798725" y="266350"/>
                  </a:lnTo>
                  <a:lnTo>
                    <a:pt x="5825579" y="301935"/>
                  </a:lnTo>
                  <a:lnTo>
                    <a:pt x="5850058" y="339183"/>
                  </a:lnTo>
                  <a:lnTo>
                    <a:pt x="5872055" y="377993"/>
                  </a:lnTo>
                  <a:lnTo>
                    <a:pt x="5891465" y="418263"/>
                  </a:lnTo>
                  <a:lnTo>
                    <a:pt x="5908181" y="459891"/>
                  </a:lnTo>
                  <a:lnTo>
                    <a:pt x="5922096" y="502775"/>
                  </a:lnTo>
                  <a:lnTo>
                    <a:pt x="5933105" y="546812"/>
                  </a:lnTo>
                  <a:lnTo>
                    <a:pt x="5941099" y="591902"/>
                  </a:lnTo>
                  <a:lnTo>
                    <a:pt x="5945974" y="637942"/>
                  </a:lnTo>
                  <a:lnTo>
                    <a:pt x="5947611" y="684483"/>
                  </a:lnTo>
                  <a:lnTo>
                    <a:pt x="5947611" y="685176"/>
                  </a:lnTo>
                  <a:lnTo>
                    <a:pt x="5945974" y="731717"/>
                  </a:lnTo>
                  <a:lnTo>
                    <a:pt x="5941099" y="777757"/>
                  </a:lnTo>
                  <a:lnTo>
                    <a:pt x="5933105" y="822847"/>
                  </a:lnTo>
                  <a:lnTo>
                    <a:pt x="5922096" y="866884"/>
                  </a:lnTo>
                  <a:lnTo>
                    <a:pt x="5908181" y="909768"/>
                  </a:lnTo>
                  <a:lnTo>
                    <a:pt x="5891465" y="951396"/>
                  </a:lnTo>
                  <a:lnTo>
                    <a:pt x="5872055" y="991666"/>
                  </a:lnTo>
                  <a:lnTo>
                    <a:pt x="5850058" y="1030476"/>
                  </a:lnTo>
                  <a:lnTo>
                    <a:pt x="5825579" y="1067724"/>
                  </a:lnTo>
                  <a:lnTo>
                    <a:pt x="5798725" y="1103309"/>
                  </a:lnTo>
                  <a:lnTo>
                    <a:pt x="5769603" y="1137127"/>
                  </a:lnTo>
                  <a:lnTo>
                    <a:pt x="5738319" y="1169077"/>
                  </a:lnTo>
                  <a:lnTo>
                    <a:pt x="5704979" y="1199058"/>
                  </a:lnTo>
                  <a:lnTo>
                    <a:pt x="5669690" y="1226966"/>
                  </a:lnTo>
                  <a:lnTo>
                    <a:pt x="5632559" y="1252701"/>
                  </a:lnTo>
                  <a:lnTo>
                    <a:pt x="5593691" y="1276160"/>
                  </a:lnTo>
                  <a:lnTo>
                    <a:pt x="5553193" y="1297241"/>
                  </a:lnTo>
                  <a:lnTo>
                    <a:pt x="5511172" y="1315842"/>
                  </a:lnTo>
                  <a:lnTo>
                    <a:pt x="5467734" y="1331861"/>
                  </a:lnTo>
                  <a:lnTo>
                    <a:pt x="5422985" y="1345196"/>
                  </a:lnTo>
                  <a:lnTo>
                    <a:pt x="5377033" y="1355746"/>
                  </a:lnTo>
                  <a:lnTo>
                    <a:pt x="5329982" y="1363408"/>
                  </a:lnTo>
                  <a:lnTo>
                    <a:pt x="5281941" y="1368079"/>
                  </a:lnTo>
                  <a:lnTo>
                    <a:pt x="5233014" y="1369659"/>
                  </a:lnTo>
                  <a:close/>
                </a:path>
              </a:pathLst>
            </a:custGeom>
            <a:solidFill>
              <a:srgbClr val="FFFFFF"/>
            </a:solidFill>
          </p:spPr>
          <p:txBody>
            <a:bodyPr wrap="square" lIns="0" tIns="0" rIns="0" bIns="0" rtlCol="0"/>
            <a:lstStyle/>
            <a:p>
              <a:endParaRPr/>
            </a:p>
          </p:txBody>
        </p:sp>
        <p:sp>
          <p:nvSpPr>
            <p:cNvPr id="75" name="object 75"/>
            <p:cNvSpPr/>
            <p:nvPr/>
          </p:nvSpPr>
          <p:spPr>
            <a:xfrm>
              <a:off x="571172" y="1614999"/>
              <a:ext cx="1369695" cy="1369695"/>
            </a:xfrm>
            <a:custGeom>
              <a:avLst/>
              <a:gdLst/>
              <a:ahLst/>
              <a:cxnLst/>
              <a:rect l="l" t="t" r="r" b="b"/>
              <a:pathLst>
                <a:path w="1369695" h="1369695">
                  <a:moveTo>
                    <a:pt x="684843" y="1369659"/>
                  </a:moveTo>
                  <a:lnTo>
                    <a:pt x="635922" y="1367940"/>
                  </a:lnTo>
                  <a:lnTo>
                    <a:pt x="587942" y="1362859"/>
                  </a:lnTo>
                  <a:lnTo>
                    <a:pt x="541006" y="1354531"/>
                  </a:lnTo>
                  <a:lnTo>
                    <a:pt x="495231" y="1343074"/>
                  </a:lnTo>
                  <a:lnTo>
                    <a:pt x="450731" y="1328603"/>
                  </a:lnTo>
                  <a:lnTo>
                    <a:pt x="407622" y="1311234"/>
                  </a:lnTo>
                  <a:lnTo>
                    <a:pt x="366022" y="1291083"/>
                  </a:lnTo>
                  <a:lnTo>
                    <a:pt x="326044" y="1268265"/>
                  </a:lnTo>
                  <a:lnTo>
                    <a:pt x="287806" y="1242896"/>
                  </a:lnTo>
                  <a:lnTo>
                    <a:pt x="251424" y="1215093"/>
                  </a:lnTo>
                  <a:lnTo>
                    <a:pt x="217012" y="1184971"/>
                  </a:lnTo>
                  <a:lnTo>
                    <a:pt x="184687" y="1152647"/>
                  </a:lnTo>
                  <a:lnTo>
                    <a:pt x="154565" y="1118235"/>
                  </a:lnTo>
                  <a:lnTo>
                    <a:pt x="126762" y="1081852"/>
                  </a:lnTo>
                  <a:lnTo>
                    <a:pt x="101394" y="1043614"/>
                  </a:lnTo>
                  <a:lnTo>
                    <a:pt x="78576" y="1003637"/>
                  </a:lnTo>
                  <a:lnTo>
                    <a:pt x="58424" y="962036"/>
                  </a:lnTo>
                  <a:lnTo>
                    <a:pt x="41055" y="918928"/>
                  </a:lnTo>
                  <a:lnTo>
                    <a:pt x="26584" y="874428"/>
                  </a:lnTo>
                  <a:lnTo>
                    <a:pt x="15127" y="828652"/>
                  </a:lnTo>
                  <a:lnTo>
                    <a:pt x="6800" y="781717"/>
                  </a:lnTo>
                  <a:lnTo>
                    <a:pt x="1719" y="733737"/>
                  </a:lnTo>
                  <a:lnTo>
                    <a:pt x="0" y="684828"/>
                  </a:lnTo>
                  <a:lnTo>
                    <a:pt x="1719" y="635922"/>
                  </a:lnTo>
                  <a:lnTo>
                    <a:pt x="6800" y="587942"/>
                  </a:lnTo>
                  <a:lnTo>
                    <a:pt x="15127" y="541006"/>
                  </a:lnTo>
                  <a:lnTo>
                    <a:pt x="26584" y="495231"/>
                  </a:lnTo>
                  <a:lnTo>
                    <a:pt x="41055" y="450731"/>
                  </a:lnTo>
                  <a:lnTo>
                    <a:pt x="58424" y="407622"/>
                  </a:lnTo>
                  <a:lnTo>
                    <a:pt x="78576" y="366022"/>
                  </a:lnTo>
                  <a:lnTo>
                    <a:pt x="101394" y="326044"/>
                  </a:lnTo>
                  <a:lnTo>
                    <a:pt x="126762" y="287806"/>
                  </a:lnTo>
                  <a:lnTo>
                    <a:pt x="154565" y="251424"/>
                  </a:lnTo>
                  <a:lnTo>
                    <a:pt x="184687" y="217012"/>
                  </a:lnTo>
                  <a:lnTo>
                    <a:pt x="217012" y="184687"/>
                  </a:lnTo>
                  <a:lnTo>
                    <a:pt x="251424" y="154565"/>
                  </a:lnTo>
                  <a:lnTo>
                    <a:pt x="287806" y="126762"/>
                  </a:lnTo>
                  <a:lnTo>
                    <a:pt x="326044" y="101394"/>
                  </a:lnTo>
                  <a:lnTo>
                    <a:pt x="366022" y="78576"/>
                  </a:lnTo>
                  <a:lnTo>
                    <a:pt x="407622" y="58425"/>
                  </a:lnTo>
                  <a:lnTo>
                    <a:pt x="450731" y="41055"/>
                  </a:lnTo>
                  <a:lnTo>
                    <a:pt x="495231" y="26584"/>
                  </a:lnTo>
                  <a:lnTo>
                    <a:pt x="541006" y="15127"/>
                  </a:lnTo>
                  <a:lnTo>
                    <a:pt x="587942" y="6800"/>
                  </a:lnTo>
                  <a:lnTo>
                    <a:pt x="635922" y="1719"/>
                  </a:lnTo>
                  <a:lnTo>
                    <a:pt x="684829" y="0"/>
                  </a:lnTo>
                  <a:lnTo>
                    <a:pt x="733737" y="1719"/>
                  </a:lnTo>
                  <a:lnTo>
                    <a:pt x="781717" y="6800"/>
                  </a:lnTo>
                  <a:lnTo>
                    <a:pt x="828652" y="15127"/>
                  </a:lnTo>
                  <a:lnTo>
                    <a:pt x="874428" y="26584"/>
                  </a:lnTo>
                  <a:lnTo>
                    <a:pt x="918928" y="41055"/>
                  </a:lnTo>
                  <a:lnTo>
                    <a:pt x="962036" y="58425"/>
                  </a:lnTo>
                  <a:lnTo>
                    <a:pt x="1003637" y="78576"/>
                  </a:lnTo>
                  <a:lnTo>
                    <a:pt x="1043614" y="101394"/>
                  </a:lnTo>
                  <a:lnTo>
                    <a:pt x="1081852" y="126762"/>
                  </a:lnTo>
                  <a:lnTo>
                    <a:pt x="1118235" y="154565"/>
                  </a:lnTo>
                  <a:lnTo>
                    <a:pt x="1152647" y="184687"/>
                  </a:lnTo>
                  <a:lnTo>
                    <a:pt x="1184971" y="217012"/>
                  </a:lnTo>
                  <a:lnTo>
                    <a:pt x="1215093" y="251424"/>
                  </a:lnTo>
                  <a:lnTo>
                    <a:pt x="1242896" y="287806"/>
                  </a:lnTo>
                  <a:lnTo>
                    <a:pt x="1268265" y="326044"/>
                  </a:lnTo>
                  <a:lnTo>
                    <a:pt x="1291083" y="366022"/>
                  </a:lnTo>
                  <a:lnTo>
                    <a:pt x="1311234" y="407622"/>
                  </a:lnTo>
                  <a:lnTo>
                    <a:pt x="1328603" y="450731"/>
                  </a:lnTo>
                  <a:lnTo>
                    <a:pt x="1343074" y="495231"/>
                  </a:lnTo>
                  <a:lnTo>
                    <a:pt x="1354531" y="541006"/>
                  </a:lnTo>
                  <a:lnTo>
                    <a:pt x="1362859" y="587942"/>
                  </a:lnTo>
                  <a:lnTo>
                    <a:pt x="1367940" y="635922"/>
                  </a:lnTo>
                  <a:lnTo>
                    <a:pt x="1369659" y="684829"/>
                  </a:lnTo>
                  <a:lnTo>
                    <a:pt x="1367940" y="733737"/>
                  </a:lnTo>
                  <a:lnTo>
                    <a:pt x="1362859" y="781717"/>
                  </a:lnTo>
                  <a:lnTo>
                    <a:pt x="1354531" y="828652"/>
                  </a:lnTo>
                  <a:lnTo>
                    <a:pt x="1343074" y="874428"/>
                  </a:lnTo>
                  <a:lnTo>
                    <a:pt x="1328603" y="918928"/>
                  </a:lnTo>
                  <a:lnTo>
                    <a:pt x="1311234" y="962036"/>
                  </a:lnTo>
                  <a:lnTo>
                    <a:pt x="1291083" y="1003637"/>
                  </a:lnTo>
                  <a:lnTo>
                    <a:pt x="1268265" y="1043614"/>
                  </a:lnTo>
                  <a:lnTo>
                    <a:pt x="1242896" y="1081852"/>
                  </a:lnTo>
                  <a:lnTo>
                    <a:pt x="1215093" y="1118235"/>
                  </a:lnTo>
                  <a:lnTo>
                    <a:pt x="1184971" y="1152647"/>
                  </a:lnTo>
                  <a:lnTo>
                    <a:pt x="1152647" y="1184971"/>
                  </a:lnTo>
                  <a:lnTo>
                    <a:pt x="1118235" y="1215093"/>
                  </a:lnTo>
                  <a:lnTo>
                    <a:pt x="1081852" y="1242896"/>
                  </a:lnTo>
                  <a:lnTo>
                    <a:pt x="1043614" y="1268265"/>
                  </a:lnTo>
                  <a:lnTo>
                    <a:pt x="1003637" y="1291083"/>
                  </a:lnTo>
                  <a:lnTo>
                    <a:pt x="962036" y="1311234"/>
                  </a:lnTo>
                  <a:lnTo>
                    <a:pt x="918928" y="1328603"/>
                  </a:lnTo>
                  <a:lnTo>
                    <a:pt x="874428" y="1343074"/>
                  </a:lnTo>
                  <a:lnTo>
                    <a:pt x="828652" y="1354531"/>
                  </a:lnTo>
                  <a:lnTo>
                    <a:pt x="781717" y="1362859"/>
                  </a:lnTo>
                  <a:lnTo>
                    <a:pt x="733737" y="1367940"/>
                  </a:lnTo>
                  <a:lnTo>
                    <a:pt x="684843" y="1369659"/>
                  </a:lnTo>
                  <a:close/>
                </a:path>
              </a:pathLst>
            </a:custGeom>
            <a:solidFill>
              <a:srgbClr val="F5A316"/>
            </a:solidFill>
          </p:spPr>
          <p:txBody>
            <a:bodyPr wrap="square" lIns="0" tIns="0" rIns="0" bIns="0" rtlCol="0"/>
            <a:lstStyle/>
            <a:p>
              <a:endParaRPr/>
            </a:p>
          </p:txBody>
        </p:sp>
        <p:sp>
          <p:nvSpPr>
            <p:cNvPr id="76" name="object 76"/>
            <p:cNvSpPr/>
            <p:nvPr/>
          </p:nvSpPr>
          <p:spPr>
            <a:xfrm>
              <a:off x="902891" y="1945963"/>
              <a:ext cx="716280" cy="713740"/>
            </a:xfrm>
            <a:custGeom>
              <a:avLst/>
              <a:gdLst/>
              <a:ahLst/>
              <a:cxnLst/>
              <a:rect l="l" t="t" r="r" b="b"/>
              <a:pathLst>
                <a:path w="716280" h="713739">
                  <a:moveTo>
                    <a:pt x="102089" y="382661"/>
                  </a:moveTo>
                  <a:lnTo>
                    <a:pt x="98701" y="382654"/>
                  </a:lnTo>
                  <a:lnTo>
                    <a:pt x="22142" y="382654"/>
                  </a:lnTo>
                  <a:lnTo>
                    <a:pt x="18916" y="382020"/>
                  </a:lnTo>
                  <a:lnTo>
                    <a:pt x="0" y="360580"/>
                  </a:lnTo>
                  <a:lnTo>
                    <a:pt x="0" y="353820"/>
                  </a:lnTo>
                  <a:lnTo>
                    <a:pt x="22175" y="331739"/>
                  </a:lnTo>
                  <a:lnTo>
                    <a:pt x="102089" y="331739"/>
                  </a:lnTo>
                  <a:lnTo>
                    <a:pt x="124264" y="353820"/>
                  </a:lnTo>
                  <a:lnTo>
                    <a:pt x="124264" y="360580"/>
                  </a:lnTo>
                  <a:lnTo>
                    <a:pt x="102122" y="382654"/>
                  </a:lnTo>
                  <a:lnTo>
                    <a:pt x="98701" y="382654"/>
                  </a:lnTo>
                  <a:lnTo>
                    <a:pt x="102089" y="382661"/>
                  </a:lnTo>
                  <a:close/>
                </a:path>
                <a:path w="716280" h="713739">
                  <a:moveTo>
                    <a:pt x="364745" y="123189"/>
                  </a:moveTo>
                  <a:lnTo>
                    <a:pt x="351469" y="123189"/>
                  </a:lnTo>
                  <a:lnTo>
                    <a:pt x="345216" y="119379"/>
                  </a:lnTo>
                  <a:lnTo>
                    <a:pt x="342457" y="118109"/>
                  </a:lnTo>
                  <a:lnTo>
                    <a:pt x="337672" y="113029"/>
                  </a:lnTo>
                  <a:lnTo>
                    <a:pt x="335829" y="110489"/>
                  </a:lnTo>
                  <a:lnTo>
                    <a:pt x="333240" y="104139"/>
                  </a:lnTo>
                  <a:lnTo>
                    <a:pt x="332593" y="101599"/>
                  </a:lnTo>
                  <a:lnTo>
                    <a:pt x="332597" y="21589"/>
                  </a:lnTo>
                  <a:lnTo>
                    <a:pt x="351473" y="0"/>
                  </a:lnTo>
                  <a:lnTo>
                    <a:pt x="364741" y="0"/>
                  </a:lnTo>
                  <a:lnTo>
                    <a:pt x="383621" y="101599"/>
                  </a:lnTo>
                  <a:lnTo>
                    <a:pt x="382974" y="104139"/>
                  </a:lnTo>
                  <a:lnTo>
                    <a:pt x="380385" y="110489"/>
                  </a:lnTo>
                  <a:lnTo>
                    <a:pt x="378542" y="113029"/>
                  </a:lnTo>
                  <a:lnTo>
                    <a:pt x="373757" y="118109"/>
                  </a:lnTo>
                  <a:lnTo>
                    <a:pt x="370998" y="119379"/>
                  </a:lnTo>
                  <a:lnTo>
                    <a:pt x="364745" y="123189"/>
                  </a:lnTo>
                  <a:close/>
                </a:path>
                <a:path w="716280" h="713739">
                  <a:moveTo>
                    <a:pt x="179831" y="199389"/>
                  </a:moveTo>
                  <a:lnTo>
                    <a:pt x="167625" y="199389"/>
                  </a:lnTo>
                  <a:lnTo>
                    <a:pt x="161612" y="196849"/>
                  </a:lnTo>
                  <a:lnTo>
                    <a:pt x="102547" y="137159"/>
                  </a:lnTo>
                  <a:lnTo>
                    <a:pt x="100718" y="134619"/>
                  </a:lnTo>
                  <a:lnTo>
                    <a:pt x="98155" y="128269"/>
                  </a:lnTo>
                  <a:lnTo>
                    <a:pt x="97518" y="125729"/>
                  </a:lnTo>
                  <a:lnTo>
                    <a:pt x="97531" y="118109"/>
                  </a:lnTo>
                  <a:lnTo>
                    <a:pt x="119609" y="96519"/>
                  </a:lnTo>
                  <a:lnTo>
                    <a:pt x="126357" y="96519"/>
                  </a:lnTo>
                  <a:lnTo>
                    <a:pt x="129604" y="97789"/>
                  </a:lnTo>
                  <a:lnTo>
                    <a:pt x="135846" y="100329"/>
                  </a:lnTo>
                  <a:lnTo>
                    <a:pt x="138605" y="101599"/>
                  </a:lnTo>
                  <a:lnTo>
                    <a:pt x="141000" y="104139"/>
                  </a:lnTo>
                  <a:lnTo>
                    <a:pt x="196360" y="158749"/>
                  </a:lnTo>
                  <a:lnTo>
                    <a:pt x="198689" y="163829"/>
                  </a:lnTo>
                  <a:lnTo>
                    <a:pt x="200704" y="173989"/>
                  </a:lnTo>
                  <a:lnTo>
                    <a:pt x="200220" y="179069"/>
                  </a:lnTo>
                  <a:lnTo>
                    <a:pt x="196270" y="187959"/>
                  </a:lnTo>
                  <a:lnTo>
                    <a:pt x="193138" y="191769"/>
                  </a:lnTo>
                  <a:lnTo>
                    <a:pt x="184556" y="198119"/>
                  </a:lnTo>
                  <a:lnTo>
                    <a:pt x="179831" y="199389"/>
                  </a:lnTo>
                  <a:close/>
                </a:path>
                <a:path w="716280" h="713739">
                  <a:moveTo>
                    <a:pt x="548577" y="199389"/>
                  </a:moveTo>
                  <a:lnTo>
                    <a:pt x="536369" y="199389"/>
                  </a:lnTo>
                  <a:lnTo>
                    <a:pt x="531643" y="198119"/>
                  </a:lnTo>
                  <a:lnTo>
                    <a:pt x="523062" y="191769"/>
                  </a:lnTo>
                  <a:lnTo>
                    <a:pt x="519929" y="187959"/>
                  </a:lnTo>
                  <a:lnTo>
                    <a:pt x="515980" y="179069"/>
                  </a:lnTo>
                  <a:lnTo>
                    <a:pt x="515496" y="173989"/>
                  </a:lnTo>
                  <a:lnTo>
                    <a:pt x="517511" y="163829"/>
                  </a:lnTo>
                  <a:lnTo>
                    <a:pt x="519839" y="158749"/>
                  </a:lnTo>
                  <a:lnTo>
                    <a:pt x="575214" y="104139"/>
                  </a:lnTo>
                  <a:lnTo>
                    <a:pt x="577609" y="101599"/>
                  </a:lnTo>
                  <a:lnTo>
                    <a:pt x="580367" y="100329"/>
                  </a:lnTo>
                  <a:lnTo>
                    <a:pt x="586609" y="97789"/>
                  </a:lnTo>
                  <a:lnTo>
                    <a:pt x="589857" y="96519"/>
                  </a:lnTo>
                  <a:lnTo>
                    <a:pt x="596605" y="96519"/>
                  </a:lnTo>
                  <a:lnTo>
                    <a:pt x="618696" y="125729"/>
                  </a:lnTo>
                  <a:lnTo>
                    <a:pt x="618059" y="128269"/>
                  </a:lnTo>
                  <a:lnTo>
                    <a:pt x="615496" y="134619"/>
                  </a:lnTo>
                  <a:lnTo>
                    <a:pt x="613667" y="137159"/>
                  </a:lnTo>
                  <a:lnTo>
                    <a:pt x="611291" y="139699"/>
                  </a:lnTo>
                  <a:lnTo>
                    <a:pt x="554590" y="196849"/>
                  </a:lnTo>
                  <a:lnTo>
                    <a:pt x="548577" y="199389"/>
                  </a:lnTo>
                  <a:close/>
                </a:path>
                <a:path w="716280" h="713739">
                  <a:moveTo>
                    <a:pt x="371864" y="561339"/>
                  </a:moveTo>
                  <a:lnTo>
                    <a:pt x="345034" y="561339"/>
                  </a:lnTo>
                  <a:lnTo>
                    <a:pt x="331667" y="560069"/>
                  </a:lnTo>
                  <a:lnTo>
                    <a:pt x="311859" y="556259"/>
                  </a:lnTo>
                  <a:lnTo>
                    <a:pt x="305353" y="553719"/>
                  </a:lnTo>
                  <a:lnTo>
                    <a:pt x="292500" y="549909"/>
                  </a:lnTo>
                  <a:lnTo>
                    <a:pt x="286185" y="548639"/>
                  </a:lnTo>
                  <a:lnTo>
                    <a:pt x="273776" y="543559"/>
                  </a:lnTo>
                  <a:lnTo>
                    <a:pt x="267712" y="539749"/>
                  </a:lnTo>
                  <a:lnTo>
                    <a:pt x="255867" y="533399"/>
                  </a:lnTo>
                  <a:lnTo>
                    <a:pt x="223177" y="510539"/>
                  </a:lnTo>
                  <a:lnTo>
                    <a:pt x="218207" y="505459"/>
                  </a:lnTo>
                  <a:lnTo>
                    <a:pt x="208709" y="496569"/>
                  </a:lnTo>
                  <a:lnTo>
                    <a:pt x="184227" y="464819"/>
                  </a:lnTo>
                  <a:lnTo>
                    <a:pt x="180778" y="458469"/>
                  </a:lnTo>
                  <a:lnTo>
                    <a:pt x="174447" y="447039"/>
                  </a:lnTo>
                  <a:lnTo>
                    <a:pt x="160281" y="408939"/>
                  </a:lnTo>
                  <a:lnTo>
                    <a:pt x="153730" y="369569"/>
                  </a:lnTo>
                  <a:lnTo>
                    <a:pt x="153401" y="363219"/>
                  </a:lnTo>
                  <a:lnTo>
                    <a:pt x="153401" y="349249"/>
                  </a:lnTo>
                  <a:lnTo>
                    <a:pt x="158651" y="309879"/>
                  </a:lnTo>
                  <a:lnTo>
                    <a:pt x="171579" y="271779"/>
                  </a:lnTo>
                  <a:lnTo>
                    <a:pt x="184227" y="248919"/>
                  </a:lnTo>
                  <a:lnTo>
                    <a:pt x="191689" y="237489"/>
                  </a:lnTo>
                  <a:lnTo>
                    <a:pt x="195684" y="232409"/>
                  </a:lnTo>
                  <a:lnTo>
                    <a:pt x="204205" y="220979"/>
                  </a:lnTo>
                  <a:lnTo>
                    <a:pt x="208709" y="217169"/>
                  </a:lnTo>
                  <a:lnTo>
                    <a:pt x="218207" y="207009"/>
                  </a:lnTo>
                  <a:lnTo>
                    <a:pt x="223177" y="203199"/>
                  </a:lnTo>
                  <a:lnTo>
                    <a:pt x="233559" y="194309"/>
                  </a:lnTo>
                  <a:lnTo>
                    <a:pt x="267712" y="172719"/>
                  </a:lnTo>
                  <a:lnTo>
                    <a:pt x="305353" y="158749"/>
                  </a:lnTo>
                  <a:lnTo>
                    <a:pt x="345034" y="152399"/>
                  </a:lnTo>
                  <a:lnTo>
                    <a:pt x="371864" y="152399"/>
                  </a:lnTo>
                  <a:lnTo>
                    <a:pt x="411544" y="158749"/>
                  </a:lnTo>
                  <a:lnTo>
                    <a:pt x="449185" y="172719"/>
                  </a:lnTo>
                  <a:lnTo>
                    <a:pt x="483338" y="194309"/>
                  </a:lnTo>
                  <a:lnTo>
                    <a:pt x="493721" y="203199"/>
                  </a:lnTo>
                  <a:lnTo>
                    <a:pt x="498691" y="207009"/>
                  </a:lnTo>
                  <a:lnTo>
                    <a:pt x="508188" y="217169"/>
                  </a:lnTo>
                  <a:lnTo>
                    <a:pt x="512692" y="220979"/>
                  </a:lnTo>
                  <a:lnTo>
                    <a:pt x="521213" y="232409"/>
                  </a:lnTo>
                  <a:lnTo>
                    <a:pt x="525209" y="237489"/>
                  </a:lnTo>
                  <a:lnTo>
                    <a:pt x="532671" y="248919"/>
                  </a:lnTo>
                  <a:lnTo>
                    <a:pt x="536119" y="253999"/>
                  </a:lnTo>
                  <a:lnTo>
                    <a:pt x="552718" y="290829"/>
                  </a:lnTo>
                  <a:lnTo>
                    <a:pt x="561851" y="330199"/>
                  </a:lnTo>
                  <a:lnTo>
                    <a:pt x="563496" y="349249"/>
                  </a:lnTo>
                  <a:lnTo>
                    <a:pt x="563496" y="363219"/>
                  </a:lnTo>
                  <a:lnTo>
                    <a:pt x="558246" y="402589"/>
                  </a:lnTo>
                  <a:lnTo>
                    <a:pt x="542450" y="447039"/>
                  </a:lnTo>
                  <a:lnTo>
                    <a:pt x="536119" y="458469"/>
                  </a:lnTo>
                  <a:lnTo>
                    <a:pt x="532671" y="464819"/>
                  </a:lnTo>
                  <a:lnTo>
                    <a:pt x="508188" y="496569"/>
                  </a:lnTo>
                  <a:lnTo>
                    <a:pt x="498691" y="505459"/>
                  </a:lnTo>
                  <a:lnTo>
                    <a:pt x="493721" y="510539"/>
                  </a:lnTo>
                  <a:lnTo>
                    <a:pt x="483338" y="519429"/>
                  </a:lnTo>
                  <a:lnTo>
                    <a:pt x="477951" y="523239"/>
                  </a:lnTo>
                  <a:lnTo>
                    <a:pt x="466783" y="530859"/>
                  </a:lnTo>
                  <a:lnTo>
                    <a:pt x="461030" y="533399"/>
                  </a:lnTo>
                  <a:lnTo>
                    <a:pt x="449185" y="539749"/>
                  </a:lnTo>
                  <a:lnTo>
                    <a:pt x="443121" y="543559"/>
                  </a:lnTo>
                  <a:lnTo>
                    <a:pt x="430713" y="548639"/>
                  </a:lnTo>
                  <a:lnTo>
                    <a:pt x="424397" y="549909"/>
                  </a:lnTo>
                  <a:lnTo>
                    <a:pt x="411544" y="553719"/>
                  </a:lnTo>
                  <a:lnTo>
                    <a:pt x="405038" y="556259"/>
                  </a:lnTo>
                  <a:lnTo>
                    <a:pt x="385230" y="560069"/>
                  </a:lnTo>
                  <a:lnTo>
                    <a:pt x="371864" y="561339"/>
                  </a:lnTo>
                  <a:close/>
                </a:path>
                <a:path w="716280" h="713739">
                  <a:moveTo>
                    <a:pt x="694039" y="382269"/>
                  </a:moveTo>
                  <a:lnTo>
                    <a:pt x="614126" y="382269"/>
                  </a:lnTo>
                  <a:lnTo>
                    <a:pt x="610866" y="380999"/>
                  </a:lnTo>
                  <a:lnTo>
                    <a:pt x="591950" y="359409"/>
                  </a:lnTo>
                  <a:lnTo>
                    <a:pt x="591950" y="353059"/>
                  </a:lnTo>
                  <a:lnTo>
                    <a:pt x="592599" y="350519"/>
                  </a:lnTo>
                  <a:lnTo>
                    <a:pt x="595195" y="344169"/>
                  </a:lnTo>
                  <a:lnTo>
                    <a:pt x="597042" y="340359"/>
                  </a:lnTo>
                  <a:lnTo>
                    <a:pt x="601838" y="336549"/>
                  </a:lnTo>
                  <a:lnTo>
                    <a:pt x="604603" y="334009"/>
                  </a:lnTo>
                  <a:lnTo>
                    <a:pt x="610866" y="331469"/>
                  </a:lnTo>
                  <a:lnTo>
                    <a:pt x="697298" y="331469"/>
                  </a:lnTo>
                  <a:lnTo>
                    <a:pt x="703562" y="334009"/>
                  </a:lnTo>
                  <a:lnTo>
                    <a:pt x="706326" y="336549"/>
                  </a:lnTo>
                  <a:lnTo>
                    <a:pt x="711122" y="340359"/>
                  </a:lnTo>
                  <a:lnTo>
                    <a:pt x="712970" y="344169"/>
                  </a:lnTo>
                  <a:lnTo>
                    <a:pt x="715565" y="350519"/>
                  </a:lnTo>
                  <a:lnTo>
                    <a:pt x="716214" y="353059"/>
                  </a:lnTo>
                  <a:lnTo>
                    <a:pt x="716214" y="359409"/>
                  </a:lnTo>
                  <a:lnTo>
                    <a:pt x="697298" y="380999"/>
                  </a:lnTo>
                  <a:lnTo>
                    <a:pt x="694039" y="382269"/>
                  </a:lnTo>
                  <a:close/>
                </a:path>
                <a:path w="716280" h="713739">
                  <a:moveTo>
                    <a:pt x="130011" y="617219"/>
                  </a:moveTo>
                  <a:lnTo>
                    <a:pt x="117802" y="617219"/>
                  </a:lnTo>
                  <a:lnTo>
                    <a:pt x="113078" y="614679"/>
                  </a:lnTo>
                  <a:lnTo>
                    <a:pt x="104500" y="609599"/>
                  </a:lnTo>
                  <a:lnTo>
                    <a:pt x="101368" y="605789"/>
                  </a:lnTo>
                  <a:lnTo>
                    <a:pt x="97420" y="595629"/>
                  </a:lnTo>
                  <a:lnTo>
                    <a:pt x="96936" y="591819"/>
                  </a:lnTo>
                  <a:lnTo>
                    <a:pt x="98948" y="581659"/>
                  </a:lnTo>
                  <a:lnTo>
                    <a:pt x="101275" y="576579"/>
                  </a:lnTo>
                  <a:lnTo>
                    <a:pt x="156633" y="521969"/>
                  </a:lnTo>
                  <a:lnTo>
                    <a:pt x="159028" y="519429"/>
                  </a:lnTo>
                  <a:lnTo>
                    <a:pt x="161787" y="516889"/>
                  </a:lnTo>
                  <a:lnTo>
                    <a:pt x="168029" y="514349"/>
                  </a:lnTo>
                  <a:lnTo>
                    <a:pt x="181269" y="514349"/>
                  </a:lnTo>
                  <a:lnTo>
                    <a:pt x="200116" y="543559"/>
                  </a:lnTo>
                  <a:lnTo>
                    <a:pt x="199479" y="546099"/>
                  </a:lnTo>
                  <a:lnTo>
                    <a:pt x="196915" y="552449"/>
                  </a:lnTo>
                  <a:lnTo>
                    <a:pt x="195086" y="554989"/>
                  </a:lnTo>
                  <a:lnTo>
                    <a:pt x="136024" y="614679"/>
                  </a:lnTo>
                  <a:lnTo>
                    <a:pt x="130011" y="617219"/>
                  </a:lnTo>
                  <a:close/>
                </a:path>
                <a:path w="716280" h="713739">
                  <a:moveTo>
                    <a:pt x="598398" y="617219"/>
                  </a:moveTo>
                  <a:lnTo>
                    <a:pt x="586190" y="617219"/>
                  </a:lnTo>
                  <a:lnTo>
                    <a:pt x="580177" y="614679"/>
                  </a:lnTo>
                  <a:lnTo>
                    <a:pt x="521113" y="554989"/>
                  </a:lnTo>
                  <a:lnTo>
                    <a:pt x="519283" y="552449"/>
                  </a:lnTo>
                  <a:lnTo>
                    <a:pt x="516719" y="546099"/>
                  </a:lnTo>
                  <a:lnTo>
                    <a:pt x="516081" y="543559"/>
                  </a:lnTo>
                  <a:lnTo>
                    <a:pt x="516094" y="535939"/>
                  </a:lnTo>
                  <a:lnTo>
                    <a:pt x="534929" y="514349"/>
                  </a:lnTo>
                  <a:lnTo>
                    <a:pt x="548171" y="514349"/>
                  </a:lnTo>
                  <a:lnTo>
                    <a:pt x="614939" y="576579"/>
                  </a:lnTo>
                  <a:lnTo>
                    <a:pt x="619278" y="591819"/>
                  </a:lnTo>
                  <a:lnTo>
                    <a:pt x="618793" y="595629"/>
                  </a:lnTo>
                  <a:lnTo>
                    <a:pt x="614841" y="605789"/>
                  </a:lnTo>
                  <a:lnTo>
                    <a:pt x="611707" y="609599"/>
                  </a:lnTo>
                  <a:lnTo>
                    <a:pt x="603124" y="614679"/>
                  </a:lnTo>
                  <a:lnTo>
                    <a:pt x="598398" y="617219"/>
                  </a:lnTo>
                  <a:close/>
                </a:path>
                <a:path w="716280" h="713739">
                  <a:moveTo>
                    <a:pt x="364744" y="713739"/>
                  </a:moveTo>
                  <a:lnTo>
                    <a:pt x="351469" y="713739"/>
                  </a:lnTo>
                  <a:lnTo>
                    <a:pt x="345218" y="709929"/>
                  </a:lnTo>
                  <a:lnTo>
                    <a:pt x="342459" y="708659"/>
                  </a:lnTo>
                  <a:lnTo>
                    <a:pt x="337675" y="703579"/>
                  </a:lnTo>
                  <a:lnTo>
                    <a:pt x="335831" y="701039"/>
                  </a:lnTo>
                  <a:lnTo>
                    <a:pt x="333242" y="694689"/>
                  </a:lnTo>
                  <a:lnTo>
                    <a:pt x="332594" y="692149"/>
                  </a:lnTo>
                  <a:lnTo>
                    <a:pt x="332597" y="612139"/>
                  </a:lnTo>
                  <a:lnTo>
                    <a:pt x="333247" y="608329"/>
                  </a:lnTo>
                  <a:lnTo>
                    <a:pt x="335839" y="601979"/>
                  </a:lnTo>
                  <a:lnTo>
                    <a:pt x="337683" y="599439"/>
                  </a:lnTo>
                  <a:lnTo>
                    <a:pt x="342467" y="595629"/>
                  </a:lnTo>
                  <a:lnTo>
                    <a:pt x="345225" y="593089"/>
                  </a:lnTo>
                  <a:lnTo>
                    <a:pt x="351473" y="590549"/>
                  </a:lnTo>
                  <a:lnTo>
                    <a:pt x="364741" y="590549"/>
                  </a:lnTo>
                  <a:lnTo>
                    <a:pt x="370989" y="593089"/>
                  </a:lnTo>
                  <a:lnTo>
                    <a:pt x="373747" y="595629"/>
                  </a:lnTo>
                  <a:lnTo>
                    <a:pt x="378531" y="599439"/>
                  </a:lnTo>
                  <a:lnTo>
                    <a:pt x="380375" y="601979"/>
                  </a:lnTo>
                  <a:lnTo>
                    <a:pt x="382967" y="608329"/>
                  </a:lnTo>
                  <a:lnTo>
                    <a:pt x="383617" y="612139"/>
                  </a:lnTo>
                  <a:lnTo>
                    <a:pt x="383620" y="692149"/>
                  </a:lnTo>
                  <a:lnTo>
                    <a:pt x="382972" y="694689"/>
                  </a:lnTo>
                  <a:lnTo>
                    <a:pt x="380383" y="701039"/>
                  </a:lnTo>
                  <a:lnTo>
                    <a:pt x="378539" y="703579"/>
                  </a:lnTo>
                  <a:lnTo>
                    <a:pt x="373754" y="708659"/>
                  </a:lnTo>
                  <a:lnTo>
                    <a:pt x="370996" y="709929"/>
                  </a:lnTo>
                  <a:lnTo>
                    <a:pt x="364744" y="713739"/>
                  </a:lnTo>
                  <a:close/>
                </a:path>
              </a:pathLst>
            </a:custGeom>
            <a:solidFill>
              <a:srgbClr val="FFFFFF"/>
            </a:solidFill>
          </p:spPr>
          <p:txBody>
            <a:bodyPr wrap="square" lIns="0" tIns="0" rIns="0" bIns="0" rtlCol="0"/>
            <a:lstStyle/>
            <a:p>
              <a:endParaRPr/>
            </a:p>
          </p:txBody>
        </p:sp>
        <p:pic>
          <p:nvPicPr>
            <p:cNvPr id="77" name="object 77"/>
            <p:cNvPicPr/>
            <p:nvPr/>
          </p:nvPicPr>
          <p:blipFill>
            <a:blip r:embed="rId17" cstate="print"/>
            <a:stretch>
              <a:fillRect/>
            </a:stretch>
          </p:blipFill>
          <p:spPr>
            <a:xfrm>
              <a:off x="12988334" y="5060605"/>
              <a:ext cx="900874" cy="845494"/>
            </a:xfrm>
            <a:prstGeom prst="rect">
              <a:avLst/>
            </a:prstGeom>
          </p:spPr>
        </p:pic>
        <p:pic>
          <p:nvPicPr>
            <p:cNvPr id="78" name="object 78"/>
            <p:cNvPicPr/>
            <p:nvPr/>
          </p:nvPicPr>
          <p:blipFill>
            <a:blip r:embed="rId18" cstate="print"/>
            <a:stretch>
              <a:fillRect/>
            </a:stretch>
          </p:blipFill>
          <p:spPr>
            <a:xfrm>
              <a:off x="12936263" y="6118368"/>
              <a:ext cx="552285" cy="552285"/>
            </a:xfrm>
            <a:prstGeom prst="rect">
              <a:avLst/>
            </a:prstGeom>
          </p:spPr>
        </p:pic>
        <p:pic>
          <p:nvPicPr>
            <p:cNvPr id="79" name="object 79"/>
            <p:cNvPicPr/>
            <p:nvPr/>
          </p:nvPicPr>
          <p:blipFill>
            <a:blip r:embed="rId18" cstate="print"/>
            <a:stretch>
              <a:fillRect/>
            </a:stretch>
          </p:blipFill>
          <p:spPr>
            <a:xfrm>
              <a:off x="12936263" y="6517786"/>
              <a:ext cx="552285" cy="552285"/>
            </a:xfrm>
            <a:prstGeom prst="rect">
              <a:avLst/>
            </a:prstGeom>
          </p:spPr>
        </p:pic>
        <p:pic>
          <p:nvPicPr>
            <p:cNvPr id="80" name="object 80"/>
            <p:cNvPicPr/>
            <p:nvPr/>
          </p:nvPicPr>
          <p:blipFill>
            <a:blip r:embed="rId18" cstate="print"/>
            <a:stretch>
              <a:fillRect/>
            </a:stretch>
          </p:blipFill>
          <p:spPr>
            <a:xfrm>
              <a:off x="12644686" y="7869744"/>
              <a:ext cx="552285" cy="552285"/>
            </a:xfrm>
            <a:prstGeom prst="rect">
              <a:avLst/>
            </a:prstGeom>
          </p:spPr>
        </p:pic>
        <p:pic>
          <p:nvPicPr>
            <p:cNvPr id="81" name="object 81"/>
            <p:cNvPicPr/>
            <p:nvPr/>
          </p:nvPicPr>
          <p:blipFill>
            <a:blip r:embed="rId18" cstate="print"/>
            <a:stretch>
              <a:fillRect/>
            </a:stretch>
          </p:blipFill>
          <p:spPr>
            <a:xfrm>
              <a:off x="12539377" y="8382010"/>
              <a:ext cx="552285" cy="552285"/>
            </a:xfrm>
            <a:prstGeom prst="rect">
              <a:avLst/>
            </a:prstGeom>
          </p:spPr>
        </p:pic>
        <p:pic>
          <p:nvPicPr>
            <p:cNvPr id="82" name="object 82"/>
            <p:cNvPicPr/>
            <p:nvPr/>
          </p:nvPicPr>
          <p:blipFill>
            <a:blip r:embed="rId19" cstate="print"/>
            <a:stretch>
              <a:fillRect/>
            </a:stretch>
          </p:blipFill>
          <p:spPr>
            <a:xfrm>
              <a:off x="13673825" y="6605646"/>
              <a:ext cx="1399975" cy="1399975"/>
            </a:xfrm>
            <a:prstGeom prst="rect">
              <a:avLst/>
            </a:prstGeom>
          </p:spPr>
        </p:pic>
        <p:sp>
          <p:nvSpPr>
            <p:cNvPr id="83" name="object 83"/>
            <p:cNvSpPr/>
            <p:nvPr/>
          </p:nvSpPr>
          <p:spPr>
            <a:xfrm>
              <a:off x="13776254" y="6706942"/>
              <a:ext cx="1196975" cy="1196975"/>
            </a:xfrm>
            <a:custGeom>
              <a:avLst/>
              <a:gdLst/>
              <a:ahLst/>
              <a:cxnLst/>
              <a:rect l="l" t="t" r="r" b="b"/>
              <a:pathLst>
                <a:path w="1196975" h="1196975">
                  <a:moveTo>
                    <a:pt x="598218" y="1196413"/>
                  </a:moveTo>
                  <a:lnTo>
                    <a:pt x="549144" y="1194430"/>
                  </a:lnTo>
                  <a:lnTo>
                    <a:pt x="501174" y="1188584"/>
                  </a:lnTo>
                  <a:lnTo>
                    <a:pt x="454450" y="1179028"/>
                  </a:lnTo>
                  <a:lnTo>
                    <a:pt x="409127" y="1165916"/>
                  </a:lnTo>
                  <a:lnTo>
                    <a:pt x="365357" y="1149403"/>
                  </a:lnTo>
                  <a:lnTo>
                    <a:pt x="323296" y="1129642"/>
                  </a:lnTo>
                  <a:lnTo>
                    <a:pt x="283096" y="1106788"/>
                  </a:lnTo>
                  <a:lnTo>
                    <a:pt x="244913" y="1080994"/>
                  </a:lnTo>
                  <a:lnTo>
                    <a:pt x="208900" y="1052414"/>
                  </a:lnTo>
                  <a:lnTo>
                    <a:pt x="175210" y="1021202"/>
                  </a:lnTo>
                  <a:lnTo>
                    <a:pt x="143998" y="987513"/>
                  </a:lnTo>
                  <a:lnTo>
                    <a:pt x="115418" y="951500"/>
                  </a:lnTo>
                  <a:lnTo>
                    <a:pt x="89624" y="913316"/>
                  </a:lnTo>
                  <a:lnTo>
                    <a:pt x="66770" y="873117"/>
                  </a:lnTo>
                  <a:lnTo>
                    <a:pt x="47009" y="831056"/>
                  </a:lnTo>
                  <a:lnTo>
                    <a:pt x="30496" y="787286"/>
                  </a:lnTo>
                  <a:lnTo>
                    <a:pt x="17385" y="741963"/>
                  </a:lnTo>
                  <a:lnTo>
                    <a:pt x="7829" y="695239"/>
                  </a:lnTo>
                  <a:lnTo>
                    <a:pt x="1982" y="647269"/>
                  </a:lnTo>
                  <a:lnTo>
                    <a:pt x="0" y="598197"/>
                  </a:lnTo>
                  <a:lnTo>
                    <a:pt x="1982" y="549144"/>
                  </a:lnTo>
                  <a:lnTo>
                    <a:pt x="7829" y="501174"/>
                  </a:lnTo>
                  <a:lnTo>
                    <a:pt x="17385" y="454451"/>
                  </a:lnTo>
                  <a:lnTo>
                    <a:pt x="30496" y="409127"/>
                  </a:lnTo>
                  <a:lnTo>
                    <a:pt x="47009" y="365358"/>
                  </a:lnTo>
                  <a:lnTo>
                    <a:pt x="66770" y="323296"/>
                  </a:lnTo>
                  <a:lnTo>
                    <a:pt x="89624" y="283097"/>
                  </a:lnTo>
                  <a:lnTo>
                    <a:pt x="115418" y="244913"/>
                  </a:lnTo>
                  <a:lnTo>
                    <a:pt x="143998" y="208900"/>
                  </a:lnTo>
                  <a:lnTo>
                    <a:pt x="175210" y="175210"/>
                  </a:lnTo>
                  <a:lnTo>
                    <a:pt x="208900" y="143999"/>
                  </a:lnTo>
                  <a:lnTo>
                    <a:pt x="244913" y="115419"/>
                  </a:lnTo>
                  <a:lnTo>
                    <a:pt x="283096" y="89625"/>
                  </a:lnTo>
                  <a:lnTo>
                    <a:pt x="323296" y="66770"/>
                  </a:lnTo>
                  <a:lnTo>
                    <a:pt x="365357" y="47010"/>
                  </a:lnTo>
                  <a:lnTo>
                    <a:pt x="409127" y="30497"/>
                  </a:lnTo>
                  <a:lnTo>
                    <a:pt x="454450" y="17385"/>
                  </a:lnTo>
                  <a:lnTo>
                    <a:pt x="501174" y="7829"/>
                  </a:lnTo>
                  <a:lnTo>
                    <a:pt x="549144" y="1983"/>
                  </a:lnTo>
                  <a:lnTo>
                    <a:pt x="598206" y="0"/>
                  </a:lnTo>
                  <a:lnTo>
                    <a:pt x="647269" y="1983"/>
                  </a:lnTo>
                  <a:lnTo>
                    <a:pt x="695239" y="7829"/>
                  </a:lnTo>
                  <a:lnTo>
                    <a:pt x="741962" y="17385"/>
                  </a:lnTo>
                  <a:lnTo>
                    <a:pt x="787286" y="30497"/>
                  </a:lnTo>
                  <a:lnTo>
                    <a:pt x="831055" y="47010"/>
                  </a:lnTo>
                  <a:lnTo>
                    <a:pt x="873117" y="66770"/>
                  </a:lnTo>
                  <a:lnTo>
                    <a:pt x="913316" y="89625"/>
                  </a:lnTo>
                  <a:lnTo>
                    <a:pt x="951500" y="115419"/>
                  </a:lnTo>
                  <a:lnTo>
                    <a:pt x="987513" y="143999"/>
                  </a:lnTo>
                  <a:lnTo>
                    <a:pt x="1021203" y="175210"/>
                  </a:lnTo>
                  <a:lnTo>
                    <a:pt x="1052414" y="208900"/>
                  </a:lnTo>
                  <a:lnTo>
                    <a:pt x="1080994" y="244913"/>
                  </a:lnTo>
                  <a:lnTo>
                    <a:pt x="1106788" y="283097"/>
                  </a:lnTo>
                  <a:lnTo>
                    <a:pt x="1129643" y="323296"/>
                  </a:lnTo>
                  <a:lnTo>
                    <a:pt x="1149403" y="365358"/>
                  </a:lnTo>
                  <a:lnTo>
                    <a:pt x="1165916" y="409127"/>
                  </a:lnTo>
                  <a:lnTo>
                    <a:pt x="1179028" y="454451"/>
                  </a:lnTo>
                  <a:lnTo>
                    <a:pt x="1188584" y="501174"/>
                  </a:lnTo>
                  <a:lnTo>
                    <a:pt x="1194430" y="549144"/>
                  </a:lnTo>
                  <a:lnTo>
                    <a:pt x="1196412" y="598216"/>
                  </a:lnTo>
                  <a:lnTo>
                    <a:pt x="1194430" y="647269"/>
                  </a:lnTo>
                  <a:lnTo>
                    <a:pt x="1188584" y="695239"/>
                  </a:lnTo>
                  <a:lnTo>
                    <a:pt x="1179028" y="741963"/>
                  </a:lnTo>
                  <a:lnTo>
                    <a:pt x="1165916" y="787286"/>
                  </a:lnTo>
                  <a:lnTo>
                    <a:pt x="1149403" y="831056"/>
                  </a:lnTo>
                  <a:lnTo>
                    <a:pt x="1129643" y="873117"/>
                  </a:lnTo>
                  <a:lnTo>
                    <a:pt x="1106788" y="913316"/>
                  </a:lnTo>
                  <a:lnTo>
                    <a:pt x="1080994" y="951500"/>
                  </a:lnTo>
                  <a:lnTo>
                    <a:pt x="1052414" y="987513"/>
                  </a:lnTo>
                  <a:lnTo>
                    <a:pt x="1021203" y="1021202"/>
                  </a:lnTo>
                  <a:lnTo>
                    <a:pt x="987513" y="1052414"/>
                  </a:lnTo>
                  <a:lnTo>
                    <a:pt x="951500" y="1080994"/>
                  </a:lnTo>
                  <a:lnTo>
                    <a:pt x="913316" y="1106788"/>
                  </a:lnTo>
                  <a:lnTo>
                    <a:pt x="873117" y="1129642"/>
                  </a:lnTo>
                  <a:lnTo>
                    <a:pt x="831055" y="1149403"/>
                  </a:lnTo>
                  <a:lnTo>
                    <a:pt x="787286" y="1165916"/>
                  </a:lnTo>
                  <a:lnTo>
                    <a:pt x="741962" y="1179028"/>
                  </a:lnTo>
                  <a:lnTo>
                    <a:pt x="695239" y="1188584"/>
                  </a:lnTo>
                  <a:lnTo>
                    <a:pt x="647269" y="1194430"/>
                  </a:lnTo>
                  <a:lnTo>
                    <a:pt x="598218" y="1196413"/>
                  </a:lnTo>
                  <a:close/>
                </a:path>
              </a:pathLst>
            </a:custGeom>
            <a:solidFill>
              <a:srgbClr val="FFFFFF"/>
            </a:solidFill>
          </p:spPr>
          <p:txBody>
            <a:bodyPr wrap="square" lIns="0" tIns="0" rIns="0" bIns="0" rtlCol="0"/>
            <a:lstStyle/>
            <a:p>
              <a:endParaRPr/>
            </a:p>
          </p:txBody>
        </p:sp>
        <p:sp>
          <p:nvSpPr>
            <p:cNvPr id="84" name="object 84"/>
            <p:cNvSpPr/>
            <p:nvPr/>
          </p:nvSpPr>
          <p:spPr>
            <a:xfrm>
              <a:off x="13988500" y="6937288"/>
              <a:ext cx="774065" cy="557530"/>
            </a:xfrm>
            <a:custGeom>
              <a:avLst/>
              <a:gdLst/>
              <a:ahLst/>
              <a:cxnLst/>
              <a:rect l="l" t="t" r="r" b="b"/>
              <a:pathLst>
                <a:path w="774065" h="557529">
                  <a:moveTo>
                    <a:pt x="687973" y="557437"/>
                  </a:moveTo>
                  <a:lnTo>
                    <a:pt x="85996" y="557437"/>
                  </a:lnTo>
                  <a:lnTo>
                    <a:pt x="52524" y="550697"/>
                  </a:lnTo>
                  <a:lnTo>
                    <a:pt x="25188" y="532317"/>
                  </a:lnTo>
                  <a:lnTo>
                    <a:pt x="6758" y="505057"/>
                  </a:lnTo>
                  <a:lnTo>
                    <a:pt x="0" y="471677"/>
                  </a:lnTo>
                  <a:lnTo>
                    <a:pt x="0" y="85759"/>
                  </a:lnTo>
                  <a:lnTo>
                    <a:pt x="6758" y="52379"/>
                  </a:lnTo>
                  <a:lnTo>
                    <a:pt x="25188" y="25119"/>
                  </a:lnTo>
                  <a:lnTo>
                    <a:pt x="52524" y="6739"/>
                  </a:lnTo>
                  <a:lnTo>
                    <a:pt x="85996" y="0"/>
                  </a:lnTo>
                  <a:lnTo>
                    <a:pt x="687973" y="0"/>
                  </a:lnTo>
                  <a:lnTo>
                    <a:pt x="721445" y="6739"/>
                  </a:lnTo>
                  <a:lnTo>
                    <a:pt x="748781" y="25119"/>
                  </a:lnTo>
                  <a:lnTo>
                    <a:pt x="767211" y="52379"/>
                  </a:lnTo>
                  <a:lnTo>
                    <a:pt x="773970" y="85759"/>
                  </a:lnTo>
                  <a:lnTo>
                    <a:pt x="773970" y="471677"/>
                  </a:lnTo>
                  <a:lnTo>
                    <a:pt x="767211" y="505057"/>
                  </a:lnTo>
                  <a:lnTo>
                    <a:pt x="748781" y="532317"/>
                  </a:lnTo>
                  <a:lnTo>
                    <a:pt x="721445" y="550697"/>
                  </a:lnTo>
                  <a:lnTo>
                    <a:pt x="687973" y="557437"/>
                  </a:lnTo>
                  <a:close/>
                </a:path>
              </a:pathLst>
            </a:custGeom>
            <a:solidFill>
              <a:srgbClr val="74AADA"/>
            </a:solidFill>
          </p:spPr>
          <p:txBody>
            <a:bodyPr wrap="square" lIns="0" tIns="0" rIns="0" bIns="0" rtlCol="0"/>
            <a:lstStyle/>
            <a:p>
              <a:endParaRPr/>
            </a:p>
          </p:txBody>
        </p:sp>
        <p:sp>
          <p:nvSpPr>
            <p:cNvPr id="85" name="object 85"/>
            <p:cNvSpPr/>
            <p:nvPr/>
          </p:nvSpPr>
          <p:spPr>
            <a:xfrm>
              <a:off x="13988500" y="7108807"/>
              <a:ext cx="774065" cy="214629"/>
            </a:xfrm>
            <a:custGeom>
              <a:avLst/>
              <a:gdLst/>
              <a:ahLst/>
              <a:cxnLst/>
              <a:rect l="l" t="t" r="r" b="b"/>
              <a:pathLst>
                <a:path w="774065" h="214629">
                  <a:moveTo>
                    <a:pt x="773970" y="214398"/>
                  </a:moveTo>
                  <a:lnTo>
                    <a:pt x="0" y="214398"/>
                  </a:lnTo>
                  <a:lnTo>
                    <a:pt x="0" y="0"/>
                  </a:lnTo>
                  <a:lnTo>
                    <a:pt x="773970" y="0"/>
                  </a:lnTo>
                  <a:lnTo>
                    <a:pt x="773970" y="214398"/>
                  </a:lnTo>
                  <a:close/>
                </a:path>
              </a:pathLst>
            </a:custGeom>
            <a:solidFill>
              <a:srgbClr val="EDEDED"/>
            </a:solidFill>
          </p:spPr>
          <p:txBody>
            <a:bodyPr wrap="square" lIns="0" tIns="0" rIns="0" bIns="0" rtlCol="0"/>
            <a:lstStyle/>
            <a:p>
              <a:endParaRPr/>
            </a:p>
          </p:txBody>
        </p:sp>
        <p:pic>
          <p:nvPicPr>
            <p:cNvPr id="86" name="object 86"/>
            <p:cNvPicPr/>
            <p:nvPr/>
          </p:nvPicPr>
          <p:blipFill>
            <a:blip r:embed="rId20" cstate="print"/>
            <a:stretch>
              <a:fillRect/>
            </a:stretch>
          </p:blipFill>
          <p:spPr>
            <a:xfrm>
              <a:off x="14267990" y="7108807"/>
              <a:ext cx="214991" cy="214398"/>
            </a:xfrm>
            <a:prstGeom prst="rect">
              <a:avLst/>
            </a:prstGeom>
          </p:spPr>
        </p:pic>
      </p:grpSp>
      <p:sp>
        <p:nvSpPr>
          <p:cNvPr id="87" name="object 87"/>
          <p:cNvSpPr txBox="1"/>
          <p:nvPr/>
        </p:nvSpPr>
        <p:spPr>
          <a:xfrm>
            <a:off x="14018634" y="7523873"/>
            <a:ext cx="676910" cy="203200"/>
          </a:xfrm>
          <a:prstGeom prst="rect">
            <a:avLst/>
          </a:prstGeom>
        </p:spPr>
        <p:txBody>
          <a:bodyPr vert="horz" wrap="square" lIns="0" tIns="13970" rIns="0" bIns="0" rtlCol="0">
            <a:spAutoFit/>
          </a:bodyPr>
          <a:lstStyle/>
          <a:p>
            <a:pPr marL="12700">
              <a:lnSpc>
                <a:spcPct val="100000"/>
              </a:lnSpc>
              <a:spcBef>
                <a:spcPts val="110"/>
              </a:spcBef>
            </a:pPr>
            <a:r>
              <a:rPr sz="1150" b="1" spc="-10" dirty="0">
                <a:solidFill>
                  <a:srgbClr val="737373"/>
                </a:solidFill>
                <a:latin typeface="Roboto"/>
                <a:cs typeface="Roboto"/>
              </a:rPr>
              <a:t>Argentina</a:t>
            </a:r>
            <a:endParaRPr sz="1150">
              <a:latin typeface="Roboto"/>
              <a:cs typeface="Roboto"/>
            </a:endParaRPr>
          </a:p>
        </p:txBody>
      </p:sp>
      <p:grpSp>
        <p:nvGrpSpPr>
          <p:cNvPr id="88" name="object 88"/>
          <p:cNvGrpSpPr/>
          <p:nvPr/>
        </p:nvGrpSpPr>
        <p:grpSpPr>
          <a:xfrm>
            <a:off x="5816001" y="1933729"/>
            <a:ext cx="6647815" cy="3703954"/>
            <a:chOff x="5816001" y="1933729"/>
            <a:chExt cx="6647815" cy="3703954"/>
          </a:xfrm>
        </p:grpSpPr>
        <p:sp>
          <p:nvSpPr>
            <p:cNvPr id="89" name="object 89"/>
            <p:cNvSpPr/>
            <p:nvPr/>
          </p:nvSpPr>
          <p:spPr>
            <a:xfrm>
              <a:off x="5816001" y="4354892"/>
              <a:ext cx="1619250" cy="1003935"/>
            </a:xfrm>
            <a:custGeom>
              <a:avLst/>
              <a:gdLst/>
              <a:ahLst/>
              <a:cxnLst/>
              <a:rect l="l" t="t" r="r" b="b"/>
              <a:pathLst>
                <a:path w="1619250" h="1003935">
                  <a:moveTo>
                    <a:pt x="0" y="502364"/>
                  </a:moveTo>
                  <a:lnTo>
                    <a:pt x="0" y="501046"/>
                  </a:lnTo>
                  <a:lnTo>
                    <a:pt x="180376" y="0"/>
                  </a:lnTo>
                  <a:lnTo>
                    <a:pt x="1618836" y="0"/>
                  </a:lnTo>
                  <a:lnTo>
                    <a:pt x="1618836" y="1003411"/>
                  </a:lnTo>
                  <a:lnTo>
                    <a:pt x="180376" y="1003411"/>
                  </a:lnTo>
                  <a:lnTo>
                    <a:pt x="0" y="502364"/>
                  </a:lnTo>
                  <a:close/>
                </a:path>
              </a:pathLst>
            </a:custGeom>
            <a:solidFill>
              <a:srgbClr val="21408B"/>
            </a:solidFill>
          </p:spPr>
          <p:txBody>
            <a:bodyPr wrap="square" lIns="0" tIns="0" rIns="0" bIns="0" rtlCol="0"/>
            <a:lstStyle/>
            <a:p>
              <a:endParaRPr/>
            </a:p>
          </p:txBody>
        </p:sp>
        <p:pic>
          <p:nvPicPr>
            <p:cNvPr id="90" name="object 90"/>
            <p:cNvPicPr/>
            <p:nvPr/>
          </p:nvPicPr>
          <p:blipFill>
            <a:blip r:embed="rId21" cstate="print"/>
            <a:stretch>
              <a:fillRect/>
            </a:stretch>
          </p:blipFill>
          <p:spPr>
            <a:xfrm>
              <a:off x="7008439" y="3932113"/>
              <a:ext cx="1704974" cy="1704974"/>
            </a:xfrm>
            <a:prstGeom prst="rect">
              <a:avLst/>
            </a:prstGeom>
          </p:spPr>
        </p:pic>
        <p:sp>
          <p:nvSpPr>
            <p:cNvPr id="91" name="object 91"/>
            <p:cNvSpPr/>
            <p:nvPr/>
          </p:nvSpPr>
          <p:spPr>
            <a:xfrm>
              <a:off x="7112532" y="4015876"/>
              <a:ext cx="1510030" cy="1510030"/>
            </a:xfrm>
            <a:custGeom>
              <a:avLst/>
              <a:gdLst/>
              <a:ahLst/>
              <a:cxnLst/>
              <a:rect l="l" t="t" r="r" b="b"/>
              <a:pathLst>
                <a:path w="1510029" h="1510029">
                  <a:moveTo>
                    <a:pt x="754833" y="1509660"/>
                  </a:moveTo>
                  <a:lnTo>
                    <a:pt x="707093" y="1508175"/>
                  </a:lnTo>
                  <a:lnTo>
                    <a:pt x="660146" y="1503779"/>
                  </a:lnTo>
                  <a:lnTo>
                    <a:pt x="614075" y="1496560"/>
                  </a:lnTo>
                  <a:lnTo>
                    <a:pt x="568971" y="1486607"/>
                  </a:lnTo>
                  <a:lnTo>
                    <a:pt x="524921" y="1474008"/>
                  </a:lnTo>
                  <a:lnTo>
                    <a:pt x="482013" y="1458852"/>
                  </a:lnTo>
                  <a:lnTo>
                    <a:pt x="440337" y="1441226"/>
                  </a:lnTo>
                  <a:lnTo>
                    <a:pt x="399980" y="1421220"/>
                  </a:lnTo>
                  <a:lnTo>
                    <a:pt x="361031" y="1398922"/>
                  </a:lnTo>
                  <a:lnTo>
                    <a:pt x="323579" y="1374420"/>
                  </a:lnTo>
                  <a:lnTo>
                    <a:pt x="287711" y="1347803"/>
                  </a:lnTo>
                  <a:lnTo>
                    <a:pt x="253517" y="1319158"/>
                  </a:lnTo>
                  <a:lnTo>
                    <a:pt x="221084" y="1288576"/>
                  </a:lnTo>
                  <a:lnTo>
                    <a:pt x="190501" y="1256143"/>
                  </a:lnTo>
                  <a:lnTo>
                    <a:pt x="161857" y="1221948"/>
                  </a:lnTo>
                  <a:lnTo>
                    <a:pt x="135240" y="1186081"/>
                  </a:lnTo>
                  <a:lnTo>
                    <a:pt x="110738" y="1148628"/>
                  </a:lnTo>
                  <a:lnTo>
                    <a:pt x="88439" y="1109679"/>
                  </a:lnTo>
                  <a:lnTo>
                    <a:pt x="68433" y="1069323"/>
                  </a:lnTo>
                  <a:lnTo>
                    <a:pt x="50808" y="1027646"/>
                  </a:lnTo>
                  <a:lnTo>
                    <a:pt x="35651" y="984739"/>
                  </a:lnTo>
                  <a:lnTo>
                    <a:pt x="23052" y="940689"/>
                  </a:lnTo>
                  <a:lnTo>
                    <a:pt x="13099" y="895584"/>
                  </a:lnTo>
                  <a:lnTo>
                    <a:pt x="5880" y="849514"/>
                  </a:lnTo>
                  <a:lnTo>
                    <a:pt x="1484" y="802567"/>
                  </a:lnTo>
                  <a:lnTo>
                    <a:pt x="0" y="754839"/>
                  </a:lnTo>
                  <a:lnTo>
                    <a:pt x="1484" y="707093"/>
                  </a:lnTo>
                  <a:lnTo>
                    <a:pt x="5880" y="660146"/>
                  </a:lnTo>
                  <a:lnTo>
                    <a:pt x="13099" y="614075"/>
                  </a:lnTo>
                  <a:lnTo>
                    <a:pt x="23052" y="568971"/>
                  </a:lnTo>
                  <a:lnTo>
                    <a:pt x="35651" y="524921"/>
                  </a:lnTo>
                  <a:lnTo>
                    <a:pt x="50808" y="482013"/>
                  </a:lnTo>
                  <a:lnTo>
                    <a:pt x="68433" y="440337"/>
                  </a:lnTo>
                  <a:lnTo>
                    <a:pt x="88439" y="399980"/>
                  </a:lnTo>
                  <a:lnTo>
                    <a:pt x="110738" y="361031"/>
                  </a:lnTo>
                  <a:lnTo>
                    <a:pt x="135240" y="323579"/>
                  </a:lnTo>
                  <a:lnTo>
                    <a:pt x="161857" y="287711"/>
                  </a:lnTo>
                  <a:lnTo>
                    <a:pt x="190501" y="253517"/>
                  </a:lnTo>
                  <a:lnTo>
                    <a:pt x="221084" y="221084"/>
                  </a:lnTo>
                  <a:lnTo>
                    <a:pt x="253517" y="190501"/>
                  </a:lnTo>
                  <a:lnTo>
                    <a:pt x="287711" y="161857"/>
                  </a:lnTo>
                  <a:lnTo>
                    <a:pt x="323579" y="135240"/>
                  </a:lnTo>
                  <a:lnTo>
                    <a:pt x="361031" y="110738"/>
                  </a:lnTo>
                  <a:lnTo>
                    <a:pt x="399980" y="88440"/>
                  </a:lnTo>
                  <a:lnTo>
                    <a:pt x="440337" y="68433"/>
                  </a:lnTo>
                  <a:lnTo>
                    <a:pt x="482013" y="50808"/>
                  </a:lnTo>
                  <a:lnTo>
                    <a:pt x="524921" y="35652"/>
                  </a:lnTo>
                  <a:lnTo>
                    <a:pt x="568971" y="23053"/>
                  </a:lnTo>
                  <a:lnTo>
                    <a:pt x="614075" y="13099"/>
                  </a:lnTo>
                  <a:lnTo>
                    <a:pt x="660146" y="5880"/>
                  </a:lnTo>
                  <a:lnTo>
                    <a:pt x="707093" y="1484"/>
                  </a:lnTo>
                  <a:lnTo>
                    <a:pt x="754823" y="0"/>
                  </a:lnTo>
                  <a:lnTo>
                    <a:pt x="802567" y="1484"/>
                  </a:lnTo>
                  <a:lnTo>
                    <a:pt x="849514" y="5880"/>
                  </a:lnTo>
                  <a:lnTo>
                    <a:pt x="895584" y="13099"/>
                  </a:lnTo>
                  <a:lnTo>
                    <a:pt x="940689" y="23053"/>
                  </a:lnTo>
                  <a:lnTo>
                    <a:pt x="984739" y="35652"/>
                  </a:lnTo>
                  <a:lnTo>
                    <a:pt x="1027646" y="50808"/>
                  </a:lnTo>
                  <a:lnTo>
                    <a:pt x="1069323" y="68433"/>
                  </a:lnTo>
                  <a:lnTo>
                    <a:pt x="1109679" y="88440"/>
                  </a:lnTo>
                  <a:lnTo>
                    <a:pt x="1148628" y="110738"/>
                  </a:lnTo>
                  <a:lnTo>
                    <a:pt x="1186081" y="135240"/>
                  </a:lnTo>
                  <a:lnTo>
                    <a:pt x="1221948" y="161857"/>
                  </a:lnTo>
                  <a:lnTo>
                    <a:pt x="1256143" y="190501"/>
                  </a:lnTo>
                  <a:lnTo>
                    <a:pt x="1288576" y="221084"/>
                  </a:lnTo>
                  <a:lnTo>
                    <a:pt x="1319158" y="253517"/>
                  </a:lnTo>
                  <a:lnTo>
                    <a:pt x="1347802" y="287711"/>
                  </a:lnTo>
                  <a:lnTo>
                    <a:pt x="1374420" y="323579"/>
                  </a:lnTo>
                  <a:lnTo>
                    <a:pt x="1398922" y="361031"/>
                  </a:lnTo>
                  <a:lnTo>
                    <a:pt x="1421220" y="399980"/>
                  </a:lnTo>
                  <a:lnTo>
                    <a:pt x="1441226" y="440337"/>
                  </a:lnTo>
                  <a:lnTo>
                    <a:pt x="1458852" y="482013"/>
                  </a:lnTo>
                  <a:lnTo>
                    <a:pt x="1474008" y="524921"/>
                  </a:lnTo>
                  <a:lnTo>
                    <a:pt x="1486607" y="568971"/>
                  </a:lnTo>
                  <a:lnTo>
                    <a:pt x="1496560" y="614075"/>
                  </a:lnTo>
                  <a:lnTo>
                    <a:pt x="1503779" y="660146"/>
                  </a:lnTo>
                  <a:lnTo>
                    <a:pt x="1508175" y="707093"/>
                  </a:lnTo>
                  <a:lnTo>
                    <a:pt x="1509660" y="754821"/>
                  </a:lnTo>
                  <a:lnTo>
                    <a:pt x="1508175" y="802567"/>
                  </a:lnTo>
                  <a:lnTo>
                    <a:pt x="1503779" y="849514"/>
                  </a:lnTo>
                  <a:lnTo>
                    <a:pt x="1496560" y="895584"/>
                  </a:lnTo>
                  <a:lnTo>
                    <a:pt x="1486607" y="940689"/>
                  </a:lnTo>
                  <a:lnTo>
                    <a:pt x="1474008" y="984739"/>
                  </a:lnTo>
                  <a:lnTo>
                    <a:pt x="1458852" y="1027646"/>
                  </a:lnTo>
                  <a:lnTo>
                    <a:pt x="1441226" y="1069323"/>
                  </a:lnTo>
                  <a:lnTo>
                    <a:pt x="1421220" y="1109679"/>
                  </a:lnTo>
                  <a:lnTo>
                    <a:pt x="1398922" y="1148628"/>
                  </a:lnTo>
                  <a:lnTo>
                    <a:pt x="1374420" y="1186081"/>
                  </a:lnTo>
                  <a:lnTo>
                    <a:pt x="1347802" y="1221948"/>
                  </a:lnTo>
                  <a:lnTo>
                    <a:pt x="1319158" y="1256143"/>
                  </a:lnTo>
                  <a:lnTo>
                    <a:pt x="1288576" y="1288576"/>
                  </a:lnTo>
                  <a:lnTo>
                    <a:pt x="1256143" y="1319158"/>
                  </a:lnTo>
                  <a:lnTo>
                    <a:pt x="1221948" y="1347803"/>
                  </a:lnTo>
                  <a:lnTo>
                    <a:pt x="1186081" y="1374420"/>
                  </a:lnTo>
                  <a:lnTo>
                    <a:pt x="1148628" y="1398922"/>
                  </a:lnTo>
                  <a:lnTo>
                    <a:pt x="1109679" y="1421220"/>
                  </a:lnTo>
                  <a:lnTo>
                    <a:pt x="1069323" y="1441226"/>
                  </a:lnTo>
                  <a:lnTo>
                    <a:pt x="1027646" y="1458852"/>
                  </a:lnTo>
                  <a:lnTo>
                    <a:pt x="984739" y="1474008"/>
                  </a:lnTo>
                  <a:lnTo>
                    <a:pt x="940689" y="1486607"/>
                  </a:lnTo>
                  <a:lnTo>
                    <a:pt x="895584" y="1496560"/>
                  </a:lnTo>
                  <a:lnTo>
                    <a:pt x="849514" y="1503779"/>
                  </a:lnTo>
                  <a:lnTo>
                    <a:pt x="802567" y="1508175"/>
                  </a:lnTo>
                  <a:lnTo>
                    <a:pt x="754833" y="1509660"/>
                  </a:lnTo>
                  <a:close/>
                </a:path>
              </a:pathLst>
            </a:custGeom>
            <a:solidFill>
              <a:srgbClr val="FFFFFF"/>
            </a:solidFill>
          </p:spPr>
          <p:txBody>
            <a:bodyPr wrap="square" lIns="0" tIns="0" rIns="0" bIns="0" rtlCol="0"/>
            <a:lstStyle/>
            <a:p>
              <a:endParaRPr/>
            </a:p>
          </p:txBody>
        </p:sp>
        <p:sp>
          <p:nvSpPr>
            <p:cNvPr id="92" name="object 92"/>
            <p:cNvSpPr/>
            <p:nvPr/>
          </p:nvSpPr>
          <p:spPr>
            <a:xfrm>
              <a:off x="7649170" y="4809012"/>
              <a:ext cx="158750" cy="342900"/>
            </a:xfrm>
            <a:custGeom>
              <a:avLst/>
              <a:gdLst/>
              <a:ahLst/>
              <a:cxnLst/>
              <a:rect l="l" t="t" r="r" b="b"/>
              <a:pathLst>
                <a:path w="158750" h="342900">
                  <a:moveTo>
                    <a:pt x="105833" y="342760"/>
                  </a:moveTo>
                  <a:lnTo>
                    <a:pt x="0" y="342760"/>
                  </a:lnTo>
                  <a:lnTo>
                    <a:pt x="0" y="0"/>
                  </a:lnTo>
                  <a:lnTo>
                    <a:pt x="105833" y="0"/>
                  </a:lnTo>
                  <a:lnTo>
                    <a:pt x="126430" y="4144"/>
                  </a:lnTo>
                  <a:lnTo>
                    <a:pt x="143250" y="15445"/>
                  </a:lnTo>
                  <a:lnTo>
                    <a:pt x="154591" y="32207"/>
                  </a:lnTo>
                  <a:lnTo>
                    <a:pt x="158750" y="52732"/>
                  </a:lnTo>
                  <a:lnTo>
                    <a:pt x="158750" y="290028"/>
                  </a:lnTo>
                  <a:lnTo>
                    <a:pt x="154591" y="310553"/>
                  </a:lnTo>
                  <a:lnTo>
                    <a:pt x="143250" y="327314"/>
                  </a:lnTo>
                  <a:lnTo>
                    <a:pt x="126430" y="338616"/>
                  </a:lnTo>
                  <a:lnTo>
                    <a:pt x="105833" y="342760"/>
                  </a:lnTo>
                  <a:close/>
                </a:path>
              </a:pathLst>
            </a:custGeom>
            <a:solidFill>
              <a:srgbClr val="EC2938"/>
            </a:solidFill>
          </p:spPr>
          <p:txBody>
            <a:bodyPr wrap="square" lIns="0" tIns="0" rIns="0" bIns="0" rtlCol="0"/>
            <a:lstStyle/>
            <a:p>
              <a:endParaRPr/>
            </a:p>
          </p:txBody>
        </p:sp>
        <p:sp>
          <p:nvSpPr>
            <p:cNvPr id="93" name="object 93"/>
            <p:cNvSpPr/>
            <p:nvPr/>
          </p:nvSpPr>
          <p:spPr>
            <a:xfrm>
              <a:off x="7331670" y="4809012"/>
              <a:ext cx="158750" cy="342900"/>
            </a:xfrm>
            <a:custGeom>
              <a:avLst/>
              <a:gdLst/>
              <a:ahLst/>
              <a:cxnLst/>
              <a:rect l="l" t="t" r="r" b="b"/>
              <a:pathLst>
                <a:path w="158750" h="342900">
                  <a:moveTo>
                    <a:pt x="158750" y="342760"/>
                  </a:moveTo>
                  <a:lnTo>
                    <a:pt x="52916" y="342760"/>
                  </a:lnTo>
                  <a:lnTo>
                    <a:pt x="32319" y="338616"/>
                  </a:lnTo>
                  <a:lnTo>
                    <a:pt x="15499" y="327314"/>
                  </a:lnTo>
                  <a:lnTo>
                    <a:pt x="4158" y="310553"/>
                  </a:lnTo>
                  <a:lnTo>
                    <a:pt x="0" y="290028"/>
                  </a:lnTo>
                  <a:lnTo>
                    <a:pt x="0" y="52732"/>
                  </a:lnTo>
                  <a:lnTo>
                    <a:pt x="4158" y="32207"/>
                  </a:lnTo>
                  <a:lnTo>
                    <a:pt x="15499" y="15445"/>
                  </a:lnTo>
                  <a:lnTo>
                    <a:pt x="32319" y="4144"/>
                  </a:lnTo>
                  <a:lnTo>
                    <a:pt x="52916" y="0"/>
                  </a:lnTo>
                  <a:lnTo>
                    <a:pt x="158750" y="0"/>
                  </a:lnTo>
                  <a:lnTo>
                    <a:pt x="158750" y="342760"/>
                  </a:lnTo>
                  <a:close/>
                </a:path>
              </a:pathLst>
            </a:custGeom>
            <a:solidFill>
              <a:srgbClr val="002494"/>
            </a:solidFill>
          </p:spPr>
          <p:txBody>
            <a:bodyPr wrap="square" lIns="0" tIns="0" rIns="0" bIns="0" rtlCol="0"/>
            <a:lstStyle/>
            <a:p>
              <a:endParaRPr/>
            </a:p>
          </p:txBody>
        </p:sp>
        <p:sp>
          <p:nvSpPr>
            <p:cNvPr id="94" name="object 94"/>
            <p:cNvSpPr/>
            <p:nvPr/>
          </p:nvSpPr>
          <p:spPr>
            <a:xfrm>
              <a:off x="7490420" y="4809012"/>
              <a:ext cx="158750" cy="342900"/>
            </a:xfrm>
            <a:custGeom>
              <a:avLst/>
              <a:gdLst/>
              <a:ahLst/>
              <a:cxnLst/>
              <a:rect l="l" t="t" r="r" b="b"/>
              <a:pathLst>
                <a:path w="158750" h="342900">
                  <a:moveTo>
                    <a:pt x="158750" y="342760"/>
                  </a:moveTo>
                  <a:lnTo>
                    <a:pt x="0" y="342760"/>
                  </a:lnTo>
                  <a:lnTo>
                    <a:pt x="0" y="0"/>
                  </a:lnTo>
                  <a:lnTo>
                    <a:pt x="158750" y="0"/>
                  </a:lnTo>
                  <a:lnTo>
                    <a:pt x="158750" y="342760"/>
                  </a:lnTo>
                  <a:close/>
                </a:path>
              </a:pathLst>
            </a:custGeom>
            <a:solidFill>
              <a:srgbClr val="EDEDED"/>
            </a:solidFill>
          </p:spPr>
          <p:txBody>
            <a:bodyPr wrap="square" lIns="0" tIns="0" rIns="0" bIns="0" rtlCol="0"/>
            <a:lstStyle/>
            <a:p>
              <a:endParaRPr/>
            </a:p>
          </p:txBody>
        </p:sp>
        <p:sp>
          <p:nvSpPr>
            <p:cNvPr id="95" name="object 95"/>
            <p:cNvSpPr/>
            <p:nvPr/>
          </p:nvSpPr>
          <p:spPr>
            <a:xfrm>
              <a:off x="7938394" y="5046308"/>
              <a:ext cx="476250" cy="106045"/>
            </a:xfrm>
            <a:custGeom>
              <a:avLst/>
              <a:gdLst/>
              <a:ahLst/>
              <a:cxnLst/>
              <a:rect l="l" t="t" r="r" b="b"/>
              <a:pathLst>
                <a:path w="476250" h="106045">
                  <a:moveTo>
                    <a:pt x="423333" y="105464"/>
                  </a:moveTo>
                  <a:lnTo>
                    <a:pt x="52916" y="105464"/>
                  </a:lnTo>
                  <a:lnTo>
                    <a:pt x="32319" y="101320"/>
                  </a:lnTo>
                  <a:lnTo>
                    <a:pt x="15499" y="90019"/>
                  </a:lnTo>
                  <a:lnTo>
                    <a:pt x="4158" y="73257"/>
                  </a:lnTo>
                  <a:lnTo>
                    <a:pt x="0" y="52732"/>
                  </a:lnTo>
                  <a:lnTo>
                    <a:pt x="0" y="0"/>
                  </a:lnTo>
                  <a:lnTo>
                    <a:pt x="476250" y="0"/>
                  </a:lnTo>
                  <a:lnTo>
                    <a:pt x="476250" y="52732"/>
                  </a:lnTo>
                  <a:lnTo>
                    <a:pt x="472091" y="73257"/>
                  </a:lnTo>
                  <a:lnTo>
                    <a:pt x="460750" y="90019"/>
                  </a:lnTo>
                  <a:lnTo>
                    <a:pt x="443930" y="101320"/>
                  </a:lnTo>
                  <a:lnTo>
                    <a:pt x="423333" y="105464"/>
                  </a:lnTo>
                  <a:close/>
                </a:path>
              </a:pathLst>
            </a:custGeom>
            <a:solidFill>
              <a:srgbClr val="FFCC04"/>
            </a:solidFill>
          </p:spPr>
          <p:txBody>
            <a:bodyPr wrap="square" lIns="0" tIns="0" rIns="0" bIns="0" rtlCol="0"/>
            <a:lstStyle/>
            <a:p>
              <a:endParaRPr/>
            </a:p>
          </p:txBody>
        </p:sp>
        <p:sp>
          <p:nvSpPr>
            <p:cNvPr id="96" name="object 96"/>
            <p:cNvSpPr/>
            <p:nvPr/>
          </p:nvSpPr>
          <p:spPr>
            <a:xfrm>
              <a:off x="7938394" y="4927660"/>
              <a:ext cx="476250" cy="118745"/>
            </a:xfrm>
            <a:custGeom>
              <a:avLst/>
              <a:gdLst/>
              <a:ahLst/>
              <a:cxnLst/>
              <a:rect l="l" t="t" r="r" b="b"/>
              <a:pathLst>
                <a:path w="476250" h="118745">
                  <a:moveTo>
                    <a:pt x="476250" y="118647"/>
                  </a:moveTo>
                  <a:lnTo>
                    <a:pt x="0" y="118647"/>
                  </a:lnTo>
                  <a:lnTo>
                    <a:pt x="0" y="0"/>
                  </a:lnTo>
                  <a:lnTo>
                    <a:pt x="476250" y="0"/>
                  </a:lnTo>
                  <a:lnTo>
                    <a:pt x="476250" y="118647"/>
                  </a:lnTo>
                  <a:close/>
                </a:path>
              </a:pathLst>
            </a:custGeom>
            <a:solidFill>
              <a:srgbClr val="EC1F24"/>
            </a:solidFill>
          </p:spPr>
          <p:txBody>
            <a:bodyPr wrap="square" lIns="0" tIns="0" rIns="0" bIns="0" rtlCol="0"/>
            <a:lstStyle/>
            <a:p>
              <a:endParaRPr/>
            </a:p>
          </p:txBody>
        </p:sp>
        <p:sp>
          <p:nvSpPr>
            <p:cNvPr id="97" name="object 97"/>
            <p:cNvSpPr/>
            <p:nvPr/>
          </p:nvSpPr>
          <p:spPr>
            <a:xfrm>
              <a:off x="7938394" y="4809012"/>
              <a:ext cx="476250" cy="118745"/>
            </a:xfrm>
            <a:custGeom>
              <a:avLst/>
              <a:gdLst/>
              <a:ahLst/>
              <a:cxnLst/>
              <a:rect l="l" t="t" r="r" b="b"/>
              <a:pathLst>
                <a:path w="476250" h="118745">
                  <a:moveTo>
                    <a:pt x="476250" y="118647"/>
                  </a:moveTo>
                  <a:lnTo>
                    <a:pt x="0" y="118647"/>
                  </a:lnTo>
                  <a:lnTo>
                    <a:pt x="0" y="52732"/>
                  </a:lnTo>
                  <a:lnTo>
                    <a:pt x="4158" y="32207"/>
                  </a:lnTo>
                  <a:lnTo>
                    <a:pt x="15499" y="15445"/>
                  </a:lnTo>
                  <a:lnTo>
                    <a:pt x="32319" y="4144"/>
                  </a:lnTo>
                  <a:lnTo>
                    <a:pt x="52916" y="0"/>
                  </a:lnTo>
                  <a:lnTo>
                    <a:pt x="423333" y="0"/>
                  </a:lnTo>
                  <a:lnTo>
                    <a:pt x="443930" y="4144"/>
                  </a:lnTo>
                  <a:lnTo>
                    <a:pt x="460750" y="15445"/>
                  </a:lnTo>
                  <a:lnTo>
                    <a:pt x="472091" y="32207"/>
                  </a:lnTo>
                  <a:lnTo>
                    <a:pt x="476250" y="52732"/>
                  </a:lnTo>
                  <a:lnTo>
                    <a:pt x="476250" y="118647"/>
                  </a:lnTo>
                  <a:close/>
                </a:path>
              </a:pathLst>
            </a:custGeom>
            <a:solidFill>
              <a:srgbClr val="131313"/>
            </a:solidFill>
          </p:spPr>
          <p:txBody>
            <a:bodyPr wrap="square" lIns="0" tIns="0" rIns="0" bIns="0" rtlCol="0"/>
            <a:lstStyle/>
            <a:p>
              <a:endParaRPr/>
            </a:p>
          </p:txBody>
        </p:sp>
        <p:sp>
          <p:nvSpPr>
            <p:cNvPr id="98" name="object 98"/>
            <p:cNvSpPr/>
            <p:nvPr/>
          </p:nvSpPr>
          <p:spPr>
            <a:xfrm>
              <a:off x="7928730" y="4387174"/>
              <a:ext cx="476250" cy="342900"/>
            </a:xfrm>
            <a:custGeom>
              <a:avLst/>
              <a:gdLst/>
              <a:ahLst/>
              <a:cxnLst/>
              <a:rect l="l" t="t" r="r" b="b"/>
              <a:pathLst>
                <a:path w="476250" h="342900">
                  <a:moveTo>
                    <a:pt x="171979" y="76949"/>
                  </a:moveTo>
                  <a:lnTo>
                    <a:pt x="61700" y="0"/>
                  </a:lnTo>
                  <a:lnTo>
                    <a:pt x="171979" y="0"/>
                  </a:lnTo>
                  <a:lnTo>
                    <a:pt x="171979" y="76949"/>
                  </a:lnTo>
                  <a:close/>
                </a:path>
                <a:path w="476250" h="342900">
                  <a:moveTo>
                    <a:pt x="74453" y="105464"/>
                  </a:moveTo>
                  <a:lnTo>
                    <a:pt x="0" y="105464"/>
                  </a:lnTo>
                  <a:lnTo>
                    <a:pt x="0" y="53510"/>
                  </a:lnTo>
                  <a:lnTo>
                    <a:pt x="74453" y="105464"/>
                  </a:lnTo>
                  <a:close/>
                </a:path>
                <a:path w="476250" h="342900">
                  <a:moveTo>
                    <a:pt x="0" y="289250"/>
                  </a:moveTo>
                  <a:lnTo>
                    <a:pt x="0" y="237295"/>
                  </a:lnTo>
                  <a:lnTo>
                    <a:pt x="74480" y="237295"/>
                  </a:lnTo>
                  <a:lnTo>
                    <a:pt x="0" y="289250"/>
                  </a:lnTo>
                  <a:close/>
                </a:path>
                <a:path w="476250" h="342900">
                  <a:moveTo>
                    <a:pt x="171979" y="342760"/>
                  </a:moveTo>
                  <a:lnTo>
                    <a:pt x="61700" y="342760"/>
                  </a:lnTo>
                  <a:lnTo>
                    <a:pt x="171979" y="265810"/>
                  </a:lnTo>
                  <a:lnTo>
                    <a:pt x="171979" y="342760"/>
                  </a:lnTo>
                  <a:close/>
                </a:path>
                <a:path w="476250" h="342900">
                  <a:moveTo>
                    <a:pt x="476250" y="289263"/>
                  </a:moveTo>
                  <a:lnTo>
                    <a:pt x="401756" y="237295"/>
                  </a:lnTo>
                  <a:lnTo>
                    <a:pt x="476250" y="237295"/>
                  </a:lnTo>
                  <a:lnTo>
                    <a:pt x="476250" y="289263"/>
                  </a:lnTo>
                  <a:close/>
                </a:path>
                <a:path w="476250" h="342900">
                  <a:moveTo>
                    <a:pt x="414535" y="342760"/>
                  </a:moveTo>
                  <a:lnTo>
                    <a:pt x="304270" y="342760"/>
                  </a:lnTo>
                  <a:lnTo>
                    <a:pt x="304270" y="265823"/>
                  </a:lnTo>
                  <a:lnTo>
                    <a:pt x="414535" y="342760"/>
                  </a:lnTo>
                  <a:close/>
                </a:path>
                <a:path w="476250" h="342900">
                  <a:moveTo>
                    <a:pt x="304270" y="76949"/>
                  </a:moveTo>
                  <a:lnTo>
                    <a:pt x="304270" y="0"/>
                  </a:lnTo>
                  <a:lnTo>
                    <a:pt x="414562" y="0"/>
                  </a:lnTo>
                  <a:lnTo>
                    <a:pt x="304270" y="76949"/>
                  </a:lnTo>
                  <a:close/>
                </a:path>
                <a:path w="476250" h="342900">
                  <a:moveTo>
                    <a:pt x="476250" y="105464"/>
                  </a:moveTo>
                  <a:lnTo>
                    <a:pt x="401783" y="105464"/>
                  </a:lnTo>
                  <a:lnTo>
                    <a:pt x="476250" y="53510"/>
                  </a:lnTo>
                  <a:lnTo>
                    <a:pt x="476250" y="105464"/>
                  </a:lnTo>
                  <a:close/>
                </a:path>
              </a:pathLst>
            </a:custGeom>
            <a:solidFill>
              <a:srgbClr val="00247D"/>
            </a:solidFill>
          </p:spPr>
          <p:txBody>
            <a:bodyPr wrap="square" lIns="0" tIns="0" rIns="0" bIns="0" rtlCol="0"/>
            <a:lstStyle/>
            <a:p>
              <a:endParaRPr/>
            </a:p>
          </p:txBody>
        </p:sp>
        <p:sp>
          <p:nvSpPr>
            <p:cNvPr id="99" name="object 99"/>
            <p:cNvSpPr/>
            <p:nvPr/>
          </p:nvSpPr>
          <p:spPr>
            <a:xfrm>
              <a:off x="7930807" y="4388690"/>
              <a:ext cx="472440" cy="339725"/>
            </a:xfrm>
            <a:custGeom>
              <a:avLst/>
              <a:gdLst/>
              <a:ahLst/>
              <a:cxnLst/>
              <a:rect l="l" t="t" r="r" b="b"/>
              <a:pathLst>
                <a:path w="472440" h="339725">
                  <a:moveTo>
                    <a:pt x="458985" y="325437"/>
                  </a:moveTo>
                  <a:lnTo>
                    <a:pt x="330504" y="235779"/>
                  </a:lnTo>
                  <a:lnTo>
                    <a:pt x="376634" y="235779"/>
                  </a:lnTo>
                  <a:lnTo>
                    <a:pt x="472082" y="302380"/>
                  </a:lnTo>
                  <a:lnTo>
                    <a:pt x="469896" y="308804"/>
                  </a:lnTo>
                  <a:lnTo>
                    <a:pt x="466968" y="314838"/>
                  </a:lnTo>
                  <a:lnTo>
                    <a:pt x="463322" y="320407"/>
                  </a:lnTo>
                  <a:lnTo>
                    <a:pt x="458985" y="325437"/>
                  </a:lnTo>
                  <a:close/>
                </a:path>
                <a:path w="472440" h="339725">
                  <a:moveTo>
                    <a:pt x="38748" y="339728"/>
                  </a:moveTo>
                  <a:lnTo>
                    <a:pt x="31531" y="337497"/>
                  </a:lnTo>
                  <a:lnTo>
                    <a:pt x="24798" y="334326"/>
                  </a:lnTo>
                  <a:lnTo>
                    <a:pt x="18630" y="330280"/>
                  </a:lnTo>
                  <a:lnTo>
                    <a:pt x="13110" y="325424"/>
                  </a:lnTo>
                  <a:lnTo>
                    <a:pt x="141578" y="235779"/>
                  </a:lnTo>
                  <a:lnTo>
                    <a:pt x="169902" y="235779"/>
                  </a:lnTo>
                  <a:lnTo>
                    <a:pt x="169902" y="248211"/>
                  </a:lnTo>
                  <a:lnTo>
                    <a:pt x="38748" y="339728"/>
                  </a:lnTo>
                  <a:close/>
                </a:path>
                <a:path w="472440" h="339725">
                  <a:moveTo>
                    <a:pt x="330517" y="103948"/>
                  </a:moveTo>
                  <a:lnTo>
                    <a:pt x="302193" y="103948"/>
                  </a:lnTo>
                  <a:lnTo>
                    <a:pt x="302193" y="91517"/>
                  </a:lnTo>
                  <a:lnTo>
                    <a:pt x="433361" y="0"/>
                  </a:lnTo>
                  <a:lnTo>
                    <a:pt x="440575" y="2231"/>
                  </a:lnTo>
                  <a:lnTo>
                    <a:pt x="447304" y="5401"/>
                  </a:lnTo>
                  <a:lnTo>
                    <a:pt x="453467" y="9447"/>
                  </a:lnTo>
                  <a:lnTo>
                    <a:pt x="458985" y="14303"/>
                  </a:lnTo>
                  <a:lnTo>
                    <a:pt x="330517" y="103948"/>
                  </a:lnTo>
                  <a:close/>
                </a:path>
                <a:path w="472440" h="339725">
                  <a:moveTo>
                    <a:pt x="141578" y="103948"/>
                  </a:moveTo>
                  <a:lnTo>
                    <a:pt x="95448" y="103948"/>
                  </a:lnTo>
                  <a:lnTo>
                    <a:pt x="0" y="37360"/>
                  </a:lnTo>
                  <a:lnTo>
                    <a:pt x="2193" y="30938"/>
                  </a:lnTo>
                  <a:lnTo>
                    <a:pt x="5126" y="24907"/>
                  </a:lnTo>
                  <a:lnTo>
                    <a:pt x="8773" y="19339"/>
                  </a:lnTo>
                  <a:lnTo>
                    <a:pt x="13110" y="14303"/>
                  </a:lnTo>
                  <a:lnTo>
                    <a:pt x="141578" y="103948"/>
                  </a:lnTo>
                  <a:close/>
                </a:path>
              </a:pathLst>
            </a:custGeom>
            <a:solidFill>
              <a:srgbClr val="CF1B2A"/>
            </a:solidFill>
          </p:spPr>
          <p:txBody>
            <a:bodyPr wrap="square" lIns="0" tIns="0" rIns="0" bIns="0" rtlCol="0"/>
            <a:lstStyle/>
            <a:p>
              <a:endParaRPr/>
            </a:p>
          </p:txBody>
        </p:sp>
        <p:sp>
          <p:nvSpPr>
            <p:cNvPr id="100" name="object 100"/>
            <p:cNvSpPr/>
            <p:nvPr/>
          </p:nvSpPr>
          <p:spPr>
            <a:xfrm>
              <a:off x="7928730" y="4387174"/>
              <a:ext cx="476250" cy="342900"/>
            </a:xfrm>
            <a:custGeom>
              <a:avLst/>
              <a:gdLst/>
              <a:ahLst/>
              <a:cxnLst/>
              <a:rect l="l" t="t" r="r" b="b"/>
              <a:pathLst>
                <a:path w="476250" h="342900">
                  <a:moveTo>
                    <a:pt x="304270" y="342760"/>
                  </a:moveTo>
                  <a:lnTo>
                    <a:pt x="277812" y="342760"/>
                  </a:lnTo>
                  <a:lnTo>
                    <a:pt x="277812" y="210929"/>
                  </a:lnTo>
                  <a:lnTo>
                    <a:pt x="476250" y="210929"/>
                  </a:lnTo>
                  <a:lnTo>
                    <a:pt x="476250" y="237295"/>
                  </a:lnTo>
                  <a:lnTo>
                    <a:pt x="332581" y="237295"/>
                  </a:lnTo>
                  <a:lnTo>
                    <a:pt x="373462" y="265823"/>
                  </a:lnTo>
                  <a:lnTo>
                    <a:pt x="304270" y="265823"/>
                  </a:lnTo>
                  <a:lnTo>
                    <a:pt x="304270" y="342760"/>
                  </a:lnTo>
                  <a:close/>
                </a:path>
                <a:path w="476250" h="342900">
                  <a:moveTo>
                    <a:pt x="474159" y="303896"/>
                  </a:moveTo>
                  <a:lnTo>
                    <a:pt x="378711" y="237295"/>
                  </a:lnTo>
                  <a:lnTo>
                    <a:pt x="401756" y="237295"/>
                  </a:lnTo>
                  <a:lnTo>
                    <a:pt x="476250" y="289263"/>
                  </a:lnTo>
                  <a:lnTo>
                    <a:pt x="476250" y="294853"/>
                  </a:lnTo>
                  <a:lnTo>
                    <a:pt x="475390" y="299453"/>
                  </a:lnTo>
                  <a:lnTo>
                    <a:pt x="474159" y="303896"/>
                  </a:lnTo>
                  <a:close/>
                </a:path>
                <a:path w="476250" h="342900">
                  <a:moveTo>
                    <a:pt x="423333" y="342760"/>
                  </a:moveTo>
                  <a:lnTo>
                    <a:pt x="414535" y="342760"/>
                  </a:lnTo>
                  <a:lnTo>
                    <a:pt x="304270" y="265823"/>
                  </a:lnTo>
                  <a:lnTo>
                    <a:pt x="373462" y="265823"/>
                  </a:lnTo>
                  <a:lnTo>
                    <a:pt x="461062" y="326953"/>
                  </a:lnTo>
                  <a:lnTo>
                    <a:pt x="453193" y="333528"/>
                  </a:lnTo>
                  <a:lnTo>
                    <a:pt x="444137" y="338505"/>
                  </a:lnTo>
                  <a:lnTo>
                    <a:pt x="434112" y="341658"/>
                  </a:lnTo>
                  <a:lnTo>
                    <a:pt x="423333" y="342760"/>
                  </a:lnTo>
                  <a:close/>
                </a:path>
                <a:path w="476250" h="342900">
                  <a:moveTo>
                    <a:pt x="61700" y="342760"/>
                  </a:moveTo>
                  <a:lnTo>
                    <a:pt x="48736" y="342760"/>
                  </a:lnTo>
                  <a:lnTo>
                    <a:pt x="44714" y="342153"/>
                  </a:lnTo>
                  <a:lnTo>
                    <a:pt x="40825" y="341231"/>
                  </a:lnTo>
                  <a:lnTo>
                    <a:pt x="171979" y="249727"/>
                  </a:lnTo>
                  <a:lnTo>
                    <a:pt x="171979" y="237295"/>
                  </a:lnTo>
                  <a:lnTo>
                    <a:pt x="0" y="237295"/>
                  </a:lnTo>
                  <a:lnTo>
                    <a:pt x="0" y="210929"/>
                  </a:lnTo>
                  <a:lnTo>
                    <a:pt x="198437" y="210929"/>
                  </a:lnTo>
                  <a:lnTo>
                    <a:pt x="198437" y="265810"/>
                  </a:lnTo>
                  <a:lnTo>
                    <a:pt x="171979" y="265810"/>
                  </a:lnTo>
                  <a:lnTo>
                    <a:pt x="61700" y="342760"/>
                  </a:lnTo>
                  <a:close/>
                </a:path>
                <a:path w="476250" h="342900">
                  <a:moveTo>
                    <a:pt x="15187" y="326940"/>
                  </a:moveTo>
                  <a:lnTo>
                    <a:pt x="8857" y="319180"/>
                  </a:lnTo>
                  <a:lnTo>
                    <a:pt x="4076" y="310308"/>
                  </a:lnTo>
                  <a:lnTo>
                    <a:pt x="1053" y="300524"/>
                  </a:lnTo>
                  <a:lnTo>
                    <a:pt x="0" y="290028"/>
                  </a:lnTo>
                  <a:lnTo>
                    <a:pt x="0" y="289250"/>
                  </a:lnTo>
                  <a:lnTo>
                    <a:pt x="74480" y="237295"/>
                  </a:lnTo>
                  <a:lnTo>
                    <a:pt x="143655" y="237295"/>
                  </a:lnTo>
                  <a:lnTo>
                    <a:pt x="15187" y="326940"/>
                  </a:lnTo>
                  <a:close/>
                </a:path>
                <a:path w="476250" h="342900">
                  <a:moveTo>
                    <a:pt x="198437" y="342760"/>
                  </a:moveTo>
                  <a:lnTo>
                    <a:pt x="171979" y="342760"/>
                  </a:lnTo>
                  <a:lnTo>
                    <a:pt x="171979" y="265810"/>
                  </a:lnTo>
                  <a:lnTo>
                    <a:pt x="198437" y="265810"/>
                  </a:lnTo>
                  <a:lnTo>
                    <a:pt x="198437" y="342760"/>
                  </a:lnTo>
                  <a:close/>
                </a:path>
                <a:path w="476250" h="342900">
                  <a:moveTo>
                    <a:pt x="476250" y="131830"/>
                  </a:moveTo>
                  <a:lnTo>
                    <a:pt x="277812" y="131830"/>
                  </a:lnTo>
                  <a:lnTo>
                    <a:pt x="277812" y="0"/>
                  </a:lnTo>
                  <a:lnTo>
                    <a:pt x="304270" y="0"/>
                  </a:lnTo>
                  <a:lnTo>
                    <a:pt x="304270" y="76949"/>
                  </a:lnTo>
                  <a:lnTo>
                    <a:pt x="327322" y="76949"/>
                  </a:lnTo>
                  <a:lnTo>
                    <a:pt x="304270" y="93033"/>
                  </a:lnTo>
                  <a:lnTo>
                    <a:pt x="304270" y="105464"/>
                  </a:lnTo>
                  <a:lnTo>
                    <a:pt x="476250" y="105464"/>
                  </a:lnTo>
                  <a:lnTo>
                    <a:pt x="476250" y="131830"/>
                  </a:lnTo>
                  <a:close/>
                </a:path>
                <a:path w="476250" h="342900">
                  <a:moveTo>
                    <a:pt x="327322" y="76949"/>
                  </a:moveTo>
                  <a:lnTo>
                    <a:pt x="304270" y="76949"/>
                  </a:lnTo>
                  <a:lnTo>
                    <a:pt x="414562" y="0"/>
                  </a:lnTo>
                  <a:lnTo>
                    <a:pt x="427513" y="0"/>
                  </a:lnTo>
                  <a:lnTo>
                    <a:pt x="431535" y="606"/>
                  </a:lnTo>
                  <a:lnTo>
                    <a:pt x="435438" y="1516"/>
                  </a:lnTo>
                  <a:lnTo>
                    <a:pt x="327322" y="76949"/>
                  </a:lnTo>
                  <a:close/>
                </a:path>
                <a:path w="476250" h="342900">
                  <a:moveTo>
                    <a:pt x="401783" y="105464"/>
                  </a:moveTo>
                  <a:lnTo>
                    <a:pt x="332594" y="105464"/>
                  </a:lnTo>
                  <a:lnTo>
                    <a:pt x="461062" y="15819"/>
                  </a:lnTo>
                  <a:lnTo>
                    <a:pt x="467392" y="23580"/>
                  </a:lnTo>
                  <a:lnTo>
                    <a:pt x="472173" y="32451"/>
                  </a:lnTo>
                  <a:lnTo>
                    <a:pt x="475196" y="42235"/>
                  </a:lnTo>
                  <a:lnTo>
                    <a:pt x="476250" y="52732"/>
                  </a:lnTo>
                  <a:lnTo>
                    <a:pt x="476250" y="53510"/>
                  </a:lnTo>
                  <a:lnTo>
                    <a:pt x="401783" y="105464"/>
                  </a:lnTo>
                  <a:close/>
                </a:path>
                <a:path w="476250" h="342900">
                  <a:moveTo>
                    <a:pt x="198437" y="131830"/>
                  </a:moveTo>
                  <a:lnTo>
                    <a:pt x="0" y="131830"/>
                  </a:lnTo>
                  <a:lnTo>
                    <a:pt x="0" y="105464"/>
                  </a:lnTo>
                  <a:lnTo>
                    <a:pt x="143655" y="105464"/>
                  </a:lnTo>
                  <a:lnTo>
                    <a:pt x="15187" y="15819"/>
                  </a:lnTo>
                  <a:lnTo>
                    <a:pt x="23054" y="9237"/>
                  </a:lnTo>
                  <a:lnTo>
                    <a:pt x="32107" y="4256"/>
                  </a:lnTo>
                  <a:lnTo>
                    <a:pt x="42132" y="1101"/>
                  </a:lnTo>
                  <a:lnTo>
                    <a:pt x="52916" y="0"/>
                  </a:lnTo>
                  <a:lnTo>
                    <a:pt x="61700" y="0"/>
                  </a:lnTo>
                  <a:lnTo>
                    <a:pt x="171979" y="76949"/>
                  </a:lnTo>
                  <a:lnTo>
                    <a:pt x="198437" y="76949"/>
                  </a:lnTo>
                  <a:lnTo>
                    <a:pt x="198437" y="131830"/>
                  </a:lnTo>
                  <a:close/>
                </a:path>
                <a:path w="476250" h="342900">
                  <a:moveTo>
                    <a:pt x="198437" y="76949"/>
                  </a:moveTo>
                  <a:lnTo>
                    <a:pt x="171979" y="76949"/>
                  </a:lnTo>
                  <a:lnTo>
                    <a:pt x="171979" y="0"/>
                  </a:lnTo>
                  <a:lnTo>
                    <a:pt x="198437" y="0"/>
                  </a:lnTo>
                  <a:lnTo>
                    <a:pt x="198437" y="76949"/>
                  </a:lnTo>
                  <a:close/>
                </a:path>
                <a:path w="476250" h="342900">
                  <a:moveTo>
                    <a:pt x="97525" y="105464"/>
                  </a:moveTo>
                  <a:lnTo>
                    <a:pt x="74453" y="105464"/>
                  </a:lnTo>
                  <a:lnTo>
                    <a:pt x="0" y="53510"/>
                  </a:lnTo>
                  <a:lnTo>
                    <a:pt x="0" y="47907"/>
                  </a:lnTo>
                  <a:lnTo>
                    <a:pt x="859" y="43319"/>
                  </a:lnTo>
                  <a:lnTo>
                    <a:pt x="2076" y="38876"/>
                  </a:lnTo>
                  <a:lnTo>
                    <a:pt x="97525" y="105464"/>
                  </a:lnTo>
                  <a:close/>
                </a:path>
              </a:pathLst>
            </a:custGeom>
            <a:solidFill>
              <a:srgbClr val="EDEDED"/>
            </a:solidFill>
          </p:spPr>
          <p:txBody>
            <a:bodyPr wrap="square" lIns="0" tIns="0" rIns="0" bIns="0" rtlCol="0"/>
            <a:lstStyle/>
            <a:p>
              <a:endParaRPr/>
            </a:p>
          </p:txBody>
        </p:sp>
        <p:sp>
          <p:nvSpPr>
            <p:cNvPr id="101" name="object 101"/>
            <p:cNvSpPr/>
            <p:nvPr/>
          </p:nvSpPr>
          <p:spPr>
            <a:xfrm>
              <a:off x="7928724" y="4387188"/>
              <a:ext cx="476250" cy="342900"/>
            </a:xfrm>
            <a:custGeom>
              <a:avLst/>
              <a:gdLst/>
              <a:ahLst/>
              <a:cxnLst/>
              <a:rect l="l" t="t" r="r" b="b"/>
              <a:pathLst>
                <a:path w="476250" h="342900">
                  <a:moveTo>
                    <a:pt x="476250" y="131851"/>
                  </a:moveTo>
                  <a:lnTo>
                    <a:pt x="277812" y="131851"/>
                  </a:lnTo>
                  <a:lnTo>
                    <a:pt x="277812" y="0"/>
                  </a:lnTo>
                  <a:lnTo>
                    <a:pt x="198437" y="0"/>
                  </a:lnTo>
                  <a:lnTo>
                    <a:pt x="198437" y="131851"/>
                  </a:lnTo>
                  <a:lnTo>
                    <a:pt x="0" y="131851"/>
                  </a:lnTo>
                  <a:lnTo>
                    <a:pt x="0" y="210451"/>
                  </a:lnTo>
                  <a:lnTo>
                    <a:pt x="198437" y="210451"/>
                  </a:lnTo>
                  <a:lnTo>
                    <a:pt x="198437" y="342303"/>
                  </a:lnTo>
                  <a:lnTo>
                    <a:pt x="277812" y="342303"/>
                  </a:lnTo>
                  <a:lnTo>
                    <a:pt x="277812" y="210451"/>
                  </a:lnTo>
                  <a:lnTo>
                    <a:pt x="476250" y="210451"/>
                  </a:lnTo>
                  <a:lnTo>
                    <a:pt x="476250" y="131851"/>
                  </a:lnTo>
                  <a:close/>
                </a:path>
              </a:pathLst>
            </a:custGeom>
            <a:solidFill>
              <a:srgbClr val="CF1B2A"/>
            </a:solidFill>
          </p:spPr>
          <p:txBody>
            <a:bodyPr wrap="square" lIns="0" tIns="0" rIns="0" bIns="0" rtlCol="0"/>
            <a:lstStyle/>
            <a:p>
              <a:endParaRPr/>
            </a:p>
          </p:txBody>
        </p:sp>
        <p:sp>
          <p:nvSpPr>
            <p:cNvPr id="102" name="object 102"/>
            <p:cNvSpPr/>
            <p:nvPr/>
          </p:nvSpPr>
          <p:spPr>
            <a:xfrm>
              <a:off x="7318537" y="4387104"/>
              <a:ext cx="514350" cy="342900"/>
            </a:xfrm>
            <a:custGeom>
              <a:avLst/>
              <a:gdLst/>
              <a:ahLst/>
              <a:cxnLst/>
              <a:rect l="l" t="t" r="r" b="b"/>
              <a:pathLst>
                <a:path w="514350" h="342900">
                  <a:moveTo>
                    <a:pt x="449612" y="342900"/>
                  </a:moveTo>
                  <a:lnTo>
                    <a:pt x="64294" y="342900"/>
                  </a:lnTo>
                  <a:lnTo>
                    <a:pt x="39262" y="337845"/>
                  </a:lnTo>
                  <a:lnTo>
                    <a:pt x="18826" y="324063"/>
                  </a:lnTo>
                  <a:lnTo>
                    <a:pt x="5050" y="303626"/>
                  </a:lnTo>
                  <a:lnTo>
                    <a:pt x="0" y="278606"/>
                  </a:lnTo>
                  <a:lnTo>
                    <a:pt x="0" y="64293"/>
                  </a:lnTo>
                  <a:lnTo>
                    <a:pt x="5043" y="39273"/>
                  </a:lnTo>
                  <a:lnTo>
                    <a:pt x="18805" y="18836"/>
                  </a:lnTo>
                  <a:lnTo>
                    <a:pt x="39239" y="5054"/>
                  </a:lnTo>
                  <a:lnTo>
                    <a:pt x="64294" y="0"/>
                  </a:lnTo>
                  <a:lnTo>
                    <a:pt x="449612" y="0"/>
                  </a:lnTo>
                  <a:lnTo>
                    <a:pt x="474644" y="5054"/>
                  </a:lnTo>
                  <a:lnTo>
                    <a:pt x="495080" y="18836"/>
                  </a:lnTo>
                  <a:lnTo>
                    <a:pt x="508856" y="39273"/>
                  </a:lnTo>
                  <a:lnTo>
                    <a:pt x="513906" y="64293"/>
                  </a:lnTo>
                  <a:lnTo>
                    <a:pt x="513906" y="278606"/>
                  </a:lnTo>
                  <a:lnTo>
                    <a:pt x="508863" y="303626"/>
                  </a:lnTo>
                  <a:lnTo>
                    <a:pt x="495101" y="324063"/>
                  </a:lnTo>
                  <a:lnTo>
                    <a:pt x="474667" y="337845"/>
                  </a:lnTo>
                  <a:lnTo>
                    <a:pt x="449612" y="342900"/>
                  </a:lnTo>
                  <a:close/>
                </a:path>
              </a:pathLst>
            </a:custGeom>
            <a:solidFill>
              <a:srgbClr val="D90F23"/>
            </a:solidFill>
          </p:spPr>
          <p:txBody>
            <a:bodyPr wrap="square" lIns="0" tIns="0" rIns="0" bIns="0" rtlCol="0"/>
            <a:lstStyle/>
            <a:p>
              <a:endParaRPr/>
            </a:p>
          </p:txBody>
        </p:sp>
        <p:sp>
          <p:nvSpPr>
            <p:cNvPr id="103" name="object 103"/>
            <p:cNvSpPr/>
            <p:nvPr/>
          </p:nvSpPr>
          <p:spPr>
            <a:xfrm>
              <a:off x="7318537" y="4472829"/>
              <a:ext cx="514350" cy="171450"/>
            </a:xfrm>
            <a:custGeom>
              <a:avLst/>
              <a:gdLst/>
              <a:ahLst/>
              <a:cxnLst/>
              <a:rect l="l" t="t" r="r" b="b"/>
              <a:pathLst>
                <a:path w="514350" h="171450">
                  <a:moveTo>
                    <a:pt x="513906" y="171450"/>
                  </a:moveTo>
                  <a:lnTo>
                    <a:pt x="0" y="171450"/>
                  </a:lnTo>
                  <a:lnTo>
                    <a:pt x="0" y="0"/>
                  </a:lnTo>
                  <a:lnTo>
                    <a:pt x="513906" y="0"/>
                  </a:lnTo>
                  <a:lnTo>
                    <a:pt x="513906" y="171450"/>
                  </a:lnTo>
                  <a:close/>
                </a:path>
              </a:pathLst>
            </a:custGeom>
            <a:solidFill>
              <a:srgbClr val="F1C400"/>
            </a:solidFill>
          </p:spPr>
          <p:txBody>
            <a:bodyPr wrap="square" lIns="0" tIns="0" rIns="0" bIns="0" rtlCol="0"/>
            <a:lstStyle/>
            <a:p>
              <a:endParaRPr/>
            </a:p>
          </p:txBody>
        </p:sp>
        <p:pic>
          <p:nvPicPr>
            <p:cNvPr id="104" name="object 104"/>
            <p:cNvPicPr/>
            <p:nvPr/>
          </p:nvPicPr>
          <p:blipFill>
            <a:blip r:embed="rId22" cstate="print"/>
            <a:stretch>
              <a:fillRect/>
            </a:stretch>
          </p:blipFill>
          <p:spPr>
            <a:xfrm>
              <a:off x="7366716" y="4483545"/>
              <a:ext cx="182008" cy="150967"/>
            </a:xfrm>
            <a:prstGeom prst="rect">
              <a:avLst/>
            </a:prstGeom>
          </p:spPr>
        </p:pic>
        <p:sp>
          <p:nvSpPr>
            <p:cNvPr id="105" name="object 105"/>
            <p:cNvSpPr/>
            <p:nvPr/>
          </p:nvSpPr>
          <p:spPr>
            <a:xfrm>
              <a:off x="11812067" y="1933739"/>
              <a:ext cx="651510" cy="704850"/>
            </a:xfrm>
            <a:custGeom>
              <a:avLst/>
              <a:gdLst/>
              <a:ahLst/>
              <a:cxnLst/>
              <a:rect l="l" t="t" r="r" b="b"/>
              <a:pathLst>
                <a:path w="651509" h="704850">
                  <a:moveTo>
                    <a:pt x="651471" y="296265"/>
                  </a:moveTo>
                  <a:lnTo>
                    <a:pt x="546176" y="247815"/>
                  </a:lnTo>
                  <a:lnTo>
                    <a:pt x="624001" y="202920"/>
                  </a:lnTo>
                  <a:lnTo>
                    <a:pt x="626503" y="201117"/>
                  </a:lnTo>
                  <a:lnTo>
                    <a:pt x="631266" y="195884"/>
                  </a:lnTo>
                  <a:lnTo>
                    <a:pt x="634199" y="187490"/>
                  </a:lnTo>
                  <a:lnTo>
                    <a:pt x="631190" y="176149"/>
                  </a:lnTo>
                  <a:lnTo>
                    <a:pt x="622858" y="167868"/>
                  </a:lnTo>
                  <a:lnTo>
                    <a:pt x="614121" y="166204"/>
                  </a:lnTo>
                  <a:lnTo>
                    <a:pt x="607212" y="167716"/>
                  </a:lnTo>
                  <a:lnTo>
                    <a:pt x="604405" y="168986"/>
                  </a:lnTo>
                  <a:lnTo>
                    <a:pt x="526592" y="213855"/>
                  </a:lnTo>
                  <a:lnTo>
                    <a:pt x="551065" y="122567"/>
                  </a:lnTo>
                  <a:lnTo>
                    <a:pt x="551561" y="119532"/>
                  </a:lnTo>
                  <a:lnTo>
                    <a:pt x="551243" y="112471"/>
                  </a:lnTo>
                  <a:lnTo>
                    <a:pt x="547370" y="104470"/>
                  </a:lnTo>
                  <a:lnTo>
                    <a:pt x="537210" y="98577"/>
                  </a:lnTo>
                  <a:lnTo>
                    <a:pt x="525475" y="98602"/>
                  </a:lnTo>
                  <a:lnTo>
                    <a:pt x="518109" y="103593"/>
                  </a:lnTo>
                  <a:lnTo>
                    <a:pt x="514299" y="109537"/>
                  </a:lnTo>
                  <a:lnTo>
                    <a:pt x="513207" y="112420"/>
                  </a:lnTo>
                  <a:lnTo>
                    <a:pt x="478586" y="241541"/>
                  </a:lnTo>
                  <a:lnTo>
                    <a:pt x="345300" y="318465"/>
                  </a:lnTo>
                  <a:lnTo>
                    <a:pt x="345300" y="164757"/>
                  </a:lnTo>
                  <a:lnTo>
                    <a:pt x="439902" y="70205"/>
                  </a:lnTo>
                  <a:lnTo>
                    <a:pt x="441858" y="67830"/>
                  </a:lnTo>
                  <a:lnTo>
                    <a:pt x="445096" y="61556"/>
                  </a:lnTo>
                  <a:lnTo>
                    <a:pt x="445757" y="52679"/>
                  </a:lnTo>
                  <a:lnTo>
                    <a:pt x="439902" y="42506"/>
                  </a:lnTo>
                  <a:lnTo>
                    <a:pt x="429729" y="36664"/>
                  </a:lnTo>
                  <a:lnTo>
                    <a:pt x="420865" y="37312"/>
                  </a:lnTo>
                  <a:lnTo>
                    <a:pt x="414578" y="40551"/>
                  </a:lnTo>
                  <a:lnTo>
                    <a:pt x="412203" y="42506"/>
                  </a:lnTo>
                  <a:lnTo>
                    <a:pt x="345300" y="109359"/>
                  </a:lnTo>
                  <a:lnTo>
                    <a:pt x="345300" y="19570"/>
                  </a:lnTo>
                  <a:lnTo>
                    <a:pt x="344995" y="16510"/>
                  </a:lnTo>
                  <a:lnTo>
                    <a:pt x="342849" y="9791"/>
                  </a:lnTo>
                  <a:lnTo>
                    <a:pt x="337032" y="3060"/>
                  </a:lnTo>
                  <a:lnTo>
                    <a:pt x="325704" y="0"/>
                  </a:lnTo>
                  <a:lnTo>
                    <a:pt x="314375" y="3060"/>
                  </a:lnTo>
                  <a:lnTo>
                    <a:pt x="308559" y="9791"/>
                  </a:lnTo>
                  <a:lnTo>
                    <a:pt x="306425" y="16510"/>
                  </a:lnTo>
                  <a:lnTo>
                    <a:pt x="306120" y="19570"/>
                  </a:lnTo>
                  <a:lnTo>
                    <a:pt x="306120" y="109359"/>
                  </a:lnTo>
                  <a:lnTo>
                    <a:pt x="239217" y="42506"/>
                  </a:lnTo>
                  <a:lnTo>
                    <a:pt x="236842" y="40551"/>
                  </a:lnTo>
                  <a:lnTo>
                    <a:pt x="230555" y="37312"/>
                  </a:lnTo>
                  <a:lnTo>
                    <a:pt x="221691" y="36664"/>
                  </a:lnTo>
                  <a:lnTo>
                    <a:pt x="211505" y="42506"/>
                  </a:lnTo>
                  <a:lnTo>
                    <a:pt x="205663" y="52679"/>
                  </a:lnTo>
                  <a:lnTo>
                    <a:pt x="206311" y="61556"/>
                  </a:lnTo>
                  <a:lnTo>
                    <a:pt x="209562" y="67830"/>
                  </a:lnTo>
                  <a:lnTo>
                    <a:pt x="211505" y="70205"/>
                  </a:lnTo>
                  <a:lnTo>
                    <a:pt x="306120" y="164757"/>
                  </a:lnTo>
                  <a:lnTo>
                    <a:pt x="306120" y="318490"/>
                  </a:lnTo>
                  <a:lnTo>
                    <a:pt x="172847" y="241604"/>
                  </a:lnTo>
                  <a:lnTo>
                    <a:pt x="138226" y="112483"/>
                  </a:lnTo>
                  <a:lnTo>
                    <a:pt x="137134" y="109601"/>
                  </a:lnTo>
                  <a:lnTo>
                    <a:pt x="133324" y="103657"/>
                  </a:lnTo>
                  <a:lnTo>
                    <a:pt x="125958" y="98653"/>
                  </a:lnTo>
                  <a:lnTo>
                    <a:pt x="114223" y="98640"/>
                  </a:lnTo>
                  <a:lnTo>
                    <a:pt x="104063" y="104521"/>
                  </a:lnTo>
                  <a:lnTo>
                    <a:pt x="100190" y="112534"/>
                  </a:lnTo>
                  <a:lnTo>
                    <a:pt x="99872" y="119583"/>
                  </a:lnTo>
                  <a:lnTo>
                    <a:pt x="100368" y="122618"/>
                  </a:lnTo>
                  <a:lnTo>
                    <a:pt x="124866" y="213931"/>
                  </a:lnTo>
                  <a:lnTo>
                    <a:pt x="47028" y="169024"/>
                  </a:lnTo>
                  <a:lnTo>
                    <a:pt x="44234" y="167754"/>
                  </a:lnTo>
                  <a:lnTo>
                    <a:pt x="37325" y="166243"/>
                  </a:lnTo>
                  <a:lnTo>
                    <a:pt x="28587" y="167919"/>
                  </a:lnTo>
                  <a:lnTo>
                    <a:pt x="20269" y="176187"/>
                  </a:lnTo>
                  <a:lnTo>
                    <a:pt x="17259" y="187515"/>
                  </a:lnTo>
                  <a:lnTo>
                    <a:pt x="20180" y="195922"/>
                  </a:lnTo>
                  <a:lnTo>
                    <a:pt x="24942" y="201142"/>
                  </a:lnTo>
                  <a:lnTo>
                    <a:pt x="27444" y="202933"/>
                  </a:lnTo>
                  <a:lnTo>
                    <a:pt x="105244" y="247827"/>
                  </a:lnTo>
                  <a:lnTo>
                    <a:pt x="13855" y="272288"/>
                  </a:lnTo>
                  <a:lnTo>
                    <a:pt x="10972" y="273367"/>
                  </a:lnTo>
                  <a:lnTo>
                    <a:pt x="5016" y="277177"/>
                  </a:lnTo>
                  <a:lnTo>
                    <a:pt x="25" y="284543"/>
                  </a:lnTo>
                  <a:lnTo>
                    <a:pt x="0" y="296265"/>
                  </a:lnTo>
                  <a:lnTo>
                    <a:pt x="5892" y="306425"/>
                  </a:lnTo>
                  <a:lnTo>
                    <a:pt x="13906" y="310299"/>
                  </a:lnTo>
                  <a:lnTo>
                    <a:pt x="20967" y="310629"/>
                  </a:lnTo>
                  <a:lnTo>
                    <a:pt x="24015" y="310134"/>
                  </a:lnTo>
                  <a:lnTo>
                    <a:pt x="153250" y="275539"/>
                  </a:lnTo>
                  <a:lnTo>
                    <a:pt x="286473" y="352399"/>
                  </a:lnTo>
                  <a:lnTo>
                    <a:pt x="153238" y="429285"/>
                  </a:lnTo>
                  <a:lnTo>
                    <a:pt x="24028" y="394677"/>
                  </a:lnTo>
                  <a:lnTo>
                    <a:pt x="20993" y="394169"/>
                  </a:lnTo>
                  <a:lnTo>
                    <a:pt x="13931" y="394500"/>
                  </a:lnTo>
                  <a:lnTo>
                    <a:pt x="5918" y="398373"/>
                  </a:lnTo>
                  <a:lnTo>
                    <a:pt x="25" y="408520"/>
                  </a:lnTo>
                  <a:lnTo>
                    <a:pt x="38" y="420255"/>
                  </a:lnTo>
                  <a:lnTo>
                    <a:pt x="5041" y="427609"/>
                  </a:lnTo>
                  <a:lnTo>
                    <a:pt x="10998" y="431419"/>
                  </a:lnTo>
                  <a:lnTo>
                    <a:pt x="13881" y="432498"/>
                  </a:lnTo>
                  <a:lnTo>
                    <a:pt x="105244" y="456958"/>
                  </a:lnTo>
                  <a:lnTo>
                    <a:pt x="27444" y="501853"/>
                  </a:lnTo>
                  <a:lnTo>
                    <a:pt x="24942" y="503643"/>
                  </a:lnTo>
                  <a:lnTo>
                    <a:pt x="20193" y="508876"/>
                  </a:lnTo>
                  <a:lnTo>
                    <a:pt x="17272" y="517283"/>
                  </a:lnTo>
                  <a:lnTo>
                    <a:pt x="20281" y="528612"/>
                  </a:lnTo>
                  <a:lnTo>
                    <a:pt x="28600" y="536879"/>
                  </a:lnTo>
                  <a:lnTo>
                    <a:pt x="37338" y="538543"/>
                  </a:lnTo>
                  <a:lnTo>
                    <a:pt x="44234" y="537019"/>
                  </a:lnTo>
                  <a:lnTo>
                    <a:pt x="47028" y="535762"/>
                  </a:lnTo>
                  <a:lnTo>
                    <a:pt x="124866" y="490867"/>
                  </a:lnTo>
                  <a:lnTo>
                    <a:pt x="100368" y="582168"/>
                  </a:lnTo>
                  <a:lnTo>
                    <a:pt x="99872" y="585203"/>
                  </a:lnTo>
                  <a:lnTo>
                    <a:pt x="100203" y="592264"/>
                  </a:lnTo>
                  <a:lnTo>
                    <a:pt x="104076" y="600265"/>
                  </a:lnTo>
                  <a:lnTo>
                    <a:pt x="114223" y="606145"/>
                  </a:lnTo>
                  <a:lnTo>
                    <a:pt x="125971" y="606132"/>
                  </a:lnTo>
                  <a:lnTo>
                    <a:pt x="133337" y="601141"/>
                  </a:lnTo>
                  <a:lnTo>
                    <a:pt x="137160" y="595198"/>
                  </a:lnTo>
                  <a:lnTo>
                    <a:pt x="138252" y="592328"/>
                  </a:lnTo>
                  <a:lnTo>
                    <a:pt x="172885" y="463156"/>
                  </a:lnTo>
                  <a:lnTo>
                    <a:pt x="306120" y="386308"/>
                  </a:lnTo>
                  <a:lnTo>
                    <a:pt x="306120" y="540105"/>
                  </a:lnTo>
                  <a:lnTo>
                    <a:pt x="211505" y="634631"/>
                  </a:lnTo>
                  <a:lnTo>
                    <a:pt x="209562" y="637019"/>
                  </a:lnTo>
                  <a:lnTo>
                    <a:pt x="206311" y="643293"/>
                  </a:lnTo>
                  <a:lnTo>
                    <a:pt x="205663" y="652157"/>
                  </a:lnTo>
                  <a:lnTo>
                    <a:pt x="211505" y="662317"/>
                  </a:lnTo>
                  <a:lnTo>
                    <a:pt x="221691" y="668159"/>
                  </a:lnTo>
                  <a:lnTo>
                    <a:pt x="230555" y="667512"/>
                  </a:lnTo>
                  <a:lnTo>
                    <a:pt x="236842" y="664260"/>
                  </a:lnTo>
                  <a:lnTo>
                    <a:pt x="239217" y="662317"/>
                  </a:lnTo>
                  <a:lnTo>
                    <a:pt x="306120" y="595477"/>
                  </a:lnTo>
                  <a:lnTo>
                    <a:pt x="306120" y="685266"/>
                  </a:lnTo>
                  <a:lnTo>
                    <a:pt x="306425" y="688327"/>
                  </a:lnTo>
                  <a:lnTo>
                    <a:pt x="308559" y="695058"/>
                  </a:lnTo>
                  <a:lnTo>
                    <a:pt x="314375" y="701789"/>
                  </a:lnTo>
                  <a:lnTo>
                    <a:pt x="325704" y="704850"/>
                  </a:lnTo>
                  <a:lnTo>
                    <a:pt x="337032" y="701789"/>
                  </a:lnTo>
                  <a:lnTo>
                    <a:pt x="342849" y="695058"/>
                  </a:lnTo>
                  <a:lnTo>
                    <a:pt x="344995" y="688327"/>
                  </a:lnTo>
                  <a:lnTo>
                    <a:pt x="345300" y="685266"/>
                  </a:lnTo>
                  <a:lnTo>
                    <a:pt x="345300" y="595477"/>
                  </a:lnTo>
                  <a:lnTo>
                    <a:pt x="412203" y="662317"/>
                  </a:lnTo>
                  <a:lnTo>
                    <a:pt x="414578" y="664260"/>
                  </a:lnTo>
                  <a:lnTo>
                    <a:pt x="420865" y="667512"/>
                  </a:lnTo>
                  <a:lnTo>
                    <a:pt x="429729" y="668159"/>
                  </a:lnTo>
                  <a:lnTo>
                    <a:pt x="439902" y="662317"/>
                  </a:lnTo>
                  <a:lnTo>
                    <a:pt x="445757" y="652157"/>
                  </a:lnTo>
                  <a:lnTo>
                    <a:pt x="445096" y="643293"/>
                  </a:lnTo>
                  <a:lnTo>
                    <a:pt x="441858" y="637019"/>
                  </a:lnTo>
                  <a:lnTo>
                    <a:pt x="439902" y="634631"/>
                  </a:lnTo>
                  <a:lnTo>
                    <a:pt x="345300" y="540105"/>
                  </a:lnTo>
                  <a:lnTo>
                    <a:pt x="345300" y="386334"/>
                  </a:lnTo>
                  <a:lnTo>
                    <a:pt x="478586" y="463219"/>
                  </a:lnTo>
                  <a:lnTo>
                    <a:pt x="513207" y="592366"/>
                  </a:lnTo>
                  <a:lnTo>
                    <a:pt x="514299" y="595236"/>
                  </a:lnTo>
                  <a:lnTo>
                    <a:pt x="518109" y="601192"/>
                  </a:lnTo>
                  <a:lnTo>
                    <a:pt x="525475" y="606183"/>
                  </a:lnTo>
                  <a:lnTo>
                    <a:pt x="537210" y="606209"/>
                  </a:lnTo>
                  <a:lnTo>
                    <a:pt x="547370" y="600316"/>
                  </a:lnTo>
                  <a:lnTo>
                    <a:pt x="551243" y="592302"/>
                  </a:lnTo>
                  <a:lnTo>
                    <a:pt x="551561" y="585254"/>
                  </a:lnTo>
                  <a:lnTo>
                    <a:pt x="551065" y="582218"/>
                  </a:lnTo>
                  <a:lnTo>
                    <a:pt x="526580" y="490905"/>
                  </a:lnTo>
                  <a:lnTo>
                    <a:pt x="604405" y="535800"/>
                  </a:lnTo>
                  <a:lnTo>
                    <a:pt x="607212" y="537070"/>
                  </a:lnTo>
                  <a:lnTo>
                    <a:pt x="614121" y="538581"/>
                  </a:lnTo>
                  <a:lnTo>
                    <a:pt x="622871" y="536917"/>
                  </a:lnTo>
                  <a:lnTo>
                    <a:pt x="631190" y="528650"/>
                  </a:lnTo>
                  <a:lnTo>
                    <a:pt x="634199" y="517309"/>
                  </a:lnTo>
                  <a:lnTo>
                    <a:pt x="631266" y="508901"/>
                  </a:lnTo>
                  <a:lnTo>
                    <a:pt x="626503" y="503682"/>
                  </a:lnTo>
                  <a:lnTo>
                    <a:pt x="624001" y="501891"/>
                  </a:lnTo>
                  <a:lnTo>
                    <a:pt x="546188" y="456996"/>
                  </a:lnTo>
                  <a:lnTo>
                    <a:pt x="637565" y="432536"/>
                  </a:lnTo>
                  <a:lnTo>
                    <a:pt x="640435" y="431444"/>
                  </a:lnTo>
                  <a:lnTo>
                    <a:pt x="646391" y="427621"/>
                  </a:lnTo>
                  <a:lnTo>
                    <a:pt x="651395" y="420268"/>
                  </a:lnTo>
                  <a:lnTo>
                    <a:pt x="651408" y="408533"/>
                  </a:lnTo>
                  <a:lnTo>
                    <a:pt x="645528" y="398399"/>
                  </a:lnTo>
                  <a:lnTo>
                    <a:pt x="637514" y="394525"/>
                  </a:lnTo>
                  <a:lnTo>
                    <a:pt x="630440" y="394195"/>
                  </a:lnTo>
                  <a:lnTo>
                    <a:pt x="627405" y="394690"/>
                  </a:lnTo>
                  <a:lnTo>
                    <a:pt x="498182" y="429285"/>
                  </a:lnTo>
                  <a:lnTo>
                    <a:pt x="364896" y="352412"/>
                  </a:lnTo>
                  <a:lnTo>
                    <a:pt x="498246" y="275488"/>
                  </a:lnTo>
                  <a:lnTo>
                    <a:pt x="627468" y="310108"/>
                  </a:lnTo>
                  <a:lnTo>
                    <a:pt x="630504" y="310603"/>
                  </a:lnTo>
                  <a:lnTo>
                    <a:pt x="637565" y="310286"/>
                  </a:lnTo>
                  <a:lnTo>
                    <a:pt x="645579" y="306412"/>
                  </a:lnTo>
                  <a:lnTo>
                    <a:pt x="651471" y="296265"/>
                  </a:lnTo>
                  <a:close/>
                </a:path>
              </a:pathLst>
            </a:custGeom>
            <a:solidFill>
              <a:srgbClr val="FFFFFF"/>
            </a:solidFill>
          </p:spPr>
          <p:txBody>
            <a:bodyPr wrap="square" lIns="0" tIns="0" rIns="0" bIns="0" rtlCol="0"/>
            <a:lstStyle/>
            <a:p>
              <a:endParaRPr/>
            </a:p>
          </p:txBody>
        </p:sp>
      </p:grpSp>
      <p:sp>
        <p:nvSpPr>
          <p:cNvPr id="106" name="object 106"/>
          <p:cNvSpPr txBox="1"/>
          <p:nvPr/>
        </p:nvSpPr>
        <p:spPr>
          <a:xfrm>
            <a:off x="13040117" y="7640056"/>
            <a:ext cx="511809" cy="220979"/>
          </a:xfrm>
          <a:prstGeom prst="rect">
            <a:avLst/>
          </a:prstGeom>
        </p:spPr>
        <p:txBody>
          <a:bodyPr vert="horz" wrap="square" lIns="0" tIns="16510" rIns="0" bIns="0" rtlCol="0">
            <a:spAutoFit/>
          </a:bodyPr>
          <a:lstStyle/>
          <a:p>
            <a:pPr marL="12700">
              <a:lnSpc>
                <a:spcPct val="100000"/>
              </a:lnSpc>
              <a:spcBef>
                <a:spcPts val="130"/>
              </a:spcBef>
            </a:pPr>
            <a:r>
              <a:rPr sz="1250" b="1" spc="-20" dirty="0">
                <a:solidFill>
                  <a:srgbClr val="FFFFFF"/>
                </a:solidFill>
                <a:latin typeface="Arial"/>
                <a:cs typeface="Arial"/>
              </a:rPr>
              <a:t>CABA</a:t>
            </a:r>
            <a:endParaRPr sz="1250">
              <a:latin typeface="Arial"/>
              <a:cs typeface="Arial"/>
            </a:endParaRPr>
          </a:p>
        </p:txBody>
      </p:sp>
      <p:sp>
        <p:nvSpPr>
          <p:cNvPr id="107" name="object 107"/>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4.</a:t>
            </a:r>
            <a:r>
              <a:rPr spc="-70" dirty="0"/>
              <a:t> </a:t>
            </a:r>
            <a:r>
              <a:rPr spc="-30" dirty="0"/>
              <a:t>Situación</a:t>
            </a:r>
            <a:r>
              <a:rPr spc="-70" dirty="0"/>
              <a:t> </a:t>
            </a:r>
            <a:r>
              <a:rPr dirty="0"/>
              <a:t>de</a:t>
            </a:r>
            <a:r>
              <a:rPr spc="-65" dirty="0"/>
              <a:t> </a:t>
            </a:r>
            <a:r>
              <a:rPr spc="-10" dirty="0"/>
              <a:t>mercados</a:t>
            </a:r>
          </a:p>
        </p:txBody>
      </p:sp>
      <p:sp>
        <p:nvSpPr>
          <p:cNvPr id="108" name="object 108"/>
          <p:cNvSpPr txBox="1"/>
          <p:nvPr/>
        </p:nvSpPr>
        <p:spPr>
          <a:xfrm>
            <a:off x="13175184" y="1973529"/>
            <a:ext cx="3279140" cy="690880"/>
          </a:xfrm>
          <a:prstGeom prst="rect">
            <a:avLst/>
          </a:prstGeom>
        </p:spPr>
        <p:txBody>
          <a:bodyPr vert="horz" wrap="square" lIns="0" tIns="11430" rIns="0" bIns="0" rtlCol="0">
            <a:spAutoFit/>
          </a:bodyPr>
          <a:lstStyle/>
          <a:p>
            <a:pPr marL="12700">
              <a:lnSpc>
                <a:spcPts val="2890"/>
              </a:lnSpc>
              <a:spcBef>
                <a:spcPts val="90"/>
              </a:spcBef>
            </a:pPr>
            <a:r>
              <a:rPr sz="2500" b="1" spc="-10" dirty="0">
                <a:solidFill>
                  <a:srgbClr val="CD2028"/>
                </a:solidFill>
                <a:latin typeface="Roboto"/>
                <a:cs typeface="Roboto"/>
              </a:rPr>
              <a:t>INVIERNO</a:t>
            </a:r>
            <a:endParaRPr sz="2500">
              <a:latin typeface="Roboto"/>
              <a:cs typeface="Roboto"/>
            </a:endParaRPr>
          </a:p>
          <a:p>
            <a:pPr marL="12700">
              <a:lnSpc>
                <a:spcPts val="2350"/>
              </a:lnSpc>
            </a:pPr>
            <a:r>
              <a:rPr sz="2050" dirty="0">
                <a:solidFill>
                  <a:srgbClr val="737373"/>
                </a:solidFill>
                <a:latin typeface="Roboto"/>
                <a:cs typeface="Roboto"/>
              </a:rPr>
              <a:t>Llegadas</a:t>
            </a:r>
            <a:r>
              <a:rPr sz="2050" spc="-50" dirty="0">
                <a:solidFill>
                  <a:srgbClr val="737373"/>
                </a:solidFill>
                <a:latin typeface="Roboto"/>
                <a:cs typeface="Roboto"/>
              </a:rPr>
              <a:t> </a:t>
            </a:r>
            <a:r>
              <a:rPr sz="2050" dirty="0">
                <a:solidFill>
                  <a:srgbClr val="737373"/>
                </a:solidFill>
                <a:latin typeface="Roboto"/>
                <a:cs typeface="Roboto"/>
              </a:rPr>
              <a:t>en</a:t>
            </a:r>
            <a:r>
              <a:rPr sz="2050" spc="-50" dirty="0">
                <a:solidFill>
                  <a:srgbClr val="737373"/>
                </a:solidFill>
                <a:latin typeface="Roboto"/>
                <a:cs typeface="Roboto"/>
              </a:rPr>
              <a:t> </a:t>
            </a:r>
            <a:r>
              <a:rPr sz="2050" spc="-10" dirty="0">
                <a:solidFill>
                  <a:srgbClr val="737373"/>
                </a:solidFill>
                <a:latin typeface="Roboto"/>
                <a:cs typeface="Roboto"/>
              </a:rPr>
              <a:t>invierno</a:t>
            </a:r>
            <a:r>
              <a:rPr sz="2050" spc="-50" dirty="0">
                <a:solidFill>
                  <a:srgbClr val="737373"/>
                </a:solidFill>
                <a:latin typeface="Roboto"/>
                <a:cs typeface="Roboto"/>
              </a:rPr>
              <a:t> </a:t>
            </a:r>
            <a:r>
              <a:rPr sz="2050" dirty="0">
                <a:solidFill>
                  <a:srgbClr val="737373"/>
                </a:solidFill>
                <a:latin typeface="Roboto"/>
                <a:cs typeface="Roboto"/>
              </a:rPr>
              <a:t>a</a:t>
            </a:r>
            <a:r>
              <a:rPr sz="2050" spc="-50" dirty="0">
                <a:solidFill>
                  <a:srgbClr val="737373"/>
                </a:solidFill>
                <a:latin typeface="Roboto"/>
                <a:cs typeface="Roboto"/>
              </a:rPr>
              <a:t> </a:t>
            </a:r>
            <a:r>
              <a:rPr sz="2050" spc="-20" dirty="0">
                <a:solidFill>
                  <a:srgbClr val="737373"/>
                </a:solidFill>
                <a:latin typeface="Roboto"/>
                <a:cs typeface="Roboto"/>
              </a:rPr>
              <a:t>Chile</a:t>
            </a:r>
            <a:endParaRPr sz="2050">
              <a:latin typeface="Roboto"/>
              <a:cs typeface="Roboto"/>
            </a:endParaRPr>
          </a:p>
        </p:txBody>
      </p:sp>
      <p:sp>
        <p:nvSpPr>
          <p:cNvPr id="109" name="object 109"/>
          <p:cNvSpPr txBox="1"/>
          <p:nvPr/>
        </p:nvSpPr>
        <p:spPr>
          <a:xfrm>
            <a:off x="2248735" y="1973529"/>
            <a:ext cx="3149600" cy="690880"/>
          </a:xfrm>
          <a:prstGeom prst="rect">
            <a:avLst/>
          </a:prstGeom>
        </p:spPr>
        <p:txBody>
          <a:bodyPr vert="horz" wrap="square" lIns="0" tIns="11430" rIns="0" bIns="0" rtlCol="0">
            <a:spAutoFit/>
          </a:bodyPr>
          <a:lstStyle/>
          <a:p>
            <a:pPr marL="12700">
              <a:lnSpc>
                <a:spcPts val="2890"/>
              </a:lnSpc>
              <a:spcBef>
                <a:spcPts val="90"/>
              </a:spcBef>
            </a:pPr>
            <a:r>
              <a:rPr sz="2500" b="1" spc="-10" dirty="0">
                <a:solidFill>
                  <a:srgbClr val="CD2028"/>
                </a:solidFill>
                <a:latin typeface="Roboto"/>
                <a:cs typeface="Roboto"/>
              </a:rPr>
              <a:t>VERANO</a:t>
            </a:r>
            <a:endParaRPr sz="2500">
              <a:latin typeface="Roboto"/>
              <a:cs typeface="Roboto"/>
            </a:endParaRPr>
          </a:p>
          <a:p>
            <a:pPr marL="12700">
              <a:lnSpc>
                <a:spcPts val="2350"/>
              </a:lnSpc>
            </a:pPr>
            <a:r>
              <a:rPr sz="2050" dirty="0">
                <a:solidFill>
                  <a:srgbClr val="737373"/>
                </a:solidFill>
                <a:latin typeface="Roboto"/>
                <a:cs typeface="Roboto"/>
              </a:rPr>
              <a:t>Llegadas</a:t>
            </a:r>
            <a:r>
              <a:rPr sz="2050" spc="-55" dirty="0">
                <a:solidFill>
                  <a:srgbClr val="737373"/>
                </a:solidFill>
                <a:latin typeface="Roboto"/>
                <a:cs typeface="Roboto"/>
              </a:rPr>
              <a:t> </a:t>
            </a:r>
            <a:r>
              <a:rPr sz="2050" dirty="0">
                <a:solidFill>
                  <a:srgbClr val="737373"/>
                </a:solidFill>
                <a:latin typeface="Roboto"/>
                <a:cs typeface="Roboto"/>
              </a:rPr>
              <a:t>en</a:t>
            </a:r>
            <a:r>
              <a:rPr sz="2050" spc="-55" dirty="0">
                <a:solidFill>
                  <a:srgbClr val="737373"/>
                </a:solidFill>
                <a:latin typeface="Roboto"/>
                <a:cs typeface="Roboto"/>
              </a:rPr>
              <a:t> </a:t>
            </a:r>
            <a:r>
              <a:rPr sz="2050" dirty="0">
                <a:solidFill>
                  <a:srgbClr val="737373"/>
                </a:solidFill>
                <a:latin typeface="Roboto"/>
                <a:cs typeface="Roboto"/>
              </a:rPr>
              <a:t>verano</a:t>
            </a:r>
            <a:r>
              <a:rPr sz="2050" spc="-50" dirty="0">
                <a:solidFill>
                  <a:srgbClr val="737373"/>
                </a:solidFill>
                <a:latin typeface="Roboto"/>
                <a:cs typeface="Roboto"/>
              </a:rPr>
              <a:t> </a:t>
            </a:r>
            <a:r>
              <a:rPr sz="2050" dirty="0">
                <a:solidFill>
                  <a:srgbClr val="737373"/>
                </a:solidFill>
                <a:latin typeface="Roboto"/>
                <a:cs typeface="Roboto"/>
              </a:rPr>
              <a:t>a</a:t>
            </a:r>
            <a:r>
              <a:rPr sz="2050" spc="-55" dirty="0">
                <a:solidFill>
                  <a:srgbClr val="737373"/>
                </a:solidFill>
                <a:latin typeface="Roboto"/>
                <a:cs typeface="Roboto"/>
              </a:rPr>
              <a:t> </a:t>
            </a:r>
            <a:r>
              <a:rPr sz="2050" spc="-20" dirty="0">
                <a:solidFill>
                  <a:srgbClr val="737373"/>
                </a:solidFill>
                <a:latin typeface="Roboto"/>
                <a:cs typeface="Roboto"/>
              </a:rPr>
              <a:t>Chile</a:t>
            </a:r>
            <a:endParaRPr sz="2050">
              <a:latin typeface="Roboto"/>
              <a:cs typeface="Roboto"/>
            </a:endParaRPr>
          </a:p>
        </p:txBody>
      </p:sp>
      <p:sp>
        <p:nvSpPr>
          <p:cNvPr id="110" name="object 110"/>
          <p:cNvSpPr txBox="1"/>
          <p:nvPr/>
        </p:nvSpPr>
        <p:spPr>
          <a:xfrm>
            <a:off x="6221686" y="4490279"/>
            <a:ext cx="628650" cy="681990"/>
          </a:xfrm>
          <a:prstGeom prst="rect">
            <a:avLst/>
          </a:prstGeom>
        </p:spPr>
        <p:txBody>
          <a:bodyPr vert="horz" wrap="square" lIns="0" tIns="24765" rIns="0" bIns="0" rtlCol="0">
            <a:spAutoFit/>
          </a:bodyPr>
          <a:lstStyle/>
          <a:p>
            <a:pPr marL="12700" marR="5080" algn="ctr">
              <a:lnSpc>
                <a:spcPts val="1280"/>
              </a:lnSpc>
              <a:spcBef>
                <a:spcPts val="195"/>
              </a:spcBef>
            </a:pPr>
            <a:r>
              <a:rPr sz="1100" b="1" spc="-10" dirty="0">
                <a:solidFill>
                  <a:srgbClr val="FFFFFF"/>
                </a:solidFill>
                <a:latin typeface="Roboto"/>
                <a:cs typeface="Roboto"/>
              </a:rPr>
              <a:t>Alemania España Francia </a:t>
            </a:r>
            <a:r>
              <a:rPr sz="1100" b="1" spc="-25" dirty="0">
                <a:solidFill>
                  <a:srgbClr val="FFFFFF"/>
                </a:solidFill>
                <a:latin typeface="Roboto"/>
                <a:cs typeface="Roboto"/>
              </a:rPr>
              <a:t>UK</a:t>
            </a:r>
            <a:endParaRPr sz="1100">
              <a:latin typeface="Roboto"/>
              <a:cs typeface="Roboto"/>
            </a:endParaRPr>
          </a:p>
        </p:txBody>
      </p:sp>
      <p:sp>
        <p:nvSpPr>
          <p:cNvPr id="111" name="object 111"/>
          <p:cNvSpPr txBox="1"/>
          <p:nvPr/>
        </p:nvSpPr>
        <p:spPr>
          <a:xfrm>
            <a:off x="6802886" y="1971044"/>
            <a:ext cx="2454275" cy="630555"/>
          </a:xfrm>
          <a:prstGeom prst="rect">
            <a:avLst/>
          </a:prstGeom>
        </p:spPr>
        <p:txBody>
          <a:bodyPr vert="horz" wrap="square" lIns="0" tIns="49530" rIns="0" bIns="0" rtlCol="0">
            <a:spAutoFit/>
          </a:bodyPr>
          <a:lstStyle/>
          <a:p>
            <a:pPr marL="252729" marR="5080" indent="-240665">
              <a:lnSpc>
                <a:spcPts val="2250"/>
              </a:lnSpc>
              <a:spcBef>
                <a:spcPts val="390"/>
              </a:spcBef>
            </a:pPr>
            <a:r>
              <a:rPr sz="2100" b="1" dirty="0">
                <a:solidFill>
                  <a:srgbClr val="FFFFFF"/>
                </a:solidFill>
                <a:latin typeface="Roboto"/>
                <a:cs typeface="Roboto"/>
              </a:rPr>
              <a:t>Todos</a:t>
            </a:r>
            <a:r>
              <a:rPr sz="2100" b="1" spc="-20" dirty="0">
                <a:solidFill>
                  <a:srgbClr val="FFFFFF"/>
                </a:solidFill>
                <a:latin typeface="Roboto"/>
                <a:cs typeface="Roboto"/>
              </a:rPr>
              <a:t> </a:t>
            </a:r>
            <a:r>
              <a:rPr sz="2100" b="1" dirty="0">
                <a:solidFill>
                  <a:srgbClr val="FFFFFF"/>
                </a:solidFill>
                <a:latin typeface="Roboto"/>
                <a:cs typeface="Roboto"/>
              </a:rPr>
              <a:t>los</a:t>
            </a:r>
            <a:r>
              <a:rPr sz="2100" b="1" spc="-20" dirty="0">
                <a:solidFill>
                  <a:srgbClr val="FFFFFF"/>
                </a:solidFill>
                <a:latin typeface="Roboto"/>
                <a:cs typeface="Roboto"/>
              </a:rPr>
              <a:t> </a:t>
            </a:r>
            <a:r>
              <a:rPr sz="2100" b="1" spc="-10" dirty="0">
                <a:solidFill>
                  <a:srgbClr val="FFFFFF"/>
                </a:solidFill>
                <a:latin typeface="Roboto"/>
                <a:cs typeface="Roboto"/>
              </a:rPr>
              <a:t>mercados </a:t>
            </a:r>
            <a:r>
              <a:rPr sz="2100" b="1" dirty="0">
                <a:solidFill>
                  <a:srgbClr val="FFFFFF"/>
                </a:solidFill>
                <a:latin typeface="Roboto"/>
                <a:cs typeface="Roboto"/>
              </a:rPr>
              <a:t>viajan</a:t>
            </a:r>
            <a:r>
              <a:rPr sz="2100" b="1" spc="-75" dirty="0">
                <a:solidFill>
                  <a:srgbClr val="FFFFFF"/>
                </a:solidFill>
                <a:latin typeface="Roboto"/>
                <a:cs typeface="Roboto"/>
              </a:rPr>
              <a:t> </a:t>
            </a:r>
            <a:r>
              <a:rPr sz="2100" b="1" dirty="0">
                <a:solidFill>
                  <a:srgbClr val="FFFFFF"/>
                </a:solidFill>
                <a:latin typeface="Roboto"/>
                <a:cs typeface="Roboto"/>
              </a:rPr>
              <a:t>en</a:t>
            </a:r>
            <a:r>
              <a:rPr sz="2100" b="1" spc="-75" dirty="0">
                <a:solidFill>
                  <a:srgbClr val="FFFFFF"/>
                </a:solidFill>
                <a:latin typeface="Roboto"/>
                <a:cs typeface="Roboto"/>
              </a:rPr>
              <a:t> </a:t>
            </a:r>
            <a:r>
              <a:rPr sz="2100" b="1" spc="-10" dirty="0">
                <a:solidFill>
                  <a:srgbClr val="FFFFFF"/>
                </a:solidFill>
                <a:latin typeface="Roboto"/>
                <a:cs typeface="Roboto"/>
              </a:rPr>
              <a:t>verano</a:t>
            </a:r>
            <a:endParaRPr sz="2100">
              <a:latin typeface="Roboto"/>
              <a:cs typeface="Roboto"/>
            </a:endParaRPr>
          </a:p>
        </p:txBody>
      </p:sp>
      <p:sp>
        <p:nvSpPr>
          <p:cNvPr id="112" name="object 112"/>
          <p:cNvSpPr/>
          <p:nvPr/>
        </p:nvSpPr>
        <p:spPr>
          <a:xfrm>
            <a:off x="14742881" y="2967320"/>
            <a:ext cx="3545204" cy="1808480"/>
          </a:xfrm>
          <a:custGeom>
            <a:avLst/>
            <a:gdLst/>
            <a:ahLst/>
            <a:cxnLst/>
            <a:rect l="l" t="t" r="r" b="b"/>
            <a:pathLst>
              <a:path w="3545205" h="1808479">
                <a:moveTo>
                  <a:pt x="0" y="910028"/>
                </a:moveTo>
                <a:lnTo>
                  <a:pt x="0" y="899017"/>
                </a:lnTo>
                <a:lnTo>
                  <a:pt x="431341" y="0"/>
                </a:lnTo>
                <a:lnTo>
                  <a:pt x="3545118" y="0"/>
                </a:lnTo>
                <a:lnTo>
                  <a:pt x="3545118" y="1808261"/>
                </a:lnTo>
                <a:lnTo>
                  <a:pt x="430964" y="1808261"/>
                </a:lnTo>
                <a:lnTo>
                  <a:pt x="0" y="910028"/>
                </a:lnTo>
                <a:close/>
              </a:path>
            </a:pathLst>
          </a:custGeom>
          <a:solidFill>
            <a:srgbClr val="E3112B"/>
          </a:solidFill>
        </p:spPr>
        <p:txBody>
          <a:bodyPr wrap="square" lIns="0" tIns="0" rIns="0" bIns="0" rtlCol="0"/>
          <a:lstStyle/>
          <a:p>
            <a:endParaRPr/>
          </a:p>
        </p:txBody>
      </p:sp>
      <p:sp>
        <p:nvSpPr>
          <p:cNvPr id="113" name="object 113"/>
          <p:cNvSpPr txBox="1"/>
          <p:nvPr/>
        </p:nvSpPr>
        <p:spPr>
          <a:xfrm>
            <a:off x="15439589" y="3290296"/>
            <a:ext cx="2505075" cy="1202055"/>
          </a:xfrm>
          <a:prstGeom prst="rect">
            <a:avLst/>
          </a:prstGeom>
        </p:spPr>
        <p:txBody>
          <a:bodyPr vert="horz" wrap="square" lIns="0" tIns="49530" rIns="0" bIns="0" rtlCol="0">
            <a:spAutoFit/>
          </a:bodyPr>
          <a:lstStyle/>
          <a:p>
            <a:pPr marL="12700" marR="5080">
              <a:lnSpc>
                <a:spcPts val="2250"/>
              </a:lnSpc>
              <a:spcBef>
                <a:spcPts val="390"/>
              </a:spcBef>
            </a:pPr>
            <a:r>
              <a:rPr sz="2100" spc="-10" dirty="0">
                <a:solidFill>
                  <a:srgbClr val="FFFFFF"/>
                </a:solidFill>
                <a:latin typeface="Roboto"/>
                <a:cs typeface="Roboto"/>
              </a:rPr>
              <a:t>Mercados</a:t>
            </a:r>
            <a:r>
              <a:rPr sz="2100" spc="-110" dirty="0">
                <a:solidFill>
                  <a:srgbClr val="FFFFFF"/>
                </a:solidFill>
                <a:latin typeface="Roboto"/>
                <a:cs typeface="Roboto"/>
              </a:rPr>
              <a:t> </a:t>
            </a:r>
            <a:r>
              <a:rPr sz="2100" spc="-20" dirty="0">
                <a:solidFill>
                  <a:srgbClr val="FFFFFF"/>
                </a:solidFill>
                <a:latin typeface="Roboto"/>
                <a:cs typeface="Roboto"/>
              </a:rPr>
              <a:t>regionales </a:t>
            </a:r>
            <a:r>
              <a:rPr sz="2100" dirty="0">
                <a:solidFill>
                  <a:srgbClr val="FFFFFF"/>
                </a:solidFill>
                <a:latin typeface="Roboto"/>
                <a:cs typeface="Roboto"/>
              </a:rPr>
              <a:t>y</a:t>
            </a:r>
            <a:r>
              <a:rPr sz="2100" spc="-70" dirty="0">
                <a:solidFill>
                  <a:srgbClr val="FFFFFF"/>
                </a:solidFill>
                <a:latin typeface="Roboto"/>
                <a:cs typeface="Roboto"/>
              </a:rPr>
              <a:t> </a:t>
            </a:r>
            <a:r>
              <a:rPr sz="2100" spc="-20" dirty="0">
                <a:solidFill>
                  <a:srgbClr val="FFFFFF"/>
                </a:solidFill>
                <a:latin typeface="Roboto"/>
                <a:cs typeface="Roboto"/>
              </a:rPr>
              <a:t>limítrofes</a:t>
            </a:r>
            <a:r>
              <a:rPr sz="2100" spc="-70" dirty="0">
                <a:solidFill>
                  <a:srgbClr val="FFFFFF"/>
                </a:solidFill>
                <a:latin typeface="Roboto"/>
                <a:cs typeface="Roboto"/>
              </a:rPr>
              <a:t> </a:t>
            </a:r>
            <a:r>
              <a:rPr sz="2100" spc="-30" dirty="0">
                <a:solidFill>
                  <a:srgbClr val="FFFFFF"/>
                </a:solidFill>
                <a:latin typeface="Roboto"/>
                <a:cs typeface="Roboto"/>
              </a:rPr>
              <a:t>ayudan</a:t>
            </a:r>
            <a:r>
              <a:rPr sz="2100" spc="-70" dirty="0">
                <a:solidFill>
                  <a:srgbClr val="FFFFFF"/>
                </a:solidFill>
                <a:latin typeface="Roboto"/>
                <a:cs typeface="Roboto"/>
              </a:rPr>
              <a:t> </a:t>
            </a:r>
            <a:r>
              <a:rPr sz="2100" spc="-50" dirty="0">
                <a:solidFill>
                  <a:srgbClr val="FFFFFF"/>
                </a:solidFill>
                <a:latin typeface="Roboto"/>
                <a:cs typeface="Roboto"/>
              </a:rPr>
              <a:t>a </a:t>
            </a:r>
            <a:r>
              <a:rPr sz="2100" b="1" spc="-10" dirty="0">
                <a:solidFill>
                  <a:srgbClr val="FFFFFF"/>
                </a:solidFill>
                <a:latin typeface="Roboto"/>
                <a:cs typeface="Roboto"/>
              </a:rPr>
              <a:t>desestacionalizar</a:t>
            </a:r>
            <a:r>
              <a:rPr sz="2100" b="1" spc="-50" dirty="0">
                <a:solidFill>
                  <a:srgbClr val="FFFFFF"/>
                </a:solidFill>
                <a:latin typeface="Roboto"/>
                <a:cs typeface="Roboto"/>
              </a:rPr>
              <a:t> y </a:t>
            </a:r>
            <a:r>
              <a:rPr sz="2100" b="1" spc="-10" dirty="0">
                <a:solidFill>
                  <a:srgbClr val="FFFFFF"/>
                </a:solidFill>
                <a:latin typeface="Roboto"/>
                <a:cs typeface="Roboto"/>
              </a:rPr>
              <a:t>distribuir</a:t>
            </a:r>
            <a:endParaRPr sz="2100">
              <a:latin typeface="Roboto"/>
              <a:cs typeface="Roboto"/>
            </a:endParaRPr>
          </a:p>
        </p:txBody>
      </p:sp>
      <p:sp>
        <p:nvSpPr>
          <p:cNvPr id="114" name="object 114"/>
          <p:cNvSpPr txBox="1"/>
          <p:nvPr/>
        </p:nvSpPr>
        <p:spPr>
          <a:xfrm rot="16680000">
            <a:off x="12042341" y="7368642"/>
            <a:ext cx="887356" cy="279400"/>
          </a:xfrm>
          <a:prstGeom prst="rect">
            <a:avLst/>
          </a:prstGeom>
        </p:spPr>
        <p:txBody>
          <a:bodyPr vert="horz" wrap="square" lIns="0" tIns="0" rIns="0" bIns="0" rtlCol="0">
            <a:spAutoFit/>
          </a:bodyPr>
          <a:lstStyle/>
          <a:p>
            <a:pPr>
              <a:lnSpc>
                <a:spcPts val="2039"/>
              </a:lnSpc>
            </a:pPr>
            <a:r>
              <a:rPr sz="2200" b="1" spc="-10" dirty="0">
                <a:solidFill>
                  <a:srgbClr val="E3112B"/>
                </a:solidFill>
                <a:latin typeface="Arial"/>
                <a:cs typeface="Arial"/>
              </a:rPr>
              <a:t>CH</a:t>
            </a:r>
            <a:r>
              <a:rPr sz="3300" b="1" spc="-15" baseline="1262" dirty="0">
                <a:solidFill>
                  <a:srgbClr val="E3112B"/>
                </a:solidFill>
                <a:latin typeface="Arial"/>
                <a:cs typeface="Arial"/>
              </a:rPr>
              <a:t>ILE</a:t>
            </a:r>
            <a:endParaRPr sz="3300" baseline="1262">
              <a:latin typeface="Arial"/>
              <a:cs typeface="Arial"/>
            </a:endParaRPr>
          </a:p>
        </p:txBody>
      </p:sp>
      <p:sp>
        <p:nvSpPr>
          <p:cNvPr id="115" name="object 115"/>
          <p:cNvSpPr txBox="1"/>
          <p:nvPr/>
        </p:nvSpPr>
        <p:spPr>
          <a:xfrm rot="16680000">
            <a:off x="2950358" y="7652915"/>
            <a:ext cx="447393" cy="139700"/>
          </a:xfrm>
          <a:prstGeom prst="rect">
            <a:avLst/>
          </a:prstGeom>
        </p:spPr>
        <p:txBody>
          <a:bodyPr vert="horz" wrap="square" lIns="0" tIns="0" rIns="0" bIns="0" rtlCol="0">
            <a:spAutoFit/>
          </a:bodyPr>
          <a:lstStyle/>
          <a:p>
            <a:pPr>
              <a:lnSpc>
                <a:spcPts val="1030"/>
              </a:lnSpc>
            </a:pPr>
            <a:r>
              <a:rPr sz="1100" b="1" spc="-10" dirty="0">
                <a:solidFill>
                  <a:srgbClr val="E3112B"/>
                </a:solidFill>
                <a:latin typeface="Arial"/>
                <a:cs typeface="Arial"/>
              </a:rPr>
              <a:t>CHI</a:t>
            </a:r>
            <a:r>
              <a:rPr sz="1650" b="1" spc="-15" baseline="2525" dirty="0">
                <a:solidFill>
                  <a:srgbClr val="E3112B"/>
                </a:solidFill>
                <a:latin typeface="Arial"/>
                <a:cs typeface="Arial"/>
              </a:rPr>
              <a:t>LE</a:t>
            </a:r>
            <a:endParaRPr sz="1650" baseline="2525">
              <a:latin typeface="Arial"/>
              <a:cs typeface="Arial"/>
            </a:endParaRPr>
          </a:p>
        </p:txBody>
      </p:sp>
      <p:grpSp>
        <p:nvGrpSpPr>
          <p:cNvPr id="116" name="object 116"/>
          <p:cNvGrpSpPr/>
          <p:nvPr/>
        </p:nvGrpSpPr>
        <p:grpSpPr>
          <a:xfrm>
            <a:off x="13001509" y="237491"/>
            <a:ext cx="5058410" cy="7362190"/>
            <a:chOff x="13001509" y="237491"/>
            <a:chExt cx="5058410" cy="7362190"/>
          </a:xfrm>
        </p:grpSpPr>
        <p:sp>
          <p:nvSpPr>
            <p:cNvPr id="117" name="object 117"/>
            <p:cNvSpPr/>
            <p:nvPr/>
          </p:nvSpPr>
          <p:spPr>
            <a:xfrm>
              <a:off x="13001509" y="7010905"/>
              <a:ext cx="588645" cy="588645"/>
            </a:xfrm>
            <a:custGeom>
              <a:avLst/>
              <a:gdLst/>
              <a:ahLst/>
              <a:cxnLst/>
              <a:rect l="l" t="t" r="r" b="b"/>
              <a:pathLst>
                <a:path w="588644" h="588645">
                  <a:moveTo>
                    <a:pt x="294247" y="588486"/>
                  </a:moveTo>
                  <a:lnTo>
                    <a:pt x="246515" y="584635"/>
                  </a:lnTo>
                  <a:lnTo>
                    <a:pt x="201239" y="573485"/>
                  </a:lnTo>
                  <a:lnTo>
                    <a:pt x="159021" y="555643"/>
                  </a:lnTo>
                  <a:lnTo>
                    <a:pt x="120466" y="531714"/>
                  </a:lnTo>
                  <a:lnTo>
                    <a:pt x="86181" y="502304"/>
                  </a:lnTo>
                  <a:lnTo>
                    <a:pt x="56771" y="468019"/>
                  </a:lnTo>
                  <a:lnTo>
                    <a:pt x="32842" y="429464"/>
                  </a:lnTo>
                  <a:lnTo>
                    <a:pt x="15000" y="387246"/>
                  </a:lnTo>
                  <a:lnTo>
                    <a:pt x="3850" y="341970"/>
                  </a:lnTo>
                  <a:lnTo>
                    <a:pt x="0" y="294245"/>
                  </a:lnTo>
                  <a:lnTo>
                    <a:pt x="3850" y="246515"/>
                  </a:lnTo>
                  <a:lnTo>
                    <a:pt x="15000" y="201239"/>
                  </a:lnTo>
                  <a:lnTo>
                    <a:pt x="32842" y="159021"/>
                  </a:lnTo>
                  <a:lnTo>
                    <a:pt x="56771" y="120467"/>
                  </a:lnTo>
                  <a:lnTo>
                    <a:pt x="86181" y="86181"/>
                  </a:lnTo>
                  <a:lnTo>
                    <a:pt x="120466" y="56771"/>
                  </a:lnTo>
                  <a:lnTo>
                    <a:pt x="159021" y="32842"/>
                  </a:lnTo>
                  <a:lnTo>
                    <a:pt x="201239" y="15000"/>
                  </a:lnTo>
                  <a:lnTo>
                    <a:pt x="246515" y="3851"/>
                  </a:lnTo>
                  <a:lnTo>
                    <a:pt x="294243" y="0"/>
                  </a:lnTo>
                  <a:lnTo>
                    <a:pt x="341970" y="3851"/>
                  </a:lnTo>
                  <a:lnTo>
                    <a:pt x="387246" y="15000"/>
                  </a:lnTo>
                  <a:lnTo>
                    <a:pt x="429464" y="32842"/>
                  </a:lnTo>
                  <a:lnTo>
                    <a:pt x="468019" y="56771"/>
                  </a:lnTo>
                  <a:lnTo>
                    <a:pt x="502304" y="86181"/>
                  </a:lnTo>
                  <a:lnTo>
                    <a:pt x="531714" y="120467"/>
                  </a:lnTo>
                  <a:lnTo>
                    <a:pt x="555642" y="159021"/>
                  </a:lnTo>
                  <a:lnTo>
                    <a:pt x="573485" y="201239"/>
                  </a:lnTo>
                  <a:lnTo>
                    <a:pt x="584634" y="246515"/>
                  </a:lnTo>
                  <a:lnTo>
                    <a:pt x="588485" y="294245"/>
                  </a:lnTo>
                  <a:lnTo>
                    <a:pt x="584634" y="341970"/>
                  </a:lnTo>
                  <a:lnTo>
                    <a:pt x="573485" y="387246"/>
                  </a:lnTo>
                  <a:lnTo>
                    <a:pt x="555642" y="429464"/>
                  </a:lnTo>
                  <a:lnTo>
                    <a:pt x="531714" y="468019"/>
                  </a:lnTo>
                  <a:lnTo>
                    <a:pt x="502304" y="502304"/>
                  </a:lnTo>
                  <a:lnTo>
                    <a:pt x="468019" y="531714"/>
                  </a:lnTo>
                  <a:lnTo>
                    <a:pt x="429464" y="555643"/>
                  </a:lnTo>
                  <a:lnTo>
                    <a:pt x="387246" y="573485"/>
                  </a:lnTo>
                  <a:lnTo>
                    <a:pt x="341970" y="584635"/>
                  </a:lnTo>
                  <a:lnTo>
                    <a:pt x="294247" y="588486"/>
                  </a:lnTo>
                  <a:close/>
                </a:path>
              </a:pathLst>
            </a:custGeom>
            <a:solidFill>
              <a:srgbClr val="FFFFFF"/>
            </a:solidFill>
          </p:spPr>
          <p:txBody>
            <a:bodyPr wrap="square" lIns="0" tIns="0" rIns="0" bIns="0" rtlCol="0"/>
            <a:lstStyle/>
            <a:p>
              <a:endParaRPr/>
            </a:p>
          </p:txBody>
        </p:sp>
        <p:sp>
          <p:nvSpPr>
            <p:cNvPr id="118" name="object 118"/>
            <p:cNvSpPr/>
            <p:nvPr/>
          </p:nvSpPr>
          <p:spPr>
            <a:xfrm>
              <a:off x="13105908" y="7168033"/>
              <a:ext cx="381000" cy="276225"/>
            </a:xfrm>
            <a:custGeom>
              <a:avLst/>
              <a:gdLst/>
              <a:ahLst/>
              <a:cxnLst/>
              <a:rect l="l" t="t" r="r" b="b"/>
              <a:pathLst>
                <a:path w="381000" h="276225">
                  <a:moveTo>
                    <a:pt x="338666" y="276133"/>
                  </a:moveTo>
                  <a:lnTo>
                    <a:pt x="42333" y="276133"/>
                  </a:lnTo>
                  <a:lnTo>
                    <a:pt x="25855" y="272794"/>
                  </a:lnTo>
                  <a:lnTo>
                    <a:pt x="12399" y="263690"/>
                  </a:lnTo>
                  <a:lnTo>
                    <a:pt x="3326" y="250186"/>
                  </a:lnTo>
                  <a:lnTo>
                    <a:pt x="0" y="233651"/>
                  </a:lnTo>
                  <a:lnTo>
                    <a:pt x="0" y="42482"/>
                  </a:lnTo>
                  <a:lnTo>
                    <a:pt x="3326" y="25946"/>
                  </a:lnTo>
                  <a:lnTo>
                    <a:pt x="12399" y="12443"/>
                  </a:lnTo>
                  <a:lnTo>
                    <a:pt x="25855" y="3338"/>
                  </a:lnTo>
                  <a:lnTo>
                    <a:pt x="42333" y="0"/>
                  </a:lnTo>
                  <a:lnTo>
                    <a:pt x="338666" y="0"/>
                  </a:lnTo>
                  <a:lnTo>
                    <a:pt x="355144" y="3338"/>
                  </a:lnTo>
                  <a:lnTo>
                    <a:pt x="368600" y="12443"/>
                  </a:lnTo>
                  <a:lnTo>
                    <a:pt x="377672" y="25946"/>
                  </a:lnTo>
                  <a:lnTo>
                    <a:pt x="380999" y="42482"/>
                  </a:lnTo>
                  <a:lnTo>
                    <a:pt x="380999" y="233651"/>
                  </a:lnTo>
                  <a:lnTo>
                    <a:pt x="377672" y="250186"/>
                  </a:lnTo>
                  <a:lnTo>
                    <a:pt x="368600" y="263690"/>
                  </a:lnTo>
                  <a:lnTo>
                    <a:pt x="355144" y="272794"/>
                  </a:lnTo>
                  <a:lnTo>
                    <a:pt x="338666" y="276133"/>
                  </a:lnTo>
                  <a:close/>
                </a:path>
              </a:pathLst>
            </a:custGeom>
            <a:solidFill>
              <a:srgbClr val="74AADA"/>
            </a:solidFill>
          </p:spPr>
          <p:txBody>
            <a:bodyPr wrap="square" lIns="0" tIns="0" rIns="0" bIns="0" rtlCol="0"/>
            <a:lstStyle/>
            <a:p>
              <a:endParaRPr/>
            </a:p>
          </p:txBody>
        </p:sp>
        <p:sp>
          <p:nvSpPr>
            <p:cNvPr id="119" name="object 119"/>
            <p:cNvSpPr/>
            <p:nvPr/>
          </p:nvSpPr>
          <p:spPr>
            <a:xfrm>
              <a:off x="13105908" y="7252998"/>
              <a:ext cx="381000" cy="106680"/>
            </a:xfrm>
            <a:custGeom>
              <a:avLst/>
              <a:gdLst/>
              <a:ahLst/>
              <a:cxnLst/>
              <a:rect l="l" t="t" r="r" b="b"/>
              <a:pathLst>
                <a:path w="381000" h="106679">
                  <a:moveTo>
                    <a:pt x="380999" y="106205"/>
                  </a:moveTo>
                  <a:lnTo>
                    <a:pt x="0" y="106205"/>
                  </a:lnTo>
                  <a:lnTo>
                    <a:pt x="0" y="0"/>
                  </a:lnTo>
                  <a:lnTo>
                    <a:pt x="380999" y="0"/>
                  </a:lnTo>
                  <a:lnTo>
                    <a:pt x="380999" y="106205"/>
                  </a:lnTo>
                  <a:close/>
                </a:path>
              </a:pathLst>
            </a:custGeom>
            <a:solidFill>
              <a:srgbClr val="EDEDED"/>
            </a:solidFill>
          </p:spPr>
          <p:txBody>
            <a:bodyPr wrap="square" lIns="0" tIns="0" rIns="0" bIns="0" rtlCol="0"/>
            <a:lstStyle/>
            <a:p>
              <a:endParaRPr/>
            </a:p>
          </p:txBody>
        </p:sp>
        <p:pic>
          <p:nvPicPr>
            <p:cNvPr id="120" name="object 120"/>
            <p:cNvPicPr/>
            <p:nvPr/>
          </p:nvPicPr>
          <p:blipFill>
            <a:blip r:embed="rId23" cstate="print"/>
            <a:stretch>
              <a:fillRect/>
            </a:stretch>
          </p:blipFill>
          <p:spPr>
            <a:xfrm>
              <a:off x="13243491" y="7252998"/>
              <a:ext cx="105833" cy="106205"/>
            </a:xfrm>
            <a:prstGeom prst="rect">
              <a:avLst/>
            </a:prstGeom>
          </p:spPr>
        </p:pic>
        <p:pic>
          <p:nvPicPr>
            <p:cNvPr id="121" name="object 121"/>
            <p:cNvPicPr/>
            <p:nvPr/>
          </p:nvPicPr>
          <p:blipFill>
            <a:blip r:embed="rId24" cstate="print"/>
            <a:stretch>
              <a:fillRect/>
            </a:stretch>
          </p:blipFill>
          <p:spPr>
            <a:xfrm>
              <a:off x="17316449" y="237491"/>
              <a:ext cx="742949" cy="819149"/>
            </a:xfrm>
            <a:prstGeom prst="rect">
              <a:avLst/>
            </a:prstGeom>
          </p:spPr>
        </p:pic>
      </p:grpSp>
      <p:sp>
        <p:nvSpPr>
          <p:cNvPr id="122" name="object 122"/>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123" name="object 123"/>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11</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0734" y="152274"/>
            <a:ext cx="17958435" cy="10013950"/>
          </a:xfrm>
          <a:custGeom>
            <a:avLst/>
            <a:gdLst/>
            <a:ahLst/>
            <a:cxnLst/>
            <a:rect l="l" t="t" r="r" b="b"/>
            <a:pathLst>
              <a:path w="17958435" h="10013950">
                <a:moveTo>
                  <a:pt x="0" y="10013751"/>
                </a:moveTo>
                <a:lnTo>
                  <a:pt x="0" y="0"/>
                </a:lnTo>
                <a:lnTo>
                  <a:pt x="17958412" y="0"/>
                </a:lnTo>
                <a:lnTo>
                  <a:pt x="17958412" y="10013751"/>
                </a:lnTo>
                <a:lnTo>
                  <a:pt x="0" y="10013751"/>
                </a:lnTo>
                <a:close/>
              </a:path>
            </a:pathLst>
          </a:custGeom>
          <a:solidFill>
            <a:srgbClr val="21408B"/>
          </a:solidFill>
        </p:spPr>
        <p:txBody>
          <a:bodyPr wrap="square" lIns="0" tIns="0" rIns="0" bIns="0" rtlCol="0"/>
          <a:lstStyle/>
          <a:p>
            <a:endParaRPr/>
          </a:p>
        </p:txBody>
      </p:sp>
      <p:sp>
        <p:nvSpPr>
          <p:cNvPr id="3" name="object 3"/>
          <p:cNvSpPr txBox="1"/>
          <p:nvPr/>
        </p:nvSpPr>
        <p:spPr>
          <a:xfrm>
            <a:off x="1016000" y="2666372"/>
            <a:ext cx="6053455" cy="6199505"/>
          </a:xfrm>
          <a:prstGeom prst="rect">
            <a:avLst/>
          </a:prstGeom>
        </p:spPr>
        <p:txBody>
          <a:bodyPr vert="horz" wrap="square" lIns="0" tIns="38735" rIns="0" bIns="0" rtlCol="0">
            <a:spAutoFit/>
          </a:bodyPr>
          <a:lstStyle/>
          <a:p>
            <a:pPr marL="12700" marR="5080">
              <a:lnSpc>
                <a:spcPts val="4710"/>
              </a:lnSpc>
              <a:spcBef>
                <a:spcPts val="305"/>
              </a:spcBef>
            </a:pPr>
            <a:r>
              <a:rPr sz="3950" b="1" dirty="0">
                <a:solidFill>
                  <a:srgbClr val="FFFFFF"/>
                </a:solidFill>
                <a:latin typeface="Arial"/>
                <a:cs typeface="Arial"/>
              </a:rPr>
              <a:t>Nuevo</a:t>
            </a:r>
            <a:r>
              <a:rPr sz="3950" b="1" spc="-170" dirty="0">
                <a:solidFill>
                  <a:srgbClr val="FFFFFF"/>
                </a:solidFill>
                <a:latin typeface="Arial"/>
                <a:cs typeface="Arial"/>
              </a:rPr>
              <a:t> </a:t>
            </a:r>
            <a:r>
              <a:rPr sz="3950" b="1" dirty="0">
                <a:solidFill>
                  <a:srgbClr val="FFFFFF"/>
                </a:solidFill>
                <a:latin typeface="Arial"/>
                <a:cs typeface="Arial"/>
              </a:rPr>
              <a:t>Plan</a:t>
            </a:r>
            <a:r>
              <a:rPr sz="3950" b="1" spc="-165" dirty="0">
                <a:solidFill>
                  <a:srgbClr val="FFFFFF"/>
                </a:solidFill>
                <a:latin typeface="Arial"/>
                <a:cs typeface="Arial"/>
              </a:rPr>
              <a:t> </a:t>
            </a:r>
            <a:r>
              <a:rPr sz="3950" b="1" spc="65" dirty="0">
                <a:solidFill>
                  <a:srgbClr val="FFFFFF"/>
                </a:solidFill>
                <a:latin typeface="Arial"/>
                <a:cs typeface="Arial"/>
              </a:rPr>
              <a:t>de</a:t>
            </a:r>
            <a:r>
              <a:rPr sz="3950" b="1" spc="-170" dirty="0">
                <a:solidFill>
                  <a:srgbClr val="FFFFFF"/>
                </a:solidFill>
                <a:latin typeface="Arial"/>
                <a:cs typeface="Arial"/>
              </a:rPr>
              <a:t> </a:t>
            </a:r>
            <a:r>
              <a:rPr sz="3950" b="1" spc="50" dirty="0">
                <a:solidFill>
                  <a:srgbClr val="FFFFFF"/>
                </a:solidFill>
                <a:latin typeface="Arial"/>
                <a:cs typeface="Arial"/>
              </a:rPr>
              <a:t>Marketing </a:t>
            </a:r>
            <a:r>
              <a:rPr sz="3950" b="1" spc="-45" dirty="0">
                <a:solidFill>
                  <a:srgbClr val="FFFFFF"/>
                </a:solidFill>
                <a:latin typeface="Arial"/>
                <a:cs typeface="Arial"/>
              </a:rPr>
              <a:t>Turístico</a:t>
            </a:r>
            <a:r>
              <a:rPr sz="3950" b="1" spc="-229" dirty="0">
                <a:solidFill>
                  <a:srgbClr val="FFFFFF"/>
                </a:solidFill>
                <a:latin typeface="Arial"/>
                <a:cs typeface="Arial"/>
              </a:rPr>
              <a:t> </a:t>
            </a:r>
            <a:r>
              <a:rPr sz="3950" b="1" spc="65" dirty="0">
                <a:solidFill>
                  <a:srgbClr val="FFFFFF"/>
                </a:solidFill>
                <a:latin typeface="Arial"/>
                <a:cs typeface="Arial"/>
              </a:rPr>
              <a:t>Internacional de</a:t>
            </a:r>
            <a:r>
              <a:rPr sz="3950" b="1" spc="-130" dirty="0">
                <a:solidFill>
                  <a:srgbClr val="FFFFFF"/>
                </a:solidFill>
                <a:latin typeface="Arial"/>
                <a:cs typeface="Arial"/>
              </a:rPr>
              <a:t> </a:t>
            </a:r>
            <a:r>
              <a:rPr sz="3950" b="1" dirty="0">
                <a:solidFill>
                  <a:srgbClr val="FFFFFF"/>
                </a:solidFill>
                <a:latin typeface="Arial"/>
                <a:cs typeface="Arial"/>
              </a:rPr>
              <a:t>Chile</a:t>
            </a:r>
            <a:r>
              <a:rPr sz="3950" b="1" spc="-125" dirty="0">
                <a:solidFill>
                  <a:srgbClr val="FFFFFF"/>
                </a:solidFill>
                <a:latin typeface="Arial"/>
                <a:cs typeface="Arial"/>
              </a:rPr>
              <a:t> </a:t>
            </a:r>
            <a:r>
              <a:rPr sz="3950" b="1" spc="-280" dirty="0">
                <a:solidFill>
                  <a:srgbClr val="FFFFFF"/>
                </a:solidFill>
                <a:latin typeface="Arial"/>
                <a:cs typeface="Arial"/>
              </a:rPr>
              <a:t>·</a:t>
            </a:r>
            <a:r>
              <a:rPr sz="3950" b="1" spc="-125" dirty="0">
                <a:solidFill>
                  <a:srgbClr val="FFFFFF"/>
                </a:solidFill>
                <a:latin typeface="Arial"/>
                <a:cs typeface="Arial"/>
              </a:rPr>
              <a:t> </a:t>
            </a:r>
            <a:r>
              <a:rPr sz="3950" spc="-10" dirty="0">
                <a:solidFill>
                  <a:srgbClr val="FFFFFF"/>
                </a:solidFill>
                <a:latin typeface="Arial"/>
                <a:cs typeface="Arial"/>
              </a:rPr>
              <a:t>2023/2027</a:t>
            </a:r>
            <a:endParaRPr sz="3950">
              <a:latin typeface="Arial"/>
              <a:cs typeface="Arial"/>
            </a:endParaRPr>
          </a:p>
          <a:p>
            <a:pPr>
              <a:lnSpc>
                <a:spcPct val="100000"/>
              </a:lnSpc>
            </a:pPr>
            <a:endParaRPr sz="4000">
              <a:latin typeface="Arial"/>
              <a:cs typeface="Arial"/>
            </a:endParaRPr>
          </a:p>
          <a:p>
            <a:pPr marL="441959" indent="-429259">
              <a:lnSpc>
                <a:spcPct val="100000"/>
              </a:lnSpc>
              <a:spcBef>
                <a:spcPts val="2920"/>
              </a:spcBef>
              <a:buFont typeface="Roboto"/>
              <a:buAutoNum type="alphaUcPeriod"/>
              <a:tabLst>
                <a:tab pos="441959" algn="l"/>
              </a:tabLst>
            </a:pPr>
            <a:r>
              <a:rPr sz="2800" spc="-25" dirty="0">
                <a:solidFill>
                  <a:srgbClr val="FFFFFF"/>
                </a:solidFill>
                <a:latin typeface="Roboto"/>
                <a:cs typeface="Roboto"/>
              </a:rPr>
              <a:t>Diagnóstico</a:t>
            </a:r>
            <a:r>
              <a:rPr sz="2800" spc="-80" dirty="0">
                <a:solidFill>
                  <a:srgbClr val="FFFFFF"/>
                </a:solidFill>
                <a:latin typeface="Roboto"/>
                <a:cs typeface="Roboto"/>
              </a:rPr>
              <a:t> </a:t>
            </a:r>
            <a:r>
              <a:rPr sz="2800" dirty="0">
                <a:solidFill>
                  <a:srgbClr val="FFFFFF"/>
                </a:solidFill>
                <a:latin typeface="Roboto"/>
                <a:cs typeface="Roboto"/>
              </a:rPr>
              <a:t>y</a:t>
            </a:r>
            <a:r>
              <a:rPr sz="2800" spc="-80" dirty="0">
                <a:solidFill>
                  <a:srgbClr val="FFFFFF"/>
                </a:solidFill>
                <a:latin typeface="Roboto"/>
                <a:cs typeface="Roboto"/>
              </a:rPr>
              <a:t> </a:t>
            </a:r>
            <a:r>
              <a:rPr sz="2800" spc="-20" dirty="0">
                <a:solidFill>
                  <a:srgbClr val="FFFFFF"/>
                </a:solidFill>
                <a:latin typeface="Roboto"/>
                <a:cs typeface="Roboto"/>
              </a:rPr>
              <a:t>Estudio</a:t>
            </a:r>
            <a:r>
              <a:rPr sz="2800" spc="-75" dirty="0">
                <a:solidFill>
                  <a:srgbClr val="FFFFFF"/>
                </a:solidFill>
                <a:latin typeface="Roboto"/>
                <a:cs typeface="Roboto"/>
              </a:rPr>
              <a:t> </a:t>
            </a:r>
            <a:r>
              <a:rPr sz="2800" dirty="0">
                <a:solidFill>
                  <a:srgbClr val="FFFFFF"/>
                </a:solidFill>
                <a:latin typeface="Roboto"/>
                <a:cs typeface="Roboto"/>
              </a:rPr>
              <a:t>de</a:t>
            </a:r>
            <a:r>
              <a:rPr sz="2800" spc="-80" dirty="0">
                <a:solidFill>
                  <a:srgbClr val="FFFFFF"/>
                </a:solidFill>
                <a:latin typeface="Roboto"/>
                <a:cs typeface="Roboto"/>
              </a:rPr>
              <a:t> </a:t>
            </a:r>
            <a:r>
              <a:rPr sz="2800" spc="-10" dirty="0">
                <a:solidFill>
                  <a:srgbClr val="FFFFFF"/>
                </a:solidFill>
                <a:latin typeface="Roboto"/>
                <a:cs typeface="Roboto"/>
              </a:rPr>
              <a:t>mercado</a:t>
            </a:r>
            <a:endParaRPr sz="2800">
              <a:latin typeface="Roboto"/>
              <a:cs typeface="Roboto"/>
            </a:endParaRPr>
          </a:p>
          <a:p>
            <a:pPr>
              <a:lnSpc>
                <a:spcPct val="100000"/>
              </a:lnSpc>
              <a:spcBef>
                <a:spcPts val="20"/>
              </a:spcBef>
              <a:buClr>
                <a:srgbClr val="FFFFFF"/>
              </a:buClr>
              <a:buFont typeface="Roboto"/>
              <a:buAutoNum type="alphaUcPeriod"/>
            </a:pPr>
            <a:endParaRPr sz="3350">
              <a:latin typeface="Roboto"/>
              <a:cs typeface="Roboto"/>
            </a:endParaRPr>
          </a:p>
          <a:p>
            <a:pPr marL="429895" indent="-417195">
              <a:lnSpc>
                <a:spcPct val="100000"/>
              </a:lnSpc>
              <a:buFont typeface="Roboto"/>
              <a:buAutoNum type="alphaUcPeriod"/>
              <a:tabLst>
                <a:tab pos="429895" algn="l"/>
              </a:tabLst>
            </a:pPr>
            <a:r>
              <a:rPr sz="2800" spc="-10" dirty="0">
                <a:solidFill>
                  <a:srgbClr val="FFFFFF"/>
                </a:solidFill>
                <a:latin typeface="Roboto"/>
                <a:cs typeface="Roboto"/>
              </a:rPr>
              <a:t>Estrategia</a:t>
            </a:r>
            <a:endParaRPr sz="2800">
              <a:latin typeface="Roboto"/>
              <a:cs typeface="Roboto"/>
            </a:endParaRPr>
          </a:p>
          <a:p>
            <a:pPr>
              <a:lnSpc>
                <a:spcPct val="100000"/>
              </a:lnSpc>
              <a:spcBef>
                <a:spcPts val="20"/>
              </a:spcBef>
              <a:buClr>
                <a:srgbClr val="FFFFFF"/>
              </a:buClr>
              <a:buFont typeface="Roboto"/>
              <a:buAutoNum type="alphaUcPeriod"/>
            </a:pPr>
            <a:endParaRPr sz="3350">
              <a:latin typeface="Roboto"/>
              <a:cs typeface="Roboto"/>
            </a:endParaRPr>
          </a:p>
          <a:p>
            <a:pPr marL="425450" indent="-412750">
              <a:lnSpc>
                <a:spcPct val="100000"/>
              </a:lnSpc>
              <a:buFont typeface="Roboto"/>
              <a:buAutoNum type="alphaUcPeriod"/>
              <a:tabLst>
                <a:tab pos="425450" algn="l"/>
              </a:tabLst>
            </a:pPr>
            <a:r>
              <a:rPr sz="2800" spc="-20" dirty="0">
                <a:solidFill>
                  <a:srgbClr val="FFFFFF"/>
                </a:solidFill>
                <a:latin typeface="Roboto"/>
                <a:cs typeface="Roboto"/>
              </a:rPr>
              <a:t>Segmento</a:t>
            </a:r>
            <a:r>
              <a:rPr sz="2800" spc="-100" dirty="0">
                <a:solidFill>
                  <a:srgbClr val="FFFFFF"/>
                </a:solidFill>
                <a:latin typeface="Roboto"/>
                <a:cs typeface="Roboto"/>
              </a:rPr>
              <a:t> </a:t>
            </a:r>
            <a:r>
              <a:rPr sz="2800" spc="-20" dirty="0">
                <a:solidFill>
                  <a:srgbClr val="FFFFFF"/>
                </a:solidFill>
                <a:latin typeface="Roboto"/>
                <a:cs typeface="Roboto"/>
              </a:rPr>
              <a:t>MICE</a:t>
            </a:r>
            <a:endParaRPr sz="2800">
              <a:latin typeface="Roboto"/>
              <a:cs typeface="Roboto"/>
            </a:endParaRPr>
          </a:p>
          <a:p>
            <a:pPr>
              <a:lnSpc>
                <a:spcPct val="100000"/>
              </a:lnSpc>
              <a:spcBef>
                <a:spcPts val="25"/>
              </a:spcBef>
              <a:buClr>
                <a:srgbClr val="FFFFFF"/>
              </a:buClr>
              <a:buFont typeface="Roboto"/>
              <a:buAutoNum type="alphaUcPeriod"/>
            </a:pPr>
            <a:endParaRPr sz="3350">
              <a:latin typeface="Roboto"/>
              <a:cs typeface="Roboto"/>
            </a:endParaRPr>
          </a:p>
          <a:p>
            <a:pPr marL="434340" indent="-421640">
              <a:lnSpc>
                <a:spcPct val="100000"/>
              </a:lnSpc>
              <a:buFont typeface="Roboto"/>
              <a:buAutoNum type="alphaUcPeriod"/>
              <a:tabLst>
                <a:tab pos="434340" algn="l"/>
              </a:tabLst>
            </a:pPr>
            <a:r>
              <a:rPr sz="2800" spc="-10" dirty="0">
                <a:solidFill>
                  <a:srgbClr val="FFFFFF"/>
                </a:solidFill>
                <a:latin typeface="Roboto"/>
                <a:cs typeface="Roboto"/>
              </a:rPr>
              <a:t>Acciones</a:t>
            </a:r>
            <a:endParaRPr sz="2800">
              <a:latin typeface="Roboto"/>
              <a:cs typeface="Roboto"/>
            </a:endParaRPr>
          </a:p>
        </p:txBody>
      </p:sp>
      <p:sp>
        <p:nvSpPr>
          <p:cNvPr id="4" name="object 4"/>
          <p:cNvSpPr txBox="1">
            <a:spLocks noGrp="1"/>
          </p:cNvSpPr>
          <p:nvPr>
            <p:ph type="title"/>
          </p:nvPr>
        </p:nvSpPr>
        <p:spPr>
          <a:xfrm>
            <a:off x="1016000" y="818940"/>
            <a:ext cx="2363470" cy="868044"/>
          </a:xfrm>
          <a:prstGeom prst="rect">
            <a:avLst/>
          </a:prstGeom>
        </p:spPr>
        <p:txBody>
          <a:bodyPr vert="horz" wrap="square" lIns="0" tIns="15875" rIns="0" bIns="0" rtlCol="0">
            <a:spAutoFit/>
          </a:bodyPr>
          <a:lstStyle/>
          <a:p>
            <a:pPr marL="12700">
              <a:lnSpc>
                <a:spcPct val="100000"/>
              </a:lnSpc>
              <a:spcBef>
                <a:spcPts val="125"/>
              </a:spcBef>
            </a:pPr>
            <a:r>
              <a:rPr sz="5500" b="1" spc="-40" dirty="0">
                <a:latin typeface="Arial"/>
                <a:cs typeface="Arial"/>
              </a:rPr>
              <a:t>INDICE</a:t>
            </a:r>
            <a:endParaRPr sz="5500">
              <a:latin typeface="Arial"/>
              <a:cs typeface="Arial"/>
            </a:endParaRPr>
          </a:p>
        </p:txBody>
      </p:sp>
      <p:sp>
        <p:nvSpPr>
          <p:cNvPr id="5" name="object 5"/>
          <p:cNvSpPr/>
          <p:nvPr/>
        </p:nvSpPr>
        <p:spPr>
          <a:xfrm>
            <a:off x="1028700" y="4928754"/>
            <a:ext cx="6496685" cy="0"/>
          </a:xfrm>
          <a:custGeom>
            <a:avLst/>
            <a:gdLst/>
            <a:ahLst/>
            <a:cxnLst/>
            <a:rect l="l" t="t" r="r" b="b"/>
            <a:pathLst>
              <a:path w="6496684">
                <a:moveTo>
                  <a:pt x="0" y="0"/>
                </a:moveTo>
                <a:lnTo>
                  <a:pt x="6496108" y="0"/>
                </a:lnTo>
              </a:path>
            </a:pathLst>
          </a:custGeom>
          <a:ln w="9524">
            <a:solidFill>
              <a:srgbClr val="FFFFFF"/>
            </a:solidFill>
          </a:ln>
        </p:spPr>
        <p:txBody>
          <a:bodyPr wrap="square" lIns="0" tIns="0" rIns="0" bIns="0" rtlCol="0"/>
          <a:lstStyle/>
          <a:p>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32"/>
            <a:ext cx="17956530" cy="9604375"/>
            <a:chOff x="166956" y="184832"/>
            <a:chExt cx="17956530" cy="9604375"/>
          </a:xfrm>
        </p:grpSpPr>
        <p:sp>
          <p:nvSpPr>
            <p:cNvPr id="3" name="object 3"/>
            <p:cNvSpPr/>
            <p:nvPr/>
          </p:nvSpPr>
          <p:spPr>
            <a:xfrm>
              <a:off x="166956" y="1113693"/>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sp>
          <p:nvSpPr>
            <p:cNvPr id="5" name="object 5"/>
            <p:cNvSpPr/>
            <p:nvPr/>
          </p:nvSpPr>
          <p:spPr>
            <a:xfrm>
              <a:off x="166956" y="1986033"/>
              <a:ext cx="6755765" cy="3695700"/>
            </a:xfrm>
            <a:custGeom>
              <a:avLst/>
              <a:gdLst/>
              <a:ahLst/>
              <a:cxnLst/>
              <a:rect l="l" t="t" r="r" b="b"/>
              <a:pathLst>
                <a:path w="6755765" h="3695700">
                  <a:moveTo>
                    <a:pt x="0" y="0"/>
                  </a:moveTo>
                  <a:lnTo>
                    <a:pt x="6755324" y="0"/>
                  </a:lnTo>
                  <a:lnTo>
                    <a:pt x="6755324" y="3695264"/>
                  </a:lnTo>
                  <a:lnTo>
                    <a:pt x="0" y="3695264"/>
                  </a:lnTo>
                  <a:lnTo>
                    <a:pt x="0" y="0"/>
                  </a:lnTo>
                  <a:close/>
                </a:path>
              </a:pathLst>
            </a:custGeom>
            <a:solidFill>
              <a:srgbClr val="0090AE"/>
            </a:solidFill>
          </p:spPr>
          <p:txBody>
            <a:bodyPr wrap="square" lIns="0" tIns="0" rIns="0" bIns="0" rtlCol="0"/>
            <a:lstStyle/>
            <a:p>
              <a:endParaRPr/>
            </a:p>
          </p:txBody>
        </p:sp>
        <p:sp>
          <p:nvSpPr>
            <p:cNvPr id="6" name="object 6"/>
            <p:cNvSpPr/>
            <p:nvPr/>
          </p:nvSpPr>
          <p:spPr>
            <a:xfrm>
              <a:off x="166956" y="5830856"/>
              <a:ext cx="6026150" cy="3670300"/>
            </a:xfrm>
            <a:custGeom>
              <a:avLst/>
              <a:gdLst/>
              <a:ahLst/>
              <a:cxnLst/>
              <a:rect l="l" t="t" r="r" b="b"/>
              <a:pathLst>
                <a:path w="6026150" h="3670300">
                  <a:moveTo>
                    <a:pt x="6025703" y="3670231"/>
                  </a:moveTo>
                  <a:lnTo>
                    <a:pt x="0" y="3670231"/>
                  </a:lnTo>
                  <a:lnTo>
                    <a:pt x="0" y="0"/>
                  </a:lnTo>
                  <a:lnTo>
                    <a:pt x="6025703" y="0"/>
                  </a:lnTo>
                  <a:lnTo>
                    <a:pt x="6025703" y="3670231"/>
                  </a:lnTo>
                  <a:close/>
                </a:path>
              </a:pathLst>
            </a:custGeom>
            <a:solidFill>
              <a:srgbClr val="FFFFFF"/>
            </a:solidFill>
          </p:spPr>
          <p:txBody>
            <a:bodyPr wrap="square" lIns="0" tIns="0" rIns="0" bIns="0" rtlCol="0"/>
            <a:lstStyle/>
            <a:p>
              <a:endParaRPr/>
            </a:p>
          </p:txBody>
        </p:sp>
        <p:sp>
          <p:nvSpPr>
            <p:cNvPr id="7" name="object 7"/>
            <p:cNvSpPr/>
            <p:nvPr/>
          </p:nvSpPr>
          <p:spPr>
            <a:xfrm>
              <a:off x="6346241" y="5830856"/>
              <a:ext cx="5655945" cy="3670300"/>
            </a:xfrm>
            <a:custGeom>
              <a:avLst/>
              <a:gdLst/>
              <a:ahLst/>
              <a:cxnLst/>
              <a:rect l="l" t="t" r="r" b="b"/>
              <a:pathLst>
                <a:path w="5655945" h="3670300">
                  <a:moveTo>
                    <a:pt x="5655443" y="3670231"/>
                  </a:moveTo>
                  <a:lnTo>
                    <a:pt x="0" y="3670231"/>
                  </a:lnTo>
                  <a:lnTo>
                    <a:pt x="0" y="0"/>
                  </a:lnTo>
                  <a:lnTo>
                    <a:pt x="5655443" y="0"/>
                  </a:lnTo>
                  <a:lnTo>
                    <a:pt x="5655443" y="3670231"/>
                  </a:lnTo>
                  <a:close/>
                </a:path>
              </a:pathLst>
            </a:custGeom>
            <a:solidFill>
              <a:srgbClr val="21408B"/>
            </a:solidFill>
          </p:spPr>
          <p:txBody>
            <a:bodyPr wrap="square" lIns="0" tIns="0" rIns="0" bIns="0" rtlCol="0"/>
            <a:lstStyle/>
            <a:p>
              <a:endParaRPr/>
            </a:p>
          </p:txBody>
        </p:sp>
        <p:sp>
          <p:nvSpPr>
            <p:cNvPr id="8" name="object 8"/>
            <p:cNvSpPr/>
            <p:nvPr/>
          </p:nvSpPr>
          <p:spPr>
            <a:xfrm>
              <a:off x="12139970" y="5830856"/>
              <a:ext cx="5979795" cy="3670300"/>
            </a:xfrm>
            <a:custGeom>
              <a:avLst/>
              <a:gdLst/>
              <a:ahLst/>
              <a:cxnLst/>
              <a:rect l="l" t="t" r="r" b="b"/>
              <a:pathLst>
                <a:path w="5979794" h="3670300">
                  <a:moveTo>
                    <a:pt x="0" y="0"/>
                  </a:moveTo>
                  <a:lnTo>
                    <a:pt x="5979318" y="0"/>
                  </a:lnTo>
                  <a:lnTo>
                    <a:pt x="5979318" y="3670231"/>
                  </a:lnTo>
                  <a:lnTo>
                    <a:pt x="0" y="3670231"/>
                  </a:lnTo>
                  <a:lnTo>
                    <a:pt x="0" y="0"/>
                  </a:lnTo>
                  <a:close/>
                </a:path>
              </a:pathLst>
            </a:custGeom>
            <a:solidFill>
              <a:srgbClr val="0090AE"/>
            </a:solidFill>
          </p:spPr>
          <p:txBody>
            <a:bodyPr wrap="square" lIns="0" tIns="0" rIns="0" bIns="0" rtlCol="0"/>
            <a:lstStyle/>
            <a:p>
              <a:endParaRPr/>
            </a:p>
          </p:txBody>
        </p:sp>
        <p:sp>
          <p:nvSpPr>
            <p:cNvPr id="9" name="object 9"/>
            <p:cNvSpPr/>
            <p:nvPr/>
          </p:nvSpPr>
          <p:spPr>
            <a:xfrm>
              <a:off x="811987" y="1986038"/>
              <a:ext cx="17311370" cy="3696970"/>
            </a:xfrm>
            <a:custGeom>
              <a:avLst/>
              <a:gdLst/>
              <a:ahLst/>
              <a:cxnLst/>
              <a:rect l="l" t="t" r="r" b="b"/>
              <a:pathLst>
                <a:path w="17311370" h="3696970">
                  <a:moveTo>
                    <a:pt x="950328" y="1939810"/>
                  </a:moveTo>
                  <a:lnTo>
                    <a:pt x="944638" y="1914271"/>
                  </a:lnTo>
                  <a:lnTo>
                    <a:pt x="929944" y="1901863"/>
                  </a:lnTo>
                  <a:lnTo>
                    <a:pt x="909840" y="1901113"/>
                  </a:lnTo>
                  <a:lnTo>
                    <a:pt x="887945" y="1910537"/>
                  </a:lnTo>
                  <a:lnTo>
                    <a:pt x="666318" y="2054961"/>
                  </a:lnTo>
                  <a:lnTo>
                    <a:pt x="647598" y="2061857"/>
                  </a:lnTo>
                  <a:lnTo>
                    <a:pt x="636320" y="2059597"/>
                  </a:lnTo>
                  <a:lnTo>
                    <a:pt x="632917" y="2051481"/>
                  </a:lnTo>
                  <a:lnTo>
                    <a:pt x="637781" y="2040750"/>
                  </a:lnTo>
                  <a:lnTo>
                    <a:pt x="659091" y="2015337"/>
                  </a:lnTo>
                  <a:lnTo>
                    <a:pt x="667435" y="2003221"/>
                  </a:lnTo>
                  <a:lnTo>
                    <a:pt x="508863" y="1951583"/>
                  </a:lnTo>
                  <a:lnTo>
                    <a:pt x="486232" y="1947735"/>
                  </a:lnTo>
                  <a:lnTo>
                    <a:pt x="467017" y="1949170"/>
                  </a:lnTo>
                  <a:lnTo>
                    <a:pt x="448233" y="1956892"/>
                  </a:lnTo>
                  <a:lnTo>
                    <a:pt x="426872" y="1971852"/>
                  </a:lnTo>
                  <a:lnTo>
                    <a:pt x="320167" y="2057006"/>
                  </a:lnTo>
                  <a:lnTo>
                    <a:pt x="293446" y="2077377"/>
                  </a:lnTo>
                  <a:lnTo>
                    <a:pt x="266395" y="2088832"/>
                  </a:lnTo>
                  <a:lnTo>
                    <a:pt x="237363" y="2093849"/>
                  </a:lnTo>
                  <a:lnTo>
                    <a:pt x="204685" y="2094966"/>
                  </a:lnTo>
                  <a:lnTo>
                    <a:pt x="111582" y="2094966"/>
                  </a:lnTo>
                  <a:lnTo>
                    <a:pt x="91744" y="2095703"/>
                  </a:lnTo>
                  <a:lnTo>
                    <a:pt x="54152" y="2121979"/>
                  </a:lnTo>
                  <a:lnTo>
                    <a:pt x="9740" y="2172538"/>
                  </a:lnTo>
                  <a:lnTo>
                    <a:pt x="0" y="2192286"/>
                  </a:lnTo>
                  <a:lnTo>
                    <a:pt x="2247" y="2211565"/>
                  </a:lnTo>
                  <a:lnTo>
                    <a:pt x="14770" y="2226195"/>
                  </a:lnTo>
                  <a:lnTo>
                    <a:pt x="35852" y="2231999"/>
                  </a:lnTo>
                  <a:lnTo>
                    <a:pt x="876668" y="2231999"/>
                  </a:lnTo>
                  <a:lnTo>
                    <a:pt x="909307" y="2227402"/>
                  </a:lnTo>
                  <a:lnTo>
                    <a:pt x="932281" y="2214168"/>
                  </a:lnTo>
                  <a:lnTo>
                    <a:pt x="945870" y="2193112"/>
                  </a:lnTo>
                  <a:lnTo>
                    <a:pt x="950328" y="2165070"/>
                  </a:lnTo>
                  <a:lnTo>
                    <a:pt x="950328" y="1939810"/>
                  </a:lnTo>
                  <a:close/>
                </a:path>
                <a:path w="17311370" h="3696970">
                  <a:moveTo>
                    <a:pt x="17311358" y="0"/>
                  </a:moveTo>
                  <a:lnTo>
                    <a:pt x="6276949" y="0"/>
                  </a:lnTo>
                  <a:lnTo>
                    <a:pt x="6276949" y="3696893"/>
                  </a:lnTo>
                  <a:lnTo>
                    <a:pt x="17311358" y="3696893"/>
                  </a:lnTo>
                  <a:lnTo>
                    <a:pt x="17311358" y="0"/>
                  </a:lnTo>
                  <a:close/>
                </a:path>
              </a:pathLst>
            </a:custGeom>
            <a:solidFill>
              <a:srgbClr val="FFFFFF"/>
            </a:solidFill>
          </p:spPr>
          <p:txBody>
            <a:bodyPr wrap="square" lIns="0" tIns="0" rIns="0" bIns="0" rtlCol="0"/>
            <a:lstStyle/>
            <a:p>
              <a:endParaRPr/>
            </a:p>
          </p:txBody>
        </p:sp>
        <p:pic>
          <p:nvPicPr>
            <p:cNvPr id="10" name="object 10"/>
            <p:cNvPicPr/>
            <p:nvPr/>
          </p:nvPicPr>
          <p:blipFill>
            <a:blip r:embed="rId2" cstate="print"/>
            <a:stretch>
              <a:fillRect/>
            </a:stretch>
          </p:blipFill>
          <p:spPr>
            <a:xfrm>
              <a:off x="1141906" y="3016355"/>
              <a:ext cx="224202" cy="223268"/>
            </a:xfrm>
            <a:prstGeom prst="rect">
              <a:avLst/>
            </a:prstGeom>
          </p:spPr>
        </p:pic>
        <p:sp>
          <p:nvSpPr>
            <p:cNvPr id="11" name="object 11"/>
            <p:cNvSpPr/>
            <p:nvPr/>
          </p:nvSpPr>
          <p:spPr>
            <a:xfrm>
              <a:off x="850074" y="3226040"/>
              <a:ext cx="689610" cy="817880"/>
            </a:xfrm>
            <a:custGeom>
              <a:avLst/>
              <a:gdLst/>
              <a:ahLst/>
              <a:cxnLst/>
              <a:rect l="l" t="t" r="r" b="b"/>
              <a:pathLst>
                <a:path w="689610" h="817879">
                  <a:moveTo>
                    <a:pt x="225056" y="67170"/>
                  </a:moveTo>
                  <a:lnTo>
                    <a:pt x="196621" y="29883"/>
                  </a:lnTo>
                  <a:lnTo>
                    <a:pt x="96202" y="1320"/>
                  </a:lnTo>
                  <a:lnTo>
                    <a:pt x="86169" y="0"/>
                  </a:lnTo>
                  <a:lnTo>
                    <a:pt x="60667" y="2425"/>
                  </a:lnTo>
                  <a:lnTo>
                    <a:pt x="37846" y="12992"/>
                  </a:lnTo>
                  <a:lnTo>
                    <a:pt x="19697" y="30619"/>
                  </a:lnTo>
                  <a:lnTo>
                    <a:pt x="8191" y="54216"/>
                  </a:lnTo>
                  <a:lnTo>
                    <a:pt x="5422" y="79819"/>
                  </a:lnTo>
                  <a:lnTo>
                    <a:pt x="11201" y="103911"/>
                  </a:lnTo>
                  <a:lnTo>
                    <a:pt x="24422" y="124663"/>
                  </a:lnTo>
                  <a:lnTo>
                    <a:pt x="44043" y="140220"/>
                  </a:lnTo>
                  <a:lnTo>
                    <a:pt x="1892" y="287070"/>
                  </a:lnTo>
                  <a:lnTo>
                    <a:pt x="14135" y="334594"/>
                  </a:lnTo>
                  <a:lnTo>
                    <a:pt x="100888" y="363042"/>
                  </a:lnTo>
                  <a:lnTo>
                    <a:pt x="117221" y="363943"/>
                  </a:lnTo>
                  <a:lnTo>
                    <a:pt x="132422" y="358063"/>
                  </a:lnTo>
                  <a:lnTo>
                    <a:pt x="144868" y="346456"/>
                  </a:lnTo>
                  <a:lnTo>
                    <a:pt x="152895" y="330149"/>
                  </a:lnTo>
                  <a:lnTo>
                    <a:pt x="223177" y="85229"/>
                  </a:lnTo>
                  <a:lnTo>
                    <a:pt x="225056" y="67170"/>
                  </a:lnTo>
                  <a:close/>
                </a:path>
                <a:path w="689610" h="817879">
                  <a:moveTo>
                    <a:pt x="301967" y="493776"/>
                  </a:moveTo>
                  <a:lnTo>
                    <a:pt x="195770" y="458546"/>
                  </a:lnTo>
                  <a:lnTo>
                    <a:pt x="108127" y="743356"/>
                  </a:lnTo>
                  <a:lnTo>
                    <a:pt x="107619" y="781850"/>
                  </a:lnTo>
                  <a:lnTo>
                    <a:pt x="129070" y="807732"/>
                  </a:lnTo>
                  <a:lnTo>
                    <a:pt x="161467" y="817626"/>
                  </a:lnTo>
                  <a:lnTo>
                    <a:pt x="193776" y="808202"/>
                  </a:lnTo>
                  <a:lnTo>
                    <a:pt x="214998" y="776071"/>
                  </a:lnTo>
                  <a:lnTo>
                    <a:pt x="301967" y="493776"/>
                  </a:lnTo>
                  <a:close/>
                </a:path>
                <a:path w="689610" h="817879">
                  <a:moveTo>
                    <a:pt x="689216" y="104521"/>
                  </a:moveTo>
                  <a:lnTo>
                    <a:pt x="686511" y="90551"/>
                  </a:lnTo>
                  <a:lnTo>
                    <a:pt x="678789" y="79133"/>
                  </a:lnTo>
                  <a:lnTo>
                    <a:pt x="667270" y="71488"/>
                  </a:lnTo>
                  <a:lnTo>
                    <a:pt x="653161" y="68795"/>
                  </a:lnTo>
                  <a:lnTo>
                    <a:pt x="639457" y="71755"/>
                  </a:lnTo>
                  <a:lnTo>
                    <a:pt x="628332" y="79476"/>
                  </a:lnTo>
                  <a:lnTo>
                    <a:pt x="620890" y="90779"/>
                  </a:lnTo>
                  <a:lnTo>
                    <a:pt x="618248" y="104521"/>
                  </a:lnTo>
                  <a:lnTo>
                    <a:pt x="618248" y="192557"/>
                  </a:lnTo>
                  <a:lnTo>
                    <a:pt x="518883" y="192557"/>
                  </a:lnTo>
                  <a:lnTo>
                    <a:pt x="413131" y="74231"/>
                  </a:lnTo>
                  <a:lnTo>
                    <a:pt x="375043" y="57861"/>
                  </a:lnTo>
                  <a:lnTo>
                    <a:pt x="311556" y="57861"/>
                  </a:lnTo>
                  <a:lnTo>
                    <a:pt x="265582" y="81826"/>
                  </a:lnTo>
                  <a:lnTo>
                    <a:pt x="183019" y="359829"/>
                  </a:lnTo>
                  <a:lnTo>
                    <a:pt x="178625" y="385813"/>
                  </a:lnTo>
                  <a:lnTo>
                    <a:pt x="182295" y="405714"/>
                  </a:lnTo>
                  <a:lnTo>
                    <a:pt x="194106" y="420281"/>
                  </a:lnTo>
                  <a:lnTo>
                    <a:pt x="214160" y="430288"/>
                  </a:lnTo>
                  <a:lnTo>
                    <a:pt x="387870" y="487781"/>
                  </a:lnTo>
                  <a:lnTo>
                    <a:pt x="415823" y="623989"/>
                  </a:lnTo>
                  <a:lnTo>
                    <a:pt x="429539" y="660158"/>
                  </a:lnTo>
                  <a:lnTo>
                    <a:pt x="459854" y="676643"/>
                  </a:lnTo>
                  <a:lnTo>
                    <a:pt x="494487" y="674293"/>
                  </a:lnTo>
                  <a:lnTo>
                    <a:pt x="521093" y="653986"/>
                  </a:lnTo>
                  <a:lnTo>
                    <a:pt x="527367" y="616585"/>
                  </a:lnTo>
                  <a:lnTo>
                    <a:pt x="496874" y="442798"/>
                  </a:lnTo>
                  <a:lnTo>
                    <a:pt x="472960" y="400977"/>
                  </a:lnTo>
                  <a:lnTo>
                    <a:pt x="344220" y="356730"/>
                  </a:lnTo>
                  <a:lnTo>
                    <a:pt x="393865" y="195453"/>
                  </a:lnTo>
                  <a:lnTo>
                    <a:pt x="461962" y="271653"/>
                  </a:lnTo>
                  <a:lnTo>
                    <a:pt x="497713" y="287540"/>
                  </a:lnTo>
                  <a:lnTo>
                    <a:pt x="618274" y="287540"/>
                  </a:lnTo>
                  <a:lnTo>
                    <a:pt x="618274" y="681545"/>
                  </a:lnTo>
                  <a:lnTo>
                    <a:pt x="629627" y="707529"/>
                  </a:lnTo>
                  <a:lnTo>
                    <a:pt x="653745" y="716191"/>
                  </a:lnTo>
                  <a:lnTo>
                    <a:pt x="677862" y="707529"/>
                  </a:lnTo>
                  <a:lnTo>
                    <a:pt x="689216" y="681545"/>
                  </a:lnTo>
                  <a:lnTo>
                    <a:pt x="689216" y="104521"/>
                  </a:lnTo>
                  <a:close/>
                </a:path>
              </a:pathLst>
            </a:custGeom>
            <a:solidFill>
              <a:srgbClr val="FFFFFF"/>
            </a:solidFill>
          </p:spPr>
          <p:txBody>
            <a:bodyPr wrap="square" lIns="0" tIns="0" rIns="0" bIns="0" rtlCol="0"/>
            <a:lstStyle/>
            <a:p>
              <a:endParaRPr/>
            </a:p>
          </p:txBody>
        </p:sp>
        <p:sp>
          <p:nvSpPr>
            <p:cNvPr id="12" name="object 12"/>
            <p:cNvSpPr/>
            <p:nvPr/>
          </p:nvSpPr>
          <p:spPr>
            <a:xfrm>
              <a:off x="7594641" y="3685740"/>
              <a:ext cx="1173480" cy="1173480"/>
            </a:xfrm>
            <a:custGeom>
              <a:avLst/>
              <a:gdLst/>
              <a:ahLst/>
              <a:cxnLst/>
              <a:rect l="l" t="t" r="r" b="b"/>
              <a:pathLst>
                <a:path w="1173479" h="1173479">
                  <a:moveTo>
                    <a:pt x="586534" y="1173067"/>
                  </a:moveTo>
                  <a:lnTo>
                    <a:pt x="538428" y="1171122"/>
                  </a:lnTo>
                  <a:lnTo>
                    <a:pt x="491394" y="1165390"/>
                  </a:lnTo>
                  <a:lnTo>
                    <a:pt x="445582" y="1156021"/>
                  </a:lnTo>
                  <a:lnTo>
                    <a:pt x="401143" y="1143165"/>
                  </a:lnTo>
                  <a:lnTo>
                    <a:pt x="358228" y="1126974"/>
                  </a:lnTo>
                  <a:lnTo>
                    <a:pt x="316987" y="1107599"/>
                  </a:lnTo>
                  <a:lnTo>
                    <a:pt x="277572" y="1085191"/>
                  </a:lnTo>
                  <a:lnTo>
                    <a:pt x="240134" y="1059900"/>
                  </a:lnTo>
                  <a:lnTo>
                    <a:pt x="204823" y="1031878"/>
                  </a:lnTo>
                  <a:lnTo>
                    <a:pt x="171791" y="1001275"/>
                  </a:lnTo>
                  <a:lnTo>
                    <a:pt x="141188" y="968243"/>
                  </a:lnTo>
                  <a:lnTo>
                    <a:pt x="113166" y="932932"/>
                  </a:lnTo>
                  <a:lnTo>
                    <a:pt x="87876" y="895494"/>
                  </a:lnTo>
                  <a:lnTo>
                    <a:pt x="65467" y="856079"/>
                  </a:lnTo>
                  <a:lnTo>
                    <a:pt x="46092" y="814839"/>
                  </a:lnTo>
                  <a:lnTo>
                    <a:pt x="29901" y="771923"/>
                  </a:lnTo>
                  <a:lnTo>
                    <a:pt x="17046" y="727484"/>
                  </a:lnTo>
                  <a:lnTo>
                    <a:pt x="7676" y="681672"/>
                  </a:lnTo>
                  <a:lnTo>
                    <a:pt x="1944" y="634638"/>
                  </a:lnTo>
                  <a:lnTo>
                    <a:pt x="0" y="586535"/>
                  </a:lnTo>
                  <a:lnTo>
                    <a:pt x="1944" y="538428"/>
                  </a:lnTo>
                  <a:lnTo>
                    <a:pt x="7676" y="491394"/>
                  </a:lnTo>
                  <a:lnTo>
                    <a:pt x="17046" y="445582"/>
                  </a:lnTo>
                  <a:lnTo>
                    <a:pt x="29901" y="401143"/>
                  </a:lnTo>
                  <a:lnTo>
                    <a:pt x="46092" y="358228"/>
                  </a:lnTo>
                  <a:lnTo>
                    <a:pt x="65467" y="316987"/>
                  </a:lnTo>
                  <a:lnTo>
                    <a:pt x="87876" y="277572"/>
                  </a:lnTo>
                  <a:lnTo>
                    <a:pt x="113166" y="240134"/>
                  </a:lnTo>
                  <a:lnTo>
                    <a:pt x="141188" y="204823"/>
                  </a:lnTo>
                  <a:lnTo>
                    <a:pt x="171791" y="171791"/>
                  </a:lnTo>
                  <a:lnTo>
                    <a:pt x="204823" y="141189"/>
                  </a:lnTo>
                  <a:lnTo>
                    <a:pt x="240134" y="113166"/>
                  </a:lnTo>
                  <a:lnTo>
                    <a:pt x="277572" y="87876"/>
                  </a:lnTo>
                  <a:lnTo>
                    <a:pt x="316987" y="65467"/>
                  </a:lnTo>
                  <a:lnTo>
                    <a:pt x="358228" y="46092"/>
                  </a:lnTo>
                  <a:lnTo>
                    <a:pt x="401143" y="29901"/>
                  </a:lnTo>
                  <a:lnTo>
                    <a:pt x="445582" y="17046"/>
                  </a:lnTo>
                  <a:lnTo>
                    <a:pt x="491394" y="7676"/>
                  </a:lnTo>
                  <a:lnTo>
                    <a:pt x="538428" y="1944"/>
                  </a:lnTo>
                  <a:lnTo>
                    <a:pt x="586532" y="0"/>
                  </a:lnTo>
                  <a:lnTo>
                    <a:pt x="634638" y="1944"/>
                  </a:lnTo>
                  <a:lnTo>
                    <a:pt x="681672" y="7676"/>
                  </a:lnTo>
                  <a:lnTo>
                    <a:pt x="727484" y="17046"/>
                  </a:lnTo>
                  <a:lnTo>
                    <a:pt x="771923" y="29901"/>
                  </a:lnTo>
                  <a:lnTo>
                    <a:pt x="814838" y="46092"/>
                  </a:lnTo>
                  <a:lnTo>
                    <a:pt x="856079" y="65467"/>
                  </a:lnTo>
                  <a:lnTo>
                    <a:pt x="895494" y="87876"/>
                  </a:lnTo>
                  <a:lnTo>
                    <a:pt x="932932" y="113166"/>
                  </a:lnTo>
                  <a:lnTo>
                    <a:pt x="968243" y="141189"/>
                  </a:lnTo>
                  <a:lnTo>
                    <a:pt x="1001275" y="171791"/>
                  </a:lnTo>
                  <a:lnTo>
                    <a:pt x="1031877" y="204823"/>
                  </a:lnTo>
                  <a:lnTo>
                    <a:pt x="1059899" y="240134"/>
                  </a:lnTo>
                  <a:lnTo>
                    <a:pt x="1085190" y="277572"/>
                  </a:lnTo>
                  <a:lnTo>
                    <a:pt x="1107599" y="316987"/>
                  </a:lnTo>
                  <a:lnTo>
                    <a:pt x="1126974" y="358228"/>
                  </a:lnTo>
                  <a:lnTo>
                    <a:pt x="1143164" y="401143"/>
                  </a:lnTo>
                  <a:lnTo>
                    <a:pt x="1156020" y="445582"/>
                  </a:lnTo>
                  <a:lnTo>
                    <a:pt x="1165390" y="491394"/>
                  </a:lnTo>
                  <a:lnTo>
                    <a:pt x="1171122" y="538428"/>
                  </a:lnTo>
                  <a:lnTo>
                    <a:pt x="1173066" y="586531"/>
                  </a:lnTo>
                  <a:lnTo>
                    <a:pt x="1171122" y="634638"/>
                  </a:lnTo>
                  <a:lnTo>
                    <a:pt x="1165390" y="681672"/>
                  </a:lnTo>
                  <a:lnTo>
                    <a:pt x="1156020" y="727484"/>
                  </a:lnTo>
                  <a:lnTo>
                    <a:pt x="1143164" y="771923"/>
                  </a:lnTo>
                  <a:lnTo>
                    <a:pt x="1126974" y="814839"/>
                  </a:lnTo>
                  <a:lnTo>
                    <a:pt x="1107599" y="856079"/>
                  </a:lnTo>
                  <a:lnTo>
                    <a:pt x="1085190" y="895494"/>
                  </a:lnTo>
                  <a:lnTo>
                    <a:pt x="1059899" y="932932"/>
                  </a:lnTo>
                  <a:lnTo>
                    <a:pt x="1031877" y="968243"/>
                  </a:lnTo>
                  <a:lnTo>
                    <a:pt x="1001275" y="1001275"/>
                  </a:lnTo>
                  <a:lnTo>
                    <a:pt x="968243" y="1031878"/>
                  </a:lnTo>
                  <a:lnTo>
                    <a:pt x="932932" y="1059900"/>
                  </a:lnTo>
                  <a:lnTo>
                    <a:pt x="895494" y="1085191"/>
                  </a:lnTo>
                  <a:lnTo>
                    <a:pt x="856079" y="1107599"/>
                  </a:lnTo>
                  <a:lnTo>
                    <a:pt x="814838" y="1126974"/>
                  </a:lnTo>
                  <a:lnTo>
                    <a:pt x="771923" y="1143165"/>
                  </a:lnTo>
                  <a:lnTo>
                    <a:pt x="727484" y="1156021"/>
                  </a:lnTo>
                  <a:lnTo>
                    <a:pt x="681672" y="1165390"/>
                  </a:lnTo>
                  <a:lnTo>
                    <a:pt x="634638" y="1171122"/>
                  </a:lnTo>
                  <a:lnTo>
                    <a:pt x="586534" y="1173067"/>
                  </a:lnTo>
                  <a:close/>
                </a:path>
              </a:pathLst>
            </a:custGeom>
            <a:solidFill>
              <a:srgbClr val="0090AE"/>
            </a:solidFill>
          </p:spPr>
          <p:txBody>
            <a:bodyPr wrap="square" lIns="0" tIns="0" rIns="0" bIns="0" rtlCol="0"/>
            <a:lstStyle/>
            <a:p>
              <a:endParaRPr/>
            </a:p>
          </p:txBody>
        </p:sp>
        <p:sp>
          <p:nvSpPr>
            <p:cNvPr id="13" name="object 13"/>
            <p:cNvSpPr/>
            <p:nvPr/>
          </p:nvSpPr>
          <p:spPr>
            <a:xfrm>
              <a:off x="7836611" y="3934814"/>
              <a:ext cx="686435" cy="675005"/>
            </a:xfrm>
            <a:custGeom>
              <a:avLst/>
              <a:gdLst/>
              <a:ahLst/>
              <a:cxnLst/>
              <a:rect l="l" t="t" r="r" b="b"/>
              <a:pathLst>
                <a:path w="686434" h="675004">
                  <a:moveTo>
                    <a:pt x="302056" y="152895"/>
                  </a:moveTo>
                  <a:lnTo>
                    <a:pt x="300507" y="145808"/>
                  </a:lnTo>
                  <a:lnTo>
                    <a:pt x="296278" y="140030"/>
                  </a:lnTo>
                  <a:lnTo>
                    <a:pt x="290017" y="136131"/>
                  </a:lnTo>
                  <a:lnTo>
                    <a:pt x="282346" y="134708"/>
                  </a:lnTo>
                  <a:lnTo>
                    <a:pt x="273050" y="134708"/>
                  </a:lnTo>
                  <a:lnTo>
                    <a:pt x="265379" y="136131"/>
                  </a:lnTo>
                  <a:lnTo>
                    <a:pt x="259118" y="140030"/>
                  </a:lnTo>
                  <a:lnTo>
                    <a:pt x="254901" y="145808"/>
                  </a:lnTo>
                  <a:lnTo>
                    <a:pt x="253352" y="152895"/>
                  </a:lnTo>
                  <a:lnTo>
                    <a:pt x="253352" y="229920"/>
                  </a:lnTo>
                  <a:lnTo>
                    <a:pt x="302056" y="229920"/>
                  </a:lnTo>
                  <a:lnTo>
                    <a:pt x="302056" y="152895"/>
                  </a:lnTo>
                  <a:close/>
                </a:path>
                <a:path w="686434" h="675004">
                  <a:moveTo>
                    <a:pt x="432625" y="152895"/>
                  </a:moveTo>
                  <a:lnTo>
                    <a:pt x="431076" y="145808"/>
                  </a:lnTo>
                  <a:lnTo>
                    <a:pt x="426859" y="140030"/>
                  </a:lnTo>
                  <a:lnTo>
                    <a:pt x="420598" y="136131"/>
                  </a:lnTo>
                  <a:lnTo>
                    <a:pt x="412927" y="134708"/>
                  </a:lnTo>
                  <a:lnTo>
                    <a:pt x="403618" y="134708"/>
                  </a:lnTo>
                  <a:lnTo>
                    <a:pt x="395960" y="136131"/>
                  </a:lnTo>
                  <a:lnTo>
                    <a:pt x="389699" y="140030"/>
                  </a:lnTo>
                  <a:lnTo>
                    <a:pt x="385483" y="145808"/>
                  </a:lnTo>
                  <a:lnTo>
                    <a:pt x="383933" y="152895"/>
                  </a:lnTo>
                  <a:lnTo>
                    <a:pt x="383933" y="229920"/>
                  </a:lnTo>
                  <a:lnTo>
                    <a:pt x="432625" y="229920"/>
                  </a:lnTo>
                  <a:lnTo>
                    <a:pt x="432625" y="152895"/>
                  </a:lnTo>
                  <a:close/>
                </a:path>
                <a:path w="686434" h="675004">
                  <a:moveTo>
                    <a:pt x="685990" y="345071"/>
                  </a:moveTo>
                  <a:lnTo>
                    <a:pt x="682853" y="298310"/>
                  </a:lnTo>
                  <a:lnTo>
                    <a:pt x="673709" y="253441"/>
                  </a:lnTo>
                  <a:lnTo>
                    <a:pt x="658990" y="210883"/>
                  </a:lnTo>
                  <a:lnTo>
                    <a:pt x="639089" y="171043"/>
                  </a:lnTo>
                  <a:lnTo>
                    <a:pt x="614426" y="134327"/>
                  </a:lnTo>
                  <a:lnTo>
                    <a:pt x="585419" y="101180"/>
                  </a:lnTo>
                  <a:lnTo>
                    <a:pt x="552462" y="71983"/>
                  </a:lnTo>
                  <a:lnTo>
                    <a:pt x="515975" y="47167"/>
                  </a:lnTo>
                  <a:lnTo>
                    <a:pt x="476377" y="27152"/>
                  </a:lnTo>
                  <a:lnTo>
                    <a:pt x="434073" y="12344"/>
                  </a:lnTo>
                  <a:lnTo>
                    <a:pt x="389470" y="3149"/>
                  </a:lnTo>
                  <a:lnTo>
                    <a:pt x="343001" y="0"/>
                  </a:lnTo>
                  <a:lnTo>
                    <a:pt x="296519" y="3149"/>
                  </a:lnTo>
                  <a:lnTo>
                    <a:pt x="251917" y="12344"/>
                  </a:lnTo>
                  <a:lnTo>
                    <a:pt x="209613" y="27152"/>
                  </a:lnTo>
                  <a:lnTo>
                    <a:pt x="170014" y="47167"/>
                  </a:lnTo>
                  <a:lnTo>
                    <a:pt x="133527" y="71983"/>
                  </a:lnTo>
                  <a:lnTo>
                    <a:pt x="100571" y="101180"/>
                  </a:lnTo>
                  <a:lnTo>
                    <a:pt x="71564" y="134327"/>
                  </a:lnTo>
                  <a:lnTo>
                    <a:pt x="46901" y="171043"/>
                  </a:lnTo>
                  <a:lnTo>
                    <a:pt x="27000" y="210883"/>
                  </a:lnTo>
                  <a:lnTo>
                    <a:pt x="12280" y="253441"/>
                  </a:lnTo>
                  <a:lnTo>
                    <a:pt x="3136" y="298310"/>
                  </a:lnTo>
                  <a:lnTo>
                    <a:pt x="0" y="345071"/>
                  </a:lnTo>
                  <a:lnTo>
                    <a:pt x="4203" y="399415"/>
                  </a:lnTo>
                  <a:lnTo>
                    <a:pt x="16611" y="451688"/>
                  </a:lnTo>
                  <a:lnTo>
                    <a:pt x="36893" y="501142"/>
                  </a:lnTo>
                  <a:lnTo>
                    <a:pt x="64757" y="547001"/>
                  </a:lnTo>
                  <a:lnTo>
                    <a:pt x="99872" y="588492"/>
                  </a:lnTo>
                  <a:lnTo>
                    <a:pt x="130098" y="615619"/>
                  </a:lnTo>
                  <a:lnTo>
                    <a:pt x="163233" y="638975"/>
                  </a:lnTo>
                  <a:lnTo>
                    <a:pt x="198818" y="658241"/>
                  </a:lnTo>
                  <a:lnTo>
                    <a:pt x="236359" y="673125"/>
                  </a:lnTo>
                  <a:lnTo>
                    <a:pt x="243230" y="674789"/>
                  </a:lnTo>
                  <a:lnTo>
                    <a:pt x="246621" y="674789"/>
                  </a:lnTo>
                  <a:lnTo>
                    <a:pt x="278028" y="651852"/>
                  </a:lnTo>
                  <a:lnTo>
                    <a:pt x="256882" y="609955"/>
                  </a:lnTo>
                  <a:lnTo>
                    <a:pt x="226593" y="597928"/>
                  </a:lnTo>
                  <a:lnTo>
                    <a:pt x="197878" y="582371"/>
                  </a:lnTo>
                  <a:lnTo>
                    <a:pt x="146723" y="541591"/>
                  </a:lnTo>
                  <a:lnTo>
                    <a:pt x="112179" y="499148"/>
                  </a:lnTo>
                  <a:lnTo>
                    <a:pt x="86906" y="451434"/>
                  </a:lnTo>
                  <a:lnTo>
                    <a:pt x="71374" y="399669"/>
                  </a:lnTo>
                  <a:lnTo>
                    <a:pt x="66090" y="345071"/>
                  </a:lnTo>
                  <a:lnTo>
                    <a:pt x="70561" y="295059"/>
                  </a:lnTo>
                  <a:lnTo>
                    <a:pt x="83439" y="247954"/>
                  </a:lnTo>
                  <a:lnTo>
                    <a:pt x="103949" y="204558"/>
                  </a:lnTo>
                  <a:lnTo>
                    <a:pt x="131292" y="165671"/>
                  </a:lnTo>
                  <a:lnTo>
                    <a:pt x="164693" y="132067"/>
                  </a:lnTo>
                  <a:lnTo>
                    <a:pt x="203352" y="104559"/>
                  </a:lnTo>
                  <a:lnTo>
                    <a:pt x="246481" y="83921"/>
                  </a:lnTo>
                  <a:lnTo>
                    <a:pt x="293293" y="70967"/>
                  </a:lnTo>
                  <a:lnTo>
                    <a:pt x="343014" y="66459"/>
                  </a:lnTo>
                  <a:lnTo>
                    <a:pt x="392722" y="70967"/>
                  </a:lnTo>
                  <a:lnTo>
                    <a:pt x="439534" y="83921"/>
                  </a:lnTo>
                  <a:lnTo>
                    <a:pt x="482676" y="104559"/>
                  </a:lnTo>
                  <a:lnTo>
                    <a:pt x="521322" y="132067"/>
                  </a:lnTo>
                  <a:lnTo>
                    <a:pt x="554723" y="165671"/>
                  </a:lnTo>
                  <a:lnTo>
                    <a:pt x="582066" y="204558"/>
                  </a:lnTo>
                  <a:lnTo>
                    <a:pt x="602576" y="247954"/>
                  </a:lnTo>
                  <a:lnTo>
                    <a:pt x="615467" y="295059"/>
                  </a:lnTo>
                  <a:lnTo>
                    <a:pt x="619937" y="345071"/>
                  </a:lnTo>
                  <a:lnTo>
                    <a:pt x="614616" y="399859"/>
                  </a:lnTo>
                  <a:lnTo>
                    <a:pt x="599008" y="451739"/>
                  </a:lnTo>
                  <a:lnTo>
                    <a:pt x="573595" y="499541"/>
                  </a:lnTo>
                  <a:lnTo>
                    <a:pt x="538873" y="542036"/>
                  </a:lnTo>
                  <a:lnTo>
                    <a:pt x="492696" y="576110"/>
                  </a:lnTo>
                  <a:lnTo>
                    <a:pt x="439140" y="596595"/>
                  </a:lnTo>
                  <a:lnTo>
                    <a:pt x="428320" y="595668"/>
                  </a:lnTo>
                  <a:lnTo>
                    <a:pt x="388505" y="557009"/>
                  </a:lnTo>
                  <a:lnTo>
                    <a:pt x="375424" y="494182"/>
                  </a:lnTo>
                  <a:lnTo>
                    <a:pt x="414642" y="453758"/>
                  </a:lnTo>
                  <a:lnTo>
                    <a:pt x="447357" y="430161"/>
                  </a:lnTo>
                  <a:lnTo>
                    <a:pt x="469315" y="396151"/>
                  </a:lnTo>
                  <a:lnTo>
                    <a:pt x="477342" y="354901"/>
                  </a:lnTo>
                  <a:lnTo>
                    <a:pt x="477342" y="251472"/>
                  </a:lnTo>
                  <a:lnTo>
                    <a:pt x="208648" y="251472"/>
                  </a:lnTo>
                  <a:lnTo>
                    <a:pt x="208648" y="354901"/>
                  </a:lnTo>
                  <a:lnTo>
                    <a:pt x="216369" y="395401"/>
                  </a:lnTo>
                  <a:lnTo>
                    <a:pt x="237540" y="429018"/>
                  </a:lnTo>
                  <a:lnTo>
                    <a:pt x="269163" y="452755"/>
                  </a:lnTo>
                  <a:lnTo>
                    <a:pt x="308241" y="463613"/>
                  </a:lnTo>
                  <a:lnTo>
                    <a:pt x="309638" y="501459"/>
                  </a:lnTo>
                  <a:lnTo>
                    <a:pt x="316001" y="544626"/>
                  </a:lnTo>
                  <a:lnTo>
                    <a:pt x="329857" y="587794"/>
                  </a:lnTo>
                  <a:lnTo>
                    <a:pt x="353707" y="625589"/>
                  </a:lnTo>
                  <a:lnTo>
                    <a:pt x="391845" y="653529"/>
                  </a:lnTo>
                  <a:lnTo>
                    <a:pt x="439140" y="663067"/>
                  </a:lnTo>
                  <a:lnTo>
                    <a:pt x="487578" y="652805"/>
                  </a:lnTo>
                  <a:lnTo>
                    <a:pt x="532434" y="629666"/>
                  </a:lnTo>
                  <a:lnTo>
                    <a:pt x="566826" y="605155"/>
                  </a:lnTo>
                  <a:lnTo>
                    <a:pt x="620458" y="548106"/>
                  </a:lnTo>
                  <a:lnTo>
                    <a:pt x="648652" y="502069"/>
                  </a:lnTo>
                  <a:lnTo>
                    <a:pt x="669188" y="452361"/>
                  </a:lnTo>
                  <a:lnTo>
                    <a:pt x="681736" y="399783"/>
                  </a:lnTo>
                  <a:lnTo>
                    <a:pt x="685990" y="345071"/>
                  </a:lnTo>
                  <a:close/>
                </a:path>
              </a:pathLst>
            </a:custGeom>
            <a:solidFill>
              <a:srgbClr val="FFFFFF"/>
            </a:solidFill>
          </p:spPr>
          <p:txBody>
            <a:bodyPr wrap="square" lIns="0" tIns="0" rIns="0" bIns="0" rtlCol="0"/>
            <a:lstStyle/>
            <a:p>
              <a:endParaRPr/>
            </a:p>
          </p:txBody>
        </p:sp>
        <p:sp>
          <p:nvSpPr>
            <p:cNvPr id="14" name="object 14"/>
            <p:cNvSpPr/>
            <p:nvPr/>
          </p:nvSpPr>
          <p:spPr>
            <a:xfrm>
              <a:off x="9795637" y="3565537"/>
              <a:ext cx="7971790" cy="1386840"/>
            </a:xfrm>
            <a:custGeom>
              <a:avLst/>
              <a:gdLst/>
              <a:ahLst/>
              <a:cxnLst/>
              <a:rect l="l" t="t" r="r" b="b"/>
              <a:pathLst>
                <a:path w="7971790" h="1386839">
                  <a:moveTo>
                    <a:pt x="1173060" y="706716"/>
                  </a:moveTo>
                  <a:lnTo>
                    <a:pt x="1171117" y="658634"/>
                  </a:lnTo>
                  <a:lnTo>
                    <a:pt x="1165390" y="611606"/>
                  </a:lnTo>
                  <a:lnTo>
                    <a:pt x="1156017" y="565797"/>
                  </a:lnTo>
                  <a:lnTo>
                    <a:pt x="1143165" y="521347"/>
                  </a:lnTo>
                  <a:lnTo>
                    <a:pt x="1126972" y="478434"/>
                  </a:lnTo>
                  <a:lnTo>
                    <a:pt x="1107592" y="437197"/>
                  </a:lnTo>
                  <a:lnTo>
                    <a:pt x="1085189" y="397776"/>
                  </a:lnTo>
                  <a:lnTo>
                    <a:pt x="1059891" y="360349"/>
                  </a:lnTo>
                  <a:lnTo>
                    <a:pt x="1031875" y="325031"/>
                  </a:lnTo>
                  <a:lnTo>
                    <a:pt x="1001268" y="291998"/>
                  </a:lnTo>
                  <a:lnTo>
                    <a:pt x="968235" y="261404"/>
                  </a:lnTo>
                  <a:lnTo>
                    <a:pt x="932929" y="233375"/>
                  </a:lnTo>
                  <a:lnTo>
                    <a:pt x="895489" y="208089"/>
                  </a:lnTo>
                  <a:lnTo>
                    <a:pt x="856068" y="185674"/>
                  </a:lnTo>
                  <a:lnTo>
                    <a:pt x="814832" y="166306"/>
                  </a:lnTo>
                  <a:lnTo>
                    <a:pt x="771918" y="150114"/>
                  </a:lnTo>
                  <a:lnTo>
                    <a:pt x="727481" y="137261"/>
                  </a:lnTo>
                  <a:lnTo>
                    <a:pt x="681672" y="127889"/>
                  </a:lnTo>
                  <a:lnTo>
                    <a:pt x="634631" y="122148"/>
                  </a:lnTo>
                  <a:lnTo>
                    <a:pt x="586524" y="120205"/>
                  </a:lnTo>
                  <a:lnTo>
                    <a:pt x="538429" y="122148"/>
                  </a:lnTo>
                  <a:lnTo>
                    <a:pt x="491388" y="127889"/>
                  </a:lnTo>
                  <a:lnTo>
                    <a:pt x="445579" y="137261"/>
                  </a:lnTo>
                  <a:lnTo>
                    <a:pt x="401142" y="150114"/>
                  </a:lnTo>
                  <a:lnTo>
                    <a:pt x="358228" y="166306"/>
                  </a:lnTo>
                  <a:lnTo>
                    <a:pt x="316979" y="185674"/>
                  </a:lnTo>
                  <a:lnTo>
                    <a:pt x="277571" y="208089"/>
                  </a:lnTo>
                  <a:lnTo>
                    <a:pt x="240131" y="233375"/>
                  </a:lnTo>
                  <a:lnTo>
                    <a:pt x="204812" y="261404"/>
                  </a:lnTo>
                  <a:lnTo>
                    <a:pt x="171792" y="291998"/>
                  </a:lnTo>
                  <a:lnTo>
                    <a:pt x="141185" y="325031"/>
                  </a:lnTo>
                  <a:lnTo>
                    <a:pt x="113157" y="360349"/>
                  </a:lnTo>
                  <a:lnTo>
                    <a:pt x="87871" y="397776"/>
                  </a:lnTo>
                  <a:lnTo>
                    <a:pt x="65468" y="437197"/>
                  </a:lnTo>
                  <a:lnTo>
                    <a:pt x="46088" y="478434"/>
                  </a:lnTo>
                  <a:lnTo>
                    <a:pt x="29895" y="521347"/>
                  </a:lnTo>
                  <a:lnTo>
                    <a:pt x="17043" y="565797"/>
                  </a:lnTo>
                  <a:lnTo>
                    <a:pt x="7670" y="611606"/>
                  </a:lnTo>
                  <a:lnTo>
                    <a:pt x="1943" y="658634"/>
                  </a:lnTo>
                  <a:lnTo>
                    <a:pt x="0" y="706767"/>
                  </a:lnTo>
                  <a:lnTo>
                    <a:pt x="1943" y="754849"/>
                  </a:lnTo>
                  <a:lnTo>
                    <a:pt x="7670" y="801878"/>
                  </a:lnTo>
                  <a:lnTo>
                    <a:pt x="17043" y="847699"/>
                  </a:lnTo>
                  <a:lnTo>
                    <a:pt x="29895" y="892136"/>
                  </a:lnTo>
                  <a:lnTo>
                    <a:pt x="46088" y="935050"/>
                  </a:lnTo>
                  <a:lnTo>
                    <a:pt x="65468" y="976287"/>
                  </a:lnTo>
                  <a:lnTo>
                    <a:pt x="87871" y="1015707"/>
                  </a:lnTo>
                  <a:lnTo>
                    <a:pt x="113157" y="1053147"/>
                  </a:lnTo>
                  <a:lnTo>
                    <a:pt x="141185" y="1088453"/>
                  </a:lnTo>
                  <a:lnTo>
                    <a:pt x="171792" y="1121486"/>
                  </a:lnTo>
                  <a:lnTo>
                    <a:pt x="204812" y="1152093"/>
                  </a:lnTo>
                  <a:lnTo>
                    <a:pt x="240131" y="1180109"/>
                  </a:lnTo>
                  <a:lnTo>
                    <a:pt x="277571" y="1205395"/>
                  </a:lnTo>
                  <a:lnTo>
                    <a:pt x="316979" y="1227810"/>
                  </a:lnTo>
                  <a:lnTo>
                    <a:pt x="358228" y="1247178"/>
                  </a:lnTo>
                  <a:lnTo>
                    <a:pt x="401142" y="1263370"/>
                  </a:lnTo>
                  <a:lnTo>
                    <a:pt x="445579" y="1276235"/>
                  </a:lnTo>
                  <a:lnTo>
                    <a:pt x="491388" y="1285595"/>
                  </a:lnTo>
                  <a:lnTo>
                    <a:pt x="538429" y="1291336"/>
                  </a:lnTo>
                  <a:lnTo>
                    <a:pt x="586524" y="1293279"/>
                  </a:lnTo>
                  <a:lnTo>
                    <a:pt x="634631" y="1291336"/>
                  </a:lnTo>
                  <a:lnTo>
                    <a:pt x="681672" y="1285595"/>
                  </a:lnTo>
                  <a:lnTo>
                    <a:pt x="727481" y="1276235"/>
                  </a:lnTo>
                  <a:lnTo>
                    <a:pt x="771918" y="1263370"/>
                  </a:lnTo>
                  <a:lnTo>
                    <a:pt x="814832" y="1247178"/>
                  </a:lnTo>
                  <a:lnTo>
                    <a:pt x="856068" y="1227810"/>
                  </a:lnTo>
                  <a:lnTo>
                    <a:pt x="895489" y="1205395"/>
                  </a:lnTo>
                  <a:lnTo>
                    <a:pt x="932929" y="1180109"/>
                  </a:lnTo>
                  <a:lnTo>
                    <a:pt x="968235" y="1152093"/>
                  </a:lnTo>
                  <a:lnTo>
                    <a:pt x="1001268" y="1121486"/>
                  </a:lnTo>
                  <a:lnTo>
                    <a:pt x="1031875" y="1088453"/>
                  </a:lnTo>
                  <a:lnTo>
                    <a:pt x="1059891" y="1053147"/>
                  </a:lnTo>
                  <a:lnTo>
                    <a:pt x="1085189" y="1015707"/>
                  </a:lnTo>
                  <a:lnTo>
                    <a:pt x="1107592" y="976287"/>
                  </a:lnTo>
                  <a:lnTo>
                    <a:pt x="1126972" y="935050"/>
                  </a:lnTo>
                  <a:lnTo>
                    <a:pt x="1143165" y="892136"/>
                  </a:lnTo>
                  <a:lnTo>
                    <a:pt x="1156017" y="847699"/>
                  </a:lnTo>
                  <a:lnTo>
                    <a:pt x="1165390" y="801878"/>
                  </a:lnTo>
                  <a:lnTo>
                    <a:pt x="1171117" y="754849"/>
                  </a:lnTo>
                  <a:lnTo>
                    <a:pt x="1173060" y="706716"/>
                  </a:lnTo>
                  <a:close/>
                </a:path>
                <a:path w="7971790" h="1386839">
                  <a:moveTo>
                    <a:pt x="7971218" y="693191"/>
                  </a:moveTo>
                  <a:lnTo>
                    <a:pt x="7969618" y="645731"/>
                  </a:lnTo>
                  <a:lnTo>
                    <a:pt x="7964894" y="599122"/>
                  </a:lnTo>
                  <a:lnTo>
                    <a:pt x="7957134" y="553491"/>
                  </a:lnTo>
                  <a:lnTo>
                    <a:pt x="7946453" y="508914"/>
                  </a:lnTo>
                  <a:lnTo>
                    <a:pt x="7932966" y="465505"/>
                  </a:lnTo>
                  <a:lnTo>
                    <a:pt x="7916748" y="423367"/>
                  </a:lnTo>
                  <a:lnTo>
                    <a:pt x="7897914" y="382600"/>
                  </a:lnTo>
                  <a:lnTo>
                    <a:pt x="7876578" y="343319"/>
                  </a:lnTo>
                  <a:lnTo>
                    <a:pt x="7852829" y="305612"/>
                  </a:lnTo>
                  <a:lnTo>
                    <a:pt x="7826781" y="269595"/>
                  </a:lnTo>
                  <a:lnTo>
                    <a:pt x="7798536" y="235369"/>
                  </a:lnTo>
                  <a:lnTo>
                    <a:pt x="7768183" y="203022"/>
                  </a:lnTo>
                  <a:lnTo>
                    <a:pt x="7735849" y="172681"/>
                  </a:lnTo>
                  <a:lnTo>
                    <a:pt x="7701623" y="144424"/>
                  </a:lnTo>
                  <a:lnTo>
                    <a:pt x="7665593" y="118376"/>
                  </a:lnTo>
                  <a:lnTo>
                    <a:pt x="7627899" y="94640"/>
                  </a:lnTo>
                  <a:lnTo>
                    <a:pt x="7588605" y="73291"/>
                  </a:lnTo>
                  <a:lnTo>
                    <a:pt x="7547851" y="54470"/>
                  </a:lnTo>
                  <a:lnTo>
                    <a:pt x="7505713" y="38252"/>
                  </a:lnTo>
                  <a:lnTo>
                    <a:pt x="7462304" y="24752"/>
                  </a:lnTo>
                  <a:lnTo>
                    <a:pt x="7417727" y="14084"/>
                  </a:lnTo>
                  <a:lnTo>
                    <a:pt x="7372096" y="6324"/>
                  </a:lnTo>
                  <a:lnTo>
                    <a:pt x="7325487" y="1600"/>
                  </a:lnTo>
                  <a:lnTo>
                    <a:pt x="7278027" y="0"/>
                  </a:lnTo>
                  <a:lnTo>
                    <a:pt x="7230567" y="1600"/>
                  </a:lnTo>
                  <a:lnTo>
                    <a:pt x="7183971" y="6324"/>
                  </a:lnTo>
                  <a:lnTo>
                    <a:pt x="7138327" y="14084"/>
                  </a:lnTo>
                  <a:lnTo>
                    <a:pt x="7093750" y="24752"/>
                  </a:lnTo>
                  <a:lnTo>
                    <a:pt x="7050341" y="38252"/>
                  </a:lnTo>
                  <a:lnTo>
                    <a:pt x="7008203" y="54470"/>
                  </a:lnTo>
                  <a:lnTo>
                    <a:pt x="6967448" y="73291"/>
                  </a:lnTo>
                  <a:lnTo>
                    <a:pt x="6928155" y="94640"/>
                  </a:lnTo>
                  <a:lnTo>
                    <a:pt x="6890461" y="118376"/>
                  </a:lnTo>
                  <a:lnTo>
                    <a:pt x="6854444" y="144424"/>
                  </a:lnTo>
                  <a:lnTo>
                    <a:pt x="6820205" y="172681"/>
                  </a:lnTo>
                  <a:lnTo>
                    <a:pt x="6787870" y="203022"/>
                  </a:lnTo>
                  <a:lnTo>
                    <a:pt x="6757517" y="235369"/>
                  </a:lnTo>
                  <a:lnTo>
                    <a:pt x="6729273" y="269595"/>
                  </a:lnTo>
                  <a:lnTo>
                    <a:pt x="6703225" y="305612"/>
                  </a:lnTo>
                  <a:lnTo>
                    <a:pt x="6679476" y="343319"/>
                  </a:lnTo>
                  <a:lnTo>
                    <a:pt x="6658140" y="382600"/>
                  </a:lnTo>
                  <a:lnTo>
                    <a:pt x="6639306" y="423367"/>
                  </a:lnTo>
                  <a:lnTo>
                    <a:pt x="6623088" y="465505"/>
                  </a:lnTo>
                  <a:lnTo>
                    <a:pt x="6609601" y="508914"/>
                  </a:lnTo>
                  <a:lnTo>
                    <a:pt x="6598920" y="553491"/>
                  </a:lnTo>
                  <a:lnTo>
                    <a:pt x="6591160" y="599122"/>
                  </a:lnTo>
                  <a:lnTo>
                    <a:pt x="6586436" y="645731"/>
                  </a:lnTo>
                  <a:lnTo>
                    <a:pt x="6584836" y="693178"/>
                  </a:lnTo>
                  <a:lnTo>
                    <a:pt x="6586436" y="740651"/>
                  </a:lnTo>
                  <a:lnTo>
                    <a:pt x="6591160" y="787247"/>
                  </a:lnTo>
                  <a:lnTo>
                    <a:pt x="6598920" y="832891"/>
                  </a:lnTo>
                  <a:lnTo>
                    <a:pt x="6609601" y="877468"/>
                  </a:lnTo>
                  <a:lnTo>
                    <a:pt x="6623088" y="920877"/>
                  </a:lnTo>
                  <a:lnTo>
                    <a:pt x="6639306" y="963015"/>
                  </a:lnTo>
                  <a:lnTo>
                    <a:pt x="6658140" y="1003769"/>
                  </a:lnTo>
                  <a:lnTo>
                    <a:pt x="6679476" y="1043051"/>
                  </a:lnTo>
                  <a:lnTo>
                    <a:pt x="6703225" y="1080757"/>
                  </a:lnTo>
                  <a:lnTo>
                    <a:pt x="6729273" y="1116774"/>
                  </a:lnTo>
                  <a:lnTo>
                    <a:pt x="6757517" y="1151013"/>
                  </a:lnTo>
                  <a:lnTo>
                    <a:pt x="6787870" y="1183347"/>
                  </a:lnTo>
                  <a:lnTo>
                    <a:pt x="6820205" y="1213700"/>
                  </a:lnTo>
                  <a:lnTo>
                    <a:pt x="6854444" y="1241945"/>
                  </a:lnTo>
                  <a:lnTo>
                    <a:pt x="6890461" y="1267993"/>
                  </a:lnTo>
                  <a:lnTo>
                    <a:pt x="6928155" y="1291742"/>
                  </a:lnTo>
                  <a:lnTo>
                    <a:pt x="6967448" y="1313078"/>
                  </a:lnTo>
                  <a:lnTo>
                    <a:pt x="7008203" y="1331912"/>
                  </a:lnTo>
                  <a:lnTo>
                    <a:pt x="7050341" y="1348117"/>
                  </a:lnTo>
                  <a:lnTo>
                    <a:pt x="7093750" y="1361617"/>
                  </a:lnTo>
                  <a:lnTo>
                    <a:pt x="7138327" y="1372298"/>
                  </a:lnTo>
                  <a:lnTo>
                    <a:pt x="7183971" y="1380058"/>
                  </a:lnTo>
                  <a:lnTo>
                    <a:pt x="7230567" y="1384782"/>
                  </a:lnTo>
                  <a:lnTo>
                    <a:pt x="7278027" y="1386382"/>
                  </a:lnTo>
                  <a:lnTo>
                    <a:pt x="7325487" y="1384782"/>
                  </a:lnTo>
                  <a:lnTo>
                    <a:pt x="7372096" y="1380058"/>
                  </a:lnTo>
                  <a:lnTo>
                    <a:pt x="7417727" y="1372298"/>
                  </a:lnTo>
                  <a:lnTo>
                    <a:pt x="7462304" y="1361617"/>
                  </a:lnTo>
                  <a:lnTo>
                    <a:pt x="7505713" y="1348117"/>
                  </a:lnTo>
                  <a:lnTo>
                    <a:pt x="7547851" y="1331912"/>
                  </a:lnTo>
                  <a:lnTo>
                    <a:pt x="7588605" y="1313078"/>
                  </a:lnTo>
                  <a:lnTo>
                    <a:pt x="7627899" y="1291742"/>
                  </a:lnTo>
                  <a:lnTo>
                    <a:pt x="7665593" y="1267993"/>
                  </a:lnTo>
                  <a:lnTo>
                    <a:pt x="7701623" y="1241945"/>
                  </a:lnTo>
                  <a:lnTo>
                    <a:pt x="7735849" y="1213700"/>
                  </a:lnTo>
                  <a:lnTo>
                    <a:pt x="7768183" y="1183347"/>
                  </a:lnTo>
                  <a:lnTo>
                    <a:pt x="7798536" y="1151013"/>
                  </a:lnTo>
                  <a:lnTo>
                    <a:pt x="7826781" y="1116774"/>
                  </a:lnTo>
                  <a:lnTo>
                    <a:pt x="7852829" y="1080757"/>
                  </a:lnTo>
                  <a:lnTo>
                    <a:pt x="7876578" y="1043051"/>
                  </a:lnTo>
                  <a:lnTo>
                    <a:pt x="7897914" y="1003769"/>
                  </a:lnTo>
                  <a:lnTo>
                    <a:pt x="7916748" y="963015"/>
                  </a:lnTo>
                  <a:lnTo>
                    <a:pt x="7932966" y="920877"/>
                  </a:lnTo>
                  <a:lnTo>
                    <a:pt x="7946453" y="877468"/>
                  </a:lnTo>
                  <a:lnTo>
                    <a:pt x="7957134" y="832891"/>
                  </a:lnTo>
                  <a:lnTo>
                    <a:pt x="7964894" y="787247"/>
                  </a:lnTo>
                  <a:lnTo>
                    <a:pt x="7969618" y="740651"/>
                  </a:lnTo>
                  <a:lnTo>
                    <a:pt x="7971218" y="693191"/>
                  </a:lnTo>
                  <a:close/>
                </a:path>
              </a:pathLst>
            </a:custGeom>
            <a:solidFill>
              <a:srgbClr val="0090AE"/>
            </a:solidFill>
          </p:spPr>
          <p:txBody>
            <a:bodyPr wrap="square" lIns="0" tIns="0" rIns="0" bIns="0" rtlCol="0"/>
            <a:lstStyle/>
            <a:p>
              <a:endParaRPr/>
            </a:p>
          </p:txBody>
        </p:sp>
        <p:sp>
          <p:nvSpPr>
            <p:cNvPr id="15" name="object 15"/>
            <p:cNvSpPr/>
            <p:nvPr/>
          </p:nvSpPr>
          <p:spPr>
            <a:xfrm>
              <a:off x="9067483" y="4053229"/>
              <a:ext cx="4879340" cy="459740"/>
            </a:xfrm>
            <a:custGeom>
              <a:avLst/>
              <a:gdLst/>
              <a:ahLst/>
              <a:cxnLst/>
              <a:rect l="l" t="t" r="r" b="b"/>
              <a:pathLst>
                <a:path w="4879340" h="459739">
                  <a:moveTo>
                    <a:pt x="436092" y="215671"/>
                  </a:moveTo>
                  <a:lnTo>
                    <a:pt x="433044" y="200215"/>
                  </a:lnTo>
                  <a:lnTo>
                    <a:pt x="424586" y="187629"/>
                  </a:lnTo>
                  <a:lnTo>
                    <a:pt x="412000" y="179171"/>
                  </a:lnTo>
                  <a:lnTo>
                    <a:pt x="396544" y="176110"/>
                  </a:lnTo>
                  <a:lnTo>
                    <a:pt x="259435" y="176415"/>
                  </a:lnTo>
                  <a:lnTo>
                    <a:pt x="259981" y="39547"/>
                  </a:lnTo>
                  <a:lnTo>
                    <a:pt x="256921" y="24091"/>
                  </a:lnTo>
                  <a:lnTo>
                    <a:pt x="248462" y="11506"/>
                  </a:lnTo>
                  <a:lnTo>
                    <a:pt x="235877" y="3048"/>
                  </a:lnTo>
                  <a:lnTo>
                    <a:pt x="220421" y="0"/>
                  </a:lnTo>
                  <a:lnTo>
                    <a:pt x="217157" y="12"/>
                  </a:lnTo>
                  <a:lnTo>
                    <a:pt x="180708" y="24295"/>
                  </a:lnTo>
                  <a:lnTo>
                    <a:pt x="176745" y="176745"/>
                  </a:lnTo>
                  <a:lnTo>
                    <a:pt x="39878" y="177292"/>
                  </a:lnTo>
                  <a:lnTo>
                    <a:pt x="3200" y="201803"/>
                  </a:lnTo>
                  <a:lnTo>
                    <a:pt x="0" y="220421"/>
                  </a:lnTo>
                  <a:lnTo>
                    <a:pt x="3060" y="235877"/>
                  </a:lnTo>
                  <a:lnTo>
                    <a:pt x="11506" y="248462"/>
                  </a:lnTo>
                  <a:lnTo>
                    <a:pt x="24091" y="256921"/>
                  </a:lnTo>
                  <a:lnTo>
                    <a:pt x="39547" y="259969"/>
                  </a:lnTo>
                  <a:lnTo>
                    <a:pt x="176428" y="259435"/>
                  </a:lnTo>
                  <a:lnTo>
                    <a:pt x="176123" y="396544"/>
                  </a:lnTo>
                  <a:lnTo>
                    <a:pt x="179171" y="412000"/>
                  </a:lnTo>
                  <a:lnTo>
                    <a:pt x="187629" y="424586"/>
                  </a:lnTo>
                  <a:lnTo>
                    <a:pt x="200215" y="433031"/>
                  </a:lnTo>
                  <a:lnTo>
                    <a:pt x="215671" y="436092"/>
                  </a:lnTo>
                  <a:lnTo>
                    <a:pt x="218935" y="436079"/>
                  </a:lnTo>
                  <a:lnTo>
                    <a:pt x="255625" y="411556"/>
                  </a:lnTo>
                  <a:lnTo>
                    <a:pt x="259346" y="259334"/>
                  </a:lnTo>
                  <a:lnTo>
                    <a:pt x="396214" y="258800"/>
                  </a:lnTo>
                  <a:lnTo>
                    <a:pt x="432904" y="234276"/>
                  </a:lnTo>
                  <a:lnTo>
                    <a:pt x="436079" y="218935"/>
                  </a:lnTo>
                  <a:lnTo>
                    <a:pt x="436092" y="215671"/>
                  </a:lnTo>
                  <a:close/>
                </a:path>
                <a:path w="4879340" h="459739">
                  <a:moveTo>
                    <a:pt x="2653665" y="215671"/>
                  </a:moveTo>
                  <a:lnTo>
                    <a:pt x="2650617" y="200215"/>
                  </a:lnTo>
                  <a:lnTo>
                    <a:pt x="2642158" y="187629"/>
                  </a:lnTo>
                  <a:lnTo>
                    <a:pt x="2629573" y="179171"/>
                  </a:lnTo>
                  <a:lnTo>
                    <a:pt x="2614117" y="176110"/>
                  </a:lnTo>
                  <a:lnTo>
                    <a:pt x="2477008" y="176415"/>
                  </a:lnTo>
                  <a:lnTo>
                    <a:pt x="2477541" y="39547"/>
                  </a:lnTo>
                  <a:lnTo>
                    <a:pt x="2474493" y="24091"/>
                  </a:lnTo>
                  <a:lnTo>
                    <a:pt x="2466035" y="11506"/>
                  </a:lnTo>
                  <a:lnTo>
                    <a:pt x="2453449" y="3048"/>
                  </a:lnTo>
                  <a:lnTo>
                    <a:pt x="2437993" y="0"/>
                  </a:lnTo>
                  <a:lnTo>
                    <a:pt x="2434729" y="12"/>
                  </a:lnTo>
                  <a:lnTo>
                    <a:pt x="2398280" y="24295"/>
                  </a:lnTo>
                  <a:lnTo>
                    <a:pt x="2394318" y="176745"/>
                  </a:lnTo>
                  <a:lnTo>
                    <a:pt x="2257450" y="177292"/>
                  </a:lnTo>
                  <a:lnTo>
                    <a:pt x="2220772" y="201803"/>
                  </a:lnTo>
                  <a:lnTo>
                    <a:pt x="2217572" y="220421"/>
                  </a:lnTo>
                  <a:lnTo>
                    <a:pt x="2220620" y="235877"/>
                  </a:lnTo>
                  <a:lnTo>
                    <a:pt x="2229078" y="248462"/>
                  </a:lnTo>
                  <a:lnTo>
                    <a:pt x="2241664" y="256921"/>
                  </a:lnTo>
                  <a:lnTo>
                    <a:pt x="2257120" y="259969"/>
                  </a:lnTo>
                  <a:lnTo>
                    <a:pt x="2394000" y="259435"/>
                  </a:lnTo>
                  <a:lnTo>
                    <a:pt x="2393696" y="396544"/>
                  </a:lnTo>
                  <a:lnTo>
                    <a:pt x="2396744" y="412000"/>
                  </a:lnTo>
                  <a:lnTo>
                    <a:pt x="2405202" y="424586"/>
                  </a:lnTo>
                  <a:lnTo>
                    <a:pt x="2417788" y="433031"/>
                  </a:lnTo>
                  <a:lnTo>
                    <a:pt x="2433243" y="436092"/>
                  </a:lnTo>
                  <a:lnTo>
                    <a:pt x="2436507" y="436079"/>
                  </a:lnTo>
                  <a:lnTo>
                    <a:pt x="2473198" y="411556"/>
                  </a:lnTo>
                  <a:lnTo>
                    <a:pt x="2476919" y="259334"/>
                  </a:lnTo>
                  <a:lnTo>
                    <a:pt x="2613787" y="258800"/>
                  </a:lnTo>
                  <a:lnTo>
                    <a:pt x="2650464" y="234276"/>
                  </a:lnTo>
                  <a:lnTo>
                    <a:pt x="2653652" y="218935"/>
                  </a:lnTo>
                  <a:lnTo>
                    <a:pt x="2653665" y="215671"/>
                  </a:lnTo>
                  <a:close/>
                </a:path>
                <a:path w="4879340" h="459739">
                  <a:moveTo>
                    <a:pt x="4878743" y="238798"/>
                  </a:moveTo>
                  <a:lnTo>
                    <a:pt x="4875682" y="223342"/>
                  </a:lnTo>
                  <a:lnTo>
                    <a:pt x="4867237" y="210756"/>
                  </a:lnTo>
                  <a:lnTo>
                    <a:pt x="4854651" y="202298"/>
                  </a:lnTo>
                  <a:lnTo>
                    <a:pt x="4839195" y="199237"/>
                  </a:lnTo>
                  <a:lnTo>
                    <a:pt x="4702086" y="199555"/>
                  </a:lnTo>
                  <a:lnTo>
                    <a:pt x="4702619" y="62674"/>
                  </a:lnTo>
                  <a:lnTo>
                    <a:pt x="4699571" y="47218"/>
                  </a:lnTo>
                  <a:lnTo>
                    <a:pt x="4691113" y="34632"/>
                  </a:lnTo>
                  <a:lnTo>
                    <a:pt x="4678527" y="26174"/>
                  </a:lnTo>
                  <a:lnTo>
                    <a:pt x="4663071" y="23126"/>
                  </a:lnTo>
                  <a:lnTo>
                    <a:pt x="4659808" y="23139"/>
                  </a:lnTo>
                  <a:lnTo>
                    <a:pt x="4623359" y="47421"/>
                  </a:lnTo>
                  <a:lnTo>
                    <a:pt x="4619396" y="199872"/>
                  </a:lnTo>
                  <a:lnTo>
                    <a:pt x="4482528" y="200418"/>
                  </a:lnTo>
                  <a:lnTo>
                    <a:pt x="4445851" y="224942"/>
                  </a:lnTo>
                  <a:lnTo>
                    <a:pt x="4442650" y="243547"/>
                  </a:lnTo>
                  <a:lnTo>
                    <a:pt x="4445698" y="259003"/>
                  </a:lnTo>
                  <a:lnTo>
                    <a:pt x="4454156" y="271589"/>
                  </a:lnTo>
                  <a:lnTo>
                    <a:pt x="4466742" y="280047"/>
                  </a:lnTo>
                  <a:lnTo>
                    <a:pt x="4482198" y="283095"/>
                  </a:lnTo>
                  <a:lnTo>
                    <a:pt x="4619079" y="282562"/>
                  </a:lnTo>
                  <a:lnTo>
                    <a:pt x="4618774" y="419671"/>
                  </a:lnTo>
                  <a:lnTo>
                    <a:pt x="4621822" y="435127"/>
                  </a:lnTo>
                  <a:lnTo>
                    <a:pt x="4630280" y="447713"/>
                  </a:lnTo>
                  <a:lnTo>
                    <a:pt x="4642866" y="456158"/>
                  </a:lnTo>
                  <a:lnTo>
                    <a:pt x="4658322" y="459219"/>
                  </a:lnTo>
                  <a:lnTo>
                    <a:pt x="4661586" y="459206"/>
                  </a:lnTo>
                  <a:lnTo>
                    <a:pt x="4698263" y="434682"/>
                  </a:lnTo>
                  <a:lnTo>
                    <a:pt x="4701997" y="282473"/>
                  </a:lnTo>
                  <a:lnTo>
                    <a:pt x="4838865" y="281927"/>
                  </a:lnTo>
                  <a:lnTo>
                    <a:pt x="4875542" y="257403"/>
                  </a:lnTo>
                  <a:lnTo>
                    <a:pt x="4878730" y="242062"/>
                  </a:lnTo>
                  <a:lnTo>
                    <a:pt x="4878743" y="238798"/>
                  </a:lnTo>
                  <a:close/>
                </a:path>
              </a:pathLst>
            </a:custGeom>
            <a:solidFill>
              <a:srgbClr val="CD2028"/>
            </a:solidFill>
          </p:spPr>
          <p:txBody>
            <a:bodyPr wrap="square" lIns="0" tIns="0" rIns="0" bIns="0" rtlCol="0"/>
            <a:lstStyle/>
            <a:p>
              <a:endParaRPr/>
            </a:p>
          </p:txBody>
        </p:sp>
        <p:sp>
          <p:nvSpPr>
            <p:cNvPr id="16" name="object 16"/>
            <p:cNvSpPr/>
            <p:nvPr/>
          </p:nvSpPr>
          <p:spPr>
            <a:xfrm>
              <a:off x="11972176" y="3685742"/>
              <a:ext cx="3448685" cy="1173480"/>
            </a:xfrm>
            <a:custGeom>
              <a:avLst/>
              <a:gdLst/>
              <a:ahLst/>
              <a:cxnLst/>
              <a:rect l="l" t="t" r="r" b="b"/>
              <a:pathLst>
                <a:path w="3448684" h="1173479">
                  <a:moveTo>
                    <a:pt x="1173060" y="586536"/>
                  </a:moveTo>
                  <a:lnTo>
                    <a:pt x="1171117" y="538429"/>
                  </a:lnTo>
                  <a:lnTo>
                    <a:pt x="1165390" y="491401"/>
                  </a:lnTo>
                  <a:lnTo>
                    <a:pt x="1156017" y="445592"/>
                  </a:lnTo>
                  <a:lnTo>
                    <a:pt x="1143165" y="401142"/>
                  </a:lnTo>
                  <a:lnTo>
                    <a:pt x="1126972" y="358228"/>
                  </a:lnTo>
                  <a:lnTo>
                    <a:pt x="1107592" y="316992"/>
                  </a:lnTo>
                  <a:lnTo>
                    <a:pt x="1085189" y="277571"/>
                  </a:lnTo>
                  <a:lnTo>
                    <a:pt x="1059891" y="240144"/>
                  </a:lnTo>
                  <a:lnTo>
                    <a:pt x="1031875" y="204825"/>
                  </a:lnTo>
                  <a:lnTo>
                    <a:pt x="1001268" y="171792"/>
                  </a:lnTo>
                  <a:lnTo>
                    <a:pt x="968235" y="141198"/>
                  </a:lnTo>
                  <a:lnTo>
                    <a:pt x="932929" y="113169"/>
                  </a:lnTo>
                  <a:lnTo>
                    <a:pt x="895489" y="87884"/>
                  </a:lnTo>
                  <a:lnTo>
                    <a:pt x="856068" y="65468"/>
                  </a:lnTo>
                  <a:lnTo>
                    <a:pt x="814832" y="46101"/>
                  </a:lnTo>
                  <a:lnTo>
                    <a:pt x="771918" y="29908"/>
                  </a:lnTo>
                  <a:lnTo>
                    <a:pt x="727481" y="17056"/>
                  </a:lnTo>
                  <a:lnTo>
                    <a:pt x="681659" y="7683"/>
                  </a:lnTo>
                  <a:lnTo>
                    <a:pt x="634631" y="1943"/>
                  </a:lnTo>
                  <a:lnTo>
                    <a:pt x="586524" y="0"/>
                  </a:lnTo>
                  <a:lnTo>
                    <a:pt x="538416" y="1943"/>
                  </a:lnTo>
                  <a:lnTo>
                    <a:pt x="491388" y="7683"/>
                  </a:lnTo>
                  <a:lnTo>
                    <a:pt x="445579" y="17056"/>
                  </a:lnTo>
                  <a:lnTo>
                    <a:pt x="401142" y="29908"/>
                  </a:lnTo>
                  <a:lnTo>
                    <a:pt x="358216" y="46101"/>
                  </a:lnTo>
                  <a:lnTo>
                    <a:pt x="316979" y="65468"/>
                  </a:lnTo>
                  <a:lnTo>
                    <a:pt x="277571" y="87884"/>
                  </a:lnTo>
                  <a:lnTo>
                    <a:pt x="240131" y="113169"/>
                  </a:lnTo>
                  <a:lnTo>
                    <a:pt x="204812" y="141198"/>
                  </a:lnTo>
                  <a:lnTo>
                    <a:pt x="171780" y="171792"/>
                  </a:lnTo>
                  <a:lnTo>
                    <a:pt x="141185" y="204825"/>
                  </a:lnTo>
                  <a:lnTo>
                    <a:pt x="113157" y="240144"/>
                  </a:lnTo>
                  <a:lnTo>
                    <a:pt x="87871" y="277571"/>
                  </a:lnTo>
                  <a:lnTo>
                    <a:pt x="65455" y="316992"/>
                  </a:lnTo>
                  <a:lnTo>
                    <a:pt x="46088" y="358228"/>
                  </a:lnTo>
                  <a:lnTo>
                    <a:pt x="29895" y="401142"/>
                  </a:lnTo>
                  <a:lnTo>
                    <a:pt x="17043" y="445592"/>
                  </a:lnTo>
                  <a:lnTo>
                    <a:pt x="7670" y="491401"/>
                  </a:lnTo>
                  <a:lnTo>
                    <a:pt x="1943" y="538429"/>
                  </a:lnTo>
                  <a:lnTo>
                    <a:pt x="0" y="586536"/>
                  </a:lnTo>
                  <a:lnTo>
                    <a:pt x="1943" y="634644"/>
                  </a:lnTo>
                  <a:lnTo>
                    <a:pt x="7670" y="681672"/>
                  </a:lnTo>
                  <a:lnTo>
                    <a:pt x="17043" y="727494"/>
                  </a:lnTo>
                  <a:lnTo>
                    <a:pt x="29895" y="771931"/>
                  </a:lnTo>
                  <a:lnTo>
                    <a:pt x="46088" y="814844"/>
                  </a:lnTo>
                  <a:lnTo>
                    <a:pt x="65455" y="856081"/>
                  </a:lnTo>
                  <a:lnTo>
                    <a:pt x="87871" y="895502"/>
                  </a:lnTo>
                  <a:lnTo>
                    <a:pt x="113157" y="932942"/>
                  </a:lnTo>
                  <a:lnTo>
                    <a:pt x="141185" y="968248"/>
                  </a:lnTo>
                  <a:lnTo>
                    <a:pt x="171780" y="1001280"/>
                  </a:lnTo>
                  <a:lnTo>
                    <a:pt x="204812" y="1031887"/>
                  </a:lnTo>
                  <a:lnTo>
                    <a:pt x="240131" y="1059903"/>
                  </a:lnTo>
                  <a:lnTo>
                    <a:pt x="277571" y="1085189"/>
                  </a:lnTo>
                  <a:lnTo>
                    <a:pt x="316979" y="1107605"/>
                  </a:lnTo>
                  <a:lnTo>
                    <a:pt x="358216" y="1126972"/>
                  </a:lnTo>
                  <a:lnTo>
                    <a:pt x="401142" y="1143165"/>
                  </a:lnTo>
                  <a:lnTo>
                    <a:pt x="445579" y="1156030"/>
                  </a:lnTo>
                  <a:lnTo>
                    <a:pt x="491388" y="1165390"/>
                  </a:lnTo>
                  <a:lnTo>
                    <a:pt x="538416" y="1171130"/>
                  </a:lnTo>
                  <a:lnTo>
                    <a:pt x="586524" y="1173073"/>
                  </a:lnTo>
                  <a:lnTo>
                    <a:pt x="634631" y="1171130"/>
                  </a:lnTo>
                  <a:lnTo>
                    <a:pt x="681659" y="1165390"/>
                  </a:lnTo>
                  <a:lnTo>
                    <a:pt x="727481" y="1156030"/>
                  </a:lnTo>
                  <a:lnTo>
                    <a:pt x="771918" y="1143165"/>
                  </a:lnTo>
                  <a:lnTo>
                    <a:pt x="814832" y="1126972"/>
                  </a:lnTo>
                  <a:lnTo>
                    <a:pt x="856068" y="1107605"/>
                  </a:lnTo>
                  <a:lnTo>
                    <a:pt x="895489" y="1085189"/>
                  </a:lnTo>
                  <a:lnTo>
                    <a:pt x="932929" y="1059903"/>
                  </a:lnTo>
                  <a:lnTo>
                    <a:pt x="968235" y="1031887"/>
                  </a:lnTo>
                  <a:lnTo>
                    <a:pt x="1001268" y="1001280"/>
                  </a:lnTo>
                  <a:lnTo>
                    <a:pt x="1031875" y="968248"/>
                  </a:lnTo>
                  <a:lnTo>
                    <a:pt x="1059891" y="932942"/>
                  </a:lnTo>
                  <a:lnTo>
                    <a:pt x="1085189" y="895502"/>
                  </a:lnTo>
                  <a:lnTo>
                    <a:pt x="1107592" y="856081"/>
                  </a:lnTo>
                  <a:lnTo>
                    <a:pt x="1126972" y="814844"/>
                  </a:lnTo>
                  <a:lnTo>
                    <a:pt x="1143165" y="771931"/>
                  </a:lnTo>
                  <a:lnTo>
                    <a:pt x="1156017" y="727494"/>
                  </a:lnTo>
                  <a:lnTo>
                    <a:pt x="1165390" y="681672"/>
                  </a:lnTo>
                  <a:lnTo>
                    <a:pt x="1171117" y="634644"/>
                  </a:lnTo>
                  <a:lnTo>
                    <a:pt x="1173060" y="586536"/>
                  </a:lnTo>
                  <a:close/>
                </a:path>
                <a:path w="3448684" h="1173479">
                  <a:moveTo>
                    <a:pt x="3448647" y="586524"/>
                  </a:moveTo>
                  <a:lnTo>
                    <a:pt x="3446703" y="538429"/>
                  </a:lnTo>
                  <a:lnTo>
                    <a:pt x="3440963" y="491401"/>
                  </a:lnTo>
                  <a:lnTo>
                    <a:pt x="3431603" y="445592"/>
                  </a:lnTo>
                  <a:lnTo>
                    <a:pt x="3418738" y="401142"/>
                  </a:lnTo>
                  <a:lnTo>
                    <a:pt x="3402558" y="358228"/>
                  </a:lnTo>
                  <a:lnTo>
                    <a:pt x="3383178" y="316992"/>
                  </a:lnTo>
                  <a:lnTo>
                    <a:pt x="3360763" y="277571"/>
                  </a:lnTo>
                  <a:lnTo>
                    <a:pt x="3335477" y="240144"/>
                  </a:lnTo>
                  <a:lnTo>
                    <a:pt x="3307461" y="204825"/>
                  </a:lnTo>
                  <a:lnTo>
                    <a:pt x="3276854" y="171792"/>
                  </a:lnTo>
                  <a:lnTo>
                    <a:pt x="3243821" y="141198"/>
                  </a:lnTo>
                  <a:lnTo>
                    <a:pt x="3208515" y="113169"/>
                  </a:lnTo>
                  <a:lnTo>
                    <a:pt x="3171075" y="87884"/>
                  </a:lnTo>
                  <a:lnTo>
                    <a:pt x="3131655" y="65468"/>
                  </a:lnTo>
                  <a:lnTo>
                    <a:pt x="3090418" y="46101"/>
                  </a:lnTo>
                  <a:lnTo>
                    <a:pt x="3047504" y="29908"/>
                  </a:lnTo>
                  <a:lnTo>
                    <a:pt x="3003067" y="17056"/>
                  </a:lnTo>
                  <a:lnTo>
                    <a:pt x="2957245" y="7683"/>
                  </a:lnTo>
                  <a:lnTo>
                    <a:pt x="2910217" y="1943"/>
                  </a:lnTo>
                  <a:lnTo>
                    <a:pt x="2862110" y="0"/>
                  </a:lnTo>
                  <a:lnTo>
                    <a:pt x="2814002" y="1943"/>
                  </a:lnTo>
                  <a:lnTo>
                    <a:pt x="2766974" y="7683"/>
                  </a:lnTo>
                  <a:lnTo>
                    <a:pt x="2721165" y="17056"/>
                  </a:lnTo>
                  <a:lnTo>
                    <a:pt x="2676715" y="29908"/>
                  </a:lnTo>
                  <a:lnTo>
                    <a:pt x="2633802" y="46101"/>
                  </a:lnTo>
                  <a:lnTo>
                    <a:pt x="2592565" y="65468"/>
                  </a:lnTo>
                  <a:lnTo>
                    <a:pt x="2553144" y="87884"/>
                  </a:lnTo>
                  <a:lnTo>
                    <a:pt x="2515717" y="113169"/>
                  </a:lnTo>
                  <a:lnTo>
                    <a:pt x="2480399" y="141198"/>
                  </a:lnTo>
                  <a:lnTo>
                    <a:pt x="2447366" y="171792"/>
                  </a:lnTo>
                  <a:lnTo>
                    <a:pt x="2416772" y="204825"/>
                  </a:lnTo>
                  <a:lnTo>
                    <a:pt x="2388743" y="240144"/>
                  </a:lnTo>
                  <a:lnTo>
                    <a:pt x="2363457" y="277571"/>
                  </a:lnTo>
                  <a:lnTo>
                    <a:pt x="2341041" y="316992"/>
                  </a:lnTo>
                  <a:lnTo>
                    <a:pt x="2321674" y="358228"/>
                  </a:lnTo>
                  <a:lnTo>
                    <a:pt x="2305481" y="401142"/>
                  </a:lnTo>
                  <a:lnTo>
                    <a:pt x="2292629" y="445592"/>
                  </a:lnTo>
                  <a:lnTo>
                    <a:pt x="2283256" y="491401"/>
                  </a:lnTo>
                  <a:lnTo>
                    <a:pt x="2277516" y="538429"/>
                  </a:lnTo>
                  <a:lnTo>
                    <a:pt x="2275573" y="586549"/>
                  </a:lnTo>
                  <a:lnTo>
                    <a:pt x="2277516" y="634644"/>
                  </a:lnTo>
                  <a:lnTo>
                    <a:pt x="2283256" y="681672"/>
                  </a:lnTo>
                  <a:lnTo>
                    <a:pt x="2292629" y="727494"/>
                  </a:lnTo>
                  <a:lnTo>
                    <a:pt x="2305481" y="771931"/>
                  </a:lnTo>
                  <a:lnTo>
                    <a:pt x="2321674" y="814844"/>
                  </a:lnTo>
                  <a:lnTo>
                    <a:pt x="2341041" y="856081"/>
                  </a:lnTo>
                  <a:lnTo>
                    <a:pt x="2363457" y="895502"/>
                  </a:lnTo>
                  <a:lnTo>
                    <a:pt x="2388743" y="932942"/>
                  </a:lnTo>
                  <a:lnTo>
                    <a:pt x="2416772" y="968248"/>
                  </a:lnTo>
                  <a:lnTo>
                    <a:pt x="2447366" y="1001280"/>
                  </a:lnTo>
                  <a:lnTo>
                    <a:pt x="2480399" y="1031887"/>
                  </a:lnTo>
                  <a:lnTo>
                    <a:pt x="2515717" y="1059903"/>
                  </a:lnTo>
                  <a:lnTo>
                    <a:pt x="2553144" y="1085189"/>
                  </a:lnTo>
                  <a:lnTo>
                    <a:pt x="2592565" y="1107605"/>
                  </a:lnTo>
                  <a:lnTo>
                    <a:pt x="2633802" y="1126972"/>
                  </a:lnTo>
                  <a:lnTo>
                    <a:pt x="2676715" y="1143165"/>
                  </a:lnTo>
                  <a:lnTo>
                    <a:pt x="2721165" y="1156030"/>
                  </a:lnTo>
                  <a:lnTo>
                    <a:pt x="2766974" y="1165390"/>
                  </a:lnTo>
                  <a:lnTo>
                    <a:pt x="2814002" y="1171130"/>
                  </a:lnTo>
                  <a:lnTo>
                    <a:pt x="2862110" y="1173073"/>
                  </a:lnTo>
                  <a:lnTo>
                    <a:pt x="2910217" y="1171130"/>
                  </a:lnTo>
                  <a:lnTo>
                    <a:pt x="2957245" y="1165390"/>
                  </a:lnTo>
                  <a:lnTo>
                    <a:pt x="3003067" y="1156030"/>
                  </a:lnTo>
                  <a:lnTo>
                    <a:pt x="3047504" y="1143165"/>
                  </a:lnTo>
                  <a:lnTo>
                    <a:pt x="3090418" y="1126972"/>
                  </a:lnTo>
                  <a:lnTo>
                    <a:pt x="3131655" y="1107605"/>
                  </a:lnTo>
                  <a:lnTo>
                    <a:pt x="3171075" y="1085189"/>
                  </a:lnTo>
                  <a:lnTo>
                    <a:pt x="3208515" y="1059903"/>
                  </a:lnTo>
                  <a:lnTo>
                    <a:pt x="3243821" y="1031887"/>
                  </a:lnTo>
                  <a:lnTo>
                    <a:pt x="3276854" y="1001280"/>
                  </a:lnTo>
                  <a:lnTo>
                    <a:pt x="3307461" y="968248"/>
                  </a:lnTo>
                  <a:lnTo>
                    <a:pt x="3335477" y="932942"/>
                  </a:lnTo>
                  <a:lnTo>
                    <a:pt x="3360763" y="895502"/>
                  </a:lnTo>
                  <a:lnTo>
                    <a:pt x="3383178" y="856081"/>
                  </a:lnTo>
                  <a:lnTo>
                    <a:pt x="3402558" y="814844"/>
                  </a:lnTo>
                  <a:lnTo>
                    <a:pt x="3418738" y="771931"/>
                  </a:lnTo>
                  <a:lnTo>
                    <a:pt x="3431603" y="727494"/>
                  </a:lnTo>
                  <a:lnTo>
                    <a:pt x="3440963" y="681672"/>
                  </a:lnTo>
                  <a:lnTo>
                    <a:pt x="3446703" y="634644"/>
                  </a:lnTo>
                  <a:lnTo>
                    <a:pt x="3448647" y="586524"/>
                  </a:lnTo>
                  <a:close/>
                </a:path>
              </a:pathLst>
            </a:custGeom>
            <a:solidFill>
              <a:srgbClr val="0090AE"/>
            </a:solidFill>
          </p:spPr>
          <p:txBody>
            <a:bodyPr wrap="square" lIns="0" tIns="0" rIns="0" bIns="0" rtlCol="0"/>
            <a:lstStyle/>
            <a:p>
              <a:endParaRPr/>
            </a:p>
          </p:txBody>
        </p:sp>
        <p:pic>
          <p:nvPicPr>
            <p:cNvPr id="17" name="object 17"/>
            <p:cNvPicPr/>
            <p:nvPr/>
          </p:nvPicPr>
          <p:blipFill>
            <a:blip r:embed="rId3" cstate="print"/>
            <a:stretch>
              <a:fillRect/>
            </a:stretch>
          </p:blipFill>
          <p:spPr>
            <a:xfrm>
              <a:off x="6922281" y="6359404"/>
              <a:ext cx="1173066" cy="2246370"/>
            </a:xfrm>
            <a:prstGeom prst="rect">
              <a:avLst/>
            </a:prstGeom>
          </p:spPr>
        </p:pic>
        <p:sp>
          <p:nvSpPr>
            <p:cNvPr id="18" name="object 18"/>
            <p:cNvSpPr/>
            <p:nvPr/>
          </p:nvSpPr>
          <p:spPr>
            <a:xfrm>
              <a:off x="12420778" y="6535991"/>
              <a:ext cx="1143000" cy="1129030"/>
            </a:xfrm>
            <a:custGeom>
              <a:avLst/>
              <a:gdLst/>
              <a:ahLst/>
              <a:cxnLst/>
              <a:rect l="l" t="t" r="r" b="b"/>
              <a:pathLst>
                <a:path w="1143000" h="1129029">
                  <a:moveTo>
                    <a:pt x="484390" y="516940"/>
                  </a:moveTo>
                  <a:lnTo>
                    <a:pt x="467144" y="480669"/>
                  </a:lnTo>
                  <a:lnTo>
                    <a:pt x="440067" y="472427"/>
                  </a:lnTo>
                  <a:lnTo>
                    <a:pt x="432904" y="473773"/>
                  </a:lnTo>
                  <a:lnTo>
                    <a:pt x="412826" y="479450"/>
                  </a:lnTo>
                  <a:lnTo>
                    <a:pt x="394462" y="488111"/>
                  </a:lnTo>
                  <a:lnTo>
                    <a:pt x="377825" y="499745"/>
                  </a:lnTo>
                  <a:lnTo>
                    <a:pt x="360222" y="517004"/>
                  </a:lnTo>
                  <a:lnTo>
                    <a:pt x="357136" y="519061"/>
                  </a:lnTo>
                  <a:lnTo>
                    <a:pt x="350164" y="521931"/>
                  </a:lnTo>
                  <a:lnTo>
                    <a:pt x="346532" y="522655"/>
                  </a:lnTo>
                  <a:lnTo>
                    <a:pt x="338988" y="522655"/>
                  </a:lnTo>
                  <a:lnTo>
                    <a:pt x="335356" y="521931"/>
                  </a:lnTo>
                  <a:lnTo>
                    <a:pt x="328371" y="519061"/>
                  </a:lnTo>
                  <a:lnTo>
                    <a:pt x="325285" y="517004"/>
                  </a:lnTo>
                  <a:lnTo>
                    <a:pt x="314769" y="506031"/>
                  </a:lnTo>
                  <a:lnTo>
                    <a:pt x="306235" y="498589"/>
                  </a:lnTo>
                  <a:lnTo>
                    <a:pt x="266065" y="477774"/>
                  </a:lnTo>
                  <a:lnTo>
                    <a:pt x="243738" y="473481"/>
                  </a:lnTo>
                  <a:lnTo>
                    <a:pt x="235267" y="473925"/>
                  </a:lnTo>
                  <a:lnTo>
                    <a:pt x="227380" y="475983"/>
                  </a:lnTo>
                  <a:lnTo>
                    <a:pt x="220116" y="479640"/>
                  </a:lnTo>
                  <a:lnTo>
                    <a:pt x="213448" y="484911"/>
                  </a:lnTo>
                  <a:lnTo>
                    <a:pt x="203377" y="503847"/>
                  </a:lnTo>
                  <a:lnTo>
                    <a:pt x="203733" y="529704"/>
                  </a:lnTo>
                  <a:lnTo>
                    <a:pt x="216103" y="560374"/>
                  </a:lnTo>
                  <a:lnTo>
                    <a:pt x="242023" y="593788"/>
                  </a:lnTo>
                  <a:lnTo>
                    <a:pt x="342900" y="693229"/>
                  </a:lnTo>
                  <a:lnTo>
                    <a:pt x="442620" y="593788"/>
                  </a:lnTo>
                  <a:lnTo>
                    <a:pt x="457085" y="578789"/>
                  </a:lnTo>
                  <a:lnTo>
                    <a:pt x="468668" y="562114"/>
                  </a:lnTo>
                  <a:lnTo>
                    <a:pt x="477380" y="543775"/>
                  </a:lnTo>
                  <a:lnTo>
                    <a:pt x="483196" y="523773"/>
                  </a:lnTo>
                  <a:lnTo>
                    <a:pt x="484390" y="516940"/>
                  </a:lnTo>
                  <a:close/>
                </a:path>
                <a:path w="1143000" h="1129029">
                  <a:moveTo>
                    <a:pt x="685800" y="367677"/>
                  </a:moveTo>
                  <a:lnTo>
                    <a:pt x="661009" y="342900"/>
                  </a:lnTo>
                  <a:lnTo>
                    <a:pt x="540791" y="342900"/>
                  </a:lnTo>
                  <a:lnTo>
                    <a:pt x="540791" y="505917"/>
                  </a:lnTo>
                  <a:lnTo>
                    <a:pt x="537133" y="545579"/>
                  </a:lnTo>
                  <a:lnTo>
                    <a:pt x="518566" y="588924"/>
                  </a:lnTo>
                  <a:lnTo>
                    <a:pt x="482625" y="634072"/>
                  </a:lnTo>
                  <a:lnTo>
                    <a:pt x="362902" y="753808"/>
                  </a:lnTo>
                  <a:lnTo>
                    <a:pt x="357327" y="759485"/>
                  </a:lnTo>
                  <a:lnTo>
                    <a:pt x="350570" y="762342"/>
                  </a:lnTo>
                  <a:lnTo>
                    <a:pt x="342607" y="762381"/>
                  </a:lnTo>
                  <a:lnTo>
                    <a:pt x="334772" y="762266"/>
                  </a:lnTo>
                  <a:lnTo>
                    <a:pt x="328104" y="759409"/>
                  </a:lnTo>
                  <a:lnTo>
                    <a:pt x="322605" y="753808"/>
                  </a:lnTo>
                  <a:lnTo>
                    <a:pt x="202590" y="634072"/>
                  </a:lnTo>
                  <a:lnTo>
                    <a:pt x="166979" y="589191"/>
                  </a:lnTo>
                  <a:lnTo>
                    <a:pt x="148717" y="545934"/>
                  </a:lnTo>
                  <a:lnTo>
                    <a:pt x="145402" y="506145"/>
                  </a:lnTo>
                  <a:lnTo>
                    <a:pt x="154635" y="471665"/>
                  </a:lnTo>
                  <a:lnTo>
                    <a:pt x="174015" y="444334"/>
                  </a:lnTo>
                  <a:lnTo>
                    <a:pt x="207403" y="422033"/>
                  </a:lnTo>
                  <a:lnTo>
                    <a:pt x="247535" y="414870"/>
                  </a:lnTo>
                  <a:lnTo>
                    <a:pt x="293128" y="425653"/>
                  </a:lnTo>
                  <a:lnTo>
                    <a:pt x="342900" y="457200"/>
                  </a:lnTo>
                  <a:lnTo>
                    <a:pt x="361480" y="443306"/>
                  </a:lnTo>
                  <a:lnTo>
                    <a:pt x="381393" y="432257"/>
                  </a:lnTo>
                  <a:lnTo>
                    <a:pt x="402628" y="424027"/>
                  </a:lnTo>
                  <a:lnTo>
                    <a:pt x="425183" y="418617"/>
                  </a:lnTo>
                  <a:lnTo>
                    <a:pt x="437108" y="417220"/>
                  </a:lnTo>
                  <a:lnTo>
                    <a:pt x="448945" y="417220"/>
                  </a:lnTo>
                  <a:lnTo>
                    <a:pt x="494195" y="430885"/>
                  </a:lnTo>
                  <a:lnTo>
                    <a:pt x="532003" y="471830"/>
                  </a:lnTo>
                  <a:lnTo>
                    <a:pt x="540791" y="505917"/>
                  </a:lnTo>
                  <a:lnTo>
                    <a:pt x="540791" y="342900"/>
                  </a:lnTo>
                  <a:lnTo>
                    <a:pt x="24790" y="342900"/>
                  </a:lnTo>
                  <a:lnTo>
                    <a:pt x="21145" y="343623"/>
                  </a:lnTo>
                  <a:lnTo>
                    <a:pt x="0" y="367677"/>
                  </a:lnTo>
                  <a:lnTo>
                    <a:pt x="0" y="746734"/>
                  </a:lnTo>
                  <a:lnTo>
                    <a:pt x="24790" y="771525"/>
                  </a:lnTo>
                  <a:lnTo>
                    <a:pt x="237451" y="771525"/>
                  </a:lnTo>
                  <a:lnTo>
                    <a:pt x="246011" y="771461"/>
                  </a:lnTo>
                  <a:lnTo>
                    <a:pt x="253161" y="774598"/>
                  </a:lnTo>
                  <a:lnTo>
                    <a:pt x="258889" y="780948"/>
                  </a:lnTo>
                  <a:lnTo>
                    <a:pt x="339750" y="871537"/>
                  </a:lnTo>
                  <a:lnTo>
                    <a:pt x="420331" y="780948"/>
                  </a:lnTo>
                  <a:lnTo>
                    <a:pt x="426072" y="774598"/>
                  </a:lnTo>
                  <a:lnTo>
                    <a:pt x="433209" y="771461"/>
                  </a:lnTo>
                  <a:lnTo>
                    <a:pt x="441769" y="771525"/>
                  </a:lnTo>
                  <a:lnTo>
                    <a:pt x="661009" y="771525"/>
                  </a:lnTo>
                  <a:lnTo>
                    <a:pt x="678205" y="762381"/>
                  </a:lnTo>
                  <a:lnTo>
                    <a:pt x="680110" y="760476"/>
                  </a:lnTo>
                  <a:lnTo>
                    <a:pt x="682180" y="757377"/>
                  </a:lnTo>
                  <a:lnTo>
                    <a:pt x="685076" y="750379"/>
                  </a:lnTo>
                  <a:lnTo>
                    <a:pt x="685800" y="746734"/>
                  </a:lnTo>
                  <a:lnTo>
                    <a:pt x="685800" y="417220"/>
                  </a:lnTo>
                  <a:lnTo>
                    <a:pt x="685800" y="414870"/>
                  </a:lnTo>
                  <a:lnTo>
                    <a:pt x="685800" y="367677"/>
                  </a:lnTo>
                  <a:close/>
                </a:path>
                <a:path w="1143000" h="1129029">
                  <a:moveTo>
                    <a:pt x="942975" y="828675"/>
                  </a:moveTo>
                  <a:lnTo>
                    <a:pt x="936828" y="787196"/>
                  </a:lnTo>
                  <a:lnTo>
                    <a:pt x="918895" y="749287"/>
                  </a:lnTo>
                  <a:lnTo>
                    <a:pt x="890739" y="718223"/>
                  </a:lnTo>
                  <a:lnTo>
                    <a:pt x="885825" y="714400"/>
                  </a:lnTo>
                  <a:lnTo>
                    <a:pt x="885825" y="839165"/>
                  </a:lnTo>
                  <a:lnTo>
                    <a:pt x="885723" y="849630"/>
                  </a:lnTo>
                  <a:lnTo>
                    <a:pt x="868248" y="895261"/>
                  </a:lnTo>
                  <a:lnTo>
                    <a:pt x="838111" y="920000"/>
                  </a:lnTo>
                  <a:lnTo>
                    <a:pt x="805726" y="928687"/>
                  </a:lnTo>
                  <a:lnTo>
                    <a:pt x="794473" y="928687"/>
                  </a:lnTo>
                  <a:lnTo>
                    <a:pt x="757148" y="917359"/>
                  </a:lnTo>
                  <a:lnTo>
                    <a:pt x="725690" y="885901"/>
                  </a:lnTo>
                  <a:lnTo>
                    <a:pt x="714375" y="839165"/>
                  </a:lnTo>
                  <a:lnTo>
                    <a:pt x="715098" y="835520"/>
                  </a:lnTo>
                  <a:lnTo>
                    <a:pt x="739165" y="814387"/>
                  </a:lnTo>
                  <a:lnTo>
                    <a:pt x="746734" y="814387"/>
                  </a:lnTo>
                  <a:lnTo>
                    <a:pt x="771525" y="846747"/>
                  </a:lnTo>
                  <a:lnTo>
                    <a:pt x="772248" y="850392"/>
                  </a:lnTo>
                  <a:lnTo>
                    <a:pt x="796315" y="871537"/>
                  </a:lnTo>
                  <a:lnTo>
                    <a:pt x="803884" y="871537"/>
                  </a:lnTo>
                  <a:lnTo>
                    <a:pt x="828675" y="846747"/>
                  </a:lnTo>
                  <a:lnTo>
                    <a:pt x="828675" y="839165"/>
                  </a:lnTo>
                  <a:lnTo>
                    <a:pt x="829398" y="835520"/>
                  </a:lnTo>
                  <a:lnTo>
                    <a:pt x="853465" y="814387"/>
                  </a:lnTo>
                  <a:lnTo>
                    <a:pt x="861034" y="814387"/>
                  </a:lnTo>
                  <a:lnTo>
                    <a:pt x="885825" y="839165"/>
                  </a:lnTo>
                  <a:lnTo>
                    <a:pt x="885825" y="714400"/>
                  </a:lnTo>
                  <a:lnTo>
                    <a:pt x="848220" y="694143"/>
                  </a:lnTo>
                  <a:lnTo>
                    <a:pt x="807123" y="685965"/>
                  </a:lnTo>
                  <a:lnTo>
                    <a:pt x="800100" y="685800"/>
                  </a:lnTo>
                  <a:lnTo>
                    <a:pt x="785368" y="686536"/>
                  </a:lnTo>
                  <a:lnTo>
                    <a:pt x="770928" y="688746"/>
                  </a:lnTo>
                  <a:lnTo>
                    <a:pt x="756793" y="692404"/>
                  </a:lnTo>
                  <a:lnTo>
                    <a:pt x="742950" y="697509"/>
                  </a:lnTo>
                  <a:lnTo>
                    <a:pt x="742873" y="749287"/>
                  </a:lnTo>
                  <a:lnTo>
                    <a:pt x="742403" y="754151"/>
                  </a:lnTo>
                  <a:lnTo>
                    <a:pt x="725373" y="795248"/>
                  </a:lnTo>
                  <a:lnTo>
                    <a:pt x="695236" y="819988"/>
                  </a:lnTo>
                  <a:lnTo>
                    <a:pt x="662851" y="828675"/>
                  </a:lnTo>
                  <a:lnTo>
                    <a:pt x="657225" y="828675"/>
                  </a:lnTo>
                  <a:lnTo>
                    <a:pt x="657390" y="835520"/>
                  </a:lnTo>
                  <a:lnTo>
                    <a:pt x="665568" y="876795"/>
                  </a:lnTo>
                  <a:lnTo>
                    <a:pt x="685342" y="913790"/>
                  </a:lnTo>
                  <a:lnTo>
                    <a:pt x="714984" y="943419"/>
                  </a:lnTo>
                  <a:lnTo>
                    <a:pt x="751979" y="963193"/>
                  </a:lnTo>
                  <a:lnTo>
                    <a:pt x="793076" y="971372"/>
                  </a:lnTo>
                  <a:lnTo>
                    <a:pt x="800100" y="971550"/>
                  </a:lnTo>
                  <a:lnTo>
                    <a:pt x="807123" y="971372"/>
                  </a:lnTo>
                  <a:lnTo>
                    <a:pt x="848220" y="963193"/>
                  </a:lnTo>
                  <a:lnTo>
                    <a:pt x="885215" y="943419"/>
                  </a:lnTo>
                  <a:lnTo>
                    <a:pt x="902093" y="928687"/>
                  </a:lnTo>
                  <a:lnTo>
                    <a:pt x="905967" y="924610"/>
                  </a:lnTo>
                  <a:lnTo>
                    <a:pt x="929259" y="889762"/>
                  </a:lnTo>
                  <a:lnTo>
                    <a:pt x="941425" y="849630"/>
                  </a:lnTo>
                  <a:lnTo>
                    <a:pt x="942797" y="835685"/>
                  </a:lnTo>
                  <a:lnTo>
                    <a:pt x="942975" y="828675"/>
                  </a:lnTo>
                  <a:close/>
                </a:path>
                <a:path w="1143000" h="1129029">
                  <a:moveTo>
                    <a:pt x="1085850" y="24777"/>
                  </a:moveTo>
                  <a:lnTo>
                    <a:pt x="1061059" y="0"/>
                  </a:lnTo>
                  <a:lnTo>
                    <a:pt x="914400" y="0"/>
                  </a:lnTo>
                  <a:lnTo>
                    <a:pt x="914400" y="81927"/>
                  </a:lnTo>
                  <a:lnTo>
                    <a:pt x="914400" y="89509"/>
                  </a:lnTo>
                  <a:lnTo>
                    <a:pt x="889609" y="114300"/>
                  </a:lnTo>
                  <a:lnTo>
                    <a:pt x="771525" y="114300"/>
                  </a:lnTo>
                  <a:lnTo>
                    <a:pt x="771525" y="196227"/>
                  </a:lnTo>
                  <a:lnTo>
                    <a:pt x="771525" y="203809"/>
                  </a:lnTo>
                  <a:lnTo>
                    <a:pt x="770801" y="207454"/>
                  </a:lnTo>
                  <a:lnTo>
                    <a:pt x="746734" y="228600"/>
                  </a:lnTo>
                  <a:lnTo>
                    <a:pt x="510565" y="228600"/>
                  </a:lnTo>
                  <a:lnTo>
                    <a:pt x="485775" y="203809"/>
                  </a:lnTo>
                  <a:lnTo>
                    <a:pt x="485775" y="196227"/>
                  </a:lnTo>
                  <a:lnTo>
                    <a:pt x="510565" y="171450"/>
                  </a:lnTo>
                  <a:lnTo>
                    <a:pt x="746734" y="171450"/>
                  </a:lnTo>
                  <a:lnTo>
                    <a:pt x="771525" y="196227"/>
                  </a:lnTo>
                  <a:lnTo>
                    <a:pt x="771525" y="114300"/>
                  </a:lnTo>
                  <a:lnTo>
                    <a:pt x="510565" y="114300"/>
                  </a:lnTo>
                  <a:lnTo>
                    <a:pt x="506920" y="113576"/>
                  </a:lnTo>
                  <a:lnTo>
                    <a:pt x="485775" y="89509"/>
                  </a:lnTo>
                  <a:lnTo>
                    <a:pt x="485775" y="81927"/>
                  </a:lnTo>
                  <a:lnTo>
                    <a:pt x="510565" y="57150"/>
                  </a:lnTo>
                  <a:lnTo>
                    <a:pt x="889609" y="57150"/>
                  </a:lnTo>
                  <a:lnTo>
                    <a:pt x="914400" y="81927"/>
                  </a:lnTo>
                  <a:lnTo>
                    <a:pt x="914400" y="0"/>
                  </a:lnTo>
                  <a:lnTo>
                    <a:pt x="424840" y="0"/>
                  </a:lnTo>
                  <a:lnTo>
                    <a:pt x="421195" y="723"/>
                  </a:lnTo>
                  <a:lnTo>
                    <a:pt x="400050" y="24777"/>
                  </a:lnTo>
                  <a:lnTo>
                    <a:pt x="400050" y="285750"/>
                  </a:lnTo>
                  <a:lnTo>
                    <a:pt x="662851" y="285750"/>
                  </a:lnTo>
                  <a:lnTo>
                    <a:pt x="668426" y="286296"/>
                  </a:lnTo>
                  <a:lnTo>
                    <a:pt x="709536" y="303314"/>
                  </a:lnTo>
                  <a:lnTo>
                    <a:pt x="734275" y="333463"/>
                  </a:lnTo>
                  <a:lnTo>
                    <a:pt x="742950" y="365836"/>
                  </a:lnTo>
                  <a:lnTo>
                    <a:pt x="742950" y="525208"/>
                  </a:lnTo>
                  <a:lnTo>
                    <a:pt x="820381" y="438048"/>
                  </a:lnTo>
                  <a:lnTo>
                    <a:pt x="826122" y="431698"/>
                  </a:lnTo>
                  <a:lnTo>
                    <a:pt x="833259" y="428561"/>
                  </a:lnTo>
                  <a:lnTo>
                    <a:pt x="841819" y="428625"/>
                  </a:lnTo>
                  <a:lnTo>
                    <a:pt x="1061059" y="428625"/>
                  </a:lnTo>
                  <a:lnTo>
                    <a:pt x="1085850" y="403834"/>
                  </a:lnTo>
                  <a:lnTo>
                    <a:pt x="1085850" y="228600"/>
                  </a:lnTo>
                  <a:lnTo>
                    <a:pt x="1085850" y="171450"/>
                  </a:lnTo>
                  <a:lnTo>
                    <a:pt x="1085850" y="114300"/>
                  </a:lnTo>
                  <a:lnTo>
                    <a:pt x="1085850" y="57150"/>
                  </a:lnTo>
                  <a:lnTo>
                    <a:pt x="1085850" y="24777"/>
                  </a:lnTo>
                  <a:close/>
                </a:path>
                <a:path w="1143000" h="1129029">
                  <a:moveTo>
                    <a:pt x="1143000" y="624852"/>
                  </a:moveTo>
                  <a:lnTo>
                    <a:pt x="1118209" y="600075"/>
                  </a:lnTo>
                  <a:lnTo>
                    <a:pt x="1114425" y="600075"/>
                  </a:lnTo>
                  <a:lnTo>
                    <a:pt x="742950" y="600075"/>
                  </a:lnTo>
                  <a:lnTo>
                    <a:pt x="742950" y="636930"/>
                  </a:lnTo>
                  <a:lnTo>
                    <a:pt x="756361" y="633310"/>
                  </a:lnTo>
                  <a:lnTo>
                    <a:pt x="776922" y="629818"/>
                  </a:lnTo>
                  <a:lnTo>
                    <a:pt x="797725" y="628484"/>
                  </a:lnTo>
                  <a:lnTo>
                    <a:pt x="818553" y="629323"/>
                  </a:lnTo>
                  <a:lnTo>
                    <a:pt x="839177" y="632320"/>
                  </a:lnTo>
                  <a:lnTo>
                    <a:pt x="878954" y="644664"/>
                  </a:lnTo>
                  <a:lnTo>
                    <a:pt x="915301" y="664959"/>
                  </a:lnTo>
                  <a:lnTo>
                    <a:pt x="946670" y="692327"/>
                  </a:lnTo>
                  <a:lnTo>
                    <a:pt x="971702" y="725614"/>
                  </a:lnTo>
                  <a:lnTo>
                    <a:pt x="989304" y="763346"/>
                  </a:lnTo>
                  <a:lnTo>
                    <a:pt x="998715" y="803910"/>
                  </a:lnTo>
                  <a:lnTo>
                    <a:pt x="1000201" y="824699"/>
                  </a:lnTo>
                  <a:lnTo>
                    <a:pt x="999528" y="845527"/>
                  </a:lnTo>
                  <a:lnTo>
                    <a:pt x="991717" y="886434"/>
                  </a:lnTo>
                  <a:lnTo>
                    <a:pt x="975601" y="924826"/>
                  </a:lnTo>
                  <a:lnTo>
                    <a:pt x="951903" y="959053"/>
                  </a:lnTo>
                  <a:lnTo>
                    <a:pt x="921626" y="987640"/>
                  </a:lnTo>
                  <a:lnTo>
                    <a:pt x="886091" y="1009345"/>
                  </a:lnTo>
                  <a:lnTo>
                    <a:pt x="846836" y="1023226"/>
                  </a:lnTo>
                  <a:lnTo>
                    <a:pt x="805561" y="1028687"/>
                  </a:lnTo>
                  <a:lnTo>
                    <a:pt x="784720" y="1028179"/>
                  </a:lnTo>
                  <a:lnTo>
                    <a:pt x="743762" y="1020673"/>
                  </a:lnTo>
                  <a:lnTo>
                    <a:pt x="705243" y="1004862"/>
                  </a:lnTo>
                  <a:lnTo>
                    <a:pt x="670839" y="981417"/>
                  </a:lnTo>
                  <a:lnTo>
                    <a:pt x="642010" y="951369"/>
                  </a:lnTo>
                  <a:lnTo>
                    <a:pt x="620039" y="916000"/>
                  </a:lnTo>
                  <a:lnTo>
                    <a:pt x="605853" y="876858"/>
                  </a:lnTo>
                  <a:lnTo>
                    <a:pt x="600075" y="835621"/>
                  </a:lnTo>
                  <a:lnTo>
                    <a:pt x="600075" y="828675"/>
                  </a:lnTo>
                  <a:lnTo>
                    <a:pt x="457200" y="828675"/>
                  </a:lnTo>
                  <a:lnTo>
                    <a:pt x="457200" y="1003909"/>
                  </a:lnTo>
                  <a:lnTo>
                    <a:pt x="457923" y="1007554"/>
                  </a:lnTo>
                  <a:lnTo>
                    <a:pt x="481990" y="1028700"/>
                  </a:lnTo>
                  <a:lnTo>
                    <a:pt x="703211" y="1028636"/>
                  </a:lnTo>
                  <a:lnTo>
                    <a:pt x="710361" y="1031773"/>
                  </a:lnTo>
                  <a:lnTo>
                    <a:pt x="796950" y="1128712"/>
                  </a:lnTo>
                  <a:lnTo>
                    <a:pt x="883272" y="1031773"/>
                  </a:lnTo>
                  <a:lnTo>
                    <a:pt x="890409" y="1028636"/>
                  </a:lnTo>
                  <a:lnTo>
                    <a:pt x="1118209" y="1028700"/>
                  </a:lnTo>
                  <a:lnTo>
                    <a:pt x="1143000" y="1003909"/>
                  </a:lnTo>
                  <a:lnTo>
                    <a:pt x="1143000" y="624852"/>
                  </a:lnTo>
                  <a:close/>
                </a:path>
              </a:pathLst>
            </a:custGeom>
            <a:solidFill>
              <a:srgbClr val="FFFFFF"/>
            </a:solidFill>
          </p:spPr>
          <p:txBody>
            <a:bodyPr wrap="square" lIns="0" tIns="0" rIns="0" bIns="0" rtlCol="0"/>
            <a:lstStyle/>
            <a:p>
              <a:endParaRPr/>
            </a:p>
          </p:txBody>
        </p:sp>
        <p:sp>
          <p:nvSpPr>
            <p:cNvPr id="19" name="object 19"/>
            <p:cNvSpPr/>
            <p:nvPr/>
          </p:nvSpPr>
          <p:spPr>
            <a:xfrm>
              <a:off x="834313" y="6575373"/>
              <a:ext cx="1093470" cy="1093470"/>
            </a:xfrm>
            <a:custGeom>
              <a:avLst/>
              <a:gdLst/>
              <a:ahLst/>
              <a:cxnLst/>
              <a:rect l="l" t="t" r="r" b="b"/>
              <a:pathLst>
                <a:path w="1093470" h="1093470">
                  <a:moveTo>
                    <a:pt x="1093177" y="1045806"/>
                  </a:moveTo>
                  <a:lnTo>
                    <a:pt x="769670" y="702640"/>
                  </a:lnTo>
                  <a:lnTo>
                    <a:pt x="776846" y="693420"/>
                  </a:lnTo>
                  <a:lnTo>
                    <a:pt x="803617" y="654050"/>
                  </a:lnTo>
                  <a:lnTo>
                    <a:pt x="825868" y="612140"/>
                  </a:lnTo>
                  <a:lnTo>
                    <a:pt x="843330" y="567690"/>
                  </a:lnTo>
                  <a:lnTo>
                    <a:pt x="855789" y="521970"/>
                  </a:lnTo>
                  <a:lnTo>
                    <a:pt x="863079" y="474980"/>
                  </a:lnTo>
                  <a:lnTo>
                    <a:pt x="865035" y="443230"/>
                  </a:lnTo>
                  <a:lnTo>
                    <a:pt x="865009" y="422910"/>
                  </a:lnTo>
                  <a:lnTo>
                    <a:pt x="861898" y="378460"/>
                  </a:lnTo>
                  <a:lnTo>
                    <a:pt x="853440" y="331470"/>
                  </a:lnTo>
                  <a:lnTo>
                    <a:pt x="839851" y="285750"/>
                  </a:lnTo>
                  <a:lnTo>
                    <a:pt x="821296" y="242570"/>
                  </a:lnTo>
                  <a:lnTo>
                    <a:pt x="797991" y="200660"/>
                  </a:lnTo>
                  <a:lnTo>
                    <a:pt x="789228" y="187960"/>
                  </a:lnTo>
                  <a:lnTo>
                    <a:pt x="779970" y="173990"/>
                  </a:lnTo>
                  <a:lnTo>
                    <a:pt x="770242" y="161290"/>
                  </a:lnTo>
                  <a:lnTo>
                    <a:pt x="769162" y="160083"/>
                  </a:lnTo>
                  <a:lnTo>
                    <a:pt x="769162" y="426720"/>
                  </a:lnTo>
                  <a:lnTo>
                    <a:pt x="769073" y="440690"/>
                  </a:lnTo>
                  <a:lnTo>
                    <a:pt x="764959" y="485140"/>
                  </a:lnTo>
                  <a:lnTo>
                    <a:pt x="756653" y="523240"/>
                  </a:lnTo>
                  <a:lnTo>
                    <a:pt x="753910" y="532130"/>
                  </a:lnTo>
                  <a:lnTo>
                    <a:pt x="750900" y="542290"/>
                  </a:lnTo>
                  <a:lnTo>
                    <a:pt x="736269" y="577850"/>
                  </a:lnTo>
                  <a:lnTo>
                    <a:pt x="727430" y="594360"/>
                  </a:lnTo>
                  <a:lnTo>
                    <a:pt x="722655" y="603250"/>
                  </a:lnTo>
                  <a:lnTo>
                    <a:pt x="717638" y="610870"/>
                  </a:lnTo>
                  <a:lnTo>
                    <a:pt x="712381" y="619760"/>
                  </a:lnTo>
                  <a:lnTo>
                    <a:pt x="706894" y="627380"/>
                  </a:lnTo>
                  <a:lnTo>
                    <a:pt x="682739" y="657860"/>
                  </a:lnTo>
                  <a:lnTo>
                    <a:pt x="676186" y="664210"/>
                  </a:lnTo>
                  <a:lnTo>
                    <a:pt x="669417" y="671830"/>
                  </a:lnTo>
                  <a:lnTo>
                    <a:pt x="640461" y="697230"/>
                  </a:lnTo>
                  <a:lnTo>
                    <a:pt x="608774" y="718820"/>
                  </a:lnTo>
                  <a:lnTo>
                    <a:pt x="557009" y="745490"/>
                  </a:lnTo>
                  <a:lnTo>
                    <a:pt x="529653" y="754380"/>
                  </a:lnTo>
                  <a:lnTo>
                    <a:pt x="520357" y="758190"/>
                  </a:lnTo>
                  <a:lnTo>
                    <a:pt x="510997" y="759460"/>
                  </a:lnTo>
                  <a:lnTo>
                    <a:pt x="492086" y="764540"/>
                  </a:lnTo>
                  <a:lnTo>
                    <a:pt x="463372" y="768350"/>
                  </a:lnTo>
                  <a:lnTo>
                    <a:pt x="453720" y="768350"/>
                  </a:lnTo>
                  <a:lnTo>
                    <a:pt x="444068" y="769620"/>
                  </a:lnTo>
                  <a:lnTo>
                    <a:pt x="415074" y="769620"/>
                  </a:lnTo>
                  <a:lnTo>
                    <a:pt x="367131" y="763270"/>
                  </a:lnTo>
                  <a:lnTo>
                    <a:pt x="357670" y="760730"/>
                  </a:lnTo>
                  <a:lnTo>
                    <a:pt x="348284" y="759460"/>
                  </a:lnTo>
                  <a:lnTo>
                    <a:pt x="338950" y="756920"/>
                  </a:lnTo>
                  <a:lnTo>
                    <a:pt x="329692" y="753110"/>
                  </a:lnTo>
                  <a:lnTo>
                    <a:pt x="320522" y="750570"/>
                  </a:lnTo>
                  <a:lnTo>
                    <a:pt x="311442" y="746760"/>
                  </a:lnTo>
                  <a:lnTo>
                    <a:pt x="302463" y="744220"/>
                  </a:lnTo>
                  <a:lnTo>
                    <a:pt x="293573" y="740410"/>
                  </a:lnTo>
                  <a:lnTo>
                    <a:pt x="284822" y="735330"/>
                  </a:lnTo>
                  <a:lnTo>
                    <a:pt x="276186" y="731520"/>
                  </a:lnTo>
                  <a:lnTo>
                    <a:pt x="267665" y="726440"/>
                  </a:lnTo>
                  <a:lnTo>
                    <a:pt x="259283" y="722630"/>
                  </a:lnTo>
                  <a:lnTo>
                    <a:pt x="251053" y="717550"/>
                  </a:lnTo>
                  <a:lnTo>
                    <a:pt x="242963" y="711200"/>
                  </a:lnTo>
                  <a:lnTo>
                    <a:pt x="235026" y="706120"/>
                  </a:lnTo>
                  <a:lnTo>
                    <a:pt x="204978" y="681990"/>
                  </a:lnTo>
                  <a:lnTo>
                    <a:pt x="191046" y="668020"/>
                  </a:lnTo>
                  <a:lnTo>
                    <a:pt x="184365" y="661670"/>
                  </a:lnTo>
                  <a:lnTo>
                    <a:pt x="159753" y="631190"/>
                  </a:lnTo>
                  <a:lnTo>
                    <a:pt x="143624" y="607060"/>
                  </a:lnTo>
                  <a:lnTo>
                    <a:pt x="138709" y="599440"/>
                  </a:lnTo>
                  <a:lnTo>
                    <a:pt x="134035" y="590550"/>
                  </a:lnTo>
                  <a:lnTo>
                    <a:pt x="129616" y="581660"/>
                  </a:lnTo>
                  <a:lnTo>
                    <a:pt x="125437" y="574040"/>
                  </a:lnTo>
                  <a:lnTo>
                    <a:pt x="121513" y="565150"/>
                  </a:lnTo>
                  <a:lnTo>
                    <a:pt x="117843" y="556260"/>
                  </a:lnTo>
                  <a:lnTo>
                    <a:pt x="114427" y="546100"/>
                  </a:lnTo>
                  <a:lnTo>
                    <a:pt x="111277" y="537210"/>
                  </a:lnTo>
                  <a:lnTo>
                    <a:pt x="101320" y="500380"/>
                  </a:lnTo>
                  <a:lnTo>
                    <a:pt x="95694" y="462280"/>
                  </a:lnTo>
                  <a:lnTo>
                    <a:pt x="94424" y="427990"/>
                  </a:lnTo>
                  <a:lnTo>
                    <a:pt x="94538" y="421640"/>
                  </a:lnTo>
                  <a:lnTo>
                    <a:pt x="99187" y="374650"/>
                  </a:lnTo>
                  <a:lnTo>
                    <a:pt x="110705" y="328930"/>
                  </a:lnTo>
                  <a:lnTo>
                    <a:pt x="113804" y="318770"/>
                  </a:lnTo>
                  <a:lnTo>
                    <a:pt x="128790" y="283210"/>
                  </a:lnTo>
                  <a:lnTo>
                    <a:pt x="133172" y="275590"/>
                  </a:lnTo>
                  <a:lnTo>
                    <a:pt x="137795" y="266700"/>
                  </a:lnTo>
                  <a:lnTo>
                    <a:pt x="142659" y="257810"/>
                  </a:lnTo>
                  <a:lnTo>
                    <a:pt x="147764" y="250190"/>
                  </a:lnTo>
                  <a:lnTo>
                    <a:pt x="153098" y="241300"/>
                  </a:lnTo>
                  <a:lnTo>
                    <a:pt x="176682" y="210820"/>
                  </a:lnTo>
                  <a:lnTo>
                    <a:pt x="183108" y="204470"/>
                  </a:lnTo>
                  <a:lnTo>
                    <a:pt x="189750" y="196850"/>
                  </a:lnTo>
                  <a:lnTo>
                    <a:pt x="196583" y="190500"/>
                  </a:lnTo>
                  <a:lnTo>
                    <a:pt x="203606" y="182880"/>
                  </a:lnTo>
                  <a:lnTo>
                    <a:pt x="210820" y="176530"/>
                  </a:lnTo>
                  <a:lnTo>
                    <a:pt x="218211" y="171450"/>
                  </a:lnTo>
                  <a:lnTo>
                    <a:pt x="225793" y="165100"/>
                  </a:lnTo>
                  <a:lnTo>
                    <a:pt x="233527" y="158750"/>
                  </a:lnTo>
                  <a:lnTo>
                    <a:pt x="274535" y="133350"/>
                  </a:lnTo>
                  <a:lnTo>
                    <a:pt x="283159" y="129540"/>
                  </a:lnTo>
                  <a:lnTo>
                    <a:pt x="291896" y="124460"/>
                  </a:lnTo>
                  <a:lnTo>
                    <a:pt x="300748" y="120650"/>
                  </a:lnTo>
                  <a:lnTo>
                    <a:pt x="309702" y="118110"/>
                  </a:lnTo>
                  <a:lnTo>
                    <a:pt x="327926" y="110490"/>
                  </a:lnTo>
                  <a:lnTo>
                    <a:pt x="355866" y="102870"/>
                  </a:lnTo>
                  <a:lnTo>
                    <a:pt x="365315" y="101600"/>
                  </a:lnTo>
                  <a:lnTo>
                    <a:pt x="374815" y="99060"/>
                  </a:lnTo>
                  <a:lnTo>
                    <a:pt x="403580" y="95250"/>
                  </a:lnTo>
                  <a:lnTo>
                    <a:pt x="449059" y="95250"/>
                  </a:lnTo>
                  <a:lnTo>
                    <a:pt x="530110" y="109220"/>
                  </a:lnTo>
                  <a:lnTo>
                    <a:pt x="576262" y="127000"/>
                  </a:lnTo>
                  <a:lnTo>
                    <a:pt x="619252" y="151130"/>
                  </a:lnTo>
                  <a:lnTo>
                    <a:pt x="658215" y="181610"/>
                  </a:lnTo>
                  <a:lnTo>
                    <a:pt x="676922" y="200660"/>
                  </a:lnTo>
                  <a:lnTo>
                    <a:pt x="683463" y="207010"/>
                  </a:lnTo>
                  <a:lnTo>
                    <a:pt x="707517" y="237490"/>
                  </a:lnTo>
                  <a:lnTo>
                    <a:pt x="718197" y="254000"/>
                  </a:lnTo>
                  <a:lnTo>
                    <a:pt x="723201" y="261620"/>
                  </a:lnTo>
                  <a:lnTo>
                    <a:pt x="727951" y="270510"/>
                  </a:lnTo>
                  <a:lnTo>
                    <a:pt x="732459" y="279400"/>
                  </a:lnTo>
                  <a:lnTo>
                    <a:pt x="736727" y="287020"/>
                  </a:lnTo>
                  <a:lnTo>
                    <a:pt x="740740" y="295910"/>
                  </a:lnTo>
                  <a:lnTo>
                    <a:pt x="744499" y="304800"/>
                  </a:lnTo>
                  <a:lnTo>
                    <a:pt x="748004" y="313690"/>
                  </a:lnTo>
                  <a:lnTo>
                    <a:pt x="751243" y="323850"/>
                  </a:lnTo>
                  <a:lnTo>
                    <a:pt x="754227" y="332740"/>
                  </a:lnTo>
                  <a:lnTo>
                    <a:pt x="756945" y="341630"/>
                  </a:lnTo>
                  <a:lnTo>
                    <a:pt x="759396" y="351790"/>
                  </a:lnTo>
                  <a:lnTo>
                    <a:pt x="761580" y="360680"/>
                  </a:lnTo>
                  <a:lnTo>
                    <a:pt x="767588" y="398780"/>
                  </a:lnTo>
                  <a:lnTo>
                    <a:pt x="769162" y="426720"/>
                  </a:lnTo>
                  <a:lnTo>
                    <a:pt x="769162" y="160083"/>
                  </a:lnTo>
                  <a:lnTo>
                    <a:pt x="760056" y="149860"/>
                  </a:lnTo>
                  <a:lnTo>
                    <a:pt x="749439" y="137160"/>
                  </a:lnTo>
                  <a:lnTo>
                    <a:pt x="738378" y="125730"/>
                  </a:lnTo>
                  <a:lnTo>
                    <a:pt x="733653" y="121920"/>
                  </a:lnTo>
                  <a:lnTo>
                    <a:pt x="728853" y="116840"/>
                  </a:lnTo>
                  <a:lnTo>
                    <a:pt x="723988" y="113030"/>
                  </a:lnTo>
                  <a:lnTo>
                    <a:pt x="719061" y="107950"/>
                  </a:lnTo>
                  <a:lnTo>
                    <a:pt x="714057" y="104140"/>
                  </a:lnTo>
                  <a:lnTo>
                    <a:pt x="708990" y="99060"/>
                  </a:lnTo>
                  <a:lnTo>
                    <a:pt x="703859" y="95250"/>
                  </a:lnTo>
                  <a:lnTo>
                    <a:pt x="693394" y="87630"/>
                  </a:lnTo>
                  <a:lnTo>
                    <a:pt x="688073" y="82550"/>
                  </a:lnTo>
                  <a:lnTo>
                    <a:pt x="682688" y="78740"/>
                  </a:lnTo>
                  <a:lnTo>
                    <a:pt x="671753" y="71120"/>
                  </a:lnTo>
                  <a:lnTo>
                    <a:pt x="666203" y="68580"/>
                  </a:lnTo>
                  <a:lnTo>
                    <a:pt x="649211" y="57150"/>
                  </a:lnTo>
                  <a:lnTo>
                    <a:pt x="643445" y="54610"/>
                  </a:lnTo>
                  <a:lnTo>
                    <a:pt x="637628" y="50800"/>
                  </a:lnTo>
                  <a:lnTo>
                    <a:pt x="631761" y="48260"/>
                  </a:lnTo>
                  <a:lnTo>
                    <a:pt x="625843" y="44450"/>
                  </a:lnTo>
                  <a:lnTo>
                    <a:pt x="607847" y="36830"/>
                  </a:lnTo>
                  <a:lnTo>
                    <a:pt x="570763" y="21590"/>
                  </a:lnTo>
                  <a:lnTo>
                    <a:pt x="564464" y="20320"/>
                  </a:lnTo>
                  <a:lnTo>
                    <a:pt x="558126" y="17780"/>
                  </a:lnTo>
                  <a:lnTo>
                    <a:pt x="551764" y="16510"/>
                  </a:lnTo>
                  <a:lnTo>
                    <a:pt x="545376" y="13970"/>
                  </a:lnTo>
                  <a:lnTo>
                    <a:pt x="526034" y="10160"/>
                  </a:lnTo>
                  <a:lnTo>
                    <a:pt x="519557" y="7620"/>
                  </a:lnTo>
                  <a:lnTo>
                    <a:pt x="513041" y="6350"/>
                  </a:lnTo>
                  <a:lnTo>
                    <a:pt x="506514" y="6350"/>
                  </a:lnTo>
                  <a:lnTo>
                    <a:pt x="486829" y="2540"/>
                  </a:lnTo>
                  <a:lnTo>
                    <a:pt x="480237" y="2540"/>
                  </a:lnTo>
                  <a:lnTo>
                    <a:pt x="473633" y="1270"/>
                  </a:lnTo>
                  <a:lnTo>
                    <a:pt x="467029" y="1270"/>
                  </a:lnTo>
                  <a:lnTo>
                    <a:pt x="460413" y="0"/>
                  </a:lnTo>
                  <a:lnTo>
                    <a:pt x="400735" y="0"/>
                  </a:lnTo>
                  <a:lnTo>
                    <a:pt x="394119" y="1270"/>
                  </a:lnTo>
                  <a:lnTo>
                    <a:pt x="387515" y="1270"/>
                  </a:lnTo>
                  <a:lnTo>
                    <a:pt x="374332" y="3810"/>
                  </a:lnTo>
                  <a:lnTo>
                    <a:pt x="367766" y="3810"/>
                  </a:lnTo>
                  <a:lnTo>
                    <a:pt x="328726" y="11430"/>
                  </a:lnTo>
                  <a:lnTo>
                    <a:pt x="322287" y="13970"/>
                  </a:lnTo>
                  <a:lnTo>
                    <a:pt x="315887" y="15240"/>
                  </a:lnTo>
                  <a:lnTo>
                    <a:pt x="309511" y="17780"/>
                  </a:lnTo>
                  <a:lnTo>
                    <a:pt x="303161" y="19050"/>
                  </a:lnTo>
                  <a:lnTo>
                    <a:pt x="296849" y="21590"/>
                  </a:lnTo>
                  <a:lnTo>
                    <a:pt x="290563" y="22860"/>
                  </a:lnTo>
                  <a:lnTo>
                    <a:pt x="253593" y="38100"/>
                  </a:lnTo>
                  <a:lnTo>
                    <a:pt x="241592" y="43180"/>
                  </a:lnTo>
                  <a:lnTo>
                    <a:pt x="235661" y="46990"/>
                  </a:lnTo>
                  <a:lnTo>
                    <a:pt x="229781" y="49530"/>
                  </a:lnTo>
                  <a:lnTo>
                    <a:pt x="223939" y="53340"/>
                  </a:lnTo>
                  <a:lnTo>
                    <a:pt x="218147" y="55880"/>
                  </a:lnTo>
                  <a:lnTo>
                    <a:pt x="206717" y="63500"/>
                  </a:lnTo>
                  <a:lnTo>
                    <a:pt x="168465" y="88900"/>
                  </a:lnTo>
                  <a:lnTo>
                    <a:pt x="158076" y="97790"/>
                  </a:lnTo>
                  <a:lnTo>
                    <a:pt x="147942" y="105410"/>
                  </a:lnTo>
                  <a:lnTo>
                    <a:pt x="142976" y="110490"/>
                  </a:lnTo>
                  <a:lnTo>
                    <a:pt x="138087" y="114300"/>
                  </a:lnTo>
                  <a:lnTo>
                    <a:pt x="133248" y="119380"/>
                  </a:lnTo>
                  <a:lnTo>
                    <a:pt x="128498" y="124460"/>
                  </a:lnTo>
                  <a:lnTo>
                    <a:pt x="123812" y="128270"/>
                  </a:lnTo>
                  <a:lnTo>
                    <a:pt x="119189" y="133350"/>
                  </a:lnTo>
                  <a:lnTo>
                    <a:pt x="93103" y="163830"/>
                  </a:lnTo>
                  <a:lnTo>
                    <a:pt x="77279" y="185420"/>
                  </a:lnTo>
                  <a:lnTo>
                    <a:pt x="73533" y="190500"/>
                  </a:lnTo>
                  <a:lnTo>
                    <a:pt x="69875" y="195580"/>
                  </a:lnTo>
                  <a:lnTo>
                    <a:pt x="66294" y="201930"/>
                  </a:lnTo>
                  <a:lnTo>
                    <a:pt x="62801" y="207010"/>
                  </a:lnTo>
                  <a:lnTo>
                    <a:pt x="59397" y="213360"/>
                  </a:lnTo>
                  <a:lnTo>
                    <a:pt x="56083" y="218440"/>
                  </a:lnTo>
                  <a:lnTo>
                    <a:pt x="52857" y="224790"/>
                  </a:lnTo>
                  <a:lnTo>
                    <a:pt x="49720" y="229870"/>
                  </a:lnTo>
                  <a:lnTo>
                    <a:pt x="46672" y="236220"/>
                  </a:lnTo>
                  <a:lnTo>
                    <a:pt x="43713" y="242570"/>
                  </a:lnTo>
                  <a:lnTo>
                    <a:pt x="40843" y="247650"/>
                  </a:lnTo>
                  <a:lnTo>
                    <a:pt x="38074" y="254000"/>
                  </a:lnTo>
                  <a:lnTo>
                    <a:pt x="35394" y="260350"/>
                  </a:lnTo>
                  <a:lnTo>
                    <a:pt x="32804" y="266700"/>
                  </a:lnTo>
                  <a:lnTo>
                    <a:pt x="30314" y="273050"/>
                  </a:lnTo>
                  <a:lnTo>
                    <a:pt x="27914" y="278130"/>
                  </a:lnTo>
                  <a:lnTo>
                    <a:pt x="15544" y="316230"/>
                  </a:lnTo>
                  <a:lnTo>
                    <a:pt x="7924" y="349250"/>
                  </a:lnTo>
                  <a:lnTo>
                    <a:pt x="6705" y="355600"/>
                  </a:lnTo>
                  <a:lnTo>
                    <a:pt x="1460" y="394970"/>
                  </a:lnTo>
                  <a:lnTo>
                    <a:pt x="0" y="421640"/>
                  </a:lnTo>
                  <a:lnTo>
                    <a:pt x="25" y="443230"/>
                  </a:lnTo>
                  <a:lnTo>
                    <a:pt x="2654" y="481330"/>
                  </a:lnTo>
                  <a:lnTo>
                    <a:pt x="7670" y="513080"/>
                  </a:lnTo>
                  <a:lnTo>
                    <a:pt x="8978" y="520700"/>
                  </a:lnTo>
                  <a:lnTo>
                    <a:pt x="18884" y="558800"/>
                  </a:lnTo>
                  <a:lnTo>
                    <a:pt x="32296" y="595630"/>
                  </a:lnTo>
                  <a:lnTo>
                    <a:pt x="34874" y="601980"/>
                  </a:lnTo>
                  <a:lnTo>
                    <a:pt x="37528" y="608330"/>
                  </a:lnTo>
                  <a:lnTo>
                    <a:pt x="40284" y="614680"/>
                  </a:lnTo>
                  <a:lnTo>
                    <a:pt x="43129" y="619760"/>
                  </a:lnTo>
                  <a:lnTo>
                    <a:pt x="46075" y="626110"/>
                  </a:lnTo>
                  <a:lnTo>
                    <a:pt x="49098" y="632460"/>
                  </a:lnTo>
                  <a:lnTo>
                    <a:pt x="52222" y="637540"/>
                  </a:lnTo>
                  <a:lnTo>
                    <a:pt x="55435" y="643890"/>
                  </a:lnTo>
                  <a:lnTo>
                    <a:pt x="58724" y="650240"/>
                  </a:lnTo>
                  <a:lnTo>
                    <a:pt x="62115" y="655320"/>
                  </a:lnTo>
                  <a:lnTo>
                    <a:pt x="65595" y="660400"/>
                  </a:lnTo>
                  <a:lnTo>
                    <a:pt x="69151" y="666750"/>
                  </a:lnTo>
                  <a:lnTo>
                    <a:pt x="72796" y="671830"/>
                  </a:lnTo>
                  <a:lnTo>
                    <a:pt x="76530" y="678180"/>
                  </a:lnTo>
                  <a:lnTo>
                    <a:pt x="80340" y="683260"/>
                  </a:lnTo>
                  <a:lnTo>
                    <a:pt x="84239" y="688340"/>
                  </a:lnTo>
                  <a:lnTo>
                    <a:pt x="88214" y="693420"/>
                  </a:lnTo>
                  <a:lnTo>
                    <a:pt x="92278" y="698500"/>
                  </a:lnTo>
                  <a:lnTo>
                    <a:pt x="96418" y="704850"/>
                  </a:lnTo>
                  <a:lnTo>
                    <a:pt x="100634" y="709930"/>
                  </a:lnTo>
                  <a:lnTo>
                    <a:pt x="104927" y="715010"/>
                  </a:lnTo>
                  <a:lnTo>
                    <a:pt x="109308" y="718820"/>
                  </a:lnTo>
                  <a:lnTo>
                    <a:pt x="113753" y="723900"/>
                  </a:lnTo>
                  <a:lnTo>
                    <a:pt x="118275" y="728980"/>
                  </a:lnTo>
                  <a:lnTo>
                    <a:pt x="122872" y="734060"/>
                  </a:lnTo>
                  <a:lnTo>
                    <a:pt x="127546" y="739140"/>
                  </a:lnTo>
                  <a:lnTo>
                    <a:pt x="132295" y="742950"/>
                  </a:lnTo>
                  <a:lnTo>
                    <a:pt x="137109" y="748030"/>
                  </a:lnTo>
                  <a:lnTo>
                    <a:pt x="141986" y="751840"/>
                  </a:lnTo>
                  <a:lnTo>
                    <a:pt x="146939" y="756920"/>
                  </a:lnTo>
                  <a:lnTo>
                    <a:pt x="151968" y="760730"/>
                  </a:lnTo>
                  <a:lnTo>
                    <a:pt x="157048" y="765810"/>
                  </a:lnTo>
                  <a:lnTo>
                    <a:pt x="167411" y="773430"/>
                  </a:lnTo>
                  <a:lnTo>
                    <a:pt x="178028" y="781050"/>
                  </a:lnTo>
                  <a:lnTo>
                    <a:pt x="183426" y="786130"/>
                  </a:lnTo>
                  <a:lnTo>
                    <a:pt x="188874" y="788670"/>
                  </a:lnTo>
                  <a:lnTo>
                    <a:pt x="199961" y="796290"/>
                  </a:lnTo>
                  <a:lnTo>
                    <a:pt x="211264" y="803910"/>
                  </a:lnTo>
                  <a:lnTo>
                    <a:pt x="216992" y="806450"/>
                  </a:lnTo>
                  <a:lnTo>
                    <a:pt x="222770" y="810260"/>
                  </a:lnTo>
                  <a:lnTo>
                    <a:pt x="228600" y="812800"/>
                  </a:lnTo>
                  <a:lnTo>
                    <a:pt x="234480" y="816610"/>
                  </a:lnTo>
                  <a:lnTo>
                    <a:pt x="246367" y="821690"/>
                  </a:lnTo>
                  <a:lnTo>
                    <a:pt x="252387" y="825500"/>
                  </a:lnTo>
                  <a:lnTo>
                    <a:pt x="283057" y="838200"/>
                  </a:lnTo>
                  <a:lnTo>
                    <a:pt x="289306" y="839470"/>
                  </a:lnTo>
                  <a:lnTo>
                    <a:pt x="301891" y="844550"/>
                  </a:lnTo>
                  <a:lnTo>
                    <a:pt x="308241" y="845820"/>
                  </a:lnTo>
                  <a:lnTo>
                    <a:pt x="314604" y="848360"/>
                  </a:lnTo>
                  <a:lnTo>
                    <a:pt x="327431" y="850900"/>
                  </a:lnTo>
                  <a:lnTo>
                    <a:pt x="333883" y="853440"/>
                  </a:lnTo>
                  <a:lnTo>
                    <a:pt x="366445" y="859790"/>
                  </a:lnTo>
                  <a:lnTo>
                    <a:pt x="373011" y="859790"/>
                  </a:lnTo>
                  <a:lnTo>
                    <a:pt x="386194" y="862330"/>
                  </a:lnTo>
                  <a:lnTo>
                    <a:pt x="392785" y="862330"/>
                  </a:lnTo>
                  <a:lnTo>
                    <a:pt x="399402" y="863600"/>
                  </a:lnTo>
                  <a:lnTo>
                    <a:pt x="419277" y="863600"/>
                  </a:lnTo>
                  <a:lnTo>
                    <a:pt x="425919" y="864870"/>
                  </a:lnTo>
                  <a:lnTo>
                    <a:pt x="432549" y="864870"/>
                  </a:lnTo>
                  <a:lnTo>
                    <a:pt x="448487" y="863600"/>
                  </a:lnTo>
                  <a:lnTo>
                    <a:pt x="464375" y="863600"/>
                  </a:lnTo>
                  <a:lnTo>
                    <a:pt x="511733" y="857250"/>
                  </a:lnTo>
                  <a:lnTo>
                    <a:pt x="558114" y="845820"/>
                  </a:lnTo>
                  <a:lnTo>
                    <a:pt x="617499" y="822960"/>
                  </a:lnTo>
                  <a:lnTo>
                    <a:pt x="659472" y="800100"/>
                  </a:lnTo>
                  <a:lnTo>
                    <a:pt x="698703" y="773430"/>
                  </a:lnTo>
                  <a:lnTo>
                    <a:pt x="702729" y="770128"/>
                  </a:lnTo>
                  <a:lnTo>
                    <a:pt x="1012126" y="1079296"/>
                  </a:lnTo>
                  <a:lnTo>
                    <a:pt x="1019416" y="1085405"/>
                  </a:lnTo>
                  <a:lnTo>
                    <a:pt x="1027430" y="1089774"/>
                  </a:lnTo>
                  <a:lnTo>
                    <a:pt x="1036167" y="1092415"/>
                  </a:lnTo>
                  <a:lnTo>
                    <a:pt x="1045629" y="1093317"/>
                  </a:lnTo>
                  <a:lnTo>
                    <a:pt x="1050315" y="1093304"/>
                  </a:lnTo>
                  <a:lnTo>
                    <a:pt x="1085176" y="1072261"/>
                  </a:lnTo>
                  <a:lnTo>
                    <a:pt x="1092263" y="1055128"/>
                  </a:lnTo>
                  <a:lnTo>
                    <a:pt x="1093177" y="1045806"/>
                  </a:lnTo>
                  <a:close/>
                </a:path>
              </a:pathLst>
            </a:custGeom>
            <a:solidFill>
              <a:srgbClr val="0090AE"/>
            </a:solidFill>
          </p:spPr>
          <p:txBody>
            <a:bodyPr wrap="square" lIns="0" tIns="0" rIns="0" bIns="0" rtlCol="0"/>
            <a:lstStyle/>
            <a:p>
              <a:endParaRPr/>
            </a:p>
          </p:txBody>
        </p:sp>
        <p:sp>
          <p:nvSpPr>
            <p:cNvPr id="20" name="object 20"/>
            <p:cNvSpPr/>
            <p:nvPr/>
          </p:nvSpPr>
          <p:spPr>
            <a:xfrm>
              <a:off x="10098659" y="3785717"/>
              <a:ext cx="5117465" cy="912494"/>
            </a:xfrm>
            <a:custGeom>
              <a:avLst/>
              <a:gdLst/>
              <a:ahLst/>
              <a:cxnLst/>
              <a:rect l="l" t="t" r="r" b="b"/>
              <a:pathLst>
                <a:path w="5117465" h="912495">
                  <a:moveTo>
                    <a:pt x="571461" y="555307"/>
                  </a:moveTo>
                  <a:lnTo>
                    <a:pt x="564222" y="505980"/>
                  </a:lnTo>
                  <a:lnTo>
                    <a:pt x="544550" y="452996"/>
                  </a:lnTo>
                  <a:lnTo>
                    <a:pt x="515454" y="398348"/>
                  </a:lnTo>
                  <a:lnTo>
                    <a:pt x="479971" y="344043"/>
                  </a:lnTo>
                  <a:lnTo>
                    <a:pt x="441121" y="292100"/>
                  </a:lnTo>
                  <a:lnTo>
                    <a:pt x="401942" y="244500"/>
                  </a:lnTo>
                  <a:lnTo>
                    <a:pt x="365455" y="203263"/>
                  </a:lnTo>
                  <a:lnTo>
                    <a:pt x="334683" y="170408"/>
                  </a:lnTo>
                  <a:lnTo>
                    <a:pt x="302399" y="137807"/>
                  </a:lnTo>
                  <a:lnTo>
                    <a:pt x="285737" y="130911"/>
                  </a:lnTo>
                  <a:lnTo>
                    <a:pt x="276885" y="132626"/>
                  </a:lnTo>
                  <a:lnTo>
                    <a:pt x="269062" y="137807"/>
                  </a:lnTo>
                  <a:lnTo>
                    <a:pt x="261924" y="144945"/>
                  </a:lnTo>
                  <a:lnTo>
                    <a:pt x="261924" y="696747"/>
                  </a:lnTo>
                  <a:lnTo>
                    <a:pt x="260045" y="705904"/>
                  </a:lnTo>
                  <a:lnTo>
                    <a:pt x="254927" y="713397"/>
                  </a:lnTo>
                  <a:lnTo>
                    <a:pt x="247357" y="718464"/>
                  </a:lnTo>
                  <a:lnTo>
                    <a:pt x="238112" y="720331"/>
                  </a:lnTo>
                  <a:lnTo>
                    <a:pt x="192989" y="713105"/>
                  </a:lnTo>
                  <a:lnTo>
                    <a:pt x="153771" y="693013"/>
                  </a:lnTo>
                  <a:lnTo>
                    <a:pt x="122834" y="662381"/>
                  </a:lnTo>
                  <a:lnTo>
                    <a:pt x="102539" y="623557"/>
                  </a:lnTo>
                  <a:lnTo>
                    <a:pt x="95250" y="578878"/>
                  </a:lnTo>
                  <a:lnTo>
                    <a:pt x="97129" y="569722"/>
                  </a:lnTo>
                  <a:lnTo>
                    <a:pt x="102247" y="562229"/>
                  </a:lnTo>
                  <a:lnTo>
                    <a:pt x="109816" y="557161"/>
                  </a:lnTo>
                  <a:lnTo>
                    <a:pt x="119062" y="555307"/>
                  </a:lnTo>
                  <a:lnTo>
                    <a:pt x="128308" y="557161"/>
                  </a:lnTo>
                  <a:lnTo>
                    <a:pt x="135877" y="562229"/>
                  </a:lnTo>
                  <a:lnTo>
                    <a:pt x="140995" y="569722"/>
                  </a:lnTo>
                  <a:lnTo>
                    <a:pt x="150355" y="615594"/>
                  </a:lnTo>
                  <a:lnTo>
                    <a:pt x="170751" y="645566"/>
                  </a:lnTo>
                  <a:lnTo>
                    <a:pt x="201028" y="665772"/>
                  </a:lnTo>
                  <a:lnTo>
                    <a:pt x="247357" y="675030"/>
                  </a:lnTo>
                  <a:lnTo>
                    <a:pt x="254927" y="680097"/>
                  </a:lnTo>
                  <a:lnTo>
                    <a:pt x="260045" y="687603"/>
                  </a:lnTo>
                  <a:lnTo>
                    <a:pt x="261924" y="696747"/>
                  </a:lnTo>
                  <a:lnTo>
                    <a:pt x="261924" y="144945"/>
                  </a:lnTo>
                  <a:lnTo>
                    <a:pt x="206019" y="204165"/>
                  </a:lnTo>
                  <a:lnTo>
                    <a:pt x="169519" y="245859"/>
                  </a:lnTo>
                  <a:lnTo>
                    <a:pt x="130340" y="293865"/>
                  </a:lnTo>
                  <a:lnTo>
                    <a:pt x="91490" y="346087"/>
                  </a:lnTo>
                  <a:lnTo>
                    <a:pt x="56007" y="400431"/>
                  </a:lnTo>
                  <a:lnTo>
                    <a:pt x="26911" y="454812"/>
                  </a:lnTo>
                  <a:lnTo>
                    <a:pt x="7239" y="507123"/>
                  </a:lnTo>
                  <a:lnTo>
                    <a:pt x="0" y="555307"/>
                  </a:lnTo>
                  <a:lnTo>
                    <a:pt x="3746" y="599998"/>
                  </a:lnTo>
                  <a:lnTo>
                    <a:pt x="14592" y="642848"/>
                  </a:lnTo>
                  <a:lnTo>
                    <a:pt x="31927" y="683158"/>
                  </a:lnTo>
                  <a:lnTo>
                    <a:pt x="55181" y="720267"/>
                  </a:lnTo>
                  <a:lnTo>
                    <a:pt x="83756" y="753503"/>
                  </a:lnTo>
                  <a:lnTo>
                    <a:pt x="117068" y="782205"/>
                  </a:lnTo>
                  <a:lnTo>
                    <a:pt x="154508" y="805700"/>
                  </a:lnTo>
                  <a:lnTo>
                    <a:pt x="195491" y="823302"/>
                  </a:lnTo>
                  <a:lnTo>
                    <a:pt x="239433" y="834364"/>
                  </a:lnTo>
                  <a:lnTo>
                    <a:pt x="285737" y="838200"/>
                  </a:lnTo>
                  <a:lnTo>
                    <a:pt x="332041" y="834491"/>
                  </a:lnTo>
                  <a:lnTo>
                    <a:pt x="375970" y="823760"/>
                  </a:lnTo>
                  <a:lnTo>
                    <a:pt x="416966" y="806589"/>
                  </a:lnTo>
                  <a:lnTo>
                    <a:pt x="454406" y="783564"/>
                  </a:lnTo>
                  <a:lnTo>
                    <a:pt x="487705" y="755269"/>
                  </a:lnTo>
                  <a:lnTo>
                    <a:pt x="516280" y="722299"/>
                  </a:lnTo>
                  <a:lnTo>
                    <a:pt x="539534" y="685228"/>
                  </a:lnTo>
                  <a:lnTo>
                    <a:pt x="556882" y="644652"/>
                  </a:lnTo>
                  <a:lnTo>
                    <a:pt x="567715" y="601154"/>
                  </a:lnTo>
                  <a:lnTo>
                    <a:pt x="571461" y="555307"/>
                  </a:lnTo>
                  <a:close/>
                </a:path>
                <a:path w="5117465" h="912495">
                  <a:moveTo>
                    <a:pt x="2358733" y="644296"/>
                  </a:moveTo>
                  <a:lnTo>
                    <a:pt x="2353348" y="620483"/>
                  </a:lnTo>
                  <a:lnTo>
                    <a:pt x="2340775" y="600354"/>
                  </a:lnTo>
                  <a:lnTo>
                    <a:pt x="2322322" y="585444"/>
                  </a:lnTo>
                  <a:lnTo>
                    <a:pt x="2299347" y="577253"/>
                  </a:lnTo>
                  <a:lnTo>
                    <a:pt x="2299347" y="535203"/>
                  </a:lnTo>
                  <a:lnTo>
                    <a:pt x="2259761" y="535203"/>
                  </a:lnTo>
                  <a:lnTo>
                    <a:pt x="2259761" y="577253"/>
                  </a:lnTo>
                  <a:lnTo>
                    <a:pt x="2236787" y="585444"/>
                  </a:lnTo>
                  <a:lnTo>
                    <a:pt x="2218347" y="600354"/>
                  </a:lnTo>
                  <a:lnTo>
                    <a:pt x="2205761" y="620483"/>
                  </a:lnTo>
                  <a:lnTo>
                    <a:pt x="2200376" y="644296"/>
                  </a:lnTo>
                  <a:lnTo>
                    <a:pt x="2208238" y="672833"/>
                  </a:lnTo>
                  <a:lnTo>
                    <a:pt x="2225713" y="695375"/>
                  </a:lnTo>
                  <a:lnTo>
                    <a:pt x="2250313" y="709739"/>
                  </a:lnTo>
                  <a:lnTo>
                    <a:pt x="2279561" y="713714"/>
                  </a:lnTo>
                  <a:lnTo>
                    <a:pt x="2294763" y="716114"/>
                  </a:lnTo>
                  <a:lnTo>
                    <a:pt x="2307361" y="722566"/>
                  </a:lnTo>
                  <a:lnTo>
                    <a:pt x="2315959" y="732040"/>
                  </a:lnTo>
                  <a:lnTo>
                    <a:pt x="2319147" y="743470"/>
                  </a:lnTo>
                  <a:lnTo>
                    <a:pt x="2315959" y="754900"/>
                  </a:lnTo>
                  <a:lnTo>
                    <a:pt x="2307361" y="764374"/>
                  </a:lnTo>
                  <a:lnTo>
                    <a:pt x="2294763" y="770839"/>
                  </a:lnTo>
                  <a:lnTo>
                    <a:pt x="2279561" y="773226"/>
                  </a:lnTo>
                  <a:lnTo>
                    <a:pt x="2264346" y="770839"/>
                  </a:lnTo>
                  <a:lnTo>
                    <a:pt x="2251748" y="764374"/>
                  </a:lnTo>
                  <a:lnTo>
                    <a:pt x="2243150" y="754900"/>
                  </a:lnTo>
                  <a:lnTo>
                    <a:pt x="2239962" y="743470"/>
                  </a:lnTo>
                  <a:lnTo>
                    <a:pt x="2200376" y="743470"/>
                  </a:lnTo>
                  <a:lnTo>
                    <a:pt x="2205761" y="767283"/>
                  </a:lnTo>
                  <a:lnTo>
                    <a:pt x="2218347" y="787412"/>
                  </a:lnTo>
                  <a:lnTo>
                    <a:pt x="2236787" y="802335"/>
                  </a:lnTo>
                  <a:lnTo>
                    <a:pt x="2259761" y="810514"/>
                  </a:lnTo>
                  <a:lnTo>
                    <a:pt x="2259761" y="852576"/>
                  </a:lnTo>
                  <a:lnTo>
                    <a:pt x="2299347" y="852576"/>
                  </a:lnTo>
                  <a:lnTo>
                    <a:pt x="2299347" y="810514"/>
                  </a:lnTo>
                  <a:lnTo>
                    <a:pt x="2322322" y="802335"/>
                  </a:lnTo>
                  <a:lnTo>
                    <a:pt x="2340775" y="787412"/>
                  </a:lnTo>
                  <a:lnTo>
                    <a:pt x="2353348" y="767283"/>
                  </a:lnTo>
                  <a:lnTo>
                    <a:pt x="2358733" y="743470"/>
                  </a:lnTo>
                  <a:lnTo>
                    <a:pt x="2350871" y="714946"/>
                  </a:lnTo>
                  <a:lnTo>
                    <a:pt x="2333396" y="692391"/>
                  </a:lnTo>
                  <a:lnTo>
                    <a:pt x="2308796" y="678040"/>
                  </a:lnTo>
                  <a:lnTo>
                    <a:pt x="2279561" y="674052"/>
                  </a:lnTo>
                  <a:lnTo>
                    <a:pt x="2264346" y="671664"/>
                  </a:lnTo>
                  <a:lnTo>
                    <a:pt x="2251748" y="665200"/>
                  </a:lnTo>
                  <a:lnTo>
                    <a:pt x="2243150" y="655726"/>
                  </a:lnTo>
                  <a:lnTo>
                    <a:pt x="2239962" y="644296"/>
                  </a:lnTo>
                  <a:lnTo>
                    <a:pt x="2243150" y="632866"/>
                  </a:lnTo>
                  <a:lnTo>
                    <a:pt x="2251748" y="623392"/>
                  </a:lnTo>
                  <a:lnTo>
                    <a:pt x="2264346" y="616927"/>
                  </a:lnTo>
                  <a:lnTo>
                    <a:pt x="2279561" y="614540"/>
                  </a:lnTo>
                  <a:lnTo>
                    <a:pt x="2294763" y="616927"/>
                  </a:lnTo>
                  <a:lnTo>
                    <a:pt x="2307361" y="623392"/>
                  </a:lnTo>
                  <a:lnTo>
                    <a:pt x="2315959" y="632866"/>
                  </a:lnTo>
                  <a:lnTo>
                    <a:pt x="2319147" y="644296"/>
                  </a:lnTo>
                  <a:lnTo>
                    <a:pt x="2358733" y="644296"/>
                  </a:lnTo>
                  <a:close/>
                </a:path>
                <a:path w="5117465" h="912495">
                  <a:moveTo>
                    <a:pt x="2496235" y="672985"/>
                  </a:moveTo>
                  <a:lnTo>
                    <a:pt x="2487193" y="628421"/>
                  </a:lnTo>
                  <a:lnTo>
                    <a:pt x="2474518" y="596823"/>
                  </a:lnTo>
                  <a:lnTo>
                    <a:pt x="2457704" y="568579"/>
                  </a:lnTo>
                  <a:lnTo>
                    <a:pt x="2457704" y="693889"/>
                  </a:lnTo>
                  <a:lnTo>
                    <a:pt x="2452992" y="735139"/>
                  </a:lnTo>
                  <a:lnTo>
                    <a:pt x="2439073" y="773671"/>
                  </a:lnTo>
                  <a:lnTo>
                    <a:pt x="2416645" y="807974"/>
                  </a:lnTo>
                  <a:lnTo>
                    <a:pt x="2386444" y="836498"/>
                  </a:lnTo>
                  <a:lnTo>
                    <a:pt x="2337117" y="862838"/>
                  </a:lnTo>
                  <a:lnTo>
                    <a:pt x="2299500" y="871308"/>
                  </a:lnTo>
                  <a:lnTo>
                    <a:pt x="2279561" y="872401"/>
                  </a:lnTo>
                  <a:lnTo>
                    <a:pt x="2269617" y="872109"/>
                  </a:lnTo>
                  <a:lnTo>
                    <a:pt x="2197087" y="852436"/>
                  </a:lnTo>
                  <a:lnTo>
                    <a:pt x="2160384" y="827151"/>
                  </a:lnTo>
                  <a:lnTo>
                    <a:pt x="2131250" y="793800"/>
                  </a:lnTo>
                  <a:lnTo>
                    <a:pt x="2111121" y="753999"/>
                  </a:lnTo>
                  <a:lnTo>
                    <a:pt x="2101405" y="709358"/>
                  </a:lnTo>
                  <a:lnTo>
                    <a:pt x="2101215" y="704202"/>
                  </a:lnTo>
                  <a:lnTo>
                    <a:pt x="2101215" y="699046"/>
                  </a:lnTo>
                  <a:lnTo>
                    <a:pt x="2106218" y="652627"/>
                  </a:lnTo>
                  <a:lnTo>
                    <a:pt x="2120188" y="614095"/>
                  </a:lnTo>
                  <a:lnTo>
                    <a:pt x="2142579" y="579793"/>
                  </a:lnTo>
                  <a:lnTo>
                    <a:pt x="2172665" y="551268"/>
                  </a:lnTo>
                  <a:lnTo>
                    <a:pt x="2214486" y="527583"/>
                  </a:lnTo>
                  <a:lnTo>
                    <a:pt x="2259685" y="516255"/>
                  </a:lnTo>
                  <a:lnTo>
                    <a:pt x="2279561" y="515366"/>
                  </a:lnTo>
                  <a:lnTo>
                    <a:pt x="2289530" y="515632"/>
                  </a:lnTo>
                  <a:lnTo>
                    <a:pt x="2337117" y="524929"/>
                  </a:lnTo>
                  <a:lnTo>
                    <a:pt x="2386444" y="551065"/>
                  </a:lnTo>
                  <a:lnTo>
                    <a:pt x="2416530" y="579716"/>
                  </a:lnTo>
                  <a:lnTo>
                    <a:pt x="2438920" y="614070"/>
                  </a:lnTo>
                  <a:lnTo>
                    <a:pt x="2452890" y="652627"/>
                  </a:lnTo>
                  <a:lnTo>
                    <a:pt x="2457704" y="693889"/>
                  </a:lnTo>
                  <a:lnTo>
                    <a:pt x="2457704" y="568579"/>
                  </a:lnTo>
                  <a:lnTo>
                    <a:pt x="2457234" y="567778"/>
                  </a:lnTo>
                  <a:lnTo>
                    <a:pt x="2435669" y="541782"/>
                  </a:lnTo>
                  <a:lnTo>
                    <a:pt x="2410193" y="519328"/>
                  </a:lnTo>
                  <a:lnTo>
                    <a:pt x="2404707" y="515366"/>
                  </a:lnTo>
                  <a:lnTo>
                    <a:pt x="2402636" y="513854"/>
                  </a:lnTo>
                  <a:lnTo>
                    <a:pt x="2327313" y="480999"/>
                  </a:lnTo>
                  <a:lnTo>
                    <a:pt x="2273935" y="475792"/>
                  </a:lnTo>
                  <a:lnTo>
                    <a:pt x="2220899" y="483819"/>
                  </a:lnTo>
                  <a:lnTo>
                    <a:pt x="2170684" y="505053"/>
                  </a:lnTo>
                  <a:lnTo>
                    <a:pt x="2112175" y="554520"/>
                  </a:lnTo>
                  <a:lnTo>
                    <a:pt x="2084806" y="596442"/>
                  </a:lnTo>
                  <a:lnTo>
                    <a:pt x="2067712" y="643483"/>
                  </a:lnTo>
                  <a:lnTo>
                    <a:pt x="2061819" y="693889"/>
                  </a:lnTo>
                  <a:lnTo>
                    <a:pt x="2061819" y="713714"/>
                  </a:lnTo>
                  <a:lnTo>
                    <a:pt x="2071192" y="760209"/>
                  </a:lnTo>
                  <a:lnTo>
                    <a:pt x="2089721" y="802386"/>
                  </a:lnTo>
                  <a:lnTo>
                    <a:pt x="2116251" y="839216"/>
                  </a:lnTo>
                  <a:lnTo>
                    <a:pt x="2149627" y="869632"/>
                  </a:lnTo>
                  <a:lnTo>
                    <a:pt x="2188756" y="892632"/>
                  </a:lnTo>
                  <a:lnTo>
                    <a:pt x="2232444" y="907122"/>
                  </a:lnTo>
                  <a:lnTo>
                    <a:pt x="2279561" y="912075"/>
                  </a:lnTo>
                  <a:lnTo>
                    <a:pt x="2312797" y="909612"/>
                  </a:lnTo>
                  <a:lnTo>
                    <a:pt x="2345029" y="902055"/>
                  </a:lnTo>
                  <a:lnTo>
                    <a:pt x="2375700" y="889596"/>
                  </a:lnTo>
                  <a:lnTo>
                    <a:pt x="2404262" y="872401"/>
                  </a:lnTo>
                  <a:lnTo>
                    <a:pt x="2406078" y="871308"/>
                  </a:lnTo>
                  <a:lnTo>
                    <a:pt x="2408186" y="869645"/>
                  </a:lnTo>
                  <a:lnTo>
                    <a:pt x="2410193" y="868235"/>
                  </a:lnTo>
                  <a:lnTo>
                    <a:pt x="2443467" y="837323"/>
                  </a:lnTo>
                  <a:lnTo>
                    <a:pt x="2444038" y="836498"/>
                  </a:lnTo>
                  <a:lnTo>
                    <a:pt x="2469134" y="801001"/>
                  </a:lnTo>
                  <a:lnTo>
                    <a:pt x="2486774" y="760603"/>
                  </a:lnTo>
                  <a:lnTo>
                    <a:pt x="2495956" y="717486"/>
                  </a:lnTo>
                  <a:lnTo>
                    <a:pt x="2496235" y="672985"/>
                  </a:lnTo>
                  <a:close/>
                </a:path>
                <a:path w="5117465" h="912495">
                  <a:moveTo>
                    <a:pt x="2775991" y="318198"/>
                  </a:moveTo>
                  <a:lnTo>
                    <a:pt x="2774810" y="309867"/>
                  </a:lnTo>
                  <a:lnTo>
                    <a:pt x="2512339" y="6375"/>
                  </a:lnTo>
                  <a:lnTo>
                    <a:pt x="2505443" y="1663"/>
                  </a:lnTo>
                  <a:lnTo>
                    <a:pt x="2497569" y="0"/>
                  </a:lnTo>
                  <a:lnTo>
                    <a:pt x="2489644" y="1435"/>
                  </a:lnTo>
                  <a:lnTo>
                    <a:pt x="2482646" y="5981"/>
                  </a:lnTo>
                  <a:lnTo>
                    <a:pt x="2482253" y="6375"/>
                  </a:lnTo>
                  <a:lnTo>
                    <a:pt x="2219782" y="309867"/>
                  </a:lnTo>
                  <a:lnTo>
                    <a:pt x="2218588" y="318198"/>
                  </a:lnTo>
                  <a:lnTo>
                    <a:pt x="2221954" y="325335"/>
                  </a:lnTo>
                  <a:lnTo>
                    <a:pt x="2225116" y="332282"/>
                  </a:lnTo>
                  <a:lnTo>
                    <a:pt x="2232253" y="336842"/>
                  </a:lnTo>
                  <a:lnTo>
                    <a:pt x="2378532" y="336842"/>
                  </a:lnTo>
                  <a:lnTo>
                    <a:pt x="2378532" y="477481"/>
                  </a:lnTo>
                  <a:lnTo>
                    <a:pt x="2422067" y="503466"/>
                  </a:lnTo>
                  <a:lnTo>
                    <a:pt x="2462136" y="541667"/>
                  </a:lnTo>
                  <a:lnTo>
                    <a:pt x="2491994" y="587438"/>
                  </a:lnTo>
                  <a:lnTo>
                    <a:pt x="2510650" y="638835"/>
                  </a:lnTo>
                  <a:lnTo>
                    <a:pt x="2517089" y="693889"/>
                  </a:lnTo>
                  <a:lnTo>
                    <a:pt x="2511895" y="744347"/>
                  </a:lnTo>
                  <a:lnTo>
                    <a:pt x="2496223" y="791997"/>
                  </a:lnTo>
                  <a:lnTo>
                    <a:pt x="2470797" y="835228"/>
                  </a:lnTo>
                  <a:lnTo>
                    <a:pt x="2436330" y="872401"/>
                  </a:lnTo>
                  <a:lnTo>
                    <a:pt x="2596261" y="872401"/>
                  </a:lnTo>
                  <a:lnTo>
                    <a:pt x="2603944" y="870839"/>
                  </a:lnTo>
                  <a:lnTo>
                    <a:pt x="2610243" y="866584"/>
                  </a:lnTo>
                  <a:lnTo>
                    <a:pt x="2614498" y="860272"/>
                  </a:lnTo>
                  <a:lnTo>
                    <a:pt x="2616060" y="852576"/>
                  </a:lnTo>
                  <a:lnTo>
                    <a:pt x="2616060" y="336842"/>
                  </a:lnTo>
                  <a:lnTo>
                    <a:pt x="2762339" y="336842"/>
                  </a:lnTo>
                  <a:lnTo>
                    <a:pt x="2769463" y="332282"/>
                  </a:lnTo>
                  <a:lnTo>
                    <a:pt x="2772626" y="325335"/>
                  </a:lnTo>
                  <a:lnTo>
                    <a:pt x="2775991" y="318198"/>
                  </a:lnTo>
                  <a:close/>
                </a:path>
                <a:path w="5117465" h="912495">
                  <a:moveTo>
                    <a:pt x="4631042" y="252552"/>
                  </a:moveTo>
                  <a:lnTo>
                    <a:pt x="4628096" y="206489"/>
                  </a:lnTo>
                  <a:lnTo>
                    <a:pt x="4623536" y="197065"/>
                  </a:lnTo>
                  <a:lnTo>
                    <a:pt x="4607979" y="164871"/>
                  </a:lnTo>
                  <a:lnTo>
                    <a:pt x="4572165" y="132969"/>
                  </a:lnTo>
                  <a:lnTo>
                    <a:pt x="4557700" y="125806"/>
                  </a:lnTo>
                  <a:lnTo>
                    <a:pt x="4551007" y="123532"/>
                  </a:lnTo>
                  <a:lnTo>
                    <a:pt x="4551007" y="237147"/>
                  </a:lnTo>
                  <a:lnTo>
                    <a:pt x="4547933" y="252552"/>
                  </a:lnTo>
                  <a:lnTo>
                    <a:pt x="4547870" y="252806"/>
                  </a:lnTo>
                  <a:lnTo>
                    <a:pt x="4539348" y="265531"/>
                  </a:lnTo>
                  <a:lnTo>
                    <a:pt x="4526623" y="274180"/>
                  </a:lnTo>
                  <a:lnTo>
                    <a:pt x="4510964" y="277456"/>
                  </a:lnTo>
                  <a:lnTo>
                    <a:pt x="4510506" y="277456"/>
                  </a:lnTo>
                  <a:lnTo>
                    <a:pt x="4494809" y="274281"/>
                  </a:lnTo>
                  <a:lnTo>
                    <a:pt x="4482008" y="265620"/>
                  </a:lnTo>
                  <a:lnTo>
                    <a:pt x="4473384" y="252806"/>
                  </a:lnTo>
                  <a:lnTo>
                    <a:pt x="4470235" y="237147"/>
                  </a:lnTo>
                  <a:lnTo>
                    <a:pt x="4473422" y="221513"/>
                  </a:lnTo>
                  <a:lnTo>
                    <a:pt x="4482122" y="208775"/>
                  </a:lnTo>
                  <a:lnTo>
                    <a:pt x="4495000" y="200202"/>
                  </a:lnTo>
                  <a:lnTo>
                    <a:pt x="4510735" y="197065"/>
                  </a:lnTo>
                  <a:lnTo>
                    <a:pt x="4526432" y="200202"/>
                  </a:lnTo>
                  <a:lnTo>
                    <a:pt x="4539234" y="208775"/>
                  </a:lnTo>
                  <a:lnTo>
                    <a:pt x="4547857" y="221513"/>
                  </a:lnTo>
                  <a:lnTo>
                    <a:pt x="4551007" y="237147"/>
                  </a:lnTo>
                  <a:lnTo>
                    <a:pt x="4551007" y="123532"/>
                  </a:lnTo>
                  <a:lnTo>
                    <a:pt x="4542447" y="120624"/>
                  </a:lnTo>
                  <a:lnTo>
                    <a:pt x="4526635" y="117487"/>
                  </a:lnTo>
                  <a:lnTo>
                    <a:pt x="4510506" y="116433"/>
                  </a:lnTo>
                  <a:lnTo>
                    <a:pt x="4463339" y="125933"/>
                  </a:lnTo>
                  <a:lnTo>
                    <a:pt x="4424781" y="151828"/>
                  </a:lnTo>
                  <a:lnTo>
                    <a:pt x="4398772" y="190195"/>
                  </a:lnTo>
                  <a:lnTo>
                    <a:pt x="4389221" y="237147"/>
                  </a:lnTo>
                  <a:lnTo>
                    <a:pt x="4390326" y="253326"/>
                  </a:lnTo>
                  <a:lnTo>
                    <a:pt x="4406290" y="298742"/>
                  </a:lnTo>
                  <a:lnTo>
                    <a:pt x="4493666" y="429641"/>
                  </a:lnTo>
                  <a:lnTo>
                    <a:pt x="4503902" y="438467"/>
                  </a:lnTo>
                  <a:lnTo>
                    <a:pt x="4517339" y="438467"/>
                  </a:lnTo>
                  <a:lnTo>
                    <a:pt x="4523473" y="435076"/>
                  </a:lnTo>
                  <a:lnTo>
                    <a:pt x="4527347" y="429641"/>
                  </a:lnTo>
                  <a:lnTo>
                    <a:pt x="4615408" y="297840"/>
                  </a:lnTo>
                  <a:lnTo>
                    <a:pt x="4622444" y="277456"/>
                  </a:lnTo>
                  <a:lnTo>
                    <a:pt x="4631042" y="252552"/>
                  </a:lnTo>
                  <a:close/>
                </a:path>
                <a:path w="5117465" h="912495">
                  <a:moveTo>
                    <a:pt x="4834293" y="820978"/>
                  </a:moveTo>
                  <a:lnTo>
                    <a:pt x="4768139" y="797128"/>
                  </a:lnTo>
                  <a:lnTo>
                    <a:pt x="4724578" y="786460"/>
                  </a:lnTo>
                  <a:lnTo>
                    <a:pt x="4683963" y="769378"/>
                  </a:lnTo>
                  <a:lnTo>
                    <a:pt x="4646879" y="746455"/>
                  </a:lnTo>
                  <a:lnTo>
                    <a:pt x="4613897" y="718299"/>
                  </a:lnTo>
                  <a:lnTo>
                    <a:pt x="4585601" y="685469"/>
                  </a:lnTo>
                  <a:lnTo>
                    <a:pt x="4562576" y="648563"/>
                  </a:lnTo>
                  <a:lnTo>
                    <a:pt x="4545419" y="608139"/>
                  </a:lnTo>
                  <a:lnTo>
                    <a:pt x="4534687" y="564794"/>
                  </a:lnTo>
                  <a:lnTo>
                    <a:pt x="4530991" y="519099"/>
                  </a:lnTo>
                  <a:lnTo>
                    <a:pt x="4530991" y="498944"/>
                  </a:lnTo>
                  <a:lnTo>
                    <a:pt x="4529391" y="491109"/>
                  </a:lnTo>
                  <a:lnTo>
                    <a:pt x="4525035" y="484695"/>
                  </a:lnTo>
                  <a:lnTo>
                    <a:pt x="4518609" y="480377"/>
                  </a:lnTo>
                  <a:lnTo>
                    <a:pt x="4510735" y="478790"/>
                  </a:lnTo>
                  <a:lnTo>
                    <a:pt x="4502861" y="480377"/>
                  </a:lnTo>
                  <a:lnTo>
                    <a:pt x="4496422" y="484695"/>
                  </a:lnTo>
                  <a:lnTo>
                    <a:pt x="4492079" y="491109"/>
                  </a:lnTo>
                  <a:lnTo>
                    <a:pt x="4490478" y="498944"/>
                  </a:lnTo>
                  <a:lnTo>
                    <a:pt x="4490478" y="519099"/>
                  </a:lnTo>
                  <a:lnTo>
                    <a:pt x="4493996" y="566661"/>
                  </a:lnTo>
                  <a:lnTo>
                    <a:pt x="4504194" y="612051"/>
                  </a:lnTo>
                  <a:lnTo>
                    <a:pt x="4520565" y="654786"/>
                  </a:lnTo>
                  <a:lnTo>
                    <a:pt x="4542637" y="694359"/>
                  </a:lnTo>
                  <a:lnTo>
                    <a:pt x="4569879" y="730262"/>
                  </a:lnTo>
                  <a:lnTo>
                    <a:pt x="4601794" y="762025"/>
                  </a:lnTo>
                  <a:lnTo>
                    <a:pt x="4637900" y="789127"/>
                  </a:lnTo>
                  <a:lnTo>
                    <a:pt x="4677676" y="811085"/>
                  </a:lnTo>
                  <a:lnTo>
                    <a:pt x="4720628" y="827405"/>
                  </a:lnTo>
                  <a:lnTo>
                    <a:pt x="4766246" y="837590"/>
                  </a:lnTo>
                  <a:lnTo>
                    <a:pt x="4814049" y="841133"/>
                  </a:lnTo>
                  <a:lnTo>
                    <a:pt x="4821910" y="839546"/>
                  </a:lnTo>
                  <a:lnTo>
                    <a:pt x="4828349" y="835215"/>
                  </a:lnTo>
                  <a:lnTo>
                    <a:pt x="4832705" y="828802"/>
                  </a:lnTo>
                  <a:lnTo>
                    <a:pt x="4834293" y="820978"/>
                  </a:lnTo>
                  <a:close/>
                </a:path>
                <a:path w="5117465" h="912495">
                  <a:moveTo>
                    <a:pt x="5117363" y="471538"/>
                  </a:moveTo>
                  <a:lnTo>
                    <a:pt x="5111674" y="422465"/>
                  </a:lnTo>
                  <a:lnTo>
                    <a:pt x="5101387" y="393865"/>
                  </a:lnTo>
                  <a:lnTo>
                    <a:pt x="5095468" y="377405"/>
                  </a:lnTo>
                  <a:lnTo>
                    <a:pt x="5070043" y="337654"/>
                  </a:lnTo>
                  <a:lnTo>
                    <a:pt x="5036693" y="304495"/>
                  </a:lnTo>
                  <a:lnTo>
                    <a:pt x="4996726" y="279196"/>
                  </a:lnTo>
                  <a:lnTo>
                    <a:pt x="4980152" y="273291"/>
                  </a:lnTo>
                  <a:lnTo>
                    <a:pt x="4980152" y="471538"/>
                  </a:lnTo>
                  <a:lnTo>
                    <a:pt x="4974044" y="501726"/>
                  </a:lnTo>
                  <a:lnTo>
                    <a:pt x="4957343" y="526427"/>
                  </a:lnTo>
                  <a:lnTo>
                    <a:pt x="4932540" y="543102"/>
                  </a:lnTo>
                  <a:lnTo>
                    <a:pt x="4902111" y="549211"/>
                  </a:lnTo>
                  <a:lnTo>
                    <a:pt x="4871771" y="543102"/>
                  </a:lnTo>
                  <a:lnTo>
                    <a:pt x="4846955" y="526427"/>
                  </a:lnTo>
                  <a:lnTo>
                    <a:pt x="4830203" y="501726"/>
                  </a:lnTo>
                  <a:lnTo>
                    <a:pt x="4824057" y="471538"/>
                  </a:lnTo>
                  <a:lnTo>
                    <a:pt x="4830203" y="441337"/>
                  </a:lnTo>
                  <a:lnTo>
                    <a:pt x="4846955" y="416648"/>
                  </a:lnTo>
                  <a:lnTo>
                    <a:pt x="4871771" y="399973"/>
                  </a:lnTo>
                  <a:lnTo>
                    <a:pt x="4902111" y="393865"/>
                  </a:lnTo>
                  <a:lnTo>
                    <a:pt x="4932438" y="399973"/>
                  </a:lnTo>
                  <a:lnTo>
                    <a:pt x="4957254" y="416648"/>
                  </a:lnTo>
                  <a:lnTo>
                    <a:pt x="4974006" y="441337"/>
                  </a:lnTo>
                  <a:lnTo>
                    <a:pt x="4980152" y="471538"/>
                  </a:lnTo>
                  <a:lnTo>
                    <a:pt x="4980152" y="273291"/>
                  </a:lnTo>
                  <a:lnTo>
                    <a:pt x="4951425" y="263029"/>
                  </a:lnTo>
                  <a:lnTo>
                    <a:pt x="4902111" y="257302"/>
                  </a:lnTo>
                  <a:lnTo>
                    <a:pt x="4852797" y="262966"/>
                  </a:lnTo>
                  <a:lnTo>
                    <a:pt x="4807534" y="279095"/>
                  </a:lnTo>
                  <a:lnTo>
                    <a:pt x="4767592" y="304393"/>
                  </a:lnTo>
                  <a:lnTo>
                    <a:pt x="4734268" y="337591"/>
                  </a:lnTo>
                  <a:lnTo>
                    <a:pt x="4708842" y="377367"/>
                  </a:lnTo>
                  <a:lnTo>
                    <a:pt x="4692612" y="422452"/>
                  </a:lnTo>
                  <a:lnTo>
                    <a:pt x="4686846" y="471538"/>
                  </a:lnTo>
                  <a:lnTo>
                    <a:pt x="4688764" y="500011"/>
                  </a:lnTo>
                  <a:lnTo>
                    <a:pt x="4694415" y="527812"/>
                  </a:lnTo>
                  <a:lnTo>
                    <a:pt x="4703750" y="554596"/>
                  </a:lnTo>
                  <a:lnTo>
                    <a:pt x="4716665" y="580021"/>
                  </a:lnTo>
                  <a:lnTo>
                    <a:pt x="4885271" y="832078"/>
                  </a:lnTo>
                  <a:lnTo>
                    <a:pt x="4888903" y="837730"/>
                  </a:lnTo>
                  <a:lnTo>
                    <a:pt x="4895278" y="841133"/>
                  </a:lnTo>
                  <a:lnTo>
                    <a:pt x="4908931" y="841133"/>
                  </a:lnTo>
                  <a:lnTo>
                    <a:pt x="4915306" y="837730"/>
                  </a:lnTo>
                  <a:lnTo>
                    <a:pt x="4918938" y="832078"/>
                  </a:lnTo>
                  <a:lnTo>
                    <a:pt x="5073904" y="600621"/>
                  </a:lnTo>
                  <a:lnTo>
                    <a:pt x="5088013" y="579107"/>
                  </a:lnTo>
                  <a:lnTo>
                    <a:pt x="5100790" y="553859"/>
                  </a:lnTo>
                  <a:lnTo>
                    <a:pt x="5102403" y="549211"/>
                  </a:lnTo>
                  <a:lnTo>
                    <a:pt x="5110023" y="527278"/>
                  </a:lnTo>
                  <a:lnTo>
                    <a:pt x="5115585" y="499719"/>
                  </a:lnTo>
                  <a:lnTo>
                    <a:pt x="5117363" y="471538"/>
                  </a:lnTo>
                  <a:close/>
                </a:path>
              </a:pathLst>
            </a:custGeom>
            <a:solidFill>
              <a:srgbClr val="FFFFFF"/>
            </a:solidFill>
          </p:spPr>
          <p:txBody>
            <a:bodyPr wrap="square" lIns="0" tIns="0" rIns="0" bIns="0" rtlCol="0"/>
            <a:lstStyle/>
            <a:p>
              <a:endParaRPr/>
            </a:p>
          </p:txBody>
        </p:sp>
      </p:grpSp>
      <p:sp>
        <p:nvSpPr>
          <p:cNvPr id="21" name="object 21"/>
          <p:cNvSpPr txBox="1"/>
          <p:nvPr/>
        </p:nvSpPr>
        <p:spPr>
          <a:xfrm>
            <a:off x="637985" y="384153"/>
            <a:ext cx="2609850"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4.</a:t>
            </a:r>
            <a:r>
              <a:rPr sz="3000" spc="-50" dirty="0">
                <a:solidFill>
                  <a:srgbClr val="FFFFFF"/>
                </a:solidFill>
                <a:latin typeface="Roboto"/>
                <a:cs typeface="Roboto"/>
              </a:rPr>
              <a:t> </a:t>
            </a:r>
            <a:r>
              <a:rPr sz="3000" spc="-10" dirty="0">
                <a:solidFill>
                  <a:srgbClr val="FFFFFF"/>
                </a:solidFill>
                <a:latin typeface="Roboto"/>
                <a:cs typeface="Roboto"/>
              </a:rPr>
              <a:t>Tendencias</a:t>
            </a:r>
            <a:endParaRPr sz="3000">
              <a:latin typeface="Roboto"/>
              <a:cs typeface="Roboto"/>
            </a:endParaRPr>
          </a:p>
        </p:txBody>
      </p:sp>
      <p:grpSp>
        <p:nvGrpSpPr>
          <p:cNvPr id="22" name="object 22"/>
          <p:cNvGrpSpPr/>
          <p:nvPr/>
        </p:nvGrpSpPr>
        <p:grpSpPr>
          <a:xfrm>
            <a:off x="2412132" y="237496"/>
            <a:ext cx="15647669" cy="4802505"/>
            <a:chOff x="2412132" y="237496"/>
            <a:chExt cx="15647669" cy="4802505"/>
          </a:xfrm>
        </p:grpSpPr>
        <p:pic>
          <p:nvPicPr>
            <p:cNvPr id="23" name="object 23"/>
            <p:cNvPicPr/>
            <p:nvPr/>
          </p:nvPicPr>
          <p:blipFill>
            <a:blip r:embed="rId4" cstate="print"/>
            <a:stretch>
              <a:fillRect/>
            </a:stretch>
          </p:blipFill>
          <p:spPr>
            <a:xfrm>
              <a:off x="2412132" y="4325165"/>
              <a:ext cx="85725" cy="85724"/>
            </a:xfrm>
            <a:prstGeom prst="rect">
              <a:avLst/>
            </a:prstGeom>
          </p:spPr>
        </p:pic>
        <p:pic>
          <p:nvPicPr>
            <p:cNvPr id="24" name="object 24"/>
            <p:cNvPicPr/>
            <p:nvPr/>
          </p:nvPicPr>
          <p:blipFill>
            <a:blip r:embed="rId4" cstate="print"/>
            <a:stretch>
              <a:fillRect/>
            </a:stretch>
          </p:blipFill>
          <p:spPr>
            <a:xfrm>
              <a:off x="2412132" y="4639490"/>
              <a:ext cx="85725" cy="85724"/>
            </a:xfrm>
            <a:prstGeom prst="rect">
              <a:avLst/>
            </a:prstGeom>
          </p:spPr>
        </p:pic>
        <p:pic>
          <p:nvPicPr>
            <p:cNvPr id="25" name="object 25"/>
            <p:cNvPicPr/>
            <p:nvPr/>
          </p:nvPicPr>
          <p:blipFill>
            <a:blip r:embed="rId4" cstate="print"/>
            <a:stretch>
              <a:fillRect/>
            </a:stretch>
          </p:blipFill>
          <p:spPr>
            <a:xfrm>
              <a:off x="2412132" y="4953815"/>
              <a:ext cx="85725" cy="85724"/>
            </a:xfrm>
            <a:prstGeom prst="rect">
              <a:avLst/>
            </a:prstGeom>
          </p:spPr>
        </p:pic>
        <p:sp>
          <p:nvSpPr>
            <p:cNvPr id="26" name="object 26"/>
            <p:cNvSpPr/>
            <p:nvPr/>
          </p:nvSpPr>
          <p:spPr>
            <a:xfrm>
              <a:off x="7610019" y="3519781"/>
              <a:ext cx="3305810" cy="0"/>
            </a:xfrm>
            <a:custGeom>
              <a:avLst/>
              <a:gdLst/>
              <a:ahLst/>
              <a:cxnLst/>
              <a:rect l="l" t="t" r="r" b="b"/>
              <a:pathLst>
                <a:path w="3305809">
                  <a:moveTo>
                    <a:pt x="0" y="0"/>
                  </a:moveTo>
                  <a:lnTo>
                    <a:pt x="3305303" y="0"/>
                  </a:lnTo>
                </a:path>
              </a:pathLst>
            </a:custGeom>
            <a:ln w="19049">
              <a:solidFill>
                <a:srgbClr val="737373"/>
              </a:solidFill>
            </a:ln>
          </p:spPr>
          <p:txBody>
            <a:bodyPr wrap="square" lIns="0" tIns="0" rIns="0" bIns="0" rtlCol="0"/>
            <a:lstStyle/>
            <a:p>
              <a:endParaRPr/>
            </a:p>
          </p:txBody>
        </p:sp>
        <p:sp>
          <p:nvSpPr>
            <p:cNvPr id="27" name="object 27"/>
            <p:cNvSpPr/>
            <p:nvPr/>
          </p:nvSpPr>
          <p:spPr>
            <a:xfrm>
              <a:off x="7619512" y="3522486"/>
              <a:ext cx="0" cy="276860"/>
            </a:xfrm>
            <a:custGeom>
              <a:avLst/>
              <a:gdLst/>
              <a:ahLst/>
              <a:cxnLst/>
              <a:rect l="l" t="t" r="r" b="b"/>
              <a:pathLst>
                <a:path h="276860">
                  <a:moveTo>
                    <a:pt x="0" y="276288"/>
                  </a:moveTo>
                  <a:lnTo>
                    <a:pt x="0" y="0"/>
                  </a:lnTo>
                </a:path>
              </a:pathLst>
            </a:custGeom>
            <a:ln w="18826">
              <a:solidFill>
                <a:srgbClr val="737373"/>
              </a:solidFill>
            </a:ln>
          </p:spPr>
          <p:txBody>
            <a:bodyPr wrap="square" lIns="0" tIns="0" rIns="0" bIns="0" rtlCol="0"/>
            <a:lstStyle/>
            <a:p>
              <a:endParaRPr/>
            </a:p>
          </p:txBody>
        </p:sp>
        <p:sp>
          <p:nvSpPr>
            <p:cNvPr id="28" name="object 28"/>
            <p:cNvSpPr/>
            <p:nvPr/>
          </p:nvSpPr>
          <p:spPr>
            <a:xfrm>
              <a:off x="10907414" y="3521901"/>
              <a:ext cx="0" cy="267335"/>
            </a:xfrm>
            <a:custGeom>
              <a:avLst/>
              <a:gdLst/>
              <a:ahLst/>
              <a:cxnLst/>
              <a:rect l="l" t="t" r="r" b="b"/>
              <a:pathLst>
                <a:path h="267335">
                  <a:moveTo>
                    <a:pt x="0" y="266739"/>
                  </a:moveTo>
                  <a:lnTo>
                    <a:pt x="0" y="0"/>
                  </a:lnTo>
                </a:path>
              </a:pathLst>
            </a:custGeom>
            <a:ln w="18860">
              <a:solidFill>
                <a:srgbClr val="737373"/>
              </a:solidFill>
            </a:ln>
          </p:spPr>
          <p:txBody>
            <a:bodyPr wrap="square" lIns="0" tIns="0" rIns="0" bIns="0" rtlCol="0"/>
            <a:lstStyle/>
            <a:p>
              <a:endParaRPr/>
            </a:p>
          </p:txBody>
        </p:sp>
        <p:pic>
          <p:nvPicPr>
            <p:cNvPr id="29" name="object 29"/>
            <p:cNvPicPr/>
            <p:nvPr/>
          </p:nvPicPr>
          <p:blipFill>
            <a:blip r:embed="rId5" cstate="print"/>
            <a:stretch>
              <a:fillRect/>
            </a:stretch>
          </p:blipFill>
          <p:spPr>
            <a:xfrm>
              <a:off x="17316448" y="237496"/>
              <a:ext cx="742949" cy="819149"/>
            </a:xfrm>
            <a:prstGeom prst="rect">
              <a:avLst/>
            </a:prstGeom>
          </p:spPr>
        </p:pic>
      </p:grpSp>
      <p:sp>
        <p:nvSpPr>
          <p:cNvPr id="30" name="object 30"/>
          <p:cNvSpPr txBox="1"/>
          <p:nvPr/>
        </p:nvSpPr>
        <p:spPr>
          <a:xfrm>
            <a:off x="2631604" y="4170924"/>
            <a:ext cx="2755900" cy="972819"/>
          </a:xfrm>
          <a:prstGeom prst="rect">
            <a:avLst/>
          </a:prstGeom>
        </p:spPr>
        <p:txBody>
          <a:bodyPr vert="horz" wrap="square" lIns="0" tIns="15875" rIns="0" bIns="0" rtlCol="0">
            <a:spAutoFit/>
          </a:bodyPr>
          <a:lstStyle/>
          <a:p>
            <a:pPr marL="12700" marR="5080">
              <a:lnSpc>
                <a:spcPct val="100600"/>
              </a:lnSpc>
              <a:spcBef>
                <a:spcPts val="125"/>
              </a:spcBef>
            </a:pPr>
            <a:r>
              <a:rPr sz="2050" dirty="0">
                <a:solidFill>
                  <a:srgbClr val="FFFFFF"/>
                </a:solidFill>
                <a:latin typeface="Roboto"/>
                <a:cs typeface="Roboto"/>
              </a:rPr>
              <a:t>Actividades</a:t>
            </a:r>
            <a:r>
              <a:rPr sz="2050" spc="-5" dirty="0">
                <a:solidFill>
                  <a:srgbClr val="FFFFFF"/>
                </a:solidFill>
                <a:latin typeface="Roboto"/>
                <a:cs typeface="Roboto"/>
              </a:rPr>
              <a:t> </a:t>
            </a:r>
            <a:r>
              <a:rPr sz="2050" dirty="0">
                <a:solidFill>
                  <a:srgbClr val="FFFFFF"/>
                </a:solidFill>
                <a:latin typeface="Roboto"/>
                <a:cs typeface="Roboto"/>
              </a:rPr>
              <a:t>al</a:t>
            </a:r>
            <a:r>
              <a:rPr sz="2050" spc="5" dirty="0">
                <a:solidFill>
                  <a:srgbClr val="FFFFFF"/>
                </a:solidFill>
                <a:latin typeface="Roboto"/>
                <a:cs typeface="Roboto"/>
              </a:rPr>
              <a:t> </a:t>
            </a:r>
            <a:r>
              <a:rPr sz="2050" dirty="0">
                <a:solidFill>
                  <a:srgbClr val="FFFFFF"/>
                </a:solidFill>
                <a:latin typeface="Roboto"/>
                <a:cs typeface="Roboto"/>
              </a:rPr>
              <a:t>aire</a:t>
            </a:r>
            <a:r>
              <a:rPr sz="2050" spc="10" dirty="0">
                <a:solidFill>
                  <a:srgbClr val="FFFFFF"/>
                </a:solidFill>
                <a:latin typeface="Roboto"/>
                <a:cs typeface="Roboto"/>
              </a:rPr>
              <a:t> </a:t>
            </a:r>
            <a:r>
              <a:rPr sz="2050" spc="-20" dirty="0">
                <a:solidFill>
                  <a:srgbClr val="FFFFFF"/>
                </a:solidFill>
                <a:latin typeface="Roboto"/>
                <a:cs typeface="Roboto"/>
              </a:rPr>
              <a:t>libre </a:t>
            </a:r>
            <a:r>
              <a:rPr sz="2050" dirty="0">
                <a:solidFill>
                  <a:srgbClr val="FFFFFF"/>
                </a:solidFill>
                <a:latin typeface="Roboto"/>
                <a:cs typeface="Roboto"/>
              </a:rPr>
              <a:t>Lugares</a:t>
            </a:r>
            <a:r>
              <a:rPr sz="2050" spc="5" dirty="0">
                <a:solidFill>
                  <a:srgbClr val="FFFFFF"/>
                </a:solidFill>
                <a:latin typeface="Roboto"/>
                <a:cs typeface="Roboto"/>
              </a:rPr>
              <a:t> </a:t>
            </a:r>
            <a:r>
              <a:rPr sz="2050" spc="-10" dirty="0">
                <a:solidFill>
                  <a:srgbClr val="FFFFFF"/>
                </a:solidFill>
                <a:latin typeface="Roboto"/>
                <a:cs typeface="Roboto"/>
              </a:rPr>
              <a:t>remotos </a:t>
            </a:r>
            <a:r>
              <a:rPr sz="2050" dirty="0">
                <a:solidFill>
                  <a:srgbClr val="FFFFFF"/>
                </a:solidFill>
                <a:latin typeface="Roboto"/>
                <a:cs typeface="Roboto"/>
              </a:rPr>
              <a:t>Actividad</a:t>
            </a:r>
            <a:r>
              <a:rPr sz="2050" spc="-15" dirty="0">
                <a:solidFill>
                  <a:srgbClr val="FFFFFF"/>
                </a:solidFill>
                <a:latin typeface="Roboto"/>
                <a:cs typeface="Roboto"/>
              </a:rPr>
              <a:t> </a:t>
            </a:r>
            <a:r>
              <a:rPr sz="2050" dirty="0">
                <a:solidFill>
                  <a:srgbClr val="FFFFFF"/>
                </a:solidFill>
                <a:latin typeface="Roboto"/>
                <a:cs typeface="Roboto"/>
              </a:rPr>
              <a:t>física,</a:t>
            </a:r>
            <a:r>
              <a:rPr sz="2050" spc="5" dirty="0">
                <a:solidFill>
                  <a:srgbClr val="FFFFFF"/>
                </a:solidFill>
                <a:latin typeface="Roboto"/>
                <a:cs typeface="Roboto"/>
              </a:rPr>
              <a:t> </a:t>
            </a:r>
            <a:r>
              <a:rPr sz="2050" spc="-20" dirty="0">
                <a:solidFill>
                  <a:srgbClr val="FFFFFF"/>
                </a:solidFill>
                <a:latin typeface="Roboto"/>
                <a:cs typeface="Roboto"/>
              </a:rPr>
              <a:t>etc.</a:t>
            </a:r>
            <a:endParaRPr sz="2050">
              <a:latin typeface="Roboto"/>
              <a:cs typeface="Roboto"/>
            </a:endParaRPr>
          </a:p>
        </p:txBody>
      </p:sp>
      <p:sp>
        <p:nvSpPr>
          <p:cNvPr id="42" name="object 42"/>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43" name="object 43"/>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12</a:t>
            </a:r>
          </a:p>
        </p:txBody>
      </p:sp>
      <p:sp>
        <p:nvSpPr>
          <p:cNvPr id="31" name="object 31"/>
          <p:cNvSpPr txBox="1">
            <a:spLocks noGrp="1"/>
          </p:cNvSpPr>
          <p:nvPr>
            <p:ph type="title"/>
          </p:nvPr>
        </p:nvSpPr>
        <p:spPr>
          <a:xfrm>
            <a:off x="2180357" y="2201151"/>
            <a:ext cx="3356610" cy="1685289"/>
          </a:xfrm>
          <a:prstGeom prst="rect">
            <a:avLst/>
          </a:prstGeom>
        </p:spPr>
        <p:txBody>
          <a:bodyPr vert="horz" wrap="square" lIns="0" tIns="104775" rIns="0" bIns="0" rtlCol="0">
            <a:spAutoFit/>
          </a:bodyPr>
          <a:lstStyle/>
          <a:p>
            <a:pPr marL="12700">
              <a:lnSpc>
                <a:spcPct val="100000"/>
              </a:lnSpc>
              <a:spcBef>
                <a:spcPts val="825"/>
              </a:spcBef>
            </a:pPr>
            <a:r>
              <a:rPr sz="3750" b="1" spc="110" dirty="0">
                <a:latin typeface="Arial"/>
                <a:cs typeface="Arial"/>
              </a:rPr>
              <a:t>01.</a:t>
            </a:r>
            <a:endParaRPr sz="3750">
              <a:latin typeface="Arial"/>
              <a:cs typeface="Arial"/>
            </a:endParaRPr>
          </a:p>
          <a:p>
            <a:pPr marL="12700" marR="5080">
              <a:lnSpc>
                <a:spcPct val="100600"/>
              </a:lnSpc>
              <a:spcBef>
                <a:spcPts val="409"/>
              </a:spcBef>
            </a:pPr>
            <a:r>
              <a:rPr sz="2050" dirty="0"/>
              <a:t>La oferta turística</a:t>
            </a:r>
            <a:r>
              <a:rPr sz="2050" spc="5" dirty="0"/>
              <a:t> </a:t>
            </a:r>
            <a:r>
              <a:rPr sz="2050" dirty="0"/>
              <a:t>de</a:t>
            </a:r>
            <a:r>
              <a:rPr sz="2050" spc="-5" dirty="0"/>
              <a:t> </a:t>
            </a:r>
            <a:r>
              <a:rPr sz="2050" spc="-20" dirty="0"/>
              <a:t>Chile </a:t>
            </a:r>
            <a:r>
              <a:rPr sz="2050" dirty="0"/>
              <a:t>encaja</a:t>
            </a:r>
            <a:r>
              <a:rPr sz="2050" spc="-10" dirty="0"/>
              <a:t> </a:t>
            </a:r>
            <a:r>
              <a:rPr sz="2050" dirty="0"/>
              <a:t>con</a:t>
            </a:r>
            <a:r>
              <a:rPr sz="2050" spc="-10" dirty="0"/>
              <a:t> </a:t>
            </a:r>
            <a:r>
              <a:rPr sz="2050" dirty="0"/>
              <a:t>las</a:t>
            </a:r>
            <a:r>
              <a:rPr sz="2050" spc="-10" dirty="0"/>
              <a:t> </a:t>
            </a:r>
            <a:r>
              <a:rPr sz="2050" b="1" spc="-10" dirty="0">
                <a:latin typeface="Roboto"/>
                <a:cs typeface="Roboto"/>
              </a:rPr>
              <a:t>nuevas </a:t>
            </a:r>
            <a:r>
              <a:rPr sz="2050" b="1" dirty="0">
                <a:latin typeface="Roboto"/>
                <a:cs typeface="Roboto"/>
              </a:rPr>
              <a:t>necesidades</a:t>
            </a:r>
            <a:r>
              <a:rPr sz="2050" b="1" spc="135" dirty="0">
                <a:latin typeface="Roboto"/>
                <a:cs typeface="Roboto"/>
              </a:rPr>
              <a:t> </a:t>
            </a:r>
            <a:r>
              <a:rPr sz="2050" b="1" dirty="0">
                <a:latin typeface="Roboto"/>
                <a:cs typeface="Roboto"/>
              </a:rPr>
              <a:t>de</a:t>
            </a:r>
            <a:r>
              <a:rPr sz="2050" b="1" spc="145" dirty="0">
                <a:latin typeface="Roboto"/>
                <a:cs typeface="Roboto"/>
              </a:rPr>
              <a:t> </a:t>
            </a:r>
            <a:r>
              <a:rPr sz="2050" b="1" spc="-10" dirty="0">
                <a:latin typeface="Roboto"/>
                <a:cs typeface="Roboto"/>
              </a:rPr>
              <a:t>segmentos:</a:t>
            </a:r>
            <a:endParaRPr sz="2050">
              <a:latin typeface="Roboto"/>
              <a:cs typeface="Roboto"/>
            </a:endParaRPr>
          </a:p>
        </p:txBody>
      </p:sp>
      <p:sp>
        <p:nvSpPr>
          <p:cNvPr id="32" name="object 32"/>
          <p:cNvSpPr txBox="1"/>
          <p:nvPr/>
        </p:nvSpPr>
        <p:spPr>
          <a:xfrm>
            <a:off x="7665525" y="2478447"/>
            <a:ext cx="905510" cy="603250"/>
          </a:xfrm>
          <a:prstGeom prst="rect">
            <a:avLst/>
          </a:prstGeom>
        </p:spPr>
        <p:txBody>
          <a:bodyPr vert="horz" wrap="square" lIns="0" tIns="17780" rIns="0" bIns="0" rtlCol="0">
            <a:spAutoFit/>
          </a:bodyPr>
          <a:lstStyle/>
          <a:p>
            <a:pPr marL="12700">
              <a:lnSpc>
                <a:spcPct val="100000"/>
              </a:lnSpc>
              <a:spcBef>
                <a:spcPts val="140"/>
              </a:spcBef>
            </a:pPr>
            <a:r>
              <a:rPr sz="3750" b="1" spc="530" dirty="0">
                <a:solidFill>
                  <a:srgbClr val="E3112B"/>
                </a:solidFill>
                <a:latin typeface="Arial"/>
                <a:cs typeface="Arial"/>
              </a:rPr>
              <a:t>02.</a:t>
            </a:r>
            <a:endParaRPr sz="3750">
              <a:latin typeface="Arial"/>
              <a:cs typeface="Arial"/>
            </a:endParaRPr>
          </a:p>
        </p:txBody>
      </p:sp>
      <p:sp>
        <p:nvSpPr>
          <p:cNvPr id="33" name="object 33"/>
          <p:cNvSpPr txBox="1"/>
          <p:nvPr/>
        </p:nvSpPr>
        <p:spPr>
          <a:xfrm>
            <a:off x="2180357" y="6360100"/>
            <a:ext cx="3728085" cy="2313940"/>
          </a:xfrm>
          <a:prstGeom prst="rect">
            <a:avLst/>
          </a:prstGeom>
        </p:spPr>
        <p:txBody>
          <a:bodyPr vert="horz" wrap="square" lIns="0" tIns="104775" rIns="0" bIns="0" rtlCol="0">
            <a:spAutoFit/>
          </a:bodyPr>
          <a:lstStyle/>
          <a:p>
            <a:pPr marL="12700">
              <a:lnSpc>
                <a:spcPct val="100000"/>
              </a:lnSpc>
              <a:spcBef>
                <a:spcPts val="825"/>
              </a:spcBef>
            </a:pPr>
            <a:r>
              <a:rPr sz="3750" b="1" spc="420" dirty="0">
                <a:solidFill>
                  <a:srgbClr val="737373"/>
                </a:solidFill>
                <a:latin typeface="Arial"/>
                <a:cs typeface="Arial"/>
              </a:rPr>
              <a:t>03.</a:t>
            </a:r>
            <a:endParaRPr sz="3750">
              <a:latin typeface="Arial"/>
              <a:cs typeface="Arial"/>
            </a:endParaRPr>
          </a:p>
          <a:p>
            <a:pPr marL="12700" marR="5080">
              <a:lnSpc>
                <a:spcPct val="100600"/>
              </a:lnSpc>
              <a:spcBef>
                <a:spcPts val="409"/>
              </a:spcBef>
            </a:pPr>
            <a:r>
              <a:rPr sz="2050" b="1" dirty="0">
                <a:solidFill>
                  <a:srgbClr val="737373"/>
                </a:solidFill>
                <a:latin typeface="Roboto"/>
                <a:cs typeface="Roboto"/>
              </a:rPr>
              <a:t>Oportunidad</a:t>
            </a:r>
            <a:r>
              <a:rPr sz="2050" b="1" spc="105" dirty="0">
                <a:solidFill>
                  <a:srgbClr val="737373"/>
                </a:solidFill>
                <a:latin typeface="Roboto"/>
                <a:cs typeface="Roboto"/>
              </a:rPr>
              <a:t> </a:t>
            </a:r>
            <a:r>
              <a:rPr sz="2050" b="1" dirty="0">
                <a:solidFill>
                  <a:srgbClr val="737373"/>
                </a:solidFill>
                <a:latin typeface="Roboto"/>
                <a:cs typeface="Roboto"/>
              </a:rPr>
              <a:t>de</a:t>
            </a:r>
            <a:r>
              <a:rPr sz="2050" b="1" spc="120" dirty="0">
                <a:solidFill>
                  <a:srgbClr val="737373"/>
                </a:solidFill>
                <a:latin typeface="Roboto"/>
                <a:cs typeface="Roboto"/>
              </a:rPr>
              <a:t> </a:t>
            </a:r>
            <a:r>
              <a:rPr sz="2050" b="1" spc="-10" dirty="0">
                <a:solidFill>
                  <a:srgbClr val="737373"/>
                </a:solidFill>
                <a:latin typeface="Roboto"/>
                <a:cs typeface="Roboto"/>
              </a:rPr>
              <a:t>captar </a:t>
            </a:r>
            <a:r>
              <a:rPr sz="2050" b="1" dirty="0">
                <a:solidFill>
                  <a:srgbClr val="737373"/>
                </a:solidFill>
                <a:latin typeface="Roboto"/>
                <a:cs typeface="Roboto"/>
              </a:rPr>
              <a:t>segmentos</a:t>
            </a:r>
            <a:r>
              <a:rPr sz="2050" b="1" spc="105" dirty="0">
                <a:solidFill>
                  <a:srgbClr val="737373"/>
                </a:solidFill>
                <a:latin typeface="Roboto"/>
                <a:cs typeface="Roboto"/>
              </a:rPr>
              <a:t> </a:t>
            </a:r>
            <a:r>
              <a:rPr sz="2050" b="1" dirty="0">
                <a:solidFill>
                  <a:srgbClr val="737373"/>
                </a:solidFill>
                <a:latin typeface="Roboto"/>
                <a:cs typeface="Roboto"/>
              </a:rPr>
              <a:t>upscale</a:t>
            </a:r>
            <a:r>
              <a:rPr sz="2050" b="1" spc="114" dirty="0">
                <a:solidFill>
                  <a:srgbClr val="737373"/>
                </a:solidFill>
                <a:latin typeface="Roboto"/>
                <a:cs typeface="Roboto"/>
              </a:rPr>
              <a:t> </a:t>
            </a:r>
            <a:r>
              <a:rPr sz="2050" dirty="0">
                <a:solidFill>
                  <a:srgbClr val="737373"/>
                </a:solidFill>
                <a:latin typeface="Roboto"/>
                <a:cs typeface="Roboto"/>
              </a:rPr>
              <a:t>de</a:t>
            </a:r>
            <a:r>
              <a:rPr sz="2050" spc="114" dirty="0">
                <a:solidFill>
                  <a:srgbClr val="737373"/>
                </a:solidFill>
                <a:latin typeface="Roboto"/>
                <a:cs typeface="Roboto"/>
              </a:rPr>
              <a:t> </a:t>
            </a:r>
            <a:r>
              <a:rPr sz="2050" spc="-10" dirty="0">
                <a:solidFill>
                  <a:srgbClr val="737373"/>
                </a:solidFill>
                <a:latin typeface="Roboto"/>
                <a:cs typeface="Roboto"/>
              </a:rPr>
              <a:t>grandes </a:t>
            </a:r>
            <a:r>
              <a:rPr sz="2050" dirty="0">
                <a:solidFill>
                  <a:srgbClr val="737373"/>
                </a:solidFill>
                <a:latin typeface="Roboto"/>
                <a:cs typeface="Roboto"/>
              </a:rPr>
              <a:t>capitales</a:t>
            </a:r>
            <a:r>
              <a:rPr sz="2050" spc="-25" dirty="0">
                <a:solidFill>
                  <a:srgbClr val="737373"/>
                </a:solidFill>
                <a:latin typeface="Roboto"/>
                <a:cs typeface="Roboto"/>
              </a:rPr>
              <a:t> </a:t>
            </a:r>
            <a:r>
              <a:rPr sz="2050" spc="-10" dirty="0">
                <a:solidFill>
                  <a:srgbClr val="737373"/>
                </a:solidFill>
                <a:latin typeface="Roboto"/>
                <a:cs typeface="Roboto"/>
              </a:rPr>
              <a:t>sudamericanas </a:t>
            </a:r>
            <a:r>
              <a:rPr sz="2050" dirty="0">
                <a:solidFill>
                  <a:srgbClr val="737373"/>
                </a:solidFill>
                <a:latin typeface="Roboto"/>
                <a:cs typeface="Roboto"/>
              </a:rPr>
              <a:t>(Buenos</a:t>
            </a:r>
            <a:r>
              <a:rPr sz="2050" spc="40" dirty="0">
                <a:solidFill>
                  <a:srgbClr val="737373"/>
                </a:solidFill>
                <a:latin typeface="Roboto"/>
                <a:cs typeface="Roboto"/>
              </a:rPr>
              <a:t> </a:t>
            </a:r>
            <a:r>
              <a:rPr sz="2050" dirty="0">
                <a:solidFill>
                  <a:srgbClr val="737373"/>
                </a:solidFill>
                <a:latin typeface="Roboto"/>
                <a:cs typeface="Roboto"/>
              </a:rPr>
              <a:t>Aires,</a:t>
            </a:r>
            <a:r>
              <a:rPr sz="2050" spc="40" dirty="0">
                <a:solidFill>
                  <a:srgbClr val="737373"/>
                </a:solidFill>
                <a:latin typeface="Roboto"/>
                <a:cs typeface="Roboto"/>
              </a:rPr>
              <a:t> </a:t>
            </a:r>
            <a:r>
              <a:rPr sz="2050" dirty="0">
                <a:solidFill>
                  <a:srgbClr val="737373"/>
                </a:solidFill>
                <a:latin typeface="Roboto"/>
                <a:cs typeface="Roboto"/>
              </a:rPr>
              <a:t>Lima,</a:t>
            </a:r>
            <a:r>
              <a:rPr sz="2050" spc="35" dirty="0">
                <a:solidFill>
                  <a:srgbClr val="737373"/>
                </a:solidFill>
                <a:latin typeface="Roboto"/>
                <a:cs typeface="Roboto"/>
              </a:rPr>
              <a:t> </a:t>
            </a:r>
            <a:r>
              <a:rPr sz="2050" spc="-10" dirty="0">
                <a:solidFill>
                  <a:srgbClr val="737373"/>
                </a:solidFill>
                <a:latin typeface="Roboto"/>
                <a:cs typeface="Roboto"/>
              </a:rPr>
              <a:t>Bogotá, </a:t>
            </a:r>
            <a:r>
              <a:rPr sz="2050" dirty="0">
                <a:solidFill>
                  <a:srgbClr val="737373"/>
                </a:solidFill>
                <a:latin typeface="Roboto"/>
                <a:cs typeface="Roboto"/>
              </a:rPr>
              <a:t>otros de</a:t>
            </a:r>
            <a:r>
              <a:rPr sz="2050" spc="10" dirty="0">
                <a:solidFill>
                  <a:srgbClr val="737373"/>
                </a:solidFill>
                <a:latin typeface="Roboto"/>
                <a:cs typeface="Roboto"/>
              </a:rPr>
              <a:t> </a:t>
            </a:r>
            <a:r>
              <a:rPr sz="2050" dirty="0">
                <a:solidFill>
                  <a:srgbClr val="737373"/>
                </a:solidFill>
                <a:latin typeface="Roboto"/>
                <a:cs typeface="Roboto"/>
              </a:rPr>
              <a:t>Brasil</a:t>
            </a:r>
            <a:r>
              <a:rPr sz="2050" spc="15" dirty="0">
                <a:solidFill>
                  <a:srgbClr val="737373"/>
                </a:solidFill>
                <a:latin typeface="Roboto"/>
                <a:cs typeface="Roboto"/>
              </a:rPr>
              <a:t> </a:t>
            </a:r>
            <a:r>
              <a:rPr sz="2050" spc="-20" dirty="0">
                <a:solidFill>
                  <a:srgbClr val="737373"/>
                </a:solidFill>
                <a:latin typeface="Roboto"/>
                <a:cs typeface="Roboto"/>
              </a:rPr>
              <a:t>etc.)</a:t>
            </a:r>
            <a:endParaRPr sz="2050">
              <a:latin typeface="Roboto"/>
              <a:cs typeface="Roboto"/>
            </a:endParaRPr>
          </a:p>
        </p:txBody>
      </p:sp>
      <p:sp>
        <p:nvSpPr>
          <p:cNvPr id="34" name="object 34"/>
          <p:cNvSpPr txBox="1"/>
          <p:nvPr/>
        </p:nvSpPr>
        <p:spPr>
          <a:xfrm>
            <a:off x="8343371" y="6407668"/>
            <a:ext cx="3382010" cy="1685289"/>
          </a:xfrm>
          <a:prstGeom prst="rect">
            <a:avLst/>
          </a:prstGeom>
        </p:spPr>
        <p:txBody>
          <a:bodyPr vert="horz" wrap="square" lIns="0" tIns="104775" rIns="0" bIns="0" rtlCol="0">
            <a:spAutoFit/>
          </a:bodyPr>
          <a:lstStyle/>
          <a:p>
            <a:pPr marL="12700">
              <a:lnSpc>
                <a:spcPct val="100000"/>
              </a:lnSpc>
              <a:spcBef>
                <a:spcPts val="825"/>
              </a:spcBef>
            </a:pPr>
            <a:r>
              <a:rPr sz="3750" b="1" spc="430" dirty="0">
                <a:solidFill>
                  <a:srgbClr val="FFFFFF"/>
                </a:solidFill>
                <a:latin typeface="Arial"/>
                <a:cs typeface="Arial"/>
              </a:rPr>
              <a:t>04.</a:t>
            </a:r>
            <a:endParaRPr sz="3750">
              <a:latin typeface="Arial"/>
              <a:cs typeface="Arial"/>
            </a:endParaRPr>
          </a:p>
          <a:p>
            <a:pPr marL="12700" marR="190500">
              <a:lnSpc>
                <a:spcPct val="100600"/>
              </a:lnSpc>
              <a:spcBef>
                <a:spcPts val="409"/>
              </a:spcBef>
            </a:pPr>
            <a:r>
              <a:rPr sz="2050" dirty="0">
                <a:solidFill>
                  <a:srgbClr val="FFFFFF"/>
                </a:solidFill>
                <a:latin typeface="Roboto"/>
                <a:cs typeface="Roboto"/>
              </a:rPr>
              <a:t>Crecimiento</a:t>
            </a:r>
            <a:r>
              <a:rPr sz="2050" spc="65" dirty="0">
                <a:solidFill>
                  <a:srgbClr val="FFFFFF"/>
                </a:solidFill>
                <a:latin typeface="Roboto"/>
                <a:cs typeface="Roboto"/>
              </a:rPr>
              <a:t> </a:t>
            </a:r>
            <a:r>
              <a:rPr sz="2050" dirty="0">
                <a:solidFill>
                  <a:srgbClr val="FFFFFF"/>
                </a:solidFill>
                <a:latin typeface="Roboto"/>
                <a:cs typeface="Roboto"/>
              </a:rPr>
              <a:t>de</a:t>
            </a:r>
            <a:r>
              <a:rPr sz="2050" spc="60" dirty="0">
                <a:solidFill>
                  <a:srgbClr val="FFFFFF"/>
                </a:solidFill>
                <a:latin typeface="Roboto"/>
                <a:cs typeface="Roboto"/>
              </a:rPr>
              <a:t> </a:t>
            </a:r>
            <a:r>
              <a:rPr sz="2050" spc="-10" dirty="0">
                <a:solidFill>
                  <a:srgbClr val="FFFFFF"/>
                </a:solidFill>
                <a:latin typeface="Roboto"/>
                <a:cs typeface="Roboto"/>
              </a:rPr>
              <a:t>segmentos </a:t>
            </a:r>
            <a:r>
              <a:rPr sz="2050" dirty="0">
                <a:solidFill>
                  <a:srgbClr val="FFFFFF"/>
                </a:solidFill>
                <a:latin typeface="Roboto"/>
                <a:cs typeface="Roboto"/>
              </a:rPr>
              <a:t>de</a:t>
            </a:r>
            <a:r>
              <a:rPr sz="2050" spc="30" dirty="0">
                <a:solidFill>
                  <a:srgbClr val="FFFFFF"/>
                </a:solidFill>
                <a:latin typeface="Roboto"/>
                <a:cs typeface="Roboto"/>
              </a:rPr>
              <a:t> </a:t>
            </a:r>
            <a:r>
              <a:rPr sz="2050" b="1" spc="-10" dirty="0">
                <a:solidFill>
                  <a:srgbClr val="FFFFFF"/>
                </a:solidFill>
                <a:latin typeface="Roboto"/>
                <a:cs typeface="Roboto"/>
              </a:rPr>
              <a:t>honeymooners</a:t>
            </a:r>
            <a:endParaRPr sz="2050">
              <a:latin typeface="Roboto"/>
              <a:cs typeface="Roboto"/>
            </a:endParaRPr>
          </a:p>
          <a:p>
            <a:pPr marL="12700">
              <a:lnSpc>
                <a:spcPct val="100000"/>
              </a:lnSpc>
              <a:spcBef>
                <a:spcPts val="15"/>
              </a:spcBef>
            </a:pPr>
            <a:r>
              <a:rPr sz="2050" b="1" dirty="0">
                <a:solidFill>
                  <a:srgbClr val="FFFFFF"/>
                </a:solidFill>
                <a:latin typeface="Roboto"/>
                <a:cs typeface="Roboto"/>
              </a:rPr>
              <a:t>y</a:t>
            </a:r>
            <a:r>
              <a:rPr sz="2050" b="1" spc="90" dirty="0">
                <a:solidFill>
                  <a:srgbClr val="FFFFFF"/>
                </a:solidFill>
                <a:latin typeface="Roboto"/>
                <a:cs typeface="Roboto"/>
              </a:rPr>
              <a:t> </a:t>
            </a:r>
            <a:r>
              <a:rPr sz="2050" b="1" dirty="0">
                <a:solidFill>
                  <a:srgbClr val="FFFFFF"/>
                </a:solidFill>
                <a:latin typeface="Roboto"/>
                <a:cs typeface="Roboto"/>
              </a:rPr>
              <a:t>cruceristas</a:t>
            </a:r>
            <a:r>
              <a:rPr sz="2050" b="1" spc="95" dirty="0">
                <a:solidFill>
                  <a:srgbClr val="FFFFFF"/>
                </a:solidFill>
                <a:latin typeface="Roboto"/>
                <a:cs typeface="Roboto"/>
              </a:rPr>
              <a:t> </a:t>
            </a:r>
            <a:r>
              <a:rPr sz="2050" b="1" dirty="0">
                <a:solidFill>
                  <a:srgbClr val="FFFFFF"/>
                </a:solidFill>
                <a:latin typeface="Roboto"/>
                <a:cs typeface="Roboto"/>
              </a:rPr>
              <a:t>de</a:t>
            </a:r>
            <a:r>
              <a:rPr sz="2050" b="1" spc="90" dirty="0">
                <a:solidFill>
                  <a:srgbClr val="FFFFFF"/>
                </a:solidFill>
                <a:latin typeface="Roboto"/>
                <a:cs typeface="Roboto"/>
              </a:rPr>
              <a:t> </a:t>
            </a:r>
            <a:r>
              <a:rPr sz="2050" b="1" spc="-10" dirty="0">
                <a:solidFill>
                  <a:srgbClr val="FFFFFF"/>
                </a:solidFill>
                <a:latin typeface="Roboto"/>
                <a:cs typeface="Roboto"/>
              </a:rPr>
              <a:t>exploración</a:t>
            </a:r>
            <a:endParaRPr sz="2050">
              <a:latin typeface="Roboto"/>
              <a:cs typeface="Roboto"/>
            </a:endParaRPr>
          </a:p>
        </p:txBody>
      </p:sp>
      <p:sp>
        <p:nvSpPr>
          <p:cNvPr id="35" name="object 35"/>
          <p:cNvSpPr txBox="1"/>
          <p:nvPr/>
        </p:nvSpPr>
        <p:spPr>
          <a:xfrm>
            <a:off x="12139969" y="5830856"/>
            <a:ext cx="5979795" cy="3670300"/>
          </a:xfrm>
          <a:prstGeom prst="rect">
            <a:avLst/>
          </a:prstGeom>
        </p:spPr>
        <p:txBody>
          <a:bodyPr vert="horz" wrap="square" lIns="0" tIns="5715" rIns="0" bIns="0" rtlCol="0">
            <a:spAutoFit/>
          </a:bodyPr>
          <a:lstStyle/>
          <a:p>
            <a:pPr>
              <a:lnSpc>
                <a:spcPct val="100000"/>
              </a:lnSpc>
              <a:spcBef>
                <a:spcPts val="45"/>
              </a:spcBef>
            </a:pPr>
            <a:endParaRPr sz="4300">
              <a:latin typeface="Times New Roman"/>
              <a:cs typeface="Times New Roman"/>
            </a:endParaRPr>
          </a:p>
          <a:p>
            <a:pPr marL="1803400">
              <a:lnSpc>
                <a:spcPct val="100000"/>
              </a:lnSpc>
            </a:pPr>
            <a:r>
              <a:rPr sz="3750" b="1" spc="395" dirty="0">
                <a:solidFill>
                  <a:srgbClr val="FFFFFF"/>
                </a:solidFill>
                <a:latin typeface="Arial"/>
                <a:cs typeface="Arial"/>
              </a:rPr>
              <a:t>05.</a:t>
            </a:r>
            <a:endParaRPr sz="3750">
              <a:latin typeface="Arial"/>
              <a:cs typeface="Arial"/>
            </a:endParaRPr>
          </a:p>
          <a:p>
            <a:pPr marL="1803400" marR="981710">
              <a:lnSpc>
                <a:spcPct val="100600"/>
              </a:lnSpc>
              <a:spcBef>
                <a:spcPts val="409"/>
              </a:spcBef>
            </a:pPr>
            <a:r>
              <a:rPr sz="2050" b="1" dirty="0">
                <a:solidFill>
                  <a:srgbClr val="FFFFFF"/>
                </a:solidFill>
                <a:latin typeface="Roboto"/>
                <a:cs typeface="Roboto"/>
              </a:rPr>
              <a:t>Tendencias</a:t>
            </a:r>
            <a:r>
              <a:rPr sz="2050" b="1" spc="290" dirty="0">
                <a:solidFill>
                  <a:srgbClr val="FFFFFF"/>
                </a:solidFill>
                <a:latin typeface="Roboto"/>
                <a:cs typeface="Roboto"/>
              </a:rPr>
              <a:t> </a:t>
            </a:r>
            <a:r>
              <a:rPr sz="2050" b="1" spc="-10" dirty="0">
                <a:solidFill>
                  <a:srgbClr val="FFFFFF"/>
                </a:solidFill>
                <a:latin typeface="Roboto"/>
                <a:cs typeface="Roboto"/>
              </a:rPr>
              <a:t>digitales </a:t>
            </a:r>
            <a:r>
              <a:rPr sz="2050" dirty="0">
                <a:solidFill>
                  <a:srgbClr val="FFFFFF"/>
                </a:solidFill>
                <a:latin typeface="Roboto"/>
                <a:cs typeface="Roboto"/>
              </a:rPr>
              <a:t>evolucionan</a:t>
            </a:r>
            <a:r>
              <a:rPr sz="2050" spc="10" dirty="0">
                <a:solidFill>
                  <a:srgbClr val="FFFFFF"/>
                </a:solidFill>
                <a:latin typeface="Roboto"/>
                <a:cs typeface="Roboto"/>
              </a:rPr>
              <a:t> </a:t>
            </a:r>
            <a:r>
              <a:rPr sz="2050" dirty="0">
                <a:solidFill>
                  <a:srgbClr val="FFFFFF"/>
                </a:solidFill>
                <a:latin typeface="Roboto"/>
                <a:cs typeface="Roboto"/>
              </a:rPr>
              <a:t>la</a:t>
            </a:r>
            <a:r>
              <a:rPr sz="2050" spc="15" dirty="0">
                <a:solidFill>
                  <a:srgbClr val="FFFFFF"/>
                </a:solidFill>
                <a:latin typeface="Roboto"/>
                <a:cs typeface="Roboto"/>
              </a:rPr>
              <a:t> </a:t>
            </a:r>
            <a:r>
              <a:rPr sz="2050" dirty="0">
                <a:solidFill>
                  <a:srgbClr val="FFFFFF"/>
                </a:solidFill>
                <a:latin typeface="Roboto"/>
                <a:cs typeface="Roboto"/>
              </a:rPr>
              <a:t>forma</a:t>
            </a:r>
            <a:r>
              <a:rPr sz="2050" spc="10" dirty="0">
                <a:solidFill>
                  <a:srgbClr val="FFFFFF"/>
                </a:solidFill>
                <a:latin typeface="Roboto"/>
                <a:cs typeface="Roboto"/>
              </a:rPr>
              <a:t> </a:t>
            </a:r>
            <a:r>
              <a:rPr sz="2050" spc="-25" dirty="0">
                <a:solidFill>
                  <a:srgbClr val="FFFFFF"/>
                </a:solidFill>
                <a:latin typeface="Roboto"/>
                <a:cs typeface="Roboto"/>
              </a:rPr>
              <a:t>de </a:t>
            </a:r>
            <a:r>
              <a:rPr sz="2050" dirty="0">
                <a:solidFill>
                  <a:srgbClr val="FFFFFF"/>
                </a:solidFill>
                <a:latin typeface="Roboto"/>
                <a:cs typeface="Roboto"/>
              </a:rPr>
              <a:t>promocionar</a:t>
            </a:r>
            <a:r>
              <a:rPr sz="2050" spc="35" dirty="0">
                <a:solidFill>
                  <a:srgbClr val="FFFFFF"/>
                </a:solidFill>
                <a:latin typeface="Roboto"/>
                <a:cs typeface="Roboto"/>
              </a:rPr>
              <a:t> </a:t>
            </a:r>
            <a:r>
              <a:rPr sz="2050" dirty="0">
                <a:solidFill>
                  <a:srgbClr val="FFFFFF"/>
                </a:solidFill>
                <a:latin typeface="Roboto"/>
                <a:cs typeface="Roboto"/>
              </a:rPr>
              <a:t>el</a:t>
            </a:r>
            <a:r>
              <a:rPr sz="2050" spc="50" dirty="0">
                <a:solidFill>
                  <a:srgbClr val="FFFFFF"/>
                </a:solidFill>
                <a:latin typeface="Roboto"/>
                <a:cs typeface="Roboto"/>
              </a:rPr>
              <a:t> </a:t>
            </a:r>
            <a:r>
              <a:rPr sz="2050" spc="-10" dirty="0">
                <a:solidFill>
                  <a:srgbClr val="FFFFFF"/>
                </a:solidFill>
                <a:latin typeface="Roboto"/>
                <a:cs typeface="Roboto"/>
              </a:rPr>
              <a:t>turismo </a:t>
            </a:r>
            <a:r>
              <a:rPr sz="2050" dirty="0">
                <a:solidFill>
                  <a:srgbClr val="FFFFFF"/>
                </a:solidFill>
                <a:latin typeface="Roboto"/>
                <a:cs typeface="Roboto"/>
              </a:rPr>
              <a:t>(metaverso,</a:t>
            </a:r>
            <a:r>
              <a:rPr sz="2050" spc="75" dirty="0">
                <a:solidFill>
                  <a:srgbClr val="FFFFFF"/>
                </a:solidFill>
                <a:latin typeface="Roboto"/>
                <a:cs typeface="Roboto"/>
              </a:rPr>
              <a:t> </a:t>
            </a:r>
            <a:r>
              <a:rPr sz="2050" dirty="0">
                <a:solidFill>
                  <a:srgbClr val="FFFFFF"/>
                </a:solidFill>
                <a:latin typeface="Roboto"/>
                <a:cs typeface="Roboto"/>
              </a:rPr>
              <a:t>Google</a:t>
            </a:r>
            <a:r>
              <a:rPr sz="2050" spc="90" dirty="0">
                <a:solidFill>
                  <a:srgbClr val="FFFFFF"/>
                </a:solidFill>
                <a:latin typeface="Roboto"/>
                <a:cs typeface="Roboto"/>
              </a:rPr>
              <a:t> </a:t>
            </a:r>
            <a:r>
              <a:rPr sz="2050" spc="-25" dirty="0">
                <a:solidFill>
                  <a:srgbClr val="FFFFFF"/>
                </a:solidFill>
                <a:latin typeface="Roboto"/>
                <a:cs typeface="Roboto"/>
              </a:rPr>
              <a:t>My </a:t>
            </a:r>
            <a:r>
              <a:rPr sz="2050" dirty="0">
                <a:solidFill>
                  <a:srgbClr val="FFFFFF"/>
                </a:solidFill>
                <a:latin typeface="Roboto"/>
                <a:cs typeface="Roboto"/>
              </a:rPr>
              <a:t>Maps,</a:t>
            </a:r>
            <a:r>
              <a:rPr sz="2050" spc="-25" dirty="0">
                <a:solidFill>
                  <a:srgbClr val="FFFFFF"/>
                </a:solidFill>
                <a:latin typeface="Roboto"/>
                <a:cs typeface="Roboto"/>
              </a:rPr>
              <a:t> </a:t>
            </a:r>
            <a:r>
              <a:rPr sz="2050" dirty="0">
                <a:solidFill>
                  <a:srgbClr val="FFFFFF"/>
                </a:solidFill>
                <a:latin typeface="Roboto"/>
                <a:cs typeface="Roboto"/>
              </a:rPr>
              <a:t>Inteligencia</a:t>
            </a:r>
            <a:r>
              <a:rPr sz="2050" spc="-20" dirty="0">
                <a:solidFill>
                  <a:srgbClr val="FFFFFF"/>
                </a:solidFill>
                <a:latin typeface="Roboto"/>
                <a:cs typeface="Roboto"/>
              </a:rPr>
              <a:t> </a:t>
            </a:r>
            <a:r>
              <a:rPr sz="2050" spc="-10" dirty="0">
                <a:solidFill>
                  <a:srgbClr val="FFFFFF"/>
                </a:solidFill>
                <a:latin typeface="Roboto"/>
                <a:cs typeface="Roboto"/>
              </a:rPr>
              <a:t>Artificial </a:t>
            </a:r>
            <a:r>
              <a:rPr sz="2050" dirty="0">
                <a:solidFill>
                  <a:srgbClr val="FFFFFF"/>
                </a:solidFill>
                <a:latin typeface="Roboto"/>
                <a:cs typeface="Roboto"/>
              </a:rPr>
              <a:t>–</a:t>
            </a:r>
            <a:r>
              <a:rPr sz="2050" spc="-5" dirty="0">
                <a:solidFill>
                  <a:srgbClr val="FFFFFF"/>
                </a:solidFill>
                <a:latin typeface="Roboto"/>
                <a:cs typeface="Roboto"/>
              </a:rPr>
              <a:t> </a:t>
            </a:r>
            <a:r>
              <a:rPr sz="2050" dirty="0">
                <a:solidFill>
                  <a:srgbClr val="FFFFFF"/>
                </a:solidFill>
                <a:latin typeface="Roboto"/>
                <a:cs typeface="Roboto"/>
              </a:rPr>
              <a:t>ChatGPT,</a:t>
            </a:r>
            <a:r>
              <a:rPr sz="2050" spc="5" dirty="0">
                <a:solidFill>
                  <a:srgbClr val="FFFFFF"/>
                </a:solidFill>
                <a:latin typeface="Roboto"/>
                <a:cs typeface="Roboto"/>
              </a:rPr>
              <a:t> </a:t>
            </a:r>
            <a:r>
              <a:rPr sz="2050" spc="-10" dirty="0">
                <a:solidFill>
                  <a:srgbClr val="FFFFFF"/>
                </a:solidFill>
                <a:latin typeface="Roboto"/>
                <a:cs typeface="Roboto"/>
              </a:rPr>
              <a:t>NFTs)</a:t>
            </a:r>
            <a:endParaRPr sz="2050">
              <a:latin typeface="Roboto"/>
              <a:cs typeface="Roboto"/>
            </a:endParaRPr>
          </a:p>
        </p:txBody>
      </p:sp>
      <p:sp>
        <p:nvSpPr>
          <p:cNvPr id="36" name="object 36"/>
          <p:cNvSpPr txBox="1"/>
          <p:nvPr/>
        </p:nvSpPr>
        <p:spPr>
          <a:xfrm>
            <a:off x="7657594" y="4993133"/>
            <a:ext cx="1037590" cy="328930"/>
          </a:xfrm>
          <a:prstGeom prst="rect">
            <a:avLst/>
          </a:prstGeom>
        </p:spPr>
        <p:txBody>
          <a:bodyPr vert="horz" wrap="square" lIns="0" tIns="17780" rIns="0" bIns="0" rtlCol="0">
            <a:spAutoFit/>
          </a:bodyPr>
          <a:lstStyle/>
          <a:p>
            <a:pPr marL="12700">
              <a:lnSpc>
                <a:spcPct val="100000"/>
              </a:lnSpc>
              <a:spcBef>
                <a:spcPts val="140"/>
              </a:spcBef>
            </a:pPr>
            <a:r>
              <a:rPr sz="1950" b="1" spc="95" dirty="0">
                <a:solidFill>
                  <a:srgbClr val="737373"/>
                </a:solidFill>
                <a:latin typeface="Arial"/>
                <a:cs typeface="Arial"/>
              </a:rPr>
              <a:t>Energía</a:t>
            </a:r>
            <a:endParaRPr sz="1950">
              <a:latin typeface="Arial"/>
              <a:cs typeface="Arial"/>
            </a:endParaRPr>
          </a:p>
        </p:txBody>
      </p:sp>
      <p:sp>
        <p:nvSpPr>
          <p:cNvPr id="37" name="object 37"/>
          <p:cNvSpPr txBox="1"/>
          <p:nvPr/>
        </p:nvSpPr>
        <p:spPr>
          <a:xfrm>
            <a:off x="9540108" y="4993133"/>
            <a:ext cx="1670050" cy="328930"/>
          </a:xfrm>
          <a:prstGeom prst="rect">
            <a:avLst/>
          </a:prstGeom>
        </p:spPr>
        <p:txBody>
          <a:bodyPr vert="horz" wrap="square" lIns="0" tIns="17780" rIns="0" bIns="0" rtlCol="0">
            <a:spAutoFit/>
          </a:bodyPr>
          <a:lstStyle/>
          <a:p>
            <a:pPr marL="12700">
              <a:lnSpc>
                <a:spcPct val="100000"/>
              </a:lnSpc>
              <a:spcBef>
                <a:spcPts val="140"/>
              </a:spcBef>
            </a:pPr>
            <a:r>
              <a:rPr sz="1950" b="1" spc="85" dirty="0">
                <a:solidFill>
                  <a:srgbClr val="737373"/>
                </a:solidFill>
                <a:latin typeface="Arial"/>
                <a:cs typeface="Arial"/>
              </a:rPr>
              <a:t>Combustible</a:t>
            </a:r>
            <a:endParaRPr sz="1950">
              <a:latin typeface="Arial"/>
              <a:cs typeface="Arial"/>
            </a:endParaRPr>
          </a:p>
        </p:txBody>
      </p:sp>
      <p:sp>
        <p:nvSpPr>
          <p:cNvPr id="38" name="object 38"/>
          <p:cNvSpPr txBox="1"/>
          <p:nvPr/>
        </p:nvSpPr>
        <p:spPr>
          <a:xfrm>
            <a:off x="8589462" y="3139083"/>
            <a:ext cx="1255395" cy="328930"/>
          </a:xfrm>
          <a:prstGeom prst="rect">
            <a:avLst/>
          </a:prstGeom>
        </p:spPr>
        <p:txBody>
          <a:bodyPr vert="horz" wrap="square" lIns="0" tIns="17780" rIns="0" bIns="0" rtlCol="0">
            <a:spAutoFit/>
          </a:bodyPr>
          <a:lstStyle/>
          <a:p>
            <a:pPr marL="12700">
              <a:lnSpc>
                <a:spcPct val="100000"/>
              </a:lnSpc>
              <a:spcBef>
                <a:spcPts val="140"/>
              </a:spcBef>
            </a:pPr>
            <a:r>
              <a:rPr sz="1950" dirty="0">
                <a:solidFill>
                  <a:srgbClr val="737373"/>
                </a:solidFill>
                <a:latin typeface="Roboto"/>
                <a:cs typeface="Roboto"/>
              </a:rPr>
              <a:t>Aumento</a:t>
            </a:r>
            <a:r>
              <a:rPr sz="1950" spc="15" dirty="0">
                <a:solidFill>
                  <a:srgbClr val="737373"/>
                </a:solidFill>
                <a:latin typeface="Roboto"/>
                <a:cs typeface="Roboto"/>
              </a:rPr>
              <a:t> </a:t>
            </a:r>
            <a:r>
              <a:rPr sz="1950" spc="-50" dirty="0">
                <a:solidFill>
                  <a:srgbClr val="737373"/>
                </a:solidFill>
                <a:latin typeface="Roboto"/>
                <a:cs typeface="Roboto"/>
              </a:rPr>
              <a:t>$</a:t>
            </a:r>
            <a:endParaRPr sz="1950">
              <a:latin typeface="Roboto"/>
              <a:cs typeface="Roboto"/>
            </a:endParaRPr>
          </a:p>
        </p:txBody>
      </p:sp>
      <p:sp>
        <p:nvSpPr>
          <p:cNvPr id="39" name="object 39"/>
          <p:cNvSpPr txBox="1"/>
          <p:nvPr/>
        </p:nvSpPr>
        <p:spPr>
          <a:xfrm>
            <a:off x="11870666" y="4993133"/>
            <a:ext cx="1313815" cy="328930"/>
          </a:xfrm>
          <a:prstGeom prst="rect">
            <a:avLst/>
          </a:prstGeom>
        </p:spPr>
        <p:txBody>
          <a:bodyPr vert="horz" wrap="square" lIns="0" tIns="17780" rIns="0" bIns="0" rtlCol="0">
            <a:spAutoFit/>
          </a:bodyPr>
          <a:lstStyle/>
          <a:p>
            <a:pPr marL="12700">
              <a:lnSpc>
                <a:spcPct val="100000"/>
              </a:lnSpc>
              <a:spcBef>
                <a:spcPts val="140"/>
              </a:spcBef>
            </a:pPr>
            <a:r>
              <a:rPr sz="1950" b="1" spc="75" dirty="0">
                <a:solidFill>
                  <a:srgbClr val="737373"/>
                </a:solidFill>
                <a:latin typeface="Arial"/>
                <a:cs typeface="Arial"/>
              </a:rPr>
              <a:t>Inflanción</a:t>
            </a:r>
            <a:endParaRPr sz="1950">
              <a:latin typeface="Arial"/>
              <a:cs typeface="Arial"/>
            </a:endParaRPr>
          </a:p>
        </p:txBody>
      </p:sp>
      <p:sp>
        <p:nvSpPr>
          <p:cNvPr id="40" name="object 40"/>
          <p:cNvSpPr txBox="1"/>
          <p:nvPr/>
        </p:nvSpPr>
        <p:spPr>
          <a:xfrm>
            <a:off x="13888003" y="3648112"/>
            <a:ext cx="2372360" cy="1673860"/>
          </a:xfrm>
          <a:prstGeom prst="rect">
            <a:avLst/>
          </a:prstGeom>
        </p:spPr>
        <p:txBody>
          <a:bodyPr vert="horz" wrap="square" lIns="0" tIns="15240" rIns="0" bIns="0" rtlCol="0">
            <a:spAutoFit/>
          </a:bodyPr>
          <a:lstStyle/>
          <a:p>
            <a:pPr marL="1805305" algn="ctr">
              <a:lnSpc>
                <a:spcPct val="100000"/>
              </a:lnSpc>
              <a:spcBef>
                <a:spcPts val="120"/>
              </a:spcBef>
            </a:pPr>
            <a:r>
              <a:rPr sz="7500" b="1" spc="10" dirty="0">
                <a:solidFill>
                  <a:srgbClr val="21408B"/>
                </a:solidFill>
                <a:latin typeface="OpenSans-ExtraBold"/>
                <a:cs typeface="OpenSans-ExtraBold"/>
              </a:rPr>
              <a:t>=</a:t>
            </a:r>
            <a:endParaRPr sz="7500">
              <a:latin typeface="OpenSans-ExtraBold"/>
              <a:cs typeface="OpenSans-ExtraBold"/>
            </a:endParaRPr>
          </a:p>
          <a:p>
            <a:pPr marL="12700">
              <a:lnSpc>
                <a:spcPct val="100000"/>
              </a:lnSpc>
              <a:spcBef>
                <a:spcPts val="1610"/>
              </a:spcBef>
            </a:pPr>
            <a:r>
              <a:rPr sz="1950" b="1" spc="145" dirty="0">
                <a:solidFill>
                  <a:srgbClr val="737373"/>
                </a:solidFill>
                <a:latin typeface="Arial"/>
                <a:cs typeface="Arial"/>
              </a:rPr>
              <a:t>Alta</a:t>
            </a:r>
            <a:r>
              <a:rPr sz="1950" b="1" dirty="0">
                <a:solidFill>
                  <a:srgbClr val="737373"/>
                </a:solidFill>
                <a:latin typeface="Arial"/>
                <a:cs typeface="Arial"/>
              </a:rPr>
              <a:t> </a:t>
            </a:r>
            <a:r>
              <a:rPr sz="1950" b="1" spc="65" dirty="0">
                <a:solidFill>
                  <a:srgbClr val="737373"/>
                </a:solidFill>
                <a:latin typeface="Arial"/>
                <a:cs typeface="Arial"/>
              </a:rPr>
              <a:t>Distancia</a:t>
            </a:r>
            <a:endParaRPr sz="1950">
              <a:latin typeface="Arial"/>
              <a:cs typeface="Arial"/>
            </a:endParaRPr>
          </a:p>
        </p:txBody>
      </p:sp>
      <p:sp>
        <p:nvSpPr>
          <p:cNvPr id="41" name="object 41"/>
          <p:cNvSpPr txBox="1"/>
          <p:nvPr/>
        </p:nvSpPr>
        <p:spPr>
          <a:xfrm>
            <a:off x="16529956" y="3844348"/>
            <a:ext cx="1047750" cy="783590"/>
          </a:xfrm>
          <a:prstGeom prst="rect">
            <a:avLst/>
          </a:prstGeom>
        </p:spPr>
        <p:txBody>
          <a:bodyPr vert="horz" wrap="square" lIns="0" tIns="44450" rIns="0" bIns="0" rtlCol="0">
            <a:spAutoFit/>
          </a:bodyPr>
          <a:lstStyle/>
          <a:p>
            <a:pPr marL="12700" marR="5080" indent="52705" algn="ctr">
              <a:lnSpc>
                <a:spcPts val="1600"/>
              </a:lnSpc>
              <a:spcBef>
                <a:spcPts val="350"/>
              </a:spcBef>
            </a:pPr>
            <a:r>
              <a:rPr sz="1500" b="1" spc="-20" dirty="0">
                <a:solidFill>
                  <a:srgbClr val="FFFFFF"/>
                </a:solidFill>
                <a:latin typeface="Arial"/>
                <a:cs typeface="Arial"/>
              </a:rPr>
              <a:t>Foco </a:t>
            </a:r>
            <a:r>
              <a:rPr sz="1500" b="1" spc="80" dirty="0">
                <a:solidFill>
                  <a:srgbClr val="FFFFFF"/>
                </a:solidFill>
                <a:latin typeface="Arial"/>
                <a:cs typeface="Arial"/>
              </a:rPr>
              <a:t>Segmento</a:t>
            </a:r>
            <a:endParaRPr sz="1500">
              <a:latin typeface="Arial"/>
              <a:cs typeface="Arial"/>
            </a:endParaRPr>
          </a:p>
          <a:p>
            <a:pPr marL="52705" algn="ctr">
              <a:lnSpc>
                <a:spcPct val="100000"/>
              </a:lnSpc>
              <a:spcBef>
                <a:spcPts val="590"/>
              </a:spcBef>
            </a:pPr>
            <a:r>
              <a:rPr sz="1600" b="1" spc="-10" dirty="0">
                <a:solidFill>
                  <a:srgbClr val="FFFFFF"/>
                </a:solidFill>
                <a:latin typeface="OpenSans-ExtraBold"/>
                <a:cs typeface="OpenSans-ExtraBold"/>
              </a:rPr>
              <a:t>UPSCALE</a:t>
            </a:r>
            <a:endParaRPr sz="1600">
              <a:latin typeface="OpenSans-ExtraBold"/>
              <a:cs typeface="OpenSans-ExtraBold"/>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2"/>
            <a:ext cx="17954625" cy="8662035"/>
          </a:xfrm>
          <a:custGeom>
            <a:avLst/>
            <a:gdLst/>
            <a:ahLst/>
            <a:cxnLst/>
            <a:rect l="l" t="t" r="r" b="b"/>
            <a:pathLst>
              <a:path w="17954625" h="8662035">
                <a:moveTo>
                  <a:pt x="0" y="8661679"/>
                </a:moveTo>
                <a:lnTo>
                  <a:pt x="17954029" y="8661679"/>
                </a:lnTo>
                <a:lnTo>
                  <a:pt x="17954029" y="0"/>
                </a:lnTo>
                <a:lnTo>
                  <a:pt x="0" y="0"/>
                </a:lnTo>
                <a:lnTo>
                  <a:pt x="0" y="8661679"/>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3"/>
            <a:ext cx="17954625" cy="1394460"/>
            <a:chOff x="166956" y="171493"/>
            <a:chExt cx="17954625" cy="1394460"/>
          </a:xfrm>
        </p:grpSpPr>
        <p:sp>
          <p:nvSpPr>
            <p:cNvPr id="4" name="object 4"/>
            <p:cNvSpPr/>
            <p:nvPr/>
          </p:nvSpPr>
          <p:spPr>
            <a:xfrm>
              <a:off x="166956" y="171493"/>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grpSp>
      <p:sp>
        <p:nvSpPr>
          <p:cNvPr id="6" name="object 6"/>
          <p:cNvSpPr/>
          <p:nvPr/>
        </p:nvSpPr>
        <p:spPr>
          <a:xfrm>
            <a:off x="9041158" y="9035936"/>
            <a:ext cx="3568065" cy="1905"/>
          </a:xfrm>
          <a:custGeom>
            <a:avLst/>
            <a:gdLst/>
            <a:ahLst/>
            <a:cxnLst/>
            <a:rect l="l" t="t" r="r" b="b"/>
            <a:pathLst>
              <a:path w="3568065" h="1904">
                <a:moveTo>
                  <a:pt x="0" y="1407"/>
                </a:moveTo>
                <a:lnTo>
                  <a:pt x="3567867" y="1407"/>
                </a:lnTo>
                <a:lnTo>
                  <a:pt x="3567867" y="0"/>
                </a:lnTo>
                <a:lnTo>
                  <a:pt x="0" y="0"/>
                </a:lnTo>
                <a:lnTo>
                  <a:pt x="0" y="1407"/>
                </a:lnTo>
                <a:close/>
              </a:path>
            </a:pathLst>
          </a:custGeom>
          <a:solidFill>
            <a:srgbClr val="FFFFFF"/>
          </a:solidFill>
        </p:spPr>
        <p:txBody>
          <a:bodyPr wrap="square" lIns="0" tIns="0" rIns="0" bIns="0" rtlCol="0"/>
          <a:lstStyle/>
          <a:p>
            <a:endParaRPr/>
          </a:p>
        </p:txBody>
      </p:sp>
      <p:grpSp>
        <p:nvGrpSpPr>
          <p:cNvPr id="7" name="object 7"/>
          <p:cNvGrpSpPr/>
          <p:nvPr/>
        </p:nvGrpSpPr>
        <p:grpSpPr>
          <a:xfrm>
            <a:off x="9041158" y="2096635"/>
            <a:ext cx="3568065" cy="6015355"/>
            <a:chOff x="9041158" y="2096635"/>
            <a:chExt cx="3568065" cy="6015355"/>
          </a:xfrm>
        </p:grpSpPr>
        <p:sp>
          <p:nvSpPr>
            <p:cNvPr id="8" name="object 8"/>
            <p:cNvSpPr/>
            <p:nvPr/>
          </p:nvSpPr>
          <p:spPr>
            <a:xfrm>
              <a:off x="9041158" y="2939913"/>
              <a:ext cx="3568065" cy="5172075"/>
            </a:xfrm>
            <a:custGeom>
              <a:avLst/>
              <a:gdLst/>
              <a:ahLst/>
              <a:cxnLst/>
              <a:rect l="l" t="t" r="r" b="b"/>
              <a:pathLst>
                <a:path w="3568065" h="5172075">
                  <a:moveTo>
                    <a:pt x="0" y="5171939"/>
                  </a:moveTo>
                  <a:lnTo>
                    <a:pt x="3567867" y="5171939"/>
                  </a:lnTo>
                  <a:lnTo>
                    <a:pt x="3567867" y="0"/>
                  </a:lnTo>
                  <a:lnTo>
                    <a:pt x="0" y="0"/>
                  </a:lnTo>
                  <a:lnTo>
                    <a:pt x="0" y="5171939"/>
                  </a:lnTo>
                  <a:close/>
                </a:path>
              </a:pathLst>
            </a:custGeom>
            <a:solidFill>
              <a:srgbClr val="FFFFFF"/>
            </a:solidFill>
          </p:spPr>
          <p:txBody>
            <a:bodyPr wrap="square" lIns="0" tIns="0" rIns="0" bIns="0" rtlCol="0"/>
            <a:lstStyle/>
            <a:p>
              <a:endParaRPr/>
            </a:p>
          </p:txBody>
        </p:sp>
        <p:sp>
          <p:nvSpPr>
            <p:cNvPr id="9" name="object 9"/>
            <p:cNvSpPr/>
            <p:nvPr/>
          </p:nvSpPr>
          <p:spPr>
            <a:xfrm>
              <a:off x="9981815" y="2096635"/>
              <a:ext cx="1686560" cy="1686560"/>
            </a:xfrm>
            <a:custGeom>
              <a:avLst/>
              <a:gdLst/>
              <a:ahLst/>
              <a:cxnLst/>
              <a:rect l="l" t="t" r="r" b="b"/>
              <a:pathLst>
                <a:path w="1686559" h="1686560">
                  <a:moveTo>
                    <a:pt x="843307" y="1686556"/>
                  </a:moveTo>
                  <a:lnTo>
                    <a:pt x="795425" y="1685222"/>
                  </a:lnTo>
                  <a:lnTo>
                    <a:pt x="748273" y="1681264"/>
                  </a:lnTo>
                  <a:lnTo>
                    <a:pt x="701892" y="1674756"/>
                  </a:lnTo>
                  <a:lnTo>
                    <a:pt x="656354" y="1665767"/>
                  </a:lnTo>
                  <a:lnTo>
                    <a:pt x="611730" y="1654370"/>
                  </a:lnTo>
                  <a:lnTo>
                    <a:pt x="568091" y="1640635"/>
                  </a:lnTo>
                  <a:lnTo>
                    <a:pt x="525508" y="1624634"/>
                  </a:lnTo>
                  <a:lnTo>
                    <a:pt x="484053" y="1606437"/>
                  </a:lnTo>
                  <a:lnTo>
                    <a:pt x="443796" y="1586116"/>
                  </a:lnTo>
                  <a:lnTo>
                    <a:pt x="404809" y="1563743"/>
                  </a:lnTo>
                  <a:lnTo>
                    <a:pt x="367163" y="1539388"/>
                  </a:lnTo>
                  <a:lnTo>
                    <a:pt x="330929" y="1513122"/>
                  </a:lnTo>
                  <a:lnTo>
                    <a:pt x="296179" y="1485017"/>
                  </a:lnTo>
                  <a:lnTo>
                    <a:pt x="262983" y="1455143"/>
                  </a:lnTo>
                  <a:lnTo>
                    <a:pt x="231413" y="1423573"/>
                  </a:lnTo>
                  <a:lnTo>
                    <a:pt x="201539" y="1390377"/>
                  </a:lnTo>
                  <a:lnTo>
                    <a:pt x="173434" y="1355627"/>
                  </a:lnTo>
                  <a:lnTo>
                    <a:pt x="147169" y="1319393"/>
                  </a:lnTo>
                  <a:lnTo>
                    <a:pt x="122813" y="1281747"/>
                  </a:lnTo>
                  <a:lnTo>
                    <a:pt x="100440" y="1242760"/>
                  </a:lnTo>
                  <a:lnTo>
                    <a:pt x="80119" y="1202503"/>
                  </a:lnTo>
                  <a:lnTo>
                    <a:pt x="61922" y="1161048"/>
                  </a:lnTo>
                  <a:lnTo>
                    <a:pt x="45921" y="1118465"/>
                  </a:lnTo>
                  <a:lnTo>
                    <a:pt x="32186" y="1074826"/>
                  </a:lnTo>
                  <a:lnTo>
                    <a:pt x="20789" y="1030202"/>
                  </a:lnTo>
                  <a:lnTo>
                    <a:pt x="11800" y="984664"/>
                  </a:lnTo>
                  <a:lnTo>
                    <a:pt x="5292" y="938283"/>
                  </a:lnTo>
                  <a:lnTo>
                    <a:pt x="1334" y="891131"/>
                  </a:lnTo>
                  <a:lnTo>
                    <a:pt x="0" y="843281"/>
                  </a:lnTo>
                  <a:lnTo>
                    <a:pt x="1334" y="795426"/>
                  </a:lnTo>
                  <a:lnTo>
                    <a:pt x="5292" y="748273"/>
                  </a:lnTo>
                  <a:lnTo>
                    <a:pt x="11800" y="701893"/>
                  </a:lnTo>
                  <a:lnTo>
                    <a:pt x="20789" y="656355"/>
                  </a:lnTo>
                  <a:lnTo>
                    <a:pt x="32186" y="611730"/>
                  </a:lnTo>
                  <a:lnTo>
                    <a:pt x="45921" y="568091"/>
                  </a:lnTo>
                  <a:lnTo>
                    <a:pt x="61922" y="525508"/>
                  </a:lnTo>
                  <a:lnTo>
                    <a:pt x="80119" y="484053"/>
                  </a:lnTo>
                  <a:lnTo>
                    <a:pt x="100440" y="443796"/>
                  </a:lnTo>
                  <a:lnTo>
                    <a:pt x="122813" y="404809"/>
                  </a:lnTo>
                  <a:lnTo>
                    <a:pt x="147169" y="367163"/>
                  </a:lnTo>
                  <a:lnTo>
                    <a:pt x="173434" y="330929"/>
                  </a:lnTo>
                  <a:lnTo>
                    <a:pt x="201539" y="296179"/>
                  </a:lnTo>
                  <a:lnTo>
                    <a:pt x="231413" y="262983"/>
                  </a:lnTo>
                  <a:lnTo>
                    <a:pt x="262983" y="231413"/>
                  </a:lnTo>
                  <a:lnTo>
                    <a:pt x="296179" y="201539"/>
                  </a:lnTo>
                  <a:lnTo>
                    <a:pt x="330929" y="173434"/>
                  </a:lnTo>
                  <a:lnTo>
                    <a:pt x="367163" y="147169"/>
                  </a:lnTo>
                  <a:lnTo>
                    <a:pt x="404809" y="122813"/>
                  </a:lnTo>
                  <a:lnTo>
                    <a:pt x="443796" y="100440"/>
                  </a:lnTo>
                  <a:lnTo>
                    <a:pt x="484053" y="80119"/>
                  </a:lnTo>
                  <a:lnTo>
                    <a:pt x="525508" y="61922"/>
                  </a:lnTo>
                  <a:lnTo>
                    <a:pt x="568091" y="45921"/>
                  </a:lnTo>
                  <a:lnTo>
                    <a:pt x="611730" y="32186"/>
                  </a:lnTo>
                  <a:lnTo>
                    <a:pt x="656354" y="20789"/>
                  </a:lnTo>
                  <a:lnTo>
                    <a:pt x="701892" y="11800"/>
                  </a:lnTo>
                  <a:lnTo>
                    <a:pt x="748273" y="5292"/>
                  </a:lnTo>
                  <a:lnTo>
                    <a:pt x="795425" y="1334"/>
                  </a:lnTo>
                  <a:lnTo>
                    <a:pt x="843278" y="0"/>
                  </a:lnTo>
                  <a:lnTo>
                    <a:pt x="891130" y="1334"/>
                  </a:lnTo>
                  <a:lnTo>
                    <a:pt x="938283" y="5292"/>
                  </a:lnTo>
                  <a:lnTo>
                    <a:pt x="984663" y="11800"/>
                  </a:lnTo>
                  <a:lnTo>
                    <a:pt x="1030201" y="20789"/>
                  </a:lnTo>
                  <a:lnTo>
                    <a:pt x="1074826" y="32186"/>
                  </a:lnTo>
                  <a:lnTo>
                    <a:pt x="1118465" y="45921"/>
                  </a:lnTo>
                  <a:lnTo>
                    <a:pt x="1161048" y="61922"/>
                  </a:lnTo>
                  <a:lnTo>
                    <a:pt x="1202503" y="80119"/>
                  </a:lnTo>
                  <a:lnTo>
                    <a:pt x="1242760" y="100440"/>
                  </a:lnTo>
                  <a:lnTo>
                    <a:pt x="1281747" y="122813"/>
                  </a:lnTo>
                  <a:lnTo>
                    <a:pt x="1319393" y="147169"/>
                  </a:lnTo>
                  <a:lnTo>
                    <a:pt x="1355627" y="173434"/>
                  </a:lnTo>
                  <a:lnTo>
                    <a:pt x="1390377" y="201539"/>
                  </a:lnTo>
                  <a:lnTo>
                    <a:pt x="1423573" y="231413"/>
                  </a:lnTo>
                  <a:lnTo>
                    <a:pt x="1455143" y="262983"/>
                  </a:lnTo>
                  <a:lnTo>
                    <a:pt x="1485016" y="296179"/>
                  </a:lnTo>
                  <a:lnTo>
                    <a:pt x="1513121" y="330929"/>
                  </a:lnTo>
                  <a:lnTo>
                    <a:pt x="1539387" y="367163"/>
                  </a:lnTo>
                  <a:lnTo>
                    <a:pt x="1563742" y="404809"/>
                  </a:lnTo>
                  <a:lnTo>
                    <a:pt x="1586116" y="443796"/>
                  </a:lnTo>
                  <a:lnTo>
                    <a:pt x="1606437" y="484053"/>
                  </a:lnTo>
                  <a:lnTo>
                    <a:pt x="1624633" y="525508"/>
                  </a:lnTo>
                  <a:lnTo>
                    <a:pt x="1640635" y="568091"/>
                  </a:lnTo>
                  <a:lnTo>
                    <a:pt x="1654370" y="611730"/>
                  </a:lnTo>
                  <a:lnTo>
                    <a:pt x="1665767" y="656355"/>
                  </a:lnTo>
                  <a:lnTo>
                    <a:pt x="1674756" y="701893"/>
                  </a:lnTo>
                  <a:lnTo>
                    <a:pt x="1681264" y="748273"/>
                  </a:lnTo>
                  <a:lnTo>
                    <a:pt x="1685221" y="795426"/>
                  </a:lnTo>
                  <a:lnTo>
                    <a:pt x="1686556" y="843281"/>
                  </a:lnTo>
                  <a:lnTo>
                    <a:pt x="1685221" y="891131"/>
                  </a:lnTo>
                  <a:lnTo>
                    <a:pt x="1681264" y="938283"/>
                  </a:lnTo>
                  <a:lnTo>
                    <a:pt x="1674756" y="984664"/>
                  </a:lnTo>
                  <a:lnTo>
                    <a:pt x="1665767" y="1030202"/>
                  </a:lnTo>
                  <a:lnTo>
                    <a:pt x="1654370" y="1074826"/>
                  </a:lnTo>
                  <a:lnTo>
                    <a:pt x="1640635" y="1118465"/>
                  </a:lnTo>
                  <a:lnTo>
                    <a:pt x="1624633" y="1161048"/>
                  </a:lnTo>
                  <a:lnTo>
                    <a:pt x="1606437" y="1202503"/>
                  </a:lnTo>
                  <a:lnTo>
                    <a:pt x="1586116" y="1242760"/>
                  </a:lnTo>
                  <a:lnTo>
                    <a:pt x="1563742" y="1281747"/>
                  </a:lnTo>
                  <a:lnTo>
                    <a:pt x="1539387" y="1319393"/>
                  </a:lnTo>
                  <a:lnTo>
                    <a:pt x="1513121" y="1355627"/>
                  </a:lnTo>
                  <a:lnTo>
                    <a:pt x="1485016" y="1390377"/>
                  </a:lnTo>
                  <a:lnTo>
                    <a:pt x="1455143" y="1423573"/>
                  </a:lnTo>
                  <a:lnTo>
                    <a:pt x="1423573" y="1455143"/>
                  </a:lnTo>
                  <a:lnTo>
                    <a:pt x="1390377" y="1485017"/>
                  </a:lnTo>
                  <a:lnTo>
                    <a:pt x="1355627" y="1513122"/>
                  </a:lnTo>
                  <a:lnTo>
                    <a:pt x="1319393" y="1539388"/>
                  </a:lnTo>
                  <a:lnTo>
                    <a:pt x="1281747" y="1563743"/>
                  </a:lnTo>
                  <a:lnTo>
                    <a:pt x="1242760" y="1586116"/>
                  </a:lnTo>
                  <a:lnTo>
                    <a:pt x="1202503" y="1606437"/>
                  </a:lnTo>
                  <a:lnTo>
                    <a:pt x="1161048" y="1624634"/>
                  </a:lnTo>
                  <a:lnTo>
                    <a:pt x="1118465" y="1640635"/>
                  </a:lnTo>
                  <a:lnTo>
                    <a:pt x="1074826" y="1654370"/>
                  </a:lnTo>
                  <a:lnTo>
                    <a:pt x="1030201" y="1665767"/>
                  </a:lnTo>
                  <a:lnTo>
                    <a:pt x="984663" y="1674756"/>
                  </a:lnTo>
                  <a:lnTo>
                    <a:pt x="938283" y="1681264"/>
                  </a:lnTo>
                  <a:lnTo>
                    <a:pt x="891130" y="1685222"/>
                  </a:lnTo>
                  <a:lnTo>
                    <a:pt x="843307" y="1686556"/>
                  </a:lnTo>
                  <a:close/>
                </a:path>
              </a:pathLst>
            </a:custGeom>
            <a:solidFill>
              <a:srgbClr val="E3112B"/>
            </a:solidFill>
          </p:spPr>
          <p:txBody>
            <a:bodyPr wrap="square" lIns="0" tIns="0" rIns="0" bIns="0" rtlCol="0"/>
            <a:lstStyle/>
            <a:p>
              <a:endParaRPr/>
            </a:p>
          </p:txBody>
        </p:sp>
      </p:grpSp>
      <p:sp>
        <p:nvSpPr>
          <p:cNvPr id="10" name="object 10"/>
          <p:cNvSpPr/>
          <p:nvPr/>
        </p:nvSpPr>
        <p:spPr>
          <a:xfrm>
            <a:off x="12732911" y="9035936"/>
            <a:ext cx="3568065" cy="1905"/>
          </a:xfrm>
          <a:custGeom>
            <a:avLst/>
            <a:gdLst/>
            <a:ahLst/>
            <a:cxnLst/>
            <a:rect l="l" t="t" r="r" b="b"/>
            <a:pathLst>
              <a:path w="3568065" h="1904">
                <a:moveTo>
                  <a:pt x="0" y="1407"/>
                </a:moveTo>
                <a:lnTo>
                  <a:pt x="3567867" y="1407"/>
                </a:lnTo>
                <a:lnTo>
                  <a:pt x="3567867" y="0"/>
                </a:lnTo>
                <a:lnTo>
                  <a:pt x="0" y="0"/>
                </a:lnTo>
                <a:lnTo>
                  <a:pt x="0" y="1407"/>
                </a:lnTo>
                <a:close/>
              </a:path>
            </a:pathLst>
          </a:custGeom>
          <a:solidFill>
            <a:srgbClr val="FFFFFF"/>
          </a:solidFill>
        </p:spPr>
        <p:txBody>
          <a:bodyPr wrap="square" lIns="0" tIns="0" rIns="0" bIns="0" rtlCol="0"/>
          <a:lstStyle/>
          <a:p>
            <a:endParaRPr/>
          </a:p>
        </p:txBody>
      </p:sp>
      <p:grpSp>
        <p:nvGrpSpPr>
          <p:cNvPr id="11" name="object 11"/>
          <p:cNvGrpSpPr/>
          <p:nvPr/>
        </p:nvGrpSpPr>
        <p:grpSpPr>
          <a:xfrm>
            <a:off x="12732911" y="2096635"/>
            <a:ext cx="3568065" cy="6015355"/>
            <a:chOff x="12732911" y="2096635"/>
            <a:chExt cx="3568065" cy="6015355"/>
          </a:xfrm>
        </p:grpSpPr>
        <p:sp>
          <p:nvSpPr>
            <p:cNvPr id="12" name="object 12"/>
            <p:cNvSpPr/>
            <p:nvPr/>
          </p:nvSpPr>
          <p:spPr>
            <a:xfrm>
              <a:off x="12732911" y="2939913"/>
              <a:ext cx="3568065" cy="5172075"/>
            </a:xfrm>
            <a:custGeom>
              <a:avLst/>
              <a:gdLst/>
              <a:ahLst/>
              <a:cxnLst/>
              <a:rect l="l" t="t" r="r" b="b"/>
              <a:pathLst>
                <a:path w="3568065" h="5172075">
                  <a:moveTo>
                    <a:pt x="0" y="5171939"/>
                  </a:moveTo>
                  <a:lnTo>
                    <a:pt x="3567867" y="5171939"/>
                  </a:lnTo>
                  <a:lnTo>
                    <a:pt x="3567867" y="0"/>
                  </a:lnTo>
                  <a:lnTo>
                    <a:pt x="0" y="0"/>
                  </a:lnTo>
                  <a:lnTo>
                    <a:pt x="0" y="5171939"/>
                  </a:lnTo>
                  <a:close/>
                </a:path>
              </a:pathLst>
            </a:custGeom>
            <a:solidFill>
              <a:srgbClr val="FFFFFF"/>
            </a:solidFill>
          </p:spPr>
          <p:txBody>
            <a:bodyPr wrap="square" lIns="0" tIns="0" rIns="0" bIns="0" rtlCol="0"/>
            <a:lstStyle/>
            <a:p>
              <a:endParaRPr/>
            </a:p>
          </p:txBody>
        </p:sp>
        <p:sp>
          <p:nvSpPr>
            <p:cNvPr id="13" name="object 13"/>
            <p:cNvSpPr/>
            <p:nvPr/>
          </p:nvSpPr>
          <p:spPr>
            <a:xfrm>
              <a:off x="13673571" y="2096635"/>
              <a:ext cx="1686560" cy="1686560"/>
            </a:xfrm>
            <a:custGeom>
              <a:avLst/>
              <a:gdLst/>
              <a:ahLst/>
              <a:cxnLst/>
              <a:rect l="l" t="t" r="r" b="b"/>
              <a:pathLst>
                <a:path w="1686559" h="1686560">
                  <a:moveTo>
                    <a:pt x="843305" y="1686556"/>
                  </a:moveTo>
                  <a:lnTo>
                    <a:pt x="795424" y="1685222"/>
                  </a:lnTo>
                  <a:lnTo>
                    <a:pt x="748272" y="1681264"/>
                  </a:lnTo>
                  <a:lnTo>
                    <a:pt x="701891" y="1674756"/>
                  </a:lnTo>
                  <a:lnTo>
                    <a:pt x="656353" y="1665767"/>
                  </a:lnTo>
                  <a:lnTo>
                    <a:pt x="611729" y="1654370"/>
                  </a:lnTo>
                  <a:lnTo>
                    <a:pt x="568090" y="1640635"/>
                  </a:lnTo>
                  <a:lnTo>
                    <a:pt x="525507" y="1624634"/>
                  </a:lnTo>
                  <a:lnTo>
                    <a:pt x="484052" y="1606437"/>
                  </a:lnTo>
                  <a:lnTo>
                    <a:pt x="443795" y="1586116"/>
                  </a:lnTo>
                  <a:lnTo>
                    <a:pt x="404808" y="1563743"/>
                  </a:lnTo>
                  <a:lnTo>
                    <a:pt x="367162" y="1539388"/>
                  </a:lnTo>
                  <a:lnTo>
                    <a:pt x="330928" y="1513122"/>
                  </a:lnTo>
                  <a:lnTo>
                    <a:pt x="296178" y="1485017"/>
                  </a:lnTo>
                  <a:lnTo>
                    <a:pt x="262982" y="1455143"/>
                  </a:lnTo>
                  <a:lnTo>
                    <a:pt x="231412" y="1423573"/>
                  </a:lnTo>
                  <a:lnTo>
                    <a:pt x="201538" y="1390377"/>
                  </a:lnTo>
                  <a:lnTo>
                    <a:pt x="173433" y="1355627"/>
                  </a:lnTo>
                  <a:lnTo>
                    <a:pt x="147167" y="1319393"/>
                  </a:lnTo>
                  <a:lnTo>
                    <a:pt x="122812" y="1281747"/>
                  </a:lnTo>
                  <a:lnTo>
                    <a:pt x="100439" y="1242760"/>
                  </a:lnTo>
                  <a:lnTo>
                    <a:pt x="80118" y="1202503"/>
                  </a:lnTo>
                  <a:lnTo>
                    <a:pt x="61921" y="1161048"/>
                  </a:lnTo>
                  <a:lnTo>
                    <a:pt x="45920" y="1118465"/>
                  </a:lnTo>
                  <a:lnTo>
                    <a:pt x="32185" y="1074826"/>
                  </a:lnTo>
                  <a:lnTo>
                    <a:pt x="20788" y="1030202"/>
                  </a:lnTo>
                  <a:lnTo>
                    <a:pt x="11799" y="984664"/>
                  </a:lnTo>
                  <a:lnTo>
                    <a:pt x="5291" y="938283"/>
                  </a:lnTo>
                  <a:lnTo>
                    <a:pt x="1333" y="891131"/>
                  </a:lnTo>
                  <a:lnTo>
                    <a:pt x="0" y="843239"/>
                  </a:lnTo>
                  <a:lnTo>
                    <a:pt x="1333" y="795426"/>
                  </a:lnTo>
                  <a:lnTo>
                    <a:pt x="5291" y="748273"/>
                  </a:lnTo>
                  <a:lnTo>
                    <a:pt x="11799" y="701893"/>
                  </a:lnTo>
                  <a:lnTo>
                    <a:pt x="20788" y="656355"/>
                  </a:lnTo>
                  <a:lnTo>
                    <a:pt x="32185" y="611730"/>
                  </a:lnTo>
                  <a:lnTo>
                    <a:pt x="45920" y="568091"/>
                  </a:lnTo>
                  <a:lnTo>
                    <a:pt x="61921" y="525508"/>
                  </a:lnTo>
                  <a:lnTo>
                    <a:pt x="80118" y="484053"/>
                  </a:lnTo>
                  <a:lnTo>
                    <a:pt x="100439" y="443796"/>
                  </a:lnTo>
                  <a:lnTo>
                    <a:pt x="122812" y="404809"/>
                  </a:lnTo>
                  <a:lnTo>
                    <a:pt x="147167" y="367163"/>
                  </a:lnTo>
                  <a:lnTo>
                    <a:pt x="173433" y="330929"/>
                  </a:lnTo>
                  <a:lnTo>
                    <a:pt x="201538" y="296179"/>
                  </a:lnTo>
                  <a:lnTo>
                    <a:pt x="231412" y="262983"/>
                  </a:lnTo>
                  <a:lnTo>
                    <a:pt x="262982" y="231413"/>
                  </a:lnTo>
                  <a:lnTo>
                    <a:pt x="296178" y="201539"/>
                  </a:lnTo>
                  <a:lnTo>
                    <a:pt x="330928" y="173434"/>
                  </a:lnTo>
                  <a:lnTo>
                    <a:pt x="367162" y="147169"/>
                  </a:lnTo>
                  <a:lnTo>
                    <a:pt x="404808" y="122813"/>
                  </a:lnTo>
                  <a:lnTo>
                    <a:pt x="443795" y="100440"/>
                  </a:lnTo>
                  <a:lnTo>
                    <a:pt x="484052" y="80119"/>
                  </a:lnTo>
                  <a:lnTo>
                    <a:pt x="525507" y="61922"/>
                  </a:lnTo>
                  <a:lnTo>
                    <a:pt x="568090" y="45921"/>
                  </a:lnTo>
                  <a:lnTo>
                    <a:pt x="611729" y="32186"/>
                  </a:lnTo>
                  <a:lnTo>
                    <a:pt x="656353" y="20789"/>
                  </a:lnTo>
                  <a:lnTo>
                    <a:pt x="701891" y="11800"/>
                  </a:lnTo>
                  <a:lnTo>
                    <a:pt x="748272" y="5292"/>
                  </a:lnTo>
                  <a:lnTo>
                    <a:pt x="795424" y="1334"/>
                  </a:lnTo>
                  <a:lnTo>
                    <a:pt x="843276" y="0"/>
                  </a:lnTo>
                  <a:lnTo>
                    <a:pt x="891129" y="1334"/>
                  </a:lnTo>
                  <a:lnTo>
                    <a:pt x="938281" y="5292"/>
                  </a:lnTo>
                  <a:lnTo>
                    <a:pt x="984662" y="11800"/>
                  </a:lnTo>
                  <a:lnTo>
                    <a:pt x="1030200" y="20789"/>
                  </a:lnTo>
                  <a:lnTo>
                    <a:pt x="1074824" y="32186"/>
                  </a:lnTo>
                  <a:lnTo>
                    <a:pt x="1118464" y="45921"/>
                  </a:lnTo>
                  <a:lnTo>
                    <a:pt x="1161047" y="61922"/>
                  </a:lnTo>
                  <a:lnTo>
                    <a:pt x="1202502" y="80119"/>
                  </a:lnTo>
                  <a:lnTo>
                    <a:pt x="1242759" y="100440"/>
                  </a:lnTo>
                  <a:lnTo>
                    <a:pt x="1281746" y="122813"/>
                  </a:lnTo>
                  <a:lnTo>
                    <a:pt x="1319392" y="147169"/>
                  </a:lnTo>
                  <a:lnTo>
                    <a:pt x="1355626" y="173434"/>
                  </a:lnTo>
                  <a:lnTo>
                    <a:pt x="1390376" y="201539"/>
                  </a:lnTo>
                  <a:lnTo>
                    <a:pt x="1423572" y="231413"/>
                  </a:lnTo>
                  <a:lnTo>
                    <a:pt x="1455143" y="262983"/>
                  </a:lnTo>
                  <a:lnTo>
                    <a:pt x="1485016" y="296179"/>
                  </a:lnTo>
                  <a:lnTo>
                    <a:pt x="1513121" y="330929"/>
                  </a:lnTo>
                  <a:lnTo>
                    <a:pt x="1539387" y="367163"/>
                  </a:lnTo>
                  <a:lnTo>
                    <a:pt x="1563742" y="404809"/>
                  </a:lnTo>
                  <a:lnTo>
                    <a:pt x="1586116" y="443796"/>
                  </a:lnTo>
                  <a:lnTo>
                    <a:pt x="1606436" y="484053"/>
                  </a:lnTo>
                  <a:lnTo>
                    <a:pt x="1624633" y="525508"/>
                  </a:lnTo>
                  <a:lnTo>
                    <a:pt x="1640634" y="568091"/>
                  </a:lnTo>
                  <a:lnTo>
                    <a:pt x="1654369" y="611730"/>
                  </a:lnTo>
                  <a:lnTo>
                    <a:pt x="1665767" y="656355"/>
                  </a:lnTo>
                  <a:lnTo>
                    <a:pt x="1674755" y="701893"/>
                  </a:lnTo>
                  <a:lnTo>
                    <a:pt x="1681264" y="748273"/>
                  </a:lnTo>
                  <a:lnTo>
                    <a:pt x="1685221" y="795426"/>
                  </a:lnTo>
                  <a:lnTo>
                    <a:pt x="1686554" y="843278"/>
                  </a:lnTo>
                  <a:lnTo>
                    <a:pt x="1685221" y="891131"/>
                  </a:lnTo>
                  <a:lnTo>
                    <a:pt x="1681264" y="938283"/>
                  </a:lnTo>
                  <a:lnTo>
                    <a:pt x="1674755" y="984664"/>
                  </a:lnTo>
                  <a:lnTo>
                    <a:pt x="1665767" y="1030202"/>
                  </a:lnTo>
                  <a:lnTo>
                    <a:pt x="1654369" y="1074826"/>
                  </a:lnTo>
                  <a:lnTo>
                    <a:pt x="1640634" y="1118465"/>
                  </a:lnTo>
                  <a:lnTo>
                    <a:pt x="1624633" y="1161048"/>
                  </a:lnTo>
                  <a:lnTo>
                    <a:pt x="1606436" y="1202503"/>
                  </a:lnTo>
                  <a:lnTo>
                    <a:pt x="1586116" y="1242760"/>
                  </a:lnTo>
                  <a:lnTo>
                    <a:pt x="1563742" y="1281747"/>
                  </a:lnTo>
                  <a:lnTo>
                    <a:pt x="1539387" y="1319393"/>
                  </a:lnTo>
                  <a:lnTo>
                    <a:pt x="1513121" y="1355627"/>
                  </a:lnTo>
                  <a:lnTo>
                    <a:pt x="1485016" y="1390377"/>
                  </a:lnTo>
                  <a:lnTo>
                    <a:pt x="1455143" y="1423573"/>
                  </a:lnTo>
                  <a:lnTo>
                    <a:pt x="1423572" y="1455143"/>
                  </a:lnTo>
                  <a:lnTo>
                    <a:pt x="1390376" y="1485017"/>
                  </a:lnTo>
                  <a:lnTo>
                    <a:pt x="1355626" y="1513122"/>
                  </a:lnTo>
                  <a:lnTo>
                    <a:pt x="1319392" y="1539388"/>
                  </a:lnTo>
                  <a:lnTo>
                    <a:pt x="1281746" y="1563743"/>
                  </a:lnTo>
                  <a:lnTo>
                    <a:pt x="1242759" y="1586116"/>
                  </a:lnTo>
                  <a:lnTo>
                    <a:pt x="1202502" y="1606437"/>
                  </a:lnTo>
                  <a:lnTo>
                    <a:pt x="1161047" y="1624634"/>
                  </a:lnTo>
                  <a:lnTo>
                    <a:pt x="1118464" y="1640635"/>
                  </a:lnTo>
                  <a:lnTo>
                    <a:pt x="1074824" y="1654370"/>
                  </a:lnTo>
                  <a:lnTo>
                    <a:pt x="1030200" y="1665767"/>
                  </a:lnTo>
                  <a:lnTo>
                    <a:pt x="984662" y="1674756"/>
                  </a:lnTo>
                  <a:lnTo>
                    <a:pt x="938281" y="1681264"/>
                  </a:lnTo>
                  <a:lnTo>
                    <a:pt x="891129" y="1685222"/>
                  </a:lnTo>
                  <a:lnTo>
                    <a:pt x="843305" y="1686556"/>
                  </a:lnTo>
                  <a:close/>
                </a:path>
              </a:pathLst>
            </a:custGeom>
            <a:solidFill>
              <a:srgbClr val="F5A316"/>
            </a:solidFill>
          </p:spPr>
          <p:txBody>
            <a:bodyPr wrap="square" lIns="0" tIns="0" rIns="0" bIns="0" rtlCol="0"/>
            <a:lstStyle/>
            <a:p>
              <a:endParaRPr/>
            </a:p>
          </p:txBody>
        </p:sp>
      </p:grpSp>
      <p:sp>
        <p:nvSpPr>
          <p:cNvPr id="14" name="object 14"/>
          <p:cNvSpPr/>
          <p:nvPr/>
        </p:nvSpPr>
        <p:spPr>
          <a:xfrm>
            <a:off x="5349402" y="9035936"/>
            <a:ext cx="3568065" cy="1905"/>
          </a:xfrm>
          <a:custGeom>
            <a:avLst/>
            <a:gdLst/>
            <a:ahLst/>
            <a:cxnLst/>
            <a:rect l="l" t="t" r="r" b="b"/>
            <a:pathLst>
              <a:path w="3568065" h="1904">
                <a:moveTo>
                  <a:pt x="0" y="1407"/>
                </a:moveTo>
                <a:lnTo>
                  <a:pt x="3567867" y="1407"/>
                </a:lnTo>
                <a:lnTo>
                  <a:pt x="3567867" y="0"/>
                </a:lnTo>
                <a:lnTo>
                  <a:pt x="0" y="0"/>
                </a:lnTo>
                <a:lnTo>
                  <a:pt x="0" y="1407"/>
                </a:lnTo>
                <a:close/>
              </a:path>
            </a:pathLst>
          </a:custGeom>
          <a:solidFill>
            <a:srgbClr val="FFFFFF"/>
          </a:solidFill>
        </p:spPr>
        <p:txBody>
          <a:bodyPr wrap="square" lIns="0" tIns="0" rIns="0" bIns="0" rtlCol="0"/>
          <a:lstStyle/>
          <a:p>
            <a:endParaRPr/>
          </a:p>
        </p:txBody>
      </p:sp>
      <p:grpSp>
        <p:nvGrpSpPr>
          <p:cNvPr id="15" name="object 15"/>
          <p:cNvGrpSpPr/>
          <p:nvPr/>
        </p:nvGrpSpPr>
        <p:grpSpPr>
          <a:xfrm>
            <a:off x="5349402" y="2096635"/>
            <a:ext cx="3568065" cy="6015355"/>
            <a:chOff x="5349402" y="2096635"/>
            <a:chExt cx="3568065" cy="6015355"/>
          </a:xfrm>
        </p:grpSpPr>
        <p:sp>
          <p:nvSpPr>
            <p:cNvPr id="16" name="object 16"/>
            <p:cNvSpPr/>
            <p:nvPr/>
          </p:nvSpPr>
          <p:spPr>
            <a:xfrm>
              <a:off x="5349402" y="2939913"/>
              <a:ext cx="3568065" cy="5172075"/>
            </a:xfrm>
            <a:custGeom>
              <a:avLst/>
              <a:gdLst/>
              <a:ahLst/>
              <a:cxnLst/>
              <a:rect l="l" t="t" r="r" b="b"/>
              <a:pathLst>
                <a:path w="3568065" h="5172075">
                  <a:moveTo>
                    <a:pt x="0" y="5171939"/>
                  </a:moveTo>
                  <a:lnTo>
                    <a:pt x="3567867" y="5171939"/>
                  </a:lnTo>
                  <a:lnTo>
                    <a:pt x="3567867" y="0"/>
                  </a:lnTo>
                  <a:lnTo>
                    <a:pt x="0" y="0"/>
                  </a:lnTo>
                  <a:lnTo>
                    <a:pt x="0" y="5171939"/>
                  </a:lnTo>
                  <a:close/>
                </a:path>
              </a:pathLst>
            </a:custGeom>
            <a:solidFill>
              <a:srgbClr val="FFFFFF"/>
            </a:solidFill>
          </p:spPr>
          <p:txBody>
            <a:bodyPr wrap="square" lIns="0" tIns="0" rIns="0" bIns="0" rtlCol="0"/>
            <a:lstStyle/>
            <a:p>
              <a:endParaRPr/>
            </a:p>
          </p:txBody>
        </p:sp>
        <p:sp>
          <p:nvSpPr>
            <p:cNvPr id="17" name="object 17"/>
            <p:cNvSpPr/>
            <p:nvPr/>
          </p:nvSpPr>
          <p:spPr>
            <a:xfrm>
              <a:off x="6290059" y="2096635"/>
              <a:ext cx="1686560" cy="1686560"/>
            </a:xfrm>
            <a:custGeom>
              <a:avLst/>
              <a:gdLst/>
              <a:ahLst/>
              <a:cxnLst/>
              <a:rect l="l" t="t" r="r" b="b"/>
              <a:pathLst>
                <a:path w="1686559" h="1686560">
                  <a:moveTo>
                    <a:pt x="843306" y="1686556"/>
                  </a:moveTo>
                  <a:lnTo>
                    <a:pt x="795425" y="1685222"/>
                  </a:lnTo>
                  <a:lnTo>
                    <a:pt x="748273" y="1681264"/>
                  </a:lnTo>
                  <a:lnTo>
                    <a:pt x="701892" y="1674756"/>
                  </a:lnTo>
                  <a:lnTo>
                    <a:pt x="656354" y="1665767"/>
                  </a:lnTo>
                  <a:lnTo>
                    <a:pt x="611730" y="1654370"/>
                  </a:lnTo>
                  <a:lnTo>
                    <a:pt x="568091" y="1640635"/>
                  </a:lnTo>
                  <a:lnTo>
                    <a:pt x="525508" y="1624634"/>
                  </a:lnTo>
                  <a:lnTo>
                    <a:pt x="484053" y="1606437"/>
                  </a:lnTo>
                  <a:lnTo>
                    <a:pt x="443796" y="1586116"/>
                  </a:lnTo>
                  <a:lnTo>
                    <a:pt x="404809" y="1563743"/>
                  </a:lnTo>
                  <a:lnTo>
                    <a:pt x="367163" y="1539388"/>
                  </a:lnTo>
                  <a:lnTo>
                    <a:pt x="330929" y="1513122"/>
                  </a:lnTo>
                  <a:lnTo>
                    <a:pt x="296178" y="1485017"/>
                  </a:lnTo>
                  <a:lnTo>
                    <a:pt x="262982" y="1455143"/>
                  </a:lnTo>
                  <a:lnTo>
                    <a:pt x="231412" y="1423573"/>
                  </a:lnTo>
                  <a:lnTo>
                    <a:pt x="201539" y="1390377"/>
                  </a:lnTo>
                  <a:lnTo>
                    <a:pt x="173434" y="1355627"/>
                  </a:lnTo>
                  <a:lnTo>
                    <a:pt x="147168" y="1319393"/>
                  </a:lnTo>
                  <a:lnTo>
                    <a:pt x="122813" y="1281747"/>
                  </a:lnTo>
                  <a:lnTo>
                    <a:pt x="100439" y="1242760"/>
                  </a:lnTo>
                  <a:lnTo>
                    <a:pt x="80119" y="1202503"/>
                  </a:lnTo>
                  <a:lnTo>
                    <a:pt x="61922" y="1161048"/>
                  </a:lnTo>
                  <a:lnTo>
                    <a:pt x="45921" y="1118465"/>
                  </a:lnTo>
                  <a:lnTo>
                    <a:pt x="32186" y="1074826"/>
                  </a:lnTo>
                  <a:lnTo>
                    <a:pt x="20788" y="1030202"/>
                  </a:lnTo>
                  <a:lnTo>
                    <a:pt x="11800" y="984664"/>
                  </a:lnTo>
                  <a:lnTo>
                    <a:pt x="5291" y="938283"/>
                  </a:lnTo>
                  <a:lnTo>
                    <a:pt x="1334" y="891131"/>
                  </a:lnTo>
                  <a:lnTo>
                    <a:pt x="0" y="843269"/>
                  </a:lnTo>
                  <a:lnTo>
                    <a:pt x="1334" y="795426"/>
                  </a:lnTo>
                  <a:lnTo>
                    <a:pt x="5291" y="748273"/>
                  </a:lnTo>
                  <a:lnTo>
                    <a:pt x="11800" y="701893"/>
                  </a:lnTo>
                  <a:lnTo>
                    <a:pt x="20788" y="656355"/>
                  </a:lnTo>
                  <a:lnTo>
                    <a:pt x="32186" y="611730"/>
                  </a:lnTo>
                  <a:lnTo>
                    <a:pt x="45921" y="568091"/>
                  </a:lnTo>
                  <a:lnTo>
                    <a:pt x="61922" y="525508"/>
                  </a:lnTo>
                  <a:lnTo>
                    <a:pt x="80119" y="484053"/>
                  </a:lnTo>
                  <a:lnTo>
                    <a:pt x="100439" y="443796"/>
                  </a:lnTo>
                  <a:lnTo>
                    <a:pt x="122813" y="404809"/>
                  </a:lnTo>
                  <a:lnTo>
                    <a:pt x="147168" y="367163"/>
                  </a:lnTo>
                  <a:lnTo>
                    <a:pt x="173434" y="330929"/>
                  </a:lnTo>
                  <a:lnTo>
                    <a:pt x="201539" y="296179"/>
                  </a:lnTo>
                  <a:lnTo>
                    <a:pt x="231412" y="262983"/>
                  </a:lnTo>
                  <a:lnTo>
                    <a:pt x="262982" y="231413"/>
                  </a:lnTo>
                  <a:lnTo>
                    <a:pt x="296178" y="201539"/>
                  </a:lnTo>
                  <a:lnTo>
                    <a:pt x="330929" y="173434"/>
                  </a:lnTo>
                  <a:lnTo>
                    <a:pt x="367163" y="147169"/>
                  </a:lnTo>
                  <a:lnTo>
                    <a:pt x="404809" y="122813"/>
                  </a:lnTo>
                  <a:lnTo>
                    <a:pt x="443796" y="100440"/>
                  </a:lnTo>
                  <a:lnTo>
                    <a:pt x="484053" y="80119"/>
                  </a:lnTo>
                  <a:lnTo>
                    <a:pt x="525508" y="61922"/>
                  </a:lnTo>
                  <a:lnTo>
                    <a:pt x="568091" y="45921"/>
                  </a:lnTo>
                  <a:lnTo>
                    <a:pt x="611730" y="32186"/>
                  </a:lnTo>
                  <a:lnTo>
                    <a:pt x="656354" y="20789"/>
                  </a:lnTo>
                  <a:lnTo>
                    <a:pt x="701892" y="11800"/>
                  </a:lnTo>
                  <a:lnTo>
                    <a:pt x="748273" y="5292"/>
                  </a:lnTo>
                  <a:lnTo>
                    <a:pt x="795425" y="1334"/>
                  </a:lnTo>
                  <a:lnTo>
                    <a:pt x="843278" y="0"/>
                  </a:lnTo>
                  <a:lnTo>
                    <a:pt x="891130" y="1334"/>
                  </a:lnTo>
                  <a:lnTo>
                    <a:pt x="938283" y="5292"/>
                  </a:lnTo>
                  <a:lnTo>
                    <a:pt x="984663" y="11800"/>
                  </a:lnTo>
                  <a:lnTo>
                    <a:pt x="1030201" y="20789"/>
                  </a:lnTo>
                  <a:lnTo>
                    <a:pt x="1074825" y="32186"/>
                  </a:lnTo>
                  <a:lnTo>
                    <a:pt x="1118465" y="45921"/>
                  </a:lnTo>
                  <a:lnTo>
                    <a:pt x="1161047" y="61922"/>
                  </a:lnTo>
                  <a:lnTo>
                    <a:pt x="1202503" y="80119"/>
                  </a:lnTo>
                  <a:lnTo>
                    <a:pt x="1242760" y="100440"/>
                  </a:lnTo>
                  <a:lnTo>
                    <a:pt x="1281747" y="122813"/>
                  </a:lnTo>
                  <a:lnTo>
                    <a:pt x="1319393" y="147169"/>
                  </a:lnTo>
                  <a:lnTo>
                    <a:pt x="1355627" y="173434"/>
                  </a:lnTo>
                  <a:lnTo>
                    <a:pt x="1390377" y="201539"/>
                  </a:lnTo>
                  <a:lnTo>
                    <a:pt x="1423573" y="231413"/>
                  </a:lnTo>
                  <a:lnTo>
                    <a:pt x="1455143" y="262983"/>
                  </a:lnTo>
                  <a:lnTo>
                    <a:pt x="1485016" y="296179"/>
                  </a:lnTo>
                  <a:lnTo>
                    <a:pt x="1513122" y="330929"/>
                  </a:lnTo>
                  <a:lnTo>
                    <a:pt x="1539387" y="367163"/>
                  </a:lnTo>
                  <a:lnTo>
                    <a:pt x="1563743" y="404809"/>
                  </a:lnTo>
                  <a:lnTo>
                    <a:pt x="1586116" y="443796"/>
                  </a:lnTo>
                  <a:lnTo>
                    <a:pt x="1606437" y="484053"/>
                  </a:lnTo>
                  <a:lnTo>
                    <a:pt x="1624634" y="525508"/>
                  </a:lnTo>
                  <a:lnTo>
                    <a:pt x="1640635" y="568091"/>
                  </a:lnTo>
                  <a:lnTo>
                    <a:pt x="1654370" y="611730"/>
                  </a:lnTo>
                  <a:lnTo>
                    <a:pt x="1665767" y="656355"/>
                  </a:lnTo>
                  <a:lnTo>
                    <a:pt x="1674756" y="701893"/>
                  </a:lnTo>
                  <a:lnTo>
                    <a:pt x="1681264" y="748273"/>
                  </a:lnTo>
                  <a:lnTo>
                    <a:pt x="1685222" y="795426"/>
                  </a:lnTo>
                  <a:lnTo>
                    <a:pt x="1686556" y="843286"/>
                  </a:lnTo>
                  <a:lnTo>
                    <a:pt x="1685222" y="891131"/>
                  </a:lnTo>
                  <a:lnTo>
                    <a:pt x="1681264" y="938283"/>
                  </a:lnTo>
                  <a:lnTo>
                    <a:pt x="1674756" y="984664"/>
                  </a:lnTo>
                  <a:lnTo>
                    <a:pt x="1665767" y="1030202"/>
                  </a:lnTo>
                  <a:lnTo>
                    <a:pt x="1654370" y="1074826"/>
                  </a:lnTo>
                  <a:lnTo>
                    <a:pt x="1640635" y="1118465"/>
                  </a:lnTo>
                  <a:lnTo>
                    <a:pt x="1624634" y="1161048"/>
                  </a:lnTo>
                  <a:lnTo>
                    <a:pt x="1606437" y="1202503"/>
                  </a:lnTo>
                  <a:lnTo>
                    <a:pt x="1586116" y="1242760"/>
                  </a:lnTo>
                  <a:lnTo>
                    <a:pt x="1563743" y="1281747"/>
                  </a:lnTo>
                  <a:lnTo>
                    <a:pt x="1539387" y="1319393"/>
                  </a:lnTo>
                  <a:lnTo>
                    <a:pt x="1513122" y="1355627"/>
                  </a:lnTo>
                  <a:lnTo>
                    <a:pt x="1485016" y="1390377"/>
                  </a:lnTo>
                  <a:lnTo>
                    <a:pt x="1455143" y="1423573"/>
                  </a:lnTo>
                  <a:lnTo>
                    <a:pt x="1423573" y="1455143"/>
                  </a:lnTo>
                  <a:lnTo>
                    <a:pt x="1390377" y="1485017"/>
                  </a:lnTo>
                  <a:lnTo>
                    <a:pt x="1355627" y="1513122"/>
                  </a:lnTo>
                  <a:lnTo>
                    <a:pt x="1319393" y="1539388"/>
                  </a:lnTo>
                  <a:lnTo>
                    <a:pt x="1281747" y="1563743"/>
                  </a:lnTo>
                  <a:lnTo>
                    <a:pt x="1242760" y="1586116"/>
                  </a:lnTo>
                  <a:lnTo>
                    <a:pt x="1202503" y="1606437"/>
                  </a:lnTo>
                  <a:lnTo>
                    <a:pt x="1161047" y="1624634"/>
                  </a:lnTo>
                  <a:lnTo>
                    <a:pt x="1118465" y="1640635"/>
                  </a:lnTo>
                  <a:lnTo>
                    <a:pt x="1074825" y="1654370"/>
                  </a:lnTo>
                  <a:lnTo>
                    <a:pt x="1030201" y="1665767"/>
                  </a:lnTo>
                  <a:lnTo>
                    <a:pt x="984663" y="1674756"/>
                  </a:lnTo>
                  <a:lnTo>
                    <a:pt x="938283" y="1681264"/>
                  </a:lnTo>
                  <a:lnTo>
                    <a:pt x="891130" y="1685222"/>
                  </a:lnTo>
                  <a:lnTo>
                    <a:pt x="843306" y="1686556"/>
                  </a:lnTo>
                  <a:close/>
                </a:path>
              </a:pathLst>
            </a:custGeom>
            <a:solidFill>
              <a:srgbClr val="0090AE"/>
            </a:solidFill>
          </p:spPr>
          <p:txBody>
            <a:bodyPr wrap="square" lIns="0" tIns="0" rIns="0" bIns="0" rtlCol="0"/>
            <a:lstStyle/>
            <a:p>
              <a:endParaRPr/>
            </a:p>
          </p:txBody>
        </p:sp>
      </p:grpSp>
      <p:sp>
        <p:nvSpPr>
          <p:cNvPr id="18" name="object 18"/>
          <p:cNvSpPr/>
          <p:nvPr/>
        </p:nvSpPr>
        <p:spPr>
          <a:xfrm>
            <a:off x="9041158" y="8111853"/>
            <a:ext cx="3568065" cy="924560"/>
          </a:xfrm>
          <a:custGeom>
            <a:avLst/>
            <a:gdLst/>
            <a:ahLst/>
            <a:cxnLst/>
            <a:rect l="l" t="t" r="r" b="b"/>
            <a:pathLst>
              <a:path w="3568065" h="924559">
                <a:moveTo>
                  <a:pt x="0" y="0"/>
                </a:moveTo>
                <a:lnTo>
                  <a:pt x="3567867" y="0"/>
                </a:lnTo>
                <a:lnTo>
                  <a:pt x="3567867" y="924082"/>
                </a:lnTo>
                <a:lnTo>
                  <a:pt x="0" y="924082"/>
                </a:lnTo>
                <a:lnTo>
                  <a:pt x="0" y="0"/>
                </a:lnTo>
                <a:close/>
              </a:path>
            </a:pathLst>
          </a:custGeom>
          <a:solidFill>
            <a:srgbClr val="21408B"/>
          </a:solidFill>
        </p:spPr>
        <p:txBody>
          <a:bodyPr wrap="square" lIns="0" tIns="0" rIns="0" bIns="0" rtlCol="0"/>
          <a:lstStyle/>
          <a:p>
            <a:endParaRPr/>
          </a:p>
        </p:txBody>
      </p:sp>
      <p:grpSp>
        <p:nvGrpSpPr>
          <p:cNvPr id="19" name="object 19"/>
          <p:cNvGrpSpPr/>
          <p:nvPr/>
        </p:nvGrpSpPr>
        <p:grpSpPr>
          <a:xfrm>
            <a:off x="12732912" y="8111853"/>
            <a:ext cx="3568065" cy="924560"/>
            <a:chOff x="12732912" y="8111853"/>
            <a:chExt cx="3568065" cy="924560"/>
          </a:xfrm>
        </p:grpSpPr>
        <p:sp>
          <p:nvSpPr>
            <p:cNvPr id="20" name="object 20"/>
            <p:cNvSpPr/>
            <p:nvPr/>
          </p:nvSpPr>
          <p:spPr>
            <a:xfrm>
              <a:off x="12732912" y="8111853"/>
              <a:ext cx="3568065" cy="924560"/>
            </a:xfrm>
            <a:custGeom>
              <a:avLst/>
              <a:gdLst/>
              <a:ahLst/>
              <a:cxnLst/>
              <a:rect l="l" t="t" r="r" b="b"/>
              <a:pathLst>
                <a:path w="3568065" h="924559">
                  <a:moveTo>
                    <a:pt x="0" y="0"/>
                  </a:moveTo>
                  <a:lnTo>
                    <a:pt x="3567867" y="0"/>
                  </a:lnTo>
                  <a:lnTo>
                    <a:pt x="3567867" y="924082"/>
                  </a:lnTo>
                  <a:lnTo>
                    <a:pt x="0" y="924082"/>
                  </a:lnTo>
                  <a:lnTo>
                    <a:pt x="0" y="0"/>
                  </a:lnTo>
                  <a:close/>
                </a:path>
              </a:pathLst>
            </a:custGeom>
            <a:solidFill>
              <a:srgbClr val="21408B"/>
            </a:solidFill>
          </p:spPr>
          <p:txBody>
            <a:bodyPr wrap="square" lIns="0" tIns="0" rIns="0" bIns="0" rtlCol="0"/>
            <a:lstStyle/>
            <a:p>
              <a:endParaRPr/>
            </a:p>
          </p:txBody>
        </p:sp>
        <p:pic>
          <p:nvPicPr>
            <p:cNvPr id="21" name="object 21"/>
            <p:cNvPicPr/>
            <p:nvPr/>
          </p:nvPicPr>
          <p:blipFill>
            <a:blip r:embed="rId2" cstate="print"/>
            <a:stretch>
              <a:fillRect/>
            </a:stretch>
          </p:blipFill>
          <p:spPr>
            <a:xfrm>
              <a:off x="14291297" y="8305183"/>
              <a:ext cx="151840" cy="201639"/>
            </a:xfrm>
            <a:prstGeom prst="rect">
              <a:avLst/>
            </a:prstGeom>
          </p:spPr>
        </p:pic>
        <p:sp>
          <p:nvSpPr>
            <p:cNvPr id="22" name="object 22"/>
            <p:cNvSpPr/>
            <p:nvPr/>
          </p:nvSpPr>
          <p:spPr>
            <a:xfrm>
              <a:off x="14478178" y="8393383"/>
              <a:ext cx="270510" cy="365760"/>
            </a:xfrm>
            <a:custGeom>
              <a:avLst/>
              <a:gdLst/>
              <a:ahLst/>
              <a:cxnLst/>
              <a:rect l="l" t="t" r="r" b="b"/>
              <a:pathLst>
                <a:path w="270509" h="365759">
                  <a:moveTo>
                    <a:pt x="139445" y="365560"/>
                  </a:moveTo>
                  <a:lnTo>
                    <a:pt x="130873" y="365560"/>
                  </a:lnTo>
                  <a:lnTo>
                    <a:pt x="126872" y="363433"/>
                  </a:lnTo>
                  <a:lnTo>
                    <a:pt x="124586" y="359888"/>
                  </a:lnTo>
                  <a:lnTo>
                    <a:pt x="18716" y="202065"/>
                  </a:lnTo>
                  <a:lnTo>
                    <a:pt x="10608" y="186148"/>
                  </a:lnTo>
                  <a:lnTo>
                    <a:pt x="4750" y="169380"/>
                  </a:lnTo>
                  <a:lnTo>
                    <a:pt x="1196" y="151974"/>
                  </a:lnTo>
                  <a:lnTo>
                    <a:pt x="0" y="134142"/>
                  </a:lnTo>
                  <a:lnTo>
                    <a:pt x="6951" y="91768"/>
                  </a:lnTo>
                  <a:lnTo>
                    <a:pt x="26158" y="54948"/>
                  </a:lnTo>
                  <a:lnTo>
                    <a:pt x="55405" y="25900"/>
                  </a:lnTo>
                  <a:lnTo>
                    <a:pt x="92477" y="6844"/>
                  </a:lnTo>
                  <a:lnTo>
                    <a:pt x="135159" y="0"/>
                  </a:lnTo>
                  <a:lnTo>
                    <a:pt x="177855" y="6899"/>
                  </a:lnTo>
                  <a:lnTo>
                    <a:pt x="214954" y="25961"/>
                  </a:lnTo>
                  <a:lnTo>
                    <a:pt x="244222" y="54988"/>
                  </a:lnTo>
                  <a:lnTo>
                    <a:pt x="260147" y="85505"/>
                  </a:lnTo>
                  <a:lnTo>
                    <a:pt x="135159" y="85505"/>
                  </a:lnTo>
                  <a:lnTo>
                    <a:pt x="116110" y="89336"/>
                  </a:lnTo>
                  <a:lnTo>
                    <a:pt x="100530" y="99774"/>
                  </a:lnTo>
                  <a:lnTo>
                    <a:pt x="90013" y="115237"/>
                  </a:lnTo>
                  <a:lnTo>
                    <a:pt x="86153" y="134142"/>
                  </a:lnTo>
                  <a:lnTo>
                    <a:pt x="90013" y="153048"/>
                  </a:lnTo>
                  <a:lnTo>
                    <a:pt x="100530" y="168511"/>
                  </a:lnTo>
                  <a:lnTo>
                    <a:pt x="116110" y="178949"/>
                  </a:lnTo>
                  <a:lnTo>
                    <a:pt x="135159" y="182780"/>
                  </a:lnTo>
                  <a:lnTo>
                    <a:pt x="260925" y="182780"/>
                  </a:lnTo>
                  <a:lnTo>
                    <a:pt x="259911" y="185689"/>
                  </a:lnTo>
                  <a:lnTo>
                    <a:pt x="251888" y="201498"/>
                  </a:lnTo>
                  <a:lnTo>
                    <a:pt x="243030" y="214969"/>
                  </a:lnTo>
                  <a:lnTo>
                    <a:pt x="145732" y="359888"/>
                  </a:lnTo>
                  <a:lnTo>
                    <a:pt x="143446" y="363433"/>
                  </a:lnTo>
                  <a:lnTo>
                    <a:pt x="139445" y="365560"/>
                  </a:lnTo>
                  <a:close/>
                </a:path>
                <a:path w="270509" h="365759">
                  <a:moveTo>
                    <a:pt x="260925" y="182780"/>
                  </a:moveTo>
                  <a:lnTo>
                    <a:pt x="135159" y="182780"/>
                  </a:lnTo>
                  <a:lnTo>
                    <a:pt x="154269" y="178949"/>
                  </a:lnTo>
                  <a:lnTo>
                    <a:pt x="169842" y="168511"/>
                  </a:lnTo>
                  <a:lnTo>
                    <a:pt x="180326" y="153048"/>
                  </a:lnTo>
                  <a:lnTo>
                    <a:pt x="184165" y="134142"/>
                  </a:lnTo>
                  <a:lnTo>
                    <a:pt x="180305" y="115237"/>
                  </a:lnTo>
                  <a:lnTo>
                    <a:pt x="169789" y="99774"/>
                  </a:lnTo>
                  <a:lnTo>
                    <a:pt x="154208" y="89336"/>
                  </a:lnTo>
                  <a:lnTo>
                    <a:pt x="135159" y="85505"/>
                  </a:lnTo>
                  <a:lnTo>
                    <a:pt x="260147" y="85505"/>
                  </a:lnTo>
                  <a:lnTo>
                    <a:pt x="263422" y="91782"/>
                  </a:lnTo>
                  <a:lnTo>
                    <a:pt x="270319" y="134142"/>
                  </a:lnTo>
                  <a:lnTo>
                    <a:pt x="269207" y="151785"/>
                  </a:lnTo>
                  <a:lnTo>
                    <a:pt x="265711" y="169043"/>
                  </a:lnTo>
                  <a:lnTo>
                    <a:pt x="260925" y="182780"/>
                  </a:lnTo>
                  <a:close/>
                </a:path>
              </a:pathLst>
            </a:custGeom>
            <a:solidFill>
              <a:srgbClr val="FFFFFF"/>
            </a:solidFill>
          </p:spPr>
          <p:txBody>
            <a:bodyPr wrap="square" lIns="0" tIns="0" rIns="0" bIns="0" rtlCol="0"/>
            <a:lstStyle/>
            <a:p>
              <a:endParaRPr/>
            </a:p>
          </p:txBody>
        </p:sp>
        <p:pic>
          <p:nvPicPr>
            <p:cNvPr id="23" name="object 23"/>
            <p:cNvPicPr/>
            <p:nvPr/>
          </p:nvPicPr>
          <p:blipFill>
            <a:blip r:embed="rId3" cstate="print"/>
            <a:stretch>
              <a:fillRect/>
            </a:stretch>
          </p:blipFill>
          <p:spPr>
            <a:xfrm>
              <a:off x="14354877" y="8532063"/>
              <a:ext cx="215884" cy="226880"/>
            </a:xfrm>
            <a:prstGeom prst="rect">
              <a:avLst/>
            </a:prstGeom>
          </p:spPr>
        </p:pic>
        <p:sp>
          <p:nvSpPr>
            <p:cNvPr id="24" name="object 24"/>
            <p:cNvSpPr/>
            <p:nvPr/>
          </p:nvSpPr>
          <p:spPr>
            <a:xfrm>
              <a:off x="13489699" y="8276792"/>
              <a:ext cx="2082800" cy="476884"/>
            </a:xfrm>
            <a:custGeom>
              <a:avLst/>
              <a:gdLst/>
              <a:ahLst/>
              <a:cxnLst/>
              <a:rect l="l" t="t" r="r" b="b"/>
              <a:pathLst>
                <a:path w="2082800" h="476884">
                  <a:moveTo>
                    <a:pt x="312737" y="306158"/>
                  </a:moveTo>
                  <a:lnTo>
                    <a:pt x="308381" y="277977"/>
                  </a:lnTo>
                  <a:lnTo>
                    <a:pt x="306793" y="267677"/>
                  </a:lnTo>
                  <a:lnTo>
                    <a:pt x="286473" y="238734"/>
                  </a:lnTo>
                  <a:lnTo>
                    <a:pt x="248894" y="216839"/>
                  </a:lnTo>
                  <a:lnTo>
                    <a:pt x="240360" y="214274"/>
                  </a:lnTo>
                  <a:lnTo>
                    <a:pt x="240360" y="311162"/>
                  </a:lnTo>
                  <a:lnTo>
                    <a:pt x="237667" y="325272"/>
                  </a:lnTo>
                  <a:lnTo>
                    <a:pt x="228003" y="337134"/>
                  </a:lnTo>
                  <a:lnTo>
                    <a:pt x="212204" y="345998"/>
                  </a:lnTo>
                  <a:lnTo>
                    <a:pt x="191109" y="351155"/>
                  </a:lnTo>
                  <a:lnTo>
                    <a:pt x="191109" y="349719"/>
                  </a:lnTo>
                  <a:lnTo>
                    <a:pt x="191109" y="277977"/>
                  </a:lnTo>
                  <a:lnTo>
                    <a:pt x="211264" y="281152"/>
                  </a:lnTo>
                  <a:lnTo>
                    <a:pt x="226466" y="287985"/>
                  </a:lnTo>
                  <a:lnTo>
                    <a:pt x="236308" y="298107"/>
                  </a:lnTo>
                  <a:lnTo>
                    <a:pt x="240360" y="311162"/>
                  </a:lnTo>
                  <a:lnTo>
                    <a:pt x="240360" y="214274"/>
                  </a:lnTo>
                  <a:lnTo>
                    <a:pt x="191147" y="199466"/>
                  </a:lnTo>
                  <a:lnTo>
                    <a:pt x="191147" y="188074"/>
                  </a:lnTo>
                  <a:lnTo>
                    <a:pt x="191147" y="124663"/>
                  </a:lnTo>
                  <a:lnTo>
                    <a:pt x="191147" y="124510"/>
                  </a:lnTo>
                  <a:lnTo>
                    <a:pt x="207581" y="130581"/>
                  </a:lnTo>
                  <a:lnTo>
                    <a:pt x="218897" y="140957"/>
                  </a:lnTo>
                  <a:lnTo>
                    <a:pt x="226491" y="154495"/>
                  </a:lnTo>
                  <a:lnTo>
                    <a:pt x="231775" y="170040"/>
                  </a:lnTo>
                  <a:lnTo>
                    <a:pt x="305612" y="170040"/>
                  </a:lnTo>
                  <a:lnTo>
                    <a:pt x="295325" y="124510"/>
                  </a:lnTo>
                  <a:lnTo>
                    <a:pt x="270319" y="86309"/>
                  </a:lnTo>
                  <a:lnTo>
                    <a:pt x="234632" y="62471"/>
                  </a:lnTo>
                  <a:lnTo>
                    <a:pt x="189522" y="47739"/>
                  </a:lnTo>
                  <a:lnTo>
                    <a:pt x="189522" y="0"/>
                  </a:lnTo>
                  <a:lnTo>
                    <a:pt x="119748" y="0"/>
                  </a:lnTo>
                  <a:lnTo>
                    <a:pt x="119748" y="124663"/>
                  </a:lnTo>
                  <a:lnTo>
                    <a:pt x="119748" y="188074"/>
                  </a:lnTo>
                  <a:lnTo>
                    <a:pt x="104444" y="186270"/>
                  </a:lnTo>
                  <a:lnTo>
                    <a:pt x="93129" y="181305"/>
                  </a:lnTo>
                  <a:lnTo>
                    <a:pt x="85813" y="173278"/>
                  </a:lnTo>
                  <a:lnTo>
                    <a:pt x="82524" y="162306"/>
                  </a:lnTo>
                  <a:lnTo>
                    <a:pt x="83769" y="149148"/>
                  </a:lnTo>
                  <a:lnTo>
                    <a:pt x="90424" y="138341"/>
                  </a:lnTo>
                  <a:lnTo>
                    <a:pt x="102425" y="130111"/>
                  </a:lnTo>
                  <a:lnTo>
                    <a:pt x="119748" y="124663"/>
                  </a:lnTo>
                  <a:lnTo>
                    <a:pt x="119748" y="0"/>
                  </a:lnTo>
                  <a:lnTo>
                    <a:pt x="118808" y="0"/>
                  </a:lnTo>
                  <a:lnTo>
                    <a:pt x="118808" y="47866"/>
                  </a:lnTo>
                  <a:lnTo>
                    <a:pt x="67348" y="68618"/>
                  </a:lnTo>
                  <a:lnTo>
                    <a:pt x="31877" y="93878"/>
                  </a:lnTo>
                  <a:lnTo>
                    <a:pt x="11569" y="124764"/>
                  </a:lnTo>
                  <a:lnTo>
                    <a:pt x="5638" y="162382"/>
                  </a:lnTo>
                  <a:lnTo>
                    <a:pt x="15786" y="208038"/>
                  </a:lnTo>
                  <a:lnTo>
                    <a:pt x="40741" y="237845"/>
                  </a:lnTo>
                  <a:lnTo>
                    <a:pt x="76250" y="256095"/>
                  </a:lnTo>
                  <a:lnTo>
                    <a:pt x="118033" y="267042"/>
                  </a:lnTo>
                  <a:lnTo>
                    <a:pt x="118033" y="349719"/>
                  </a:lnTo>
                  <a:lnTo>
                    <a:pt x="100279" y="340487"/>
                  </a:lnTo>
                  <a:lnTo>
                    <a:pt x="88303" y="327329"/>
                  </a:lnTo>
                  <a:lnTo>
                    <a:pt x="80518" y="311454"/>
                  </a:lnTo>
                  <a:lnTo>
                    <a:pt x="75323" y="294068"/>
                  </a:lnTo>
                  <a:lnTo>
                    <a:pt x="0" y="294068"/>
                  </a:lnTo>
                  <a:lnTo>
                    <a:pt x="12801" y="343852"/>
                  </a:lnTo>
                  <a:lnTo>
                    <a:pt x="38074" y="381469"/>
                  </a:lnTo>
                  <a:lnTo>
                    <a:pt x="74307" y="408647"/>
                  </a:lnTo>
                  <a:lnTo>
                    <a:pt x="120002" y="427126"/>
                  </a:lnTo>
                  <a:lnTo>
                    <a:pt x="120002" y="476313"/>
                  </a:lnTo>
                  <a:lnTo>
                    <a:pt x="190207" y="476313"/>
                  </a:lnTo>
                  <a:lnTo>
                    <a:pt x="190207" y="427570"/>
                  </a:lnTo>
                  <a:lnTo>
                    <a:pt x="241630" y="410197"/>
                  </a:lnTo>
                  <a:lnTo>
                    <a:pt x="280060" y="383209"/>
                  </a:lnTo>
                  <a:lnTo>
                    <a:pt x="302069" y="351155"/>
                  </a:lnTo>
                  <a:lnTo>
                    <a:pt x="304203" y="348043"/>
                  </a:lnTo>
                  <a:lnTo>
                    <a:pt x="312737" y="306158"/>
                  </a:lnTo>
                  <a:close/>
                </a:path>
                <a:path w="2082800" h="476884">
                  <a:moveTo>
                    <a:pt x="2082444" y="96177"/>
                  </a:moveTo>
                  <a:lnTo>
                    <a:pt x="2077199" y="70053"/>
                  </a:lnTo>
                  <a:lnTo>
                    <a:pt x="2062899" y="48704"/>
                  </a:lnTo>
                  <a:lnTo>
                    <a:pt x="2041702" y="34302"/>
                  </a:lnTo>
                  <a:lnTo>
                    <a:pt x="2015769" y="29019"/>
                  </a:lnTo>
                  <a:lnTo>
                    <a:pt x="1989836" y="34302"/>
                  </a:lnTo>
                  <a:lnTo>
                    <a:pt x="1968639" y="48704"/>
                  </a:lnTo>
                  <a:lnTo>
                    <a:pt x="1954339" y="70053"/>
                  </a:lnTo>
                  <a:lnTo>
                    <a:pt x="1949094" y="96177"/>
                  </a:lnTo>
                  <a:lnTo>
                    <a:pt x="1949094" y="101549"/>
                  </a:lnTo>
                  <a:lnTo>
                    <a:pt x="1949869" y="106807"/>
                  </a:lnTo>
                  <a:lnTo>
                    <a:pt x="1951101" y="111848"/>
                  </a:lnTo>
                  <a:lnTo>
                    <a:pt x="1794408" y="203974"/>
                  </a:lnTo>
                  <a:lnTo>
                    <a:pt x="1784781" y="196418"/>
                  </a:lnTo>
                  <a:lnTo>
                    <a:pt x="1773859" y="190715"/>
                  </a:lnTo>
                  <a:lnTo>
                    <a:pt x="1761896" y="187096"/>
                  </a:lnTo>
                  <a:lnTo>
                    <a:pt x="1749069" y="185839"/>
                  </a:lnTo>
                  <a:lnTo>
                    <a:pt x="1723136" y="191122"/>
                  </a:lnTo>
                  <a:lnTo>
                    <a:pt x="1701939" y="205524"/>
                  </a:lnTo>
                  <a:lnTo>
                    <a:pt x="1687639" y="226872"/>
                  </a:lnTo>
                  <a:lnTo>
                    <a:pt x="1682394" y="253009"/>
                  </a:lnTo>
                  <a:lnTo>
                    <a:pt x="1687639" y="279133"/>
                  </a:lnTo>
                  <a:lnTo>
                    <a:pt x="1701939" y="300482"/>
                  </a:lnTo>
                  <a:lnTo>
                    <a:pt x="1723136" y="314883"/>
                  </a:lnTo>
                  <a:lnTo>
                    <a:pt x="1749069" y="320167"/>
                  </a:lnTo>
                  <a:lnTo>
                    <a:pt x="1761896" y="318909"/>
                  </a:lnTo>
                  <a:lnTo>
                    <a:pt x="1773859" y="315302"/>
                  </a:lnTo>
                  <a:lnTo>
                    <a:pt x="1784781" y="309587"/>
                  </a:lnTo>
                  <a:lnTo>
                    <a:pt x="1794408" y="302031"/>
                  </a:lnTo>
                  <a:lnTo>
                    <a:pt x="1952764" y="395058"/>
                  </a:lnTo>
                  <a:lnTo>
                    <a:pt x="1951647" y="399757"/>
                  </a:lnTo>
                  <a:lnTo>
                    <a:pt x="1950986" y="404685"/>
                  </a:lnTo>
                  <a:lnTo>
                    <a:pt x="1950986" y="409714"/>
                  </a:lnTo>
                  <a:lnTo>
                    <a:pt x="1956079" y="435127"/>
                  </a:lnTo>
                  <a:lnTo>
                    <a:pt x="1969960" y="455866"/>
                  </a:lnTo>
                  <a:lnTo>
                    <a:pt x="1990547" y="469849"/>
                  </a:lnTo>
                  <a:lnTo>
                    <a:pt x="2015769" y="474980"/>
                  </a:lnTo>
                  <a:lnTo>
                    <a:pt x="2040991" y="469849"/>
                  </a:lnTo>
                  <a:lnTo>
                    <a:pt x="2061578" y="455866"/>
                  </a:lnTo>
                  <a:lnTo>
                    <a:pt x="2075472" y="435127"/>
                  </a:lnTo>
                  <a:lnTo>
                    <a:pt x="2080552" y="409714"/>
                  </a:lnTo>
                  <a:lnTo>
                    <a:pt x="2075472" y="384314"/>
                  </a:lnTo>
                  <a:lnTo>
                    <a:pt x="2061578" y="363575"/>
                  </a:lnTo>
                  <a:lnTo>
                    <a:pt x="2040991" y="349592"/>
                  </a:lnTo>
                  <a:lnTo>
                    <a:pt x="2015769" y="344462"/>
                  </a:lnTo>
                  <a:lnTo>
                    <a:pt x="2003450" y="345655"/>
                  </a:lnTo>
                  <a:lnTo>
                    <a:pt x="1991931" y="349084"/>
                  </a:lnTo>
                  <a:lnTo>
                    <a:pt x="1981428" y="354520"/>
                  </a:lnTo>
                  <a:lnTo>
                    <a:pt x="1972094" y="361696"/>
                  </a:lnTo>
                  <a:lnTo>
                    <a:pt x="1813750" y="268681"/>
                  </a:lnTo>
                  <a:lnTo>
                    <a:pt x="1814969" y="263639"/>
                  </a:lnTo>
                  <a:lnTo>
                    <a:pt x="1815744" y="258381"/>
                  </a:lnTo>
                  <a:lnTo>
                    <a:pt x="1815744" y="247637"/>
                  </a:lnTo>
                  <a:lnTo>
                    <a:pt x="1814969" y="242366"/>
                  </a:lnTo>
                  <a:lnTo>
                    <a:pt x="1813750" y="237337"/>
                  </a:lnTo>
                  <a:lnTo>
                    <a:pt x="1970430" y="145211"/>
                  </a:lnTo>
                  <a:lnTo>
                    <a:pt x="1980057" y="152768"/>
                  </a:lnTo>
                  <a:lnTo>
                    <a:pt x="1990979" y="158470"/>
                  </a:lnTo>
                  <a:lnTo>
                    <a:pt x="2002955" y="162077"/>
                  </a:lnTo>
                  <a:lnTo>
                    <a:pt x="2015769" y="163347"/>
                  </a:lnTo>
                  <a:lnTo>
                    <a:pt x="2041702" y="158051"/>
                  </a:lnTo>
                  <a:lnTo>
                    <a:pt x="2062899" y="143649"/>
                  </a:lnTo>
                  <a:lnTo>
                    <a:pt x="2077199" y="122301"/>
                  </a:lnTo>
                  <a:lnTo>
                    <a:pt x="2082444" y="96177"/>
                  </a:lnTo>
                  <a:close/>
                </a:path>
              </a:pathLst>
            </a:custGeom>
            <a:solidFill>
              <a:srgbClr val="FFFFFF"/>
            </a:solidFill>
          </p:spPr>
          <p:txBody>
            <a:bodyPr wrap="square" lIns="0" tIns="0" rIns="0" bIns="0" rtlCol="0"/>
            <a:lstStyle/>
            <a:p>
              <a:endParaRPr/>
            </a:p>
          </p:txBody>
        </p:sp>
      </p:grpSp>
      <p:sp>
        <p:nvSpPr>
          <p:cNvPr id="25" name="object 25"/>
          <p:cNvSpPr txBox="1"/>
          <p:nvPr/>
        </p:nvSpPr>
        <p:spPr>
          <a:xfrm>
            <a:off x="9856487" y="4036057"/>
            <a:ext cx="1944370" cy="407670"/>
          </a:xfrm>
          <a:prstGeom prst="rect">
            <a:avLst/>
          </a:prstGeom>
        </p:spPr>
        <p:txBody>
          <a:bodyPr vert="horz" wrap="square" lIns="0" tIns="13335" rIns="0" bIns="0" rtlCol="0">
            <a:spAutoFit/>
          </a:bodyPr>
          <a:lstStyle/>
          <a:p>
            <a:pPr>
              <a:lnSpc>
                <a:spcPct val="100000"/>
              </a:lnSpc>
              <a:spcBef>
                <a:spcPts val="105"/>
              </a:spcBef>
            </a:pPr>
            <a:r>
              <a:rPr sz="2500" b="1" spc="85" dirty="0">
                <a:solidFill>
                  <a:srgbClr val="E3112B"/>
                </a:solidFill>
                <a:latin typeface="Arial"/>
                <a:cs typeface="Arial"/>
              </a:rPr>
              <a:t>Debilidades</a:t>
            </a:r>
            <a:endParaRPr sz="2500">
              <a:latin typeface="Arial"/>
              <a:cs typeface="Arial"/>
            </a:endParaRPr>
          </a:p>
        </p:txBody>
      </p:sp>
      <p:sp>
        <p:nvSpPr>
          <p:cNvPr id="26" name="object 26"/>
          <p:cNvSpPr txBox="1"/>
          <p:nvPr/>
        </p:nvSpPr>
        <p:spPr>
          <a:xfrm>
            <a:off x="9694711" y="4889496"/>
            <a:ext cx="2218690" cy="2549525"/>
          </a:xfrm>
          <a:prstGeom prst="rect">
            <a:avLst/>
          </a:prstGeom>
        </p:spPr>
        <p:txBody>
          <a:bodyPr vert="horz" wrap="square" lIns="0" tIns="27940" rIns="0" bIns="0" rtlCol="0">
            <a:spAutoFit/>
          </a:bodyPr>
          <a:lstStyle/>
          <a:p>
            <a:pPr marL="64135" marR="20320" algn="ctr">
              <a:lnSpc>
                <a:spcPts val="1800"/>
              </a:lnSpc>
              <a:spcBef>
                <a:spcPts val="220"/>
              </a:spcBef>
            </a:pPr>
            <a:r>
              <a:rPr sz="1550" b="1" dirty="0">
                <a:solidFill>
                  <a:srgbClr val="737373"/>
                </a:solidFill>
                <a:latin typeface="Roboto"/>
                <a:cs typeface="Roboto"/>
              </a:rPr>
              <a:t>Desconocimiento</a:t>
            </a:r>
            <a:r>
              <a:rPr sz="1550" b="1" spc="-75" dirty="0">
                <a:solidFill>
                  <a:srgbClr val="737373"/>
                </a:solidFill>
                <a:latin typeface="Roboto"/>
                <a:cs typeface="Roboto"/>
              </a:rPr>
              <a:t> </a:t>
            </a:r>
            <a:r>
              <a:rPr sz="1550" b="1" spc="-25" dirty="0">
                <a:solidFill>
                  <a:srgbClr val="737373"/>
                </a:solidFill>
                <a:latin typeface="Roboto"/>
                <a:cs typeface="Roboto"/>
              </a:rPr>
              <a:t>de </a:t>
            </a:r>
            <a:r>
              <a:rPr sz="1550" b="1" dirty="0">
                <a:solidFill>
                  <a:srgbClr val="737373"/>
                </a:solidFill>
                <a:latin typeface="Roboto"/>
                <a:cs typeface="Roboto"/>
              </a:rPr>
              <a:t>destinos</a:t>
            </a:r>
            <a:r>
              <a:rPr sz="1550" b="1" spc="-35" dirty="0">
                <a:solidFill>
                  <a:srgbClr val="737373"/>
                </a:solidFill>
                <a:latin typeface="Roboto"/>
                <a:cs typeface="Roboto"/>
              </a:rPr>
              <a:t> </a:t>
            </a:r>
            <a:r>
              <a:rPr sz="1550" spc="-10" dirty="0">
                <a:solidFill>
                  <a:srgbClr val="737373"/>
                </a:solidFill>
                <a:latin typeface="Roboto"/>
                <a:cs typeface="Roboto"/>
              </a:rPr>
              <a:t>emergentes</a:t>
            </a:r>
            <a:r>
              <a:rPr sz="1550" spc="-35" dirty="0">
                <a:solidFill>
                  <a:srgbClr val="737373"/>
                </a:solidFill>
                <a:latin typeface="Roboto"/>
                <a:cs typeface="Roboto"/>
              </a:rPr>
              <a:t> </a:t>
            </a:r>
            <a:r>
              <a:rPr sz="1550" spc="-25" dirty="0">
                <a:solidFill>
                  <a:srgbClr val="737373"/>
                </a:solidFill>
                <a:latin typeface="Roboto"/>
                <a:cs typeface="Roboto"/>
              </a:rPr>
              <a:t>en </a:t>
            </a:r>
            <a:r>
              <a:rPr sz="1550" dirty="0">
                <a:solidFill>
                  <a:srgbClr val="737373"/>
                </a:solidFill>
                <a:latin typeface="Roboto"/>
                <a:cs typeface="Roboto"/>
              </a:rPr>
              <a:t>mercados</a:t>
            </a:r>
            <a:r>
              <a:rPr sz="1550" spc="-70" dirty="0">
                <a:solidFill>
                  <a:srgbClr val="737373"/>
                </a:solidFill>
                <a:latin typeface="Roboto"/>
                <a:cs typeface="Roboto"/>
              </a:rPr>
              <a:t> </a:t>
            </a:r>
            <a:r>
              <a:rPr sz="1550" spc="-10" dirty="0">
                <a:solidFill>
                  <a:srgbClr val="737373"/>
                </a:solidFill>
                <a:latin typeface="Roboto"/>
                <a:cs typeface="Roboto"/>
              </a:rPr>
              <a:t>lejanos</a:t>
            </a:r>
            <a:endParaRPr sz="1550">
              <a:latin typeface="Roboto"/>
              <a:cs typeface="Roboto"/>
            </a:endParaRPr>
          </a:p>
          <a:p>
            <a:pPr>
              <a:lnSpc>
                <a:spcPct val="100000"/>
              </a:lnSpc>
              <a:spcBef>
                <a:spcPts val="40"/>
              </a:spcBef>
            </a:pPr>
            <a:endParaRPr sz="1250">
              <a:latin typeface="Roboto"/>
              <a:cs typeface="Roboto"/>
            </a:endParaRPr>
          </a:p>
          <a:p>
            <a:pPr marR="5080" algn="ctr">
              <a:lnSpc>
                <a:spcPts val="1830"/>
              </a:lnSpc>
            </a:pPr>
            <a:r>
              <a:rPr sz="1550" spc="-10" dirty="0">
                <a:solidFill>
                  <a:srgbClr val="737373"/>
                </a:solidFill>
                <a:latin typeface="Roboto"/>
                <a:cs typeface="Roboto"/>
              </a:rPr>
              <a:t>Percepción</a:t>
            </a:r>
            <a:r>
              <a:rPr sz="1550" spc="-20" dirty="0">
                <a:solidFill>
                  <a:srgbClr val="737373"/>
                </a:solidFill>
                <a:latin typeface="Roboto"/>
                <a:cs typeface="Roboto"/>
              </a:rPr>
              <a:t> </a:t>
            </a:r>
            <a:r>
              <a:rPr sz="1550" dirty="0">
                <a:solidFill>
                  <a:srgbClr val="737373"/>
                </a:solidFill>
                <a:latin typeface="Roboto"/>
                <a:cs typeface="Roboto"/>
              </a:rPr>
              <a:t>de</a:t>
            </a:r>
            <a:r>
              <a:rPr sz="1550" spc="-15" dirty="0">
                <a:solidFill>
                  <a:srgbClr val="737373"/>
                </a:solidFill>
                <a:latin typeface="Roboto"/>
                <a:cs typeface="Roboto"/>
              </a:rPr>
              <a:t> </a:t>
            </a:r>
            <a:r>
              <a:rPr sz="1550" spc="-10" dirty="0">
                <a:solidFill>
                  <a:srgbClr val="737373"/>
                </a:solidFill>
                <a:latin typeface="Roboto"/>
                <a:cs typeface="Roboto"/>
              </a:rPr>
              <a:t>destino</a:t>
            </a:r>
            <a:endParaRPr sz="1550">
              <a:latin typeface="Roboto"/>
              <a:cs typeface="Roboto"/>
            </a:endParaRPr>
          </a:p>
          <a:p>
            <a:pPr marL="36195" algn="ctr">
              <a:lnSpc>
                <a:spcPts val="1830"/>
              </a:lnSpc>
            </a:pPr>
            <a:r>
              <a:rPr sz="1550" b="1" dirty="0">
                <a:solidFill>
                  <a:srgbClr val="737373"/>
                </a:solidFill>
                <a:latin typeface="Roboto"/>
                <a:cs typeface="Roboto"/>
              </a:rPr>
              <a:t>complejo</a:t>
            </a:r>
            <a:r>
              <a:rPr sz="1550" b="1" spc="-20" dirty="0">
                <a:solidFill>
                  <a:srgbClr val="737373"/>
                </a:solidFill>
                <a:latin typeface="Roboto"/>
                <a:cs typeface="Roboto"/>
              </a:rPr>
              <a:t> </a:t>
            </a:r>
            <a:r>
              <a:rPr sz="1550" dirty="0">
                <a:solidFill>
                  <a:srgbClr val="737373"/>
                </a:solidFill>
                <a:latin typeface="Roboto"/>
                <a:cs typeface="Roboto"/>
              </a:rPr>
              <a:t>a</a:t>
            </a:r>
            <a:r>
              <a:rPr sz="1550" spc="-15" dirty="0">
                <a:solidFill>
                  <a:srgbClr val="737373"/>
                </a:solidFill>
                <a:latin typeface="Roboto"/>
                <a:cs typeface="Roboto"/>
              </a:rPr>
              <a:t> </a:t>
            </a:r>
            <a:r>
              <a:rPr sz="1550" spc="-10" dirty="0">
                <a:solidFill>
                  <a:srgbClr val="737373"/>
                </a:solidFill>
                <a:latin typeface="Roboto"/>
                <a:cs typeface="Roboto"/>
              </a:rPr>
              <a:t>visitar</a:t>
            </a:r>
            <a:endParaRPr sz="1550">
              <a:latin typeface="Roboto"/>
              <a:cs typeface="Roboto"/>
            </a:endParaRPr>
          </a:p>
          <a:p>
            <a:pPr>
              <a:lnSpc>
                <a:spcPct val="100000"/>
              </a:lnSpc>
              <a:spcBef>
                <a:spcPts val="5"/>
              </a:spcBef>
            </a:pPr>
            <a:endParaRPr sz="1400">
              <a:latin typeface="Roboto"/>
              <a:cs typeface="Roboto"/>
            </a:endParaRPr>
          </a:p>
          <a:p>
            <a:pPr marR="5080" algn="ctr">
              <a:lnSpc>
                <a:spcPts val="1800"/>
              </a:lnSpc>
            </a:pPr>
            <a:r>
              <a:rPr sz="1550" b="1" dirty="0">
                <a:solidFill>
                  <a:srgbClr val="737373"/>
                </a:solidFill>
                <a:latin typeface="Roboto"/>
                <a:cs typeface="Roboto"/>
              </a:rPr>
              <a:t>Bajos</a:t>
            </a:r>
            <a:r>
              <a:rPr sz="1550" b="1" spc="-35" dirty="0">
                <a:solidFill>
                  <a:srgbClr val="737373"/>
                </a:solidFill>
                <a:latin typeface="Roboto"/>
                <a:cs typeface="Roboto"/>
              </a:rPr>
              <a:t> </a:t>
            </a:r>
            <a:r>
              <a:rPr sz="1550" b="1" dirty="0">
                <a:solidFill>
                  <a:srgbClr val="737373"/>
                </a:solidFill>
                <a:latin typeface="Roboto"/>
                <a:cs typeface="Roboto"/>
              </a:rPr>
              <a:t>presupuestos</a:t>
            </a:r>
            <a:r>
              <a:rPr sz="1550" b="1" spc="-35" dirty="0">
                <a:solidFill>
                  <a:srgbClr val="737373"/>
                </a:solidFill>
                <a:latin typeface="Roboto"/>
                <a:cs typeface="Roboto"/>
              </a:rPr>
              <a:t> </a:t>
            </a:r>
            <a:r>
              <a:rPr sz="1550" spc="-20" dirty="0">
                <a:solidFill>
                  <a:srgbClr val="737373"/>
                </a:solidFill>
                <a:latin typeface="Roboto"/>
                <a:cs typeface="Roboto"/>
              </a:rPr>
              <a:t>para </a:t>
            </a:r>
            <a:r>
              <a:rPr sz="1550" dirty="0">
                <a:solidFill>
                  <a:srgbClr val="737373"/>
                </a:solidFill>
                <a:latin typeface="Roboto"/>
                <a:cs typeface="Roboto"/>
              </a:rPr>
              <a:t>promoción</a:t>
            </a:r>
            <a:r>
              <a:rPr sz="1550" spc="-85" dirty="0">
                <a:solidFill>
                  <a:srgbClr val="737373"/>
                </a:solidFill>
                <a:latin typeface="Roboto"/>
                <a:cs typeface="Roboto"/>
              </a:rPr>
              <a:t> </a:t>
            </a:r>
            <a:r>
              <a:rPr sz="1550" spc="-10" dirty="0">
                <a:solidFill>
                  <a:srgbClr val="737373"/>
                </a:solidFill>
                <a:latin typeface="Roboto"/>
                <a:cs typeface="Roboto"/>
              </a:rPr>
              <a:t>turística</a:t>
            </a:r>
            <a:r>
              <a:rPr sz="1550" spc="-80" dirty="0">
                <a:solidFill>
                  <a:srgbClr val="737373"/>
                </a:solidFill>
                <a:latin typeface="Roboto"/>
                <a:cs typeface="Roboto"/>
              </a:rPr>
              <a:t> </a:t>
            </a:r>
            <a:r>
              <a:rPr sz="1550" spc="-25" dirty="0">
                <a:solidFill>
                  <a:srgbClr val="737373"/>
                </a:solidFill>
                <a:latin typeface="Roboto"/>
                <a:cs typeface="Roboto"/>
              </a:rPr>
              <a:t>en </a:t>
            </a:r>
            <a:r>
              <a:rPr sz="1550" spc="-10" dirty="0">
                <a:solidFill>
                  <a:srgbClr val="737373"/>
                </a:solidFill>
                <a:latin typeface="Roboto"/>
                <a:cs typeface="Roboto"/>
              </a:rPr>
              <a:t>comparación</a:t>
            </a:r>
            <a:r>
              <a:rPr sz="1550" spc="-15" dirty="0">
                <a:solidFill>
                  <a:srgbClr val="737373"/>
                </a:solidFill>
                <a:latin typeface="Roboto"/>
                <a:cs typeface="Roboto"/>
              </a:rPr>
              <a:t> </a:t>
            </a:r>
            <a:r>
              <a:rPr sz="1550" spc="-50" dirty="0">
                <a:solidFill>
                  <a:srgbClr val="737373"/>
                </a:solidFill>
                <a:latin typeface="Roboto"/>
                <a:cs typeface="Roboto"/>
              </a:rPr>
              <a:t>a </a:t>
            </a:r>
            <a:r>
              <a:rPr sz="1550" spc="-10" dirty="0">
                <a:solidFill>
                  <a:srgbClr val="737373"/>
                </a:solidFill>
                <a:latin typeface="Roboto"/>
                <a:cs typeface="Roboto"/>
              </a:rPr>
              <a:t>competidores</a:t>
            </a:r>
            <a:endParaRPr sz="1550">
              <a:latin typeface="Roboto"/>
              <a:cs typeface="Roboto"/>
            </a:endParaRPr>
          </a:p>
        </p:txBody>
      </p:sp>
      <p:sp>
        <p:nvSpPr>
          <p:cNvPr id="27" name="object 27"/>
          <p:cNvSpPr txBox="1"/>
          <p:nvPr/>
        </p:nvSpPr>
        <p:spPr>
          <a:xfrm>
            <a:off x="13649627" y="4033656"/>
            <a:ext cx="1747520" cy="407670"/>
          </a:xfrm>
          <a:prstGeom prst="rect">
            <a:avLst/>
          </a:prstGeom>
        </p:spPr>
        <p:txBody>
          <a:bodyPr vert="horz" wrap="square" lIns="0" tIns="13335" rIns="0" bIns="0" rtlCol="0">
            <a:spAutoFit/>
          </a:bodyPr>
          <a:lstStyle/>
          <a:p>
            <a:pPr>
              <a:lnSpc>
                <a:spcPct val="100000"/>
              </a:lnSpc>
              <a:spcBef>
                <a:spcPts val="105"/>
              </a:spcBef>
            </a:pPr>
            <a:r>
              <a:rPr sz="2500" b="1" spc="140" dirty="0">
                <a:solidFill>
                  <a:srgbClr val="E3112B"/>
                </a:solidFill>
                <a:latin typeface="Arial"/>
                <a:cs typeface="Arial"/>
              </a:rPr>
              <a:t>Amenazas</a:t>
            </a:r>
            <a:endParaRPr sz="2500">
              <a:latin typeface="Arial"/>
              <a:cs typeface="Arial"/>
            </a:endParaRPr>
          </a:p>
        </p:txBody>
      </p:sp>
      <p:sp>
        <p:nvSpPr>
          <p:cNvPr id="28" name="object 28"/>
          <p:cNvSpPr txBox="1"/>
          <p:nvPr/>
        </p:nvSpPr>
        <p:spPr>
          <a:xfrm>
            <a:off x="13598396" y="4815531"/>
            <a:ext cx="1800860" cy="493395"/>
          </a:xfrm>
          <a:prstGeom prst="rect">
            <a:avLst/>
          </a:prstGeom>
        </p:spPr>
        <p:txBody>
          <a:bodyPr vert="horz" wrap="square" lIns="0" tIns="24765" rIns="0" bIns="0" rtlCol="0">
            <a:spAutoFit/>
          </a:bodyPr>
          <a:lstStyle/>
          <a:p>
            <a:pPr marL="98425" marR="5080" indent="-99060">
              <a:lnSpc>
                <a:spcPts val="1820"/>
              </a:lnSpc>
              <a:spcBef>
                <a:spcPts val="195"/>
              </a:spcBef>
            </a:pPr>
            <a:r>
              <a:rPr sz="1550" b="1" dirty="0">
                <a:solidFill>
                  <a:srgbClr val="737373"/>
                </a:solidFill>
                <a:latin typeface="Roboto"/>
                <a:cs typeface="Roboto"/>
              </a:rPr>
              <a:t>Principales</a:t>
            </a:r>
            <a:r>
              <a:rPr sz="1550" b="1" spc="-25" dirty="0">
                <a:solidFill>
                  <a:srgbClr val="737373"/>
                </a:solidFill>
                <a:latin typeface="Roboto"/>
                <a:cs typeface="Roboto"/>
              </a:rPr>
              <a:t> </a:t>
            </a:r>
            <a:r>
              <a:rPr sz="1550" b="1" spc="-10" dirty="0">
                <a:solidFill>
                  <a:srgbClr val="737373"/>
                </a:solidFill>
                <a:latin typeface="Roboto"/>
                <a:cs typeface="Roboto"/>
              </a:rPr>
              <a:t>barreras </a:t>
            </a:r>
            <a:r>
              <a:rPr sz="1550" b="1" dirty="0">
                <a:solidFill>
                  <a:srgbClr val="737373"/>
                </a:solidFill>
                <a:latin typeface="Roboto"/>
                <a:cs typeface="Roboto"/>
              </a:rPr>
              <a:t>para</a:t>
            </a:r>
            <a:r>
              <a:rPr sz="1550" b="1" spc="-10" dirty="0">
                <a:solidFill>
                  <a:srgbClr val="737373"/>
                </a:solidFill>
                <a:latin typeface="Roboto"/>
                <a:cs typeface="Roboto"/>
              </a:rPr>
              <a:t> </a:t>
            </a:r>
            <a:r>
              <a:rPr sz="1550" b="1" dirty="0">
                <a:solidFill>
                  <a:srgbClr val="737373"/>
                </a:solidFill>
                <a:latin typeface="Roboto"/>
                <a:cs typeface="Roboto"/>
              </a:rPr>
              <a:t>viajar</a:t>
            </a:r>
            <a:r>
              <a:rPr sz="1550" b="1" spc="-10" dirty="0">
                <a:solidFill>
                  <a:srgbClr val="737373"/>
                </a:solidFill>
                <a:latin typeface="Roboto"/>
                <a:cs typeface="Roboto"/>
              </a:rPr>
              <a:t> </a:t>
            </a:r>
            <a:r>
              <a:rPr sz="1550" b="1" dirty="0">
                <a:solidFill>
                  <a:srgbClr val="737373"/>
                </a:solidFill>
                <a:latin typeface="Roboto"/>
                <a:cs typeface="Roboto"/>
              </a:rPr>
              <a:t>a</a:t>
            </a:r>
            <a:r>
              <a:rPr sz="1550" b="1" spc="-10" dirty="0">
                <a:solidFill>
                  <a:srgbClr val="737373"/>
                </a:solidFill>
                <a:latin typeface="Roboto"/>
                <a:cs typeface="Roboto"/>
              </a:rPr>
              <a:t> Chile:</a:t>
            </a:r>
            <a:endParaRPr sz="1550">
              <a:latin typeface="Roboto"/>
              <a:cs typeface="Roboto"/>
            </a:endParaRPr>
          </a:p>
        </p:txBody>
      </p:sp>
      <p:sp>
        <p:nvSpPr>
          <p:cNvPr id="29" name="object 29"/>
          <p:cNvSpPr/>
          <p:nvPr/>
        </p:nvSpPr>
        <p:spPr>
          <a:xfrm>
            <a:off x="5733196" y="4548393"/>
            <a:ext cx="2800985" cy="0"/>
          </a:xfrm>
          <a:custGeom>
            <a:avLst/>
            <a:gdLst/>
            <a:ahLst/>
            <a:cxnLst/>
            <a:rect l="l" t="t" r="r" b="b"/>
            <a:pathLst>
              <a:path w="2800984">
                <a:moveTo>
                  <a:pt x="0" y="0"/>
                </a:moveTo>
                <a:lnTo>
                  <a:pt x="2800430" y="0"/>
                </a:lnTo>
              </a:path>
            </a:pathLst>
          </a:custGeom>
          <a:ln w="19049">
            <a:solidFill>
              <a:srgbClr val="D9D9D9"/>
            </a:solidFill>
          </a:ln>
        </p:spPr>
        <p:txBody>
          <a:bodyPr wrap="square" lIns="0" tIns="0" rIns="0" bIns="0" rtlCol="0"/>
          <a:lstStyle/>
          <a:p>
            <a:endParaRPr/>
          </a:p>
        </p:txBody>
      </p:sp>
      <p:sp>
        <p:nvSpPr>
          <p:cNvPr id="30" name="object 30"/>
          <p:cNvSpPr/>
          <p:nvPr/>
        </p:nvSpPr>
        <p:spPr>
          <a:xfrm>
            <a:off x="9424951" y="4548393"/>
            <a:ext cx="2800985" cy="0"/>
          </a:xfrm>
          <a:custGeom>
            <a:avLst/>
            <a:gdLst/>
            <a:ahLst/>
            <a:cxnLst/>
            <a:rect l="l" t="t" r="r" b="b"/>
            <a:pathLst>
              <a:path w="2800984">
                <a:moveTo>
                  <a:pt x="0" y="0"/>
                </a:moveTo>
                <a:lnTo>
                  <a:pt x="2800430" y="0"/>
                </a:lnTo>
              </a:path>
            </a:pathLst>
          </a:custGeom>
          <a:ln w="19049">
            <a:solidFill>
              <a:srgbClr val="D9D9D9"/>
            </a:solidFill>
          </a:ln>
        </p:spPr>
        <p:txBody>
          <a:bodyPr wrap="square" lIns="0" tIns="0" rIns="0" bIns="0" rtlCol="0"/>
          <a:lstStyle/>
          <a:p>
            <a:endParaRPr/>
          </a:p>
        </p:txBody>
      </p:sp>
      <p:sp>
        <p:nvSpPr>
          <p:cNvPr id="31" name="object 31"/>
          <p:cNvSpPr/>
          <p:nvPr/>
        </p:nvSpPr>
        <p:spPr>
          <a:xfrm>
            <a:off x="13116709" y="4548393"/>
            <a:ext cx="2800985" cy="0"/>
          </a:xfrm>
          <a:custGeom>
            <a:avLst/>
            <a:gdLst/>
            <a:ahLst/>
            <a:cxnLst/>
            <a:rect l="l" t="t" r="r" b="b"/>
            <a:pathLst>
              <a:path w="2800984">
                <a:moveTo>
                  <a:pt x="0" y="0"/>
                </a:moveTo>
                <a:lnTo>
                  <a:pt x="2800430" y="0"/>
                </a:lnTo>
              </a:path>
            </a:pathLst>
          </a:custGeom>
          <a:ln w="19049">
            <a:solidFill>
              <a:srgbClr val="D9D9D9"/>
            </a:solidFill>
          </a:ln>
        </p:spPr>
        <p:txBody>
          <a:bodyPr wrap="square" lIns="0" tIns="0" rIns="0" bIns="0" rtlCol="0"/>
          <a:lstStyle/>
          <a:p>
            <a:endParaRPr/>
          </a:p>
        </p:txBody>
      </p:sp>
      <p:sp>
        <p:nvSpPr>
          <p:cNvPr id="32" name="object 32"/>
          <p:cNvSpPr/>
          <p:nvPr/>
        </p:nvSpPr>
        <p:spPr>
          <a:xfrm>
            <a:off x="13999644" y="2409163"/>
            <a:ext cx="1038860" cy="914400"/>
          </a:xfrm>
          <a:custGeom>
            <a:avLst/>
            <a:gdLst/>
            <a:ahLst/>
            <a:cxnLst/>
            <a:rect l="l" t="t" r="r" b="b"/>
            <a:pathLst>
              <a:path w="1038859" h="914400">
                <a:moveTo>
                  <a:pt x="964799" y="913934"/>
                </a:moveTo>
                <a:lnTo>
                  <a:pt x="73540" y="913934"/>
                </a:lnTo>
                <a:lnTo>
                  <a:pt x="54344" y="911393"/>
                </a:lnTo>
                <a:lnTo>
                  <a:pt x="9863" y="877330"/>
                </a:lnTo>
                <a:lnTo>
                  <a:pt x="0" y="840784"/>
                </a:lnTo>
                <a:lnTo>
                  <a:pt x="2465" y="822017"/>
                </a:lnTo>
                <a:lnTo>
                  <a:pt x="455492" y="36603"/>
                </a:lnTo>
                <a:lnTo>
                  <a:pt x="499973" y="2524"/>
                </a:lnTo>
                <a:lnTo>
                  <a:pt x="519170" y="0"/>
                </a:lnTo>
                <a:lnTo>
                  <a:pt x="538366" y="2540"/>
                </a:lnTo>
                <a:lnTo>
                  <a:pt x="582847" y="36603"/>
                </a:lnTo>
                <a:lnTo>
                  <a:pt x="710142" y="255878"/>
                </a:lnTo>
                <a:lnTo>
                  <a:pt x="445686" y="255878"/>
                </a:lnTo>
                <a:lnTo>
                  <a:pt x="464028" y="621452"/>
                </a:lnTo>
                <a:lnTo>
                  <a:pt x="922365" y="621452"/>
                </a:lnTo>
                <a:lnTo>
                  <a:pt x="964863" y="694658"/>
                </a:lnTo>
                <a:lnTo>
                  <a:pt x="519170" y="694658"/>
                </a:lnTo>
                <a:lnTo>
                  <a:pt x="490557" y="700399"/>
                </a:lnTo>
                <a:lnTo>
                  <a:pt x="467201" y="716058"/>
                </a:lnTo>
                <a:lnTo>
                  <a:pt x="451458" y="739290"/>
                </a:lnTo>
                <a:lnTo>
                  <a:pt x="445686" y="767750"/>
                </a:lnTo>
                <a:lnTo>
                  <a:pt x="451458" y="796210"/>
                </a:lnTo>
                <a:lnTo>
                  <a:pt x="467201" y="819442"/>
                </a:lnTo>
                <a:lnTo>
                  <a:pt x="490557" y="835101"/>
                </a:lnTo>
                <a:lnTo>
                  <a:pt x="519170" y="840842"/>
                </a:lnTo>
                <a:lnTo>
                  <a:pt x="1038332" y="840842"/>
                </a:lnTo>
                <a:lnTo>
                  <a:pt x="1035874" y="859552"/>
                </a:lnTo>
                <a:lnTo>
                  <a:pt x="1028477" y="877330"/>
                </a:lnTo>
                <a:lnTo>
                  <a:pt x="1016678" y="892634"/>
                </a:lnTo>
                <a:lnTo>
                  <a:pt x="1001569" y="904152"/>
                </a:lnTo>
                <a:lnTo>
                  <a:pt x="983995" y="911409"/>
                </a:lnTo>
                <a:lnTo>
                  <a:pt x="964799" y="913934"/>
                </a:lnTo>
                <a:close/>
              </a:path>
              <a:path w="1038859" h="914400">
                <a:moveTo>
                  <a:pt x="922365" y="621452"/>
                </a:moveTo>
                <a:lnTo>
                  <a:pt x="574311" y="621452"/>
                </a:lnTo>
                <a:lnTo>
                  <a:pt x="592653" y="255878"/>
                </a:lnTo>
                <a:lnTo>
                  <a:pt x="710142" y="255878"/>
                </a:lnTo>
                <a:lnTo>
                  <a:pt x="922365" y="621452"/>
                </a:lnTo>
                <a:close/>
              </a:path>
              <a:path w="1038859" h="914400">
                <a:moveTo>
                  <a:pt x="1038332" y="840842"/>
                </a:moveTo>
                <a:lnTo>
                  <a:pt x="519170" y="840842"/>
                </a:lnTo>
                <a:lnTo>
                  <a:pt x="547782" y="835101"/>
                </a:lnTo>
                <a:lnTo>
                  <a:pt x="571139" y="819442"/>
                </a:lnTo>
                <a:lnTo>
                  <a:pt x="586881" y="796210"/>
                </a:lnTo>
                <a:lnTo>
                  <a:pt x="592653" y="767750"/>
                </a:lnTo>
                <a:lnTo>
                  <a:pt x="586881" y="739290"/>
                </a:lnTo>
                <a:lnTo>
                  <a:pt x="571139" y="716058"/>
                </a:lnTo>
                <a:lnTo>
                  <a:pt x="547782" y="700399"/>
                </a:lnTo>
                <a:lnTo>
                  <a:pt x="519170" y="694658"/>
                </a:lnTo>
                <a:lnTo>
                  <a:pt x="964863" y="694658"/>
                </a:lnTo>
                <a:lnTo>
                  <a:pt x="1028477" y="804238"/>
                </a:lnTo>
                <a:lnTo>
                  <a:pt x="1035874" y="822017"/>
                </a:lnTo>
                <a:lnTo>
                  <a:pt x="1038340" y="840784"/>
                </a:lnTo>
                <a:close/>
              </a:path>
            </a:pathLst>
          </a:custGeom>
          <a:solidFill>
            <a:srgbClr val="FFFFFF"/>
          </a:solidFill>
        </p:spPr>
        <p:txBody>
          <a:bodyPr wrap="square" lIns="0" tIns="0" rIns="0" bIns="0" rtlCol="0"/>
          <a:lstStyle/>
          <a:p>
            <a:endParaRPr/>
          </a:p>
        </p:txBody>
      </p:sp>
      <p:sp>
        <p:nvSpPr>
          <p:cNvPr id="33" name="object 33"/>
          <p:cNvSpPr/>
          <p:nvPr/>
        </p:nvSpPr>
        <p:spPr>
          <a:xfrm>
            <a:off x="6597116" y="2372892"/>
            <a:ext cx="1059815" cy="1016000"/>
          </a:xfrm>
          <a:custGeom>
            <a:avLst/>
            <a:gdLst/>
            <a:ahLst/>
            <a:cxnLst/>
            <a:rect l="l" t="t" r="r" b="b"/>
            <a:pathLst>
              <a:path w="1059815" h="1016000">
                <a:moveTo>
                  <a:pt x="143827" y="328930"/>
                </a:moveTo>
                <a:lnTo>
                  <a:pt x="38887" y="196850"/>
                </a:lnTo>
                <a:lnTo>
                  <a:pt x="23672" y="189230"/>
                </a:lnTo>
                <a:lnTo>
                  <a:pt x="15265" y="190500"/>
                </a:lnTo>
                <a:lnTo>
                  <a:pt x="7708" y="194310"/>
                </a:lnTo>
                <a:lnTo>
                  <a:pt x="2247" y="201930"/>
                </a:lnTo>
                <a:lnTo>
                  <a:pt x="0" y="209550"/>
                </a:lnTo>
                <a:lnTo>
                  <a:pt x="1016" y="218440"/>
                </a:lnTo>
                <a:lnTo>
                  <a:pt x="5359" y="226060"/>
                </a:lnTo>
                <a:lnTo>
                  <a:pt x="104940" y="341630"/>
                </a:lnTo>
                <a:lnTo>
                  <a:pt x="111887" y="346710"/>
                </a:lnTo>
                <a:lnTo>
                  <a:pt x="120027" y="349250"/>
                </a:lnTo>
                <a:lnTo>
                  <a:pt x="128422" y="347980"/>
                </a:lnTo>
                <a:lnTo>
                  <a:pt x="136118" y="344170"/>
                </a:lnTo>
                <a:lnTo>
                  <a:pt x="141579" y="336550"/>
                </a:lnTo>
                <a:lnTo>
                  <a:pt x="143827" y="328930"/>
                </a:lnTo>
                <a:close/>
              </a:path>
              <a:path w="1059815" h="1016000">
                <a:moveTo>
                  <a:pt x="334518" y="214630"/>
                </a:moveTo>
                <a:lnTo>
                  <a:pt x="279958" y="63500"/>
                </a:lnTo>
                <a:lnTo>
                  <a:pt x="260108" y="48260"/>
                </a:lnTo>
                <a:lnTo>
                  <a:pt x="251460" y="49530"/>
                </a:lnTo>
                <a:lnTo>
                  <a:pt x="243992" y="54610"/>
                </a:lnTo>
                <a:lnTo>
                  <a:pt x="239014" y="60960"/>
                </a:lnTo>
                <a:lnTo>
                  <a:pt x="236982" y="69850"/>
                </a:lnTo>
                <a:lnTo>
                  <a:pt x="238379" y="78740"/>
                </a:lnTo>
                <a:lnTo>
                  <a:pt x="291693" y="220980"/>
                </a:lnTo>
                <a:lnTo>
                  <a:pt x="296379" y="228600"/>
                </a:lnTo>
                <a:lnTo>
                  <a:pt x="303301" y="233680"/>
                </a:lnTo>
                <a:lnTo>
                  <a:pt x="311543" y="236220"/>
                </a:lnTo>
                <a:lnTo>
                  <a:pt x="320192" y="234950"/>
                </a:lnTo>
                <a:lnTo>
                  <a:pt x="327609" y="229870"/>
                </a:lnTo>
                <a:lnTo>
                  <a:pt x="332511" y="222250"/>
                </a:lnTo>
                <a:lnTo>
                  <a:pt x="334518" y="214630"/>
                </a:lnTo>
                <a:close/>
              </a:path>
              <a:path w="1059815" h="1016000">
                <a:moveTo>
                  <a:pt x="350799" y="593090"/>
                </a:moveTo>
                <a:lnTo>
                  <a:pt x="350621" y="580390"/>
                </a:lnTo>
                <a:lnTo>
                  <a:pt x="344284" y="570230"/>
                </a:lnTo>
                <a:lnTo>
                  <a:pt x="332600" y="565150"/>
                </a:lnTo>
                <a:lnTo>
                  <a:pt x="247103" y="552450"/>
                </a:lnTo>
                <a:lnTo>
                  <a:pt x="238252" y="534670"/>
                </a:lnTo>
                <a:lnTo>
                  <a:pt x="208546" y="474980"/>
                </a:lnTo>
                <a:lnTo>
                  <a:pt x="200101" y="466090"/>
                </a:lnTo>
                <a:lnTo>
                  <a:pt x="188760" y="462280"/>
                </a:lnTo>
                <a:lnTo>
                  <a:pt x="177419" y="464820"/>
                </a:lnTo>
                <a:lnTo>
                  <a:pt x="168973" y="474980"/>
                </a:lnTo>
                <a:lnTo>
                  <a:pt x="130416" y="552450"/>
                </a:lnTo>
                <a:lnTo>
                  <a:pt x="44589" y="565150"/>
                </a:lnTo>
                <a:lnTo>
                  <a:pt x="33172" y="570230"/>
                </a:lnTo>
                <a:lnTo>
                  <a:pt x="26695" y="580390"/>
                </a:lnTo>
                <a:lnTo>
                  <a:pt x="26060" y="591820"/>
                </a:lnTo>
                <a:lnTo>
                  <a:pt x="32181" y="603250"/>
                </a:lnTo>
                <a:lnTo>
                  <a:pt x="94208" y="664210"/>
                </a:lnTo>
                <a:lnTo>
                  <a:pt x="79794" y="749300"/>
                </a:lnTo>
                <a:lnTo>
                  <a:pt x="81292" y="762000"/>
                </a:lnTo>
                <a:lnTo>
                  <a:pt x="88722" y="770890"/>
                </a:lnTo>
                <a:lnTo>
                  <a:pt x="99733" y="775970"/>
                </a:lnTo>
                <a:lnTo>
                  <a:pt x="111975" y="773430"/>
                </a:lnTo>
                <a:lnTo>
                  <a:pt x="188760" y="732790"/>
                </a:lnTo>
                <a:lnTo>
                  <a:pt x="264198" y="772160"/>
                </a:lnTo>
                <a:lnTo>
                  <a:pt x="277304" y="775970"/>
                </a:lnTo>
                <a:lnTo>
                  <a:pt x="288594" y="770890"/>
                </a:lnTo>
                <a:lnTo>
                  <a:pt x="295973" y="762000"/>
                </a:lnTo>
                <a:lnTo>
                  <a:pt x="297395" y="749300"/>
                </a:lnTo>
                <a:lnTo>
                  <a:pt x="294589" y="732790"/>
                </a:lnTo>
                <a:lnTo>
                  <a:pt x="291147" y="712470"/>
                </a:lnTo>
                <a:lnTo>
                  <a:pt x="282968" y="664210"/>
                </a:lnTo>
                <a:lnTo>
                  <a:pt x="343992" y="603250"/>
                </a:lnTo>
                <a:lnTo>
                  <a:pt x="350799" y="593090"/>
                </a:lnTo>
                <a:close/>
              </a:path>
              <a:path w="1059815" h="1016000">
                <a:moveTo>
                  <a:pt x="551865" y="21590"/>
                </a:moveTo>
                <a:lnTo>
                  <a:pt x="550113" y="12700"/>
                </a:lnTo>
                <a:lnTo>
                  <a:pt x="545325" y="6350"/>
                </a:lnTo>
                <a:lnTo>
                  <a:pt x="538289" y="1270"/>
                </a:lnTo>
                <a:lnTo>
                  <a:pt x="529742" y="0"/>
                </a:lnTo>
                <a:lnTo>
                  <a:pt x="521195" y="1270"/>
                </a:lnTo>
                <a:lnTo>
                  <a:pt x="514146" y="6350"/>
                </a:lnTo>
                <a:lnTo>
                  <a:pt x="509371" y="12700"/>
                </a:lnTo>
                <a:lnTo>
                  <a:pt x="507606" y="21590"/>
                </a:lnTo>
                <a:lnTo>
                  <a:pt x="507606" y="173990"/>
                </a:lnTo>
                <a:lnTo>
                  <a:pt x="509320" y="182880"/>
                </a:lnTo>
                <a:lnTo>
                  <a:pt x="514019" y="190500"/>
                </a:lnTo>
                <a:lnTo>
                  <a:pt x="521055" y="194310"/>
                </a:lnTo>
                <a:lnTo>
                  <a:pt x="529742" y="196850"/>
                </a:lnTo>
                <a:lnTo>
                  <a:pt x="538429" y="194310"/>
                </a:lnTo>
                <a:lnTo>
                  <a:pt x="545452" y="190500"/>
                </a:lnTo>
                <a:lnTo>
                  <a:pt x="550151" y="182880"/>
                </a:lnTo>
                <a:lnTo>
                  <a:pt x="551865" y="173990"/>
                </a:lnTo>
                <a:lnTo>
                  <a:pt x="551865" y="21590"/>
                </a:lnTo>
                <a:close/>
              </a:path>
              <a:path w="1059815" h="1016000">
                <a:moveTo>
                  <a:pt x="692302" y="394970"/>
                </a:moveTo>
                <a:lnTo>
                  <a:pt x="692137" y="383540"/>
                </a:lnTo>
                <a:lnTo>
                  <a:pt x="685876" y="373380"/>
                </a:lnTo>
                <a:lnTo>
                  <a:pt x="674243" y="367030"/>
                </a:lnTo>
                <a:lnTo>
                  <a:pt x="588416" y="354330"/>
                </a:lnTo>
                <a:lnTo>
                  <a:pt x="579564" y="336550"/>
                </a:lnTo>
                <a:lnTo>
                  <a:pt x="549859" y="276860"/>
                </a:lnTo>
                <a:lnTo>
                  <a:pt x="541413" y="267970"/>
                </a:lnTo>
                <a:lnTo>
                  <a:pt x="530072" y="264160"/>
                </a:lnTo>
                <a:lnTo>
                  <a:pt x="518744" y="267970"/>
                </a:lnTo>
                <a:lnTo>
                  <a:pt x="510298" y="276860"/>
                </a:lnTo>
                <a:lnTo>
                  <a:pt x="471741" y="354330"/>
                </a:lnTo>
                <a:lnTo>
                  <a:pt x="386245" y="367030"/>
                </a:lnTo>
                <a:lnTo>
                  <a:pt x="374827" y="372110"/>
                </a:lnTo>
                <a:lnTo>
                  <a:pt x="368350" y="382270"/>
                </a:lnTo>
                <a:lnTo>
                  <a:pt x="367715" y="393700"/>
                </a:lnTo>
                <a:lnTo>
                  <a:pt x="373837" y="405130"/>
                </a:lnTo>
                <a:lnTo>
                  <a:pt x="435864" y="466090"/>
                </a:lnTo>
                <a:lnTo>
                  <a:pt x="421449" y="551180"/>
                </a:lnTo>
                <a:lnTo>
                  <a:pt x="423075" y="563880"/>
                </a:lnTo>
                <a:lnTo>
                  <a:pt x="430491" y="572770"/>
                </a:lnTo>
                <a:lnTo>
                  <a:pt x="441439" y="577850"/>
                </a:lnTo>
                <a:lnTo>
                  <a:pt x="453631" y="575310"/>
                </a:lnTo>
                <a:lnTo>
                  <a:pt x="530415" y="534670"/>
                </a:lnTo>
                <a:lnTo>
                  <a:pt x="605853" y="574040"/>
                </a:lnTo>
                <a:lnTo>
                  <a:pt x="618959" y="577850"/>
                </a:lnTo>
                <a:lnTo>
                  <a:pt x="630237" y="572770"/>
                </a:lnTo>
                <a:lnTo>
                  <a:pt x="637628" y="563880"/>
                </a:lnTo>
                <a:lnTo>
                  <a:pt x="639038" y="551180"/>
                </a:lnTo>
                <a:lnTo>
                  <a:pt x="636244" y="534670"/>
                </a:lnTo>
                <a:lnTo>
                  <a:pt x="633018" y="515620"/>
                </a:lnTo>
                <a:lnTo>
                  <a:pt x="624624" y="466090"/>
                </a:lnTo>
                <a:lnTo>
                  <a:pt x="685647" y="406400"/>
                </a:lnTo>
                <a:lnTo>
                  <a:pt x="692302" y="394970"/>
                </a:lnTo>
                <a:close/>
              </a:path>
              <a:path w="1059815" h="1016000">
                <a:moveTo>
                  <a:pt x="719264" y="801370"/>
                </a:moveTo>
                <a:lnTo>
                  <a:pt x="719086" y="788670"/>
                </a:lnTo>
                <a:lnTo>
                  <a:pt x="712749" y="778510"/>
                </a:lnTo>
                <a:lnTo>
                  <a:pt x="701065" y="773430"/>
                </a:lnTo>
                <a:lnTo>
                  <a:pt x="596798" y="758190"/>
                </a:lnTo>
                <a:lnTo>
                  <a:pt x="579272" y="722630"/>
                </a:lnTo>
                <a:lnTo>
                  <a:pt x="549859" y="662940"/>
                </a:lnTo>
                <a:lnTo>
                  <a:pt x="541426" y="654050"/>
                </a:lnTo>
                <a:lnTo>
                  <a:pt x="530161" y="651510"/>
                </a:lnTo>
                <a:lnTo>
                  <a:pt x="519023" y="654050"/>
                </a:lnTo>
                <a:lnTo>
                  <a:pt x="510959" y="664210"/>
                </a:lnTo>
                <a:lnTo>
                  <a:pt x="464019" y="758190"/>
                </a:lnTo>
                <a:lnTo>
                  <a:pt x="359422" y="773430"/>
                </a:lnTo>
                <a:lnTo>
                  <a:pt x="348005" y="778510"/>
                </a:lnTo>
                <a:lnTo>
                  <a:pt x="341528" y="788670"/>
                </a:lnTo>
                <a:lnTo>
                  <a:pt x="340893" y="801370"/>
                </a:lnTo>
                <a:lnTo>
                  <a:pt x="347014" y="811530"/>
                </a:lnTo>
                <a:lnTo>
                  <a:pt x="422452" y="885190"/>
                </a:lnTo>
                <a:lnTo>
                  <a:pt x="404685" y="990600"/>
                </a:lnTo>
                <a:lnTo>
                  <a:pt x="406171" y="1002030"/>
                </a:lnTo>
                <a:lnTo>
                  <a:pt x="413613" y="1012190"/>
                </a:lnTo>
                <a:lnTo>
                  <a:pt x="424624" y="1016000"/>
                </a:lnTo>
                <a:lnTo>
                  <a:pt x="436867" y="1013460"/>
                </a:lnTo>
                <a:lnTo>
                  <a:pt x="530415" y="963930"/>
                </a:lnTo>
                <a:lnTo>
                  <a:pt x="622617" y="1013460"/>
                </a:lnTo>
                <a:lnTo>
                  <a:pt x="635723" y="1016000"/>
                </a:lnTo>
                <a:lnTo>
                  <a:pt x="647001" y="1012190"/>
                </a:lnTo>
                <a:lnTo>
                  <a:pt x="654392" y="1002030"/>
                </a:lnTo>
                <a:lnTo>
                  <a:pt x="655802" y="990600"/>
                </a:lnTo>
                <a:lnTo>
                  <a:pt x="651306" y="963930"/>
                </a:lnTo>
                <a:lnTo>
                  <a:pt x="649389" y="952500"/>
                </a:lnTo>
                <a:lnTo>
                  <a:pt x="638035" y="885190"/>
                </a:lnTo>
                <a:lnTo>
                  <a:pt x="712470" y="812800"/>
                </a:lnTo>
                <a:lnTo>
                  <a:pt x="719264" y="801370"/>
                </a:lnTo>
                <a:close/>
              </a:path>
              <a:path w="1059815" h="1016000">
                <a:moveTo>
                  <a:pt x="823163" y="69850"/>
                </a:moveTo>
                <a:lnTo>
                  <a:pt x="821143" y="60960"/>
                </a:lnTo>
                <a:lnTo>
                  <a:pt x="816152" y="54610"/>
                </a:lnTo>
                <a:lnTo>
                  <a:pt x="808697" y="49530"/>
                </a:lnTo>
                <a:lnTo>
                  <a:pt x="800049" y="48260"/>
                </a:lnTo>
                <a:lnTo>
                  <a:pt x="791806" y="50800"/>
                </a:lnTo>
                <a:lnTo>
                  <a:pt x="784885" y="55880"/>
                </a:lnTo>
                <a:lnTo>
                  <a:pt x="780199" y="63500"/>
                </a:lnTo>
                <a:lnTo>
                  <a:pt x="726884" y="205740"/>
                </a:lnTo>
                <a:lnTo>
                  <a:pt x="725487" y="214630"/>
                </a:lnTo>
                <a:lnTo>
                  <a:pt x="727519" y="222250"/>
                </a:lnTo>
                <a:lnTo>
                  <a:pt x="732497" y="229870"/>
                </a:lnTo>
                <a:lnTo>
                  <a:pt x="739965" y="234950"/>
                </a:lnTo>
                <a:lnTo>
                  <a:pt x="748614" y="236220"/>
                </a:lnTo>
                <a:lnTo>
                  <a:pt x="756856" y="233680"/>
                </a:lnTo>
                <a:lnTo>
                  <a:pt x="763765" y="228600"/>
                </a:lnTo>
                <a:lnTo>
                  <a:pt x="768464" y="220980"/>
                </a:lnTo>
                <a:lnTo>
                  <a:pt x="821766" y="78740"/>
                </a:lnTo>
                <a:lnTo>
                  <a:pt x="823163" y="69850"/>
                </a:lnTo>
                <a:close/>
              </a:path>
              <a:path w="1059815" h="1016000">
                <a:moveTo>
                  <a:pt x="1033424" y="624840"/>
                </a:moveTo>
                <a:lnTo>
                  <a:pt x="1033246" y="612140"/>
                </a:lnTo>
                <a:lnTo>
                  <a:pt x="1026909" y="601980"/>
                </a:lnTo>
                <a:lnTo>
                  <a:pt x="1015225" y="596900"/>
                </a:lnTo>
                <a:lnTo>
                  <a:pt x="929728" y="584200"/>
                </a:lnTo>
                <a:lnTo>
                  <a:pt x="920877" y="566420"/>
                </a:lnTo>
                <a:lnTo>
                  <a:pt x="891171" y="506730"/>
                </a:lnTo>
                <a:lnTo>
                  <a:pt x="882726" y="497840"/>
                </a:lnTo>
                <a:lnTo>
                  <a:pt x="871347" y="494030"/>
                </a:lnTo>
                <a:lnTo>
                  <a:pt x="859917" y="496570"/>
                </a:lnTo>
                <a:lnTo>
                  <a:pt x="851268" y="506730"/>
                </a:lnTo>
                <a:lnTo>
                  <a:pt x="812711" y="584200"/>
                </a:lnTo>
                <a:lnTo>
                  <a:pt x="727214" y="596900"/>
                </a:lnTo>
                <a:lnTo>
                  <a:pt x="715810" y="601980"/>
                </a:lnTo>
                <a:lnTo>
                  <a:pt x="709320" y="612140"/>
                </a:lnTo>
                <a:lnTo>
                  <a:pt x="708685" y="623570"/>
                </a:lnTo>
                <a:lnTo>
                  <a:pt x="714819" y="635000"/>
                </a:lnTo>
                <a:lnTo>
                  <a:pt x="776846" y="695960"/>
                </a:lnTo>
                <a:lnTo>
                  <a:pt x="762419" y="781050"/>
                </a:lnTo>
                <a:lnTo>
                  <a:pt x="763917" y="793750"/>
                </a:lnTo>
                <a:lnTo>
                  <a:pt x="771347" y="802640"/>
                </a:lnTo>
                <a:lnTo>
                  <a:pt x="782370" y="806450"/>
                </a:lnTo>
                <a:lnTo>
                  <a:pt x="794613" y="805180"/>
                </a:lnTo>
                <a:lnTo>
                  <a:pt x="871385" y="764540"/>
                </a:lnTo>
                <a:lnTo>
                  <a:pt x="946823" y="803910"/>
                </a:lnTo>
                <a:lnTo>
                  <a:pt x="959942" y="807720"/>
                </a:lnTo>
                <a:lnTo>
                  <a:pt x="971219" y="802640"/>
                </a:lnTo>
                <a:lnTo>
                  <a:pt x="978611" y="793750"/>
                </a:lnTo>
                <a:lnTo>
                  <a:pt x="980020" y="781050"/>
                </a:lnTo>
                <a:lnTo>
                  <a:pt x="977226" y="764540"/>
                </a:lnTo>
                <a:lnTo>
                  <a:pt x="973785" y="744220"/>
                </a:lnTo>
                <a:lnTo>
                  <a:pt x="965606" y="695960"/>
                </a:lnTo>
                <a:lnTo>
                  <a:pt x="1026629" y="636270"/>
                </a:lnTo>
                <a:lnTo>
                  <a:pt x="1033424" y="624840"/>
                </a:lnTo>
                <a:close/>
              </a:path>
              <a:path w="1059815" h="1016000">
                <a:moveTo>
                  <a:pt x="1059688" y="209550"/>
                </a:moveTo>
                <a:lnTo>
                  <a:pt x="1057427" y="201930"/>
                </a:lnTo>
                <a:lnTo>
                  <a:pt x="1052106" y="194310"/>
                </a:lnTo>
                <a:lnTo>
                  <a:pt x="1044549" y="190500"/>
                </a:lnTo>
                <a:lnTo>
                  <a:pt x="1036142" y="189230"/>
                </a:lnTo>
                <a:lnTo>
                  <a:pt x="1027925" y="191770"/>
                </a:lnTo>
                <a:lnTo>
                  <a:pt x="1020927" y="196850"/>
                </a:lnTo>
                <a:lnTo>
                  <a:pt x="921346" y="312420"/>
                </a:lnTo>
                <a:lnTo>
                  <a:pt x="917003" y="320040"/>
                </a:lnTo>
                <a:lnTo>
                  <a:pt x="915987" y="328930"/>
                </a:lnTo>
                <a:lnTo>
                  <a:pt x="918235" y="336550"/>
                </a:lnTo>
                <a:lnTo>
                  <a:pt x="923696" y="344170"/>
                </a:lnTo>
                <a:lnTo>
                  <a:pt x="931392" y="347980"/>
                </a:lnTo>
                <a:lnTo>
                  <a:pt x="939787" y="349250"/>
                </a:lnTo>
                <a:lnTo>
                  <a:pt x="947928" y="346710"/>
                </a:lnTo>
                <a:lnTo>
                  <a:pt x="954874" y="341630"/>
                </a:lnTo>
                <a:lnTo>
                  <a:pt x="1054455" y="226060"/>
                </a:lnTo>
                <a:lnTo>
                  <a:pt x="1058760" y="218440"/>
                </a:lnTo>
                <a:lnTo>
                  <a:pt x="1059688" y="209550"/>
                </a:lnTo>
                <a:close/>
              </a:path>
            </a:pathLst>
          </a:custGeom>
          <a:solidFill>
            <a:srgbClr val="FFFFFF"/>
          </a:solidFill>
        </p:spPr>
        <p:txBody>
          <a:bodyPr wrap="square" lIns="0" tIns="0" rIns="0" bIns="0" rtlCol="0"/>
          <a:lstStyle/>
          <a:p>
            <a:endParaRPr/>
          </a:p>
        </p:txBody>
      </p:sp>
      <p:grpSp>
        <p:nvGrpSpPr>
          <p:cNvPr id="34" name="object 34"/>
          <p:cNvGrpSpPr/>
          <p:nvPr/>
        </p:nvGrpSpPr>
        <p:grpSpPr>
          <a:xfrm>
            <a:off x="1654472" y="2096635"/>
            <a:ext cx="3568065" cy="6941184"/>
            <a:chOff x="1654472" y="2096635"/>
            <a:chExt cx="3568065" cy="6941184"/>
          </a:xfrm>
        </p:grpSpPr>
        <p:sp>
          <p:nvSpPr>
            <p:cNvPr id="35" name="object 35"/>
            <p:cNvSpPr/>
            <p:nvPr/>
          </p:nvSpPr>
          <p:spPr>
            <a:xfrm>
              <a:off x="1654467" y="2939922"/>
              <a:ext cx="3568065" cy="6097905"/>
            </a:xfrm>
            <a:custGeom>
              <a:avLst/>
              <a:gdLst/>
              <a:ahLst/>
              <a:cxnLst/>
              <a:rect l="l" t="t" r="r" b="b"/>
              <a:pathLst>
                <a:path w="3568065" h="6097905">
                  <a:moveTo>
                    <a:pt x="3567861" y="6096025"/>
                  </a:moveTo>
                  <a:lnTo>
                    <a:pt x="0" y="6096025"/>
                  </a:lnTo>
                  <a:lnTo>
                    <a:pt x="0" y="6097422"/>
                  </a:lnTo>
                  <a:lnTo>
                    <a:pt x="3567861" y="6097422"/>
                  </a:lnTo>
                  <a:lnTo>
                    <a:pt x="3567861" y="6096025"/>
                  </a:lnTo>
                  <a:close/>
                </a:path>
                <a:path w="3568065" h="6097905">
                  <a:moveTo>
                    <a:pt x="3567861" y="0"/>
                  </a:moveTo>
                  <a:lnTo>
                    <a:pt x="0" y="0"/>
                  </a:lnTo>
                  <a:lnTo>
                    <a:pt x="0" y="5171935"/>
                  </a:lnTo>
                  <a:lnTo>
                    <a:pt x="3567861" y="5171935"/>
                  </a:lnTo>
                  <a:lnTo>
                    <a:pt x="3567861" y="0"/>
                  </a:lnTo>
                  <a:close/>
                </a:path>
              </a:pathLst>
            </a:custGeom>
            <a:solidFill>
              <a:srgbClr val="FFFFFF"/>
            </a:solidFill>
          </p:spPr>
          <p:txBody>
            <a:bodyPr wrap="square" lIns="0" tIns="0" rIns="0" bIns="0" rtlCol="0"/>
            <a:lstStyle/>
            <a:p>
              <a:endParaRPr/>
            </a:p>
          </p:txBody>
        </p:sp>
        <p:pic>
          <p:nvPicPr>
            <p:cNvPr id="36" name="object 36"/>
            <p:cNvPicPr/>
            <p:nvPr/>
          </p:nvPicPr>
          <p:blipFill>
            <a:blip r:embed="rId4" cstate="print"/>
            <a:stretch>
              <a:fillRect/>
            </a:stretch>
          </p:blipFill>
          <p:spPr>
            <a:xfrm>
              <a:off x="2473592" y="2096635"/>
              <a:ext cx="1857375" cy="1857375"/>
            </a:xfrm>
            <a:prstGeom prst="rect">
              <a:avLst/>
            </a:prstGeom>
          </p:spPr>
        </p:pic>
        <p:sp>
          <p:nvSpPr>
            <p:cNvPr id="37" name="object 37"/>
            <p:cNvSpPr/>
            <p:nvPr/>
          </p:nvSpPr>
          <p:spPr>
            <a:xfrm>
              <a:off x="2558705" y="2096635"/>
              <a:ext cx="1686560" cy="1686560"/>
            </a:xfrm>
            <a:custGeom>
              <a:avLst/>
              <a:gdLst/>
              <a:ahLst/>
              <a:cxnLst/>
              <a:rect l="l" t="t" r="r" b="b"/>
              <a:pathLst>
                <a:path w="1686560" h="1686560">
                  <a:moveTo>
                    <a:pt x="843306" y="1686556"/>
                  </a:moveTo>
                  <a:lnTo>
                    <a:pt x="795425" y="1685222"/>
                  </a:lnTo>
                  <a:lnTo>
                    <a:pt x="748273" y="1681264"/>
                  </a:lnTo>
                  <a:lnTo>
                    <a:pt x="701892" y="1674756"/>
                  </a:lnTo>
                  <a:lnTo>
                    <a:pt x="656354" y="1665767"/>
                  </a:lnTo>
                  <a:lnTo>
                    <a:pt x="611730" y="1654370"/>
                  </a:lnTo>
                  <a:lnTo>
                    <a:pt x="568091" y="1640635"/>
                  </a:lnTo>
                  <a:lnTo>
                    <a:pt x="525508" y="1624634"/>
                  </a:lnTo>
                  <a:lnTo>
                    <a:pt x="484052" y="1606437"/>
                  </a:lnTo>
                  <a:lnTo>
                    <a:pt x="443796" y="1586116"/>
                  </a:lnTo>
                  <a:lnTo>
                    <a:pt x="404809" y="1563743"/>
                  </a:lnTo>
                  <a:lnTo>
                    <a:pt x="367163" y="1539388"/>
                  </a:lnTo>
                  <a:lnTo>
                    <a:pt x="330929" y="1513122"/>
                  </a:lnTo>
                  <a:lnTo>
                    <a:pt x="296178" y="1485017"/>
                  </a:lnTo>
                  <a:lnTo>
                    <a:pt x="262982" y="1455143"/>
                  </a:lnTo>
                  <a:lnTo>
                    <a:pt x="231412" y="1423573"/>
                  </a:lnTo>
                  <a:lnTo>
                    <a:pt x="201539" y="1390377"/>
                  </a:lnTo>
                  <a:lnTo>
                    <a:pt x="173434" y="1355627"/>
                  </a:lnTo>
                  <a:lnTo>
                    <a:pt x="147168" y="1319393"/>
                  </a:lnTo>
                  <a:lnTo>
                    <a:pt x="122813" y="1281747"/>
                  </a:lnTo>
                  <a:lnTo>
                    <a:pt x="100439" y="1242760"/>
                  </a:lnTo>
                  <a:lnTo>
                    <a:pt x="80119" y="1202503"/>
                  </a:lnTo>
                  <a:lnTo>
                    <a:pt x="61922" y="1161048"/>
                  </a:lnTo>
                  <a:lnTo>
                    <a:pt x="45920" y="1118465"/>
                  </a:lnTo>
                  <a:lnTo>
                    <a:pt x="32186" y="1074826"/>
                  </a:lnTo>
                  <a:lnTo>
                    <a:pt x="20788" y="1030202"/>
                  </a:lnTo>
                  <a:lnTo>
                    <a:pt x="11800" y="984664"/>
                  </a:lnTo>
                  <a:lnTo>
                    <a:pt x="5291" y="938283"/>
                  </a:lnTo>
                  <a:lnTo>
                    <a:pt x="1334" y="891131"/>
                  </a:lnTo>
                  <a:lnTo>
                    <a:pt x="0" y="843261"/>
                  </a:lnTo>
                  <a:lnTo>
                    <a:pt x="1334" y="795426"/>
                  </a:lnTo>
                  <a:lnTo>
                    <a:pt x="5291" y="748273"/>
                  </a:lnTo>
                  <a:lnTo>
                    <a:pt x="11800" y="701893"/>
                  </a:lnTo>
                  <a:lnTo>
                    <a:pt x="20788" y="656355"/>
                  </a:lnTo>
                  <a:lnTo>
                    <a:pt x="32186" y="611730"/>
                  </a:lnTo>
                  <a:lnTo>
                    <a:pt x="45920" y="568091"/>
                  </a:lnTo>
                  <a:lnTo>
                    <a:pt x="61922" y="525508"/>
                  </a:lnTo>
                  <a:lnTo>
                    <a:pt x="80119" y="484053"/>
                  </a:lnTo>
                  <a:lnTo>
                    <a:pt x="100439" y="443796"/>
                  </a:lnTo>
                  <a:lnTo>
                    <a:pt x="122813" y="404809"/>
                  </a:lnTo>
                  <a:lnTo>
                    <a:pt x="147168" y="367163"/>
                  </a:lnTo>
                  <a:lnTo>
                    <a:pt x="173434" y="330929"/>
                  </a:lnTo>
                  <a:lnTo>
                    <a:pt x="201539" y="296179"/>
                  </a:lnTo>
                  <a:lnTo>
                    <a:pt x="231412" y="262983"/>
                  </a:lnTo>
                  <a:lnTo>
                    <a:pt x="262982" y="231413"/>
                  </a:lnTo>
                  <a:lnTo>
                    <a:pt x="296178" y="201539"/>
                  </a:lnTo>
                  <a:lnTo>
                    <a:pt x="330929" y="173434"/>
                  </a:lnTo>
                  <a:lnTo>
                    <a:pt x="367163" y="147169"/>
                  </a:lnTo>
                  <a:lnTo>
                    <a:pt x="404809" y="122813"/>
                  </a:lnTo>
                  <a:lnTo>
                    <a:pt x="443796" y="100440"/>
                  </a:lnTo>
                  <a:lnTo>
                    <a:pt x="484052" y="80119"/>
                  </a:lnTo>
                  <a:lnTo>
                    <a:pt x="525508" y="61922"/>
                  </a:lnTo>
                  <a:lnTo>
                    <a:pt x="568091" y="45921"/>
                  </a:lnTo>
                  <a:lnTo>
                    <a:pt x="611730" y="32186"/>
                  </a:lnTo>
                  <a:lnTo>
                    <a:pt x="656354" y="20789"/>
                  </a:lnTo>
                  <a:lnTo>
                    <a:pt x="701892" y="11800"/>
                  </a:lnTo>
                  <a:lnTo>
                    <a:pt x="748273" y="5292"/>
                  </a:lnTo>
                  <a:lnTo>
                    <a:pt x="795425" y="1334"/>
                  </a:lnTo>
                  <a:lnTo>
                    <a:pt x="843278" y="0"/>
                  </a:lnTo>
                  <a:lnTo>
                    <a:pt x="891130" y="1334"/>
                  </a:lnTo>
                  <a:lnTo>
                    <a:pt x="938282" y="5292"/>
                  </a:lnTo>
                  <a:lnTo>
                    <a:pt x="984663" y="11800"/>
                  </a:lnTo>
                  <a:lnTo>
                    <a:pt x="1030201" y="20789"/>
                  </a:lnTo>
                  <a:lnTo>
                    <a:pt x="1074825" y="32186"/>
                  </a:lnTo>
                  <a:lnTo>
                    <a:pt x="1118464" y="45921"/>
                  </a:lnTo>
                  <a:lnTo>
                    <a:pt x="1161047" y="61922"/>
                  </a:lnTo>
                  <a:lnTo>
                    <a:pt x="1202503" y="80119"/>
                  </a:lnTo>
                  <a:lnTo>
                    <a:pt x="1242760" y="100440"/>
                  </a:lnTo>
                  <a:lnTo>
                    <a:pt x="1281747" y="122813"/>
                  </a:lnTo>
                  <a:lnTo>
                    <a:pt x="1319393" y="147169"/>
                  </a:lnTo>
                  <a:lnTo>
                    <a:pt x="1355626" y="173434"/>
                  </a:lnTo>
                  <a:lnTo>
                    <a:pt x="1390377" y="201539"/>
                  </a:lnTo>
                  <a:lnTo>
                    <a:pt x="1423573" y="231413"/>
                  </a:lnTo>
                  <a:lnTo>
                    <a:pt x="1455143" y="262983"/>
                  </a:lnTo>
                  <a:lnTo>
                    <a:pt x="1485016" y="296179"/>
                  </a:lnTo>
                  <a:lnTo>
                    <a:pt x="1513121" y="330929"/>
                  </a:lnTo>
                  <a:lnTo>
                    <a:pt x="1539387" y="367163"/>
                  </a:lnTo>
                  <a:lnTo>
                    <a:pt x="1563742" y="404809"/>
                  </a:lnTo>
                  <a:lnTo>
                    <a:pt x="1586116" y="443796"/>
                  </a:lnTo>
                  <a:lnTo>
                    <a:pt x="1606437" y="484053"/>
                  </a:lnTo>
                  <a:lnTo>
                    <a:pt x="1624633" y="525508"/>
                  </a:lnTo>
                  <a:lnTo>
                    <a:pt x="1640635" y="568091"/>
                  </a:lnTo>
                  <a:lnTo>
                    <a:pt x="1654370" y="611730"/>
                  </a:lnTo>
                  <a:lnTo>
                    <a:pt x="1665767" y="656355"/>
                  </a:lnTo>
                  <a:lnTo>
                    <a:pt x="1674756" y="701893"/>
                  </a:lnTo>
                  <a:lnTo>
                    <a:pt x="1681264" y="748273"/>
                  </a:lnTo>
                  <a:lnTo>
                    <a:pt x="1685221" y="795426"/>
                  </a:lnTo>
                  <a:lnTo>
                    <a:pt x="1686555" y="843278"/>
                  </a:lnTo>
                  <a:lnTo>
                    <a:pt x="1685221" y="891131"/>
                  </a:lnTo>
                  <a:lnTo>
                    <a:pt x="1681264" y="938283"/>
                  </a:lnTo>
                  <a:lnTo>
                    <a:pt x="1674756" y="984664"/>
                  </a:lnTo>
                  <a:lnTo>
                    <a:pt x="1665767" y="1030202"/>
                  </a:lnTo>
                  <a:lnTo>
                    <a:pt x="1654370" y="1074826"/>
                  </a:lnTo>
                  <a:lnTo>
                    <a:pt x="1640635" y="1118465"/>
                  </a:lnTo>
                  <a:lnTo>
                    <a:pt x="1624633" y="1161048"/>
                  </a:lnTo>
                  <a:lnTo>
                    <a:pt x="1606437" y="1202503"/>
                  </a:lnTo>
                  <a:lnTo>
                    <a:pt x="1586116" y="1242760"/>
                  </a:lnTo>
                  <a:lnTo>
                    <a:pt x="1563742" y="1281747"/>
                  </a:lnTo>
                  <a:lnTo>
                    <a:pt x="1539387" y="1319393"/>
                  </a:lnTo>
                  <a:lnTo>
                    <a:pt x="1513121" y="1355627"/>
                  </a:lnTo>
                  <a:lnTo>
                    <a:pt x="1485016" y="1390377"/>
                  </a:lnTo>
                  <a:lnTo>
                    <a:pt x="1455143" y="1423573"/>
                  </a:lnTo>
                  <a:lnTo>
                    <a:pt x="1423573" y="1455143"/>
                  </a:lnTo>
                  <a:lnTo>
                    <a:pt x="1390377" y="1485017"/>
                  </a:lnTo>
                  <a:lnTo>
                    <a:pt x="1355626" y="1513122"/>
                  </a:lnTo>
                  <a:lnTo>
                    <a:pt x="1319393" y="1539388"/>
                  </a:lnTo>
                  <a:lnTo>
                    <a:pt x="1281747" y="1563743"/>
                  </a:lnTo>
                  <a:lnTo>
                    <a:pt x="1242760" y="1586116"/>
                  </a:lnTo>
                  <a:lnTo>
                    <a:pt x="1202503" y="1606437"/>
                  </a:lnTo>
                  <a:lnTo>
                    <a:pt x="1161047" y="1624634"/>
                  </a:lnTo>
                  <a:lnTo>
                    <a:pt x="1118464" y="1640635"/>
                  </a:lnTo>
                  <a:lnTo>
                    <a:pt x="1074825" y="1654370"/>
                  </a:lnTo>
                  <a:lnTo>
                    <a:pt x="1030201" y="1665767"/>
                  </a:lnTo>
                  <a:lnTo>
                    <a:pt x="984663" y="1674756"/>
                  </a:lnTo>
                  <a:lnTo>
                    <a:pt x="938282" y="1681264"/>
                  </a:lnTo>
                  <a:lnTo>
                    <a:pt x="891130" y="1685222"/>
                  </a:lnTo>
                  <a:lnTo>
                    <a:pt x="843306" y="1686556"/>
                  </a:lnTo>
                  <a:close/>
                </a:path>
              </a:pathLst>
            </a:custGeom>
            <a:solidFill>
              <a:srgbClr val="21408B"/>
            </a:solidFill>
          </p:spPr>
          <p:txBody>
            <a:bodyPr wrap="square" lIns="0" tIns="0" rIns="0" bIns="0" rtlCol="0"/>
            <a:lstStyle/>
            <a:p>
              <a:endParaRPr/>
            </a:p>
          </p:txBody>
        </p:sp>
        <p:sp>
          <p:nvSpPr>
            <p:cNvPr id="38" name="object 38"/>
            <p:cNvSpPr/>
            <p:nvPr/>
          </p:nvSpPr>
          <p:spPr>
            <a:xfrm>
              <a:off x="2909585" y="2425505"/>
              <a:ext cx="981075" cy="1030605"/>
            </a:xfrm>
            <a:custGeom>
              <a:avLst/>
              <a:gdLst/>
              <a:ahLst/>
              <a:cxnLst/>
              <a:rect l="l" t="t" r="r" b="b"/>
              <a:pathLst>
                <a:path w="981075" h="1030604">
                  <a:moveTo>
                    <a:pt x="561334" y="323665"/>
                  </a:moveTo>
                  <a:lnTo>
                    <a:pt x="317615" y="323665"/>
                  </a:lnTo>
                  <a:lnTo>
                    <a:pt x="341120" y="293499"/>
                  </a:lnTo>
                  <a:lnTo>
                    <a:pt x="367152" y="263497"/>
                  </a:lnTo>
                  <a:lnTo>
                    <a:pt x="395837" y="233892"/>
                  </a:lnTo>
                  <a:lnTo>
                    <a:pt x="427298" y="204914"/>
                  </a:lnTo>
                  <a:lnTo>
                    <a:pt x="461662" y="176795"/>
                  </a:lnTo>
                  <a:lnTo>
                    <a:pt x="499054" y="149767"/>
                  </a:lnTo>
                  <a:lnTo>
                    <a:pt x="539598" y="124063"/>
                  </a:lnTo>
                  <a:lnTo>
                    <a:pt x="583420" y="99912"/>
                  </a:lnTo>
                  <a:lnTo>
                    <a:pt x="630645" y="77548"/>
                  </a:lnTo>
                  <a:lnTo>
                    <a:pt x="681398" y="57202"/>
                  </a:lnTo>
                  <a:lnTo>
                    <a:pt x="735804" y="39105"/>
                  </a:lnTo>
                  <a:lnTo>
                    <a:pt x="793989" y="23489"/>
                  </a:lnTo>
                  <a:lnTo>
                    <a:pt x="856077" y="10587"/>
                  </a:lnTo>
                  <a:lnTo>
                    <a:pt x="922193" y="629"/>
                  </a:lnTo>
                  <a:lnTo>
                    <a:pt x="926796" y="0"/>
                  </a:lnTo>
                  <a:lnTo>
                    <a:pt x="931609" y="0"/>
                  </a:lnTo>
                  <a:lnTo>
                    <a:pt x="970787" y="20930"/>
                  </a:lnTo>
                  <a:lnTo>
                    <a:pt x="980883" y="59802"/>
                  </a:lnTo>
                  <a:lnTo>
                    <a:pt x="971017" y="126127"/>
                  </a:lnTo>
                  <a:lnTo>
                    <a:pt x="958209" y="188406"/>
                  </a:lnTo>
                  <a:lnTo>
                    <a:pt x="946193" y="233582"/>
                  </a:lnTo>
                  <a:lnTo>
                    <a:pt x="654780" y="233582"/>
                  </a:lnTo>
                  <a:lnTo>
                    <a:pt x="619333" y="240439"/>
                  </a:lnTo>
                  <a:lnTo>
                    <a:pt x="588153" y="261135"/>
                  </a:lnTo>
                  <a:lnTo>
                    <a:pt x="587944" y="261345"/>
                  </a:lnTo>
                  <a:lnTo>
                    <a:pt x="567306" y="292615"/>
                  </a:lnTo>
                  <a:lnTo>
                    <a:pt x="561334" y="323665"/>
                  </a:lnTo>
                  <a:close/>
                </a:path>
                <a:path w="981075" h="1030604">
                  <a:moveTo>
                    <a:pt x="869628" y="422443"/>
                  </a:moveTo>
                  <a:lnTo>
                    <a:pt x="654676" y="422443"/>
                  </a:lnTo>
                  <a:lnTo>
                    <a:pt x="690031" y="415558"/>
                  </a:lnTo>
                  <a:lnTo>
                    <a:pt x="721120" y="394903"/>
                  </a:lnTo>
                  <a:lnTo>
                    <a:pt x="741852" y="363692"/>
                  </a:lnTo>
                  <a:lnTo>
                    <a:pt x="748804" y="328163"/>
                  </a:lnTo>
                  <a:lnTo>
                    <a:pt x="741967" y="292615"/>
                  </a:lnTo>
                  <a:lnTo>
                    <a:pt x="721330" y="261345"/>
                  </a:lnTo>
                  <a:lnTo>
                    <a:pt x="690208" y="240554"/>
                  </a:lnTo>
                  <a:lnTo>
                    <a:pt x="654780" y="233582"/>
                  </a:lnTo>
                  <a:lnTo>
                    <a:pt x="946193" y="233582"/>
                  </a:lnTo>
                  <a:lnTo>
                    <a:pt x="942687" y="246766"/>
                  </a:lnTo>
                  <a:lnTo>
                    <a:pt x="924682" y="301332"/>
                  </a:lnTo>
                  <a:lnTo>
                    <a:pt x="904425" y="352231"/>
                  </a:lnTo>
                  <a:lnTo>
                    <a:pt x="882147" y="399588"/>
                  </a:lnTo>
                  <a:lnTo>
                    <a:pt x="869628" y="422443"/>
                  </a:lnTo>
                  <a:close/>
                </a:path>
                <a:path w="981075" h="1030604">
                  <a:moveTo>
                    <a:pt x="855860" y="447046"/>
                  </a:moveTo>
                  <a:lnTo>
                    <a:pt x="100222" y="447046"/>
                  </a:lnTo>
                  <a:lnTo>
                    <a:pt x="94050" y="441381"/>
                  </a:lnTo>
                  <a:lnTo>
                    <a:pt x="94364" y="436449"/>
                  </a:lnTo>
                  <a:lnTo>
                    <a:pt x="97711" y="433617"/>
                  </a:lnTo>
                  <a:lnTo>
                    <a:pt x="173767" y="357343"/>
                  </a:lnTo>
                  <a:lnTo>
                    <a:pt x="194290" y="340888"/>
                  </a:lnTo>
                  <a:lnTo>
                    <a:pt x="217510" y="329173"/>
                  </a:lnTo>
                  <a:lnTo>
                    <a:pt x="242633" y="322494"/>
                  </a:lnTo>
                  <a:lnTo>
                    <a:pt x="268864" y="321147"/>
                  </a:lnTo>
                  <a:lnTo>
                    <a:pt x="317615" y="323665"/>
                  </a:lnTo>
                  <a:lnTo>
                    <a:pt x="561334" y="323665"/>
                  </a:lnTo>
                  <a:lnTo>
                    <a:pt x="567421" y="363692"/>
                  </a:lnTo>
                  <a:lnTo>
                    <a:pt x="619301" y="415558"/>
                  </a:lnTo>
                  <a:lnTo>
                    <a:pt x="654676" y="422443"/>
                  </a:lnTo>
                  <a:lnTo>
                    <a:pt x="869628" y="422443"/>
                  </a:lnTo>
                  <a:lnTo>
                    <a:pt x="858076" y="443531"/>
                  </a:lnTo>
                  <a:lnTo>
                    <a:pt x="855860" y="447046"/>
                  </a:lnTo>
                  <a:close/>
                </a:path>
                <a:path w="981075" h="1030604">
                  <a:moveTo>
                    <a:pt x="358311" y="799773"/>
                  </a:moveTo>
                  <a:lnTo>
                    <a:pt x="184334" y="625193"/>
                  </a:lnTo>
                  <a:lnTo>
                    <a:pt x="188937" y="604210"/>
                  </a:lnTo>
                  <a:lnTo>
                    <a:pt x="195508" y="577048"/>
                  </a:lnTo>
                  <a:lnTo>
                    <a:pt x="203138" y="550191"/>
                  </a:lnTo>
                  <a:lnTo>
                    <a:pt x="211828" y="523669"/>
                  </a:lnTo>
                  <a:lnTo>
                    <a:pt x="221577" y="497510"/>
                  </a:lnTo>
                  <a:lnTo>
                    <a:pt x="100222" y="447046"/>
                  </a:lnTo>
                  <a:lnTo>
                    <a:pt x="855860" y="447046"/>
                  </a:lnTo>
                  <a:lnTo>
                    <a:pt x="832445" y="484185"/>
                  </a:lnTo>
                  <a:lnTo>
                    <a:pt x="805482" y="521677"/>
                  </a:lnTo>
                  <a:lnTo>
                    <a:pt x="777419" y="556132"/>
                  </a:lnTo>
                  <a:lnTo>
                    <a:pt x="748486" y="587676"/>
                  </a:lnTo>
                  <a:lnTo>
                    <a:pt x="718913" y="616437"/>
                  </a:lnTo>
                  <a:lnTo>
                    <a:pt x="688931" y="642539"/>
                  </a:lnTo>
                  <a:lnTo>
                    <a:pt x="658769" y="666110"/>
                  </a:lnTo>
                  <a:lnTo>
                    <a:pt x="661489" y="715106"/>
                  </a:lnTo>
                  <a:lnTo>
                    <a:pt x="660049" y="741471"/>
                  </a:lnTo>
                  <a:lnTo>
                    <a:pt x="654382" y="762528"/>
                  </a:lnTo>
                  <a:lnTo>
                    <a:pt x="485629" y="762528"/>
                  </a:lnTo>
                  <a:lnTo>
                    <a:pt x="459545" y="772305"/>
                  </a:lnTo>
                  <a:lnTo>
                    <a:pt x="433098" y="781019"/>
                  </a:lnTo>
                  <a:lnTo>
                    <a:pt x="406318" y="788672"/>
                  </a:lnTo>
                  <a:lnTo>
                    <a:pt x="379234" y="795262"/>
                  </a:lnTo>
                  <a:lnTo>
                    <a:pt x="358311" y="799773"/>
                  </a:lnTo>
                  <a:close/>
                </a:path>
                <a:path w="981075" h="1030604">
                  <a:moveTo>
                    <a:pt x="10984" y="809530"/>
                  </a:moveTo>
                  <a:lnTo>
                    <a:pt x="7009" y="808376"/>
                  </a:lnTo>
                  <a:lnTo>
                    <a:pt x="4289" y="805543"/>
                  </a:lnTo>
                  <a:lnTo>
                    <a:pt x="941" y="802186"/>
                  </a:lnTo>
                  <a:lnTo>
                    <a:pt x="16249" y="765599"/>
                  </a:lnTo>
                  <a:lnTo>
                    <a:pt x="64417" y="712037"/>
                  </a:lnTo>
                  <a:lnTo>
                    <a:pt x="98939" y="697919"/>
                  </a:lnTo>
                  <a:lnTo>
                    <a:pt x="140832" y="700512"/>
                  </a:lnTo>
                  <a:lnTo>
                    <a:pt x="190401" y="726017"/>
                  </a:lnTo>
                  <a:lnTo>
                    <a:pt x="192598" y="728011"/>
                  </a:lnTo>
                  <a:lnTo>
                    <a:pt x="192808" y="731368"/>
                  </a:lnTo>
                  <a:lnTo>
                    <a:pt x="190715" y="733676"/>
                  </a:lnTo>
                  <a:lnTo>
                    <a:pt x="171041" y="753394"/>
                  </a:lnTo>
                  <a:lnTo>
                    <a:pt x="156898" y="776455"/>
                  </a:lnTo>
                  <a:lnTo>
                    <a:pt x="148441" y="802186"/>
                  </a:lnTo>
                  <a:lnTo>
                    <a:pt x="148046" y="806881"/>
                  </a:lnTo>
                  <a:lnTo>
                    <a:pt x="30605" y="806881"/>
                  </a:lnTo>
                  <a:lnTo>
                    <a:pt x="14750" y="808691"/>
                  </a:lnTo>
                  <a:lnTo>
                    <a:pt x="10984" y="809530"/>
                  </a:lnTo>
                  <a:close/>
                </a:path>
                <a:path w="981075" h="1030604">
                  <a:moveTo>
                    <a:pt x="542226" y="890210"/>
                  </a:moveTo>
                  <a:lnTo>
                    <a:pt x="537623" y="888217"/>
                  </a:lnTo>
                  <a:lnTo>
                    <a:pt x="535905" y="884122"/>
                  </a:lnTo>
                  <a:lnTo>
                    <a:pt x="485629" y="762528"/>
                  </a:lnTo>
                  <a:lnTo>
                    <a:pt x="654382" y="762528"/>
                  </a:lnTo>
                  <a:lnTo>
                    <a:pt x="624873" y="810474"/>
                  </a:lnTo>
                  <a:lnTo>
                    <a:pt x="548085" y="887483"/>
                  </a:lnTo>
                  <a:lnTo>
                    <a:pt x="542226" y="890210"/>
                  </a:lnTo>
                  <a:close/>
                </a:path>
                <a:path w="981075" h="1030604">
                  <a:moveTo>
                    <a:pt x="282096" y="837648"/>
                  </a:moveTo>
                  <a:lnTo>
                    <a:pt x="154309" y="837648"/>
                  </a:lnTo>
                  <a:lnTo>
                    <a:pt x="181483" y="835538"/>
                  </a:lnTo>
                  <a:lnTo>
                    <a:pt x="207088" y="827300"/>
                  </a:lnTo>
                  <a:lnTo>
                    <a:pt x="230103" y="813378"/>
                  </a:lnTo>
                  <a:lnTo>
                    <a:pt x="249510" y="794212"/>
                  </a:lnTo>
                  <a:lnTo>
                    <a:pt x="251393" y="791904"/>
                  </a:lnTo>
                  <a:lnTo>
                    <a:pt x="254740" y="791590"/>
                  </a:lnTo>
                  <a:lnTo>
                    <a:pt x="257042" y="793478"/>
                  </a:lnTo>
                  <a:lnTo>
                    <a:pt x="257356" y="793688"/>
                  </a:lnTo>
                  <a:lnTo>
                    <a:pt x="257565" y="794003"/>
                  </a:lnTo>
                  <a:lnTo>
                    <a:pt x="257774" y="794212"/>
                  </a:lnTo>
                  <a:lnTo>
                    <a:pt x="272046" y="814386"/>
                  </a:lnTo>
                  <a:lnTo>
                    <a:pt x="282096" y="837648"/>
                  </a:lnTo>
                  <a:close/>
                </a:path>
                <a:path w="981075" h="1030604">
                  <a:moveTo>
                    <a:pt x="147471" y="813727"/>
                  </a:moveTo>
                  <a:lnTo>
                    <a:pt x="77520" y="813727"/>
                  </a:lnTo>
                  <a:lnTo>
                    <a:pt x="62196" y="809399"/>
                  </a:lnTo>
                  <a:lnTo>
                    <a:pt x="46488" y="807117"/>
                  </a:lnTo>
                  <a:lnTo>
                    <a:pt x="30605" y="806881"/>
                  </a:lnTo>
                  <a:lnTo>
                    <a:pt x="148046" y="806881"/>
                  </a:lnTo>
                  <a:lnTo>
                    <a:pt x="147471" y="813727"/>
                  </a:lnTo>
                  <a:close/>
                </a:path>
                <a:path w="981075" h="1030604">
                  <a:moveTo>
                    <a:pt x="77520" y="813727"/>
                  </a:moveTo>
                  <a:close/>
                </a:path>
                <a:path w="981075" h="1030604">
                  <a:moveTo>
                    <a:pt x="19772" y="1030273"/>
                  </a:moveTo>
                  <a:lnTo>
                    <a:pt x="4560" y="991127"/>
                  </a:lnTo>
                  <a:lnTo>
                    <a:pt x="1955" y="952719"/>
                  </a:lnTo>
                  <a:lnTo>
                    <a:pt x="9384" y="908369"/>
                  </a:lnTo>
                  <a:lnTo>
                    <a:pt x="32641" y="861048"/>
                  </a:lnTo>
                  <a:lnTo>
                    <a:pt x="77520" y="813727"/>
                  </a:lnTo>
                  <a:lnTo>
                    <a:pt x="147471" y="813727"/>
                  </a:lnTo>
                  <a:lnTo>
                    <a:pt x="146149" y="829464"/>
                  </a:lnTo>
                  <a:lnTo>
                    <a:pt x="146358" y="833871"/>
                  </a:lnTo>
                  <a:lnTo>
                    <a:pt x="149915" y="837438"/>
                  </a:lnTo>
                  <a:lnTo>
                    <a:pt x="154309" y="837648"/>
                  </a:lnTo>
                  <a:lnTo>
                    <a:pt x="282096" y="837648"/>
                  </a:lnTo>
                  <a:lnTo>
                    <a:pt x="285563" y="845674"/>
                  </a:lnTo>
                  <a:lnTo>
                    <a:pt x="287801" y="884122"/>
                  </a:lnTo>
                  <a:lnTo>
                    <a:pt x="268236" y="925777"/>
                  </a:lnTo>
                  <a:lnTo>
                    <a:pt x="232915" y="954550"/>
                  </a:lnTo>
                  <a:lnTo>
                    <a:pt x="189355" y="967743"/>
                  </a:lnTo>
                  <a:lnTo>
                    <a:pt x="150750" y="973312"/>
                  </a:lnTo>
                  <a:lnTo>
                    <a:pt x="106172" y="983808"/>
                  </a:lnTo>
                  <a:lnTo>
                    <a:pt x="63614" y="1000541"/>
                  </a:lnTo>
                  <a:lnTo>
                    <a:pt x="31071" y="1024818"/>
                  </a:lnTo>
                  <a:lnTo>
                    <a:pt x="26991" y="1029644"/>
                  </a:lnTo>
                  <a:lnTo>
                    <a:pt x="19772" y="1030273"/>
                  </a:lnTo>
                  <a:close/>
                </a:path>
              </a:pathLst>
            </a:custGeom>
            <a:solidFill>
              <a:srgbClr val="FFFFFF"/>
            </a:solidFill>
          </p:spPr>
          <p:txBody>
            <a:bodyPr wrap="square" lIns="0" tIns="0" rIns="0" bIns="0" rtlCol="0"/>
            <a:lstStyle/>
            <a:p>
              <a:endParaRPr/>
            </a:p>
          </p:txBody>
        </p:sp>
      </p:grpSp>
      <p:grpSp>
        <p:nvGrpSpPr>
          <p:cNvPr id="39" name="object 39"/>
          <p:cNvGrpSpPr/>
          <p:nvPr/>
        </p:nvGrpSpPr>
        <p:grpSpPr>
          <a:xfrm>
            <a:off x="5349402" y="8111853"/>
            <a:ext cx="3568065" cy="924560"/>
            <a:chOff x="5349402" y="8111853"/>
            <a:chExt cx="3568065" cy="924560"/>
          </a:xfrm>
        </p:grpSpPr>
        <p:sp>
          <p:nvSpPr>
            <p:cNvPr id="40" name="object 40"/>
            <p:cNvSpPr/>
            <p:nvPr/>
          </p:nvSpPr>
          <p:spPr>
            <a:xfrm>
              <a:off x="5349402" y="8111853"/>
              <a:ext cx="3568065" cy="924560"/>
            </a:xfrm>
            <a:custGeom>
              <a:avLst/>
              <a:gdLst/>
              <a:ahLst/>
              <a:cxnLst/>
              <a:rect l="l" t="t" r="r" b="b"/>
              <a:pathLst>
                <a:path w="3568065" h="924559">
                  <a:moveTo>
                    <a:pt x="0" y="0"/>
                  </a:moveTo>
                  <a:lnTo>
                    <a:pt x="3567867" y="0"/>
                  </a:lnTo>
                  <a:lnTo>
                    <a:pt x="3567867" y="924082"/>
                  </a:lnTo>
                  <a:lnTo>
                    <a:pt x="0" y="924082"/>
                  </a:lnTo>
                  <a:lnTo>
                    <a:pt x="0" y="0"/>
                  </a:lnTo>
                  <a:close/>
                </a:path>
              </a:pathLst>
            </a:custGeom>
            <a:solidFill>
              <a:srgbClr val="21408B"/>
            </a:solidFill>
          </p:spPr>
          <p:txBody>
            <a:bodyPr wrap="square" lIns="0" tIns="0" rIns="0" bIns="0" rtlCol="0"/>
            <a:lstStyle/>
            <a:p>
              <a:endParaRPr/>
            </a:p>
          </p:txBody>
        </p:sp>
        <p:pic>
          <p:nvPicPr>
            <p:cNvPr id="41" name="object 41"/>
            <p:cNvPicPr/>
            <p:nvPr/>
          </p:nvPicPr>
          <p:blipFill>
            <a:blip r:embed="rId5" cstate="print"/>
            <a:stretch>
              <a:fillRect/>
            </a:stretch>
          </p:blipFill>
          <p:spPr>
            <a:xfrm>
              <a:off x="6798219" y="8305148"/>
              <a:ext cx="163608" cy="164282"/>
            </a:xfrm>
            <a:prstGeom prst="rect">
              <a:avLst/>
            </a:prstGeom>
          </p:spPr>
        </p:pic>
        <p:pic>
          <p:nvPicPr>
            <p:cNvPr id="42" name="object 42"/>
            <p:cNvPicPr/>
            <p:nvPr/>
          </p:nvPicPr>
          <p:blipFill>
            <a:blip r:embed="rId6" cstate="print"/>
            <a:stretch>
              <a:fillRect/>
            </a:stretch>
          </p:blipFill>
          <p:spPr>
            <a:xfrm>
              <a:off x="6477944" y="8534228"/>
              <a:ext cx="114464" cy="109971"/>
            </a:xfrm>
            <a:prstGeom prst="rect">
              <a:avLst/>
            </a:prstGeom>
          </p:spPr>
        </p:pic>
        <p:sp>
          <p:nvSpPr>
            <p:cNvPr id="43" name="object 43"/>
            <p:cNvSpPr/>
            <p:nvPr/>
          </p:nvSpPr>
          <p:spPr>
            <a:xfrm>
              <a:off x="6477063" y="8319960"/>
              <a:ext cx="1497965" cy="490220"/>
            </a:xfrm>
            <a:custGeom>
              <a:avLst/>
              <a:gdLst/>
              <a:ahLst/>
              <a:cxnLst/>
              <a:rect l="l" t="t" r="r" b="b"/>
              <a:pathLst>
                <a:path w="1497965" h="490220">
                  <a:moveTo>
                    <a:pt x="504710" y="472694"/>
                  </a:moveTo>
                  <a:lnTo>
                    <a:pt x="499770" y="467766"/>
                  </a:lnTo>
                  <a:lnTo>
                    <a:pt x="493737" y="467766"/>
                  </a:lnTo>
                  <a:lnTo>
                    <a:pt x="358673" y="467766"/>
                  </a:lnTo>
                  <a:lnTo>
                    <a:pt x="335305" y="405295"/>
                  </a:lnTo>
                  <a:lnTo>
                    <a:pt x="335305" y="467766"/>
                  </a:lnTo>
                  <a:lnTo>
                    <a:pt x="241376" y="467766"/>
                  </a:lnTo>
                  <a:lnTo>
                    <a:pt x="241376" y="246341"/>
                  </a:lnTo>
                  <a:lnTo>
                    <a:pt x="244563" y="245135"/>
                  </a:lnTo>
                  <a:lnTo>
                    <a:pt x="247637" y="243497"/>
                  </a:lnTo>
                  <a:lnTo>
                    <a:pt x="250240" y="241515"/>
                  </a:lnTo>
                  <a:lnTo>
                    <a:pt x="250380" y="241401"/>
                  </a:lnTo>
                  <a:lnTo>
                    <a:pt x="335305" y="467766"/>
                  </a:lnTo>
                  <a:lnTo>
                    <a:pt x="335305" y="405295"/>
                  </a:lnTo>
                  <a:lnTo>
                    <a:pt x="274002" y="241401"/>
                  </a:lnTo>
                  <a:lnTo>
                    <a:pt x="263321" y="212877"/>
                  </a:lnTo>
                  <a:lnTo>
                    <a:pt x="260743" y="200050"/>
                  </a:lnTo>
                  <a:lnTo>
                    <a:pt x="253695" y="189585"/>
                  </a:lnTo>
                  <a:lnTo>
                    <a:pt x="243243" y="182549"/>
                  </a:lnTo>
                  <a:lnTo>
                    <a:pt x="230416" y="179959"/>
                  </a:lnTo>
                  <a:lnTo>
                    <a:pt x="219443" y="182181"/>
                  </a:lnTo>
                  <a:lnTo>
                    <a:pt x="219443" y="246456"/>
                  </a:lnTo>
                  <a:lnTo>
                    <a:pt x="219443" y="467766"/>
                  </a:lnTo>
                  <a:lnTo>
                    <a:pt x="125514" y="467766"/>
                  </a:lnTo>
                  <a:lnTo>
                    <a:pt x="203771" y="259295"/>
                  </a:lnTo>
                  <a:lnTo>
                    <a:pt x="208838" y="245795"/>
                  </a:lnTo>
                  <a:lnTo>
                    <a:pt x="210439" y="241515"/>
                  </a:lnTo>
                  <a:lnTo>
                    <a:pt x="213182" y="243598"/>
                  </a:lnTo>
                  <a:lnTo>
                    <a:pt x="216141" y="245351"/>
                  </a:lnTo>
                  <a:lnTo>
                    <a:pt x="219443" y="246456"/>
                  </a:lnTo>
                  <a:lnTo>
                    <a:pt x="219443" y="182181"/>
                  </a:lnTo>
                  <a:lnTo>
                    <a:pt x="217589" y="182549"/>
                  </a:lnTo>
                  <a:lnTo>
                    <a:pt x="207124" y="189585"/>
                  </a:lnTo>
                  <a:lnTo>
                    <a:pt x="200075" y="200050"/>
                  </a:lnTo>
                  <a:lnTo>
                    <a:pt x="197497" y="212877"/>
                  </a:lnTo>
                  <a:lnTo>
                    <a:pt x="184988" y="245795"/>
                  </a:lnTo>
                  <a:lnTo>
                    <a:pt x="176314" y="225793"/>
                  </a:lnTo>
                  <a:lnTo>
                    <a:pt x="175983" y="204774"/>
                  </a:lnTo>
                  <a:lnTo>
                    <a:pt x="183565" y="185178"/>
                  </a:lnTo>
                  <a:lnTo>
                    <a:pt x="198589" y="169430"/>
                  </a:lnTo>
                  <a:lnTo>
                    <a:pt x="218592" y="160756"/>
                  </a:lnTo>
                  <a:lnTo>
                    <a:pt x="239610" y="160439"/>
                  </a:lnTo>
                  <a:lnTo>
                    <a:pt x="259219" y="168008"/>
                  </a:lnTo>
                  <a:lnTo>
                    <a:pt x="274955" y="183032"/>
                  </a:lnTo>
                  <a:lnTo>
                    <a:pt x="278472" y="187972"/>
                  </a:lnTo>
                  <a:lnTo>
                    <a:pt x="281101" y="193573"/>
                  </a:lnTo>
                  <a:lnTo>
                    <a:pt x="282752" y="199390"/>
                  </a:lnTo>
                  <a:lnTo>
                    <a:pt x="350151" y="160439"/>
                  </a:lnTo>
                  <a:lnTo>
                    <a:pt x="355269" y="157467"/>
                  </a:lnTo>
                  <a:lnTo>
                    <a:pt x="351751" y="153314"/>
                  </a:lnTo>
                  <a:lnTo>
                    <a:pt x="345630" y="143421"/>
                  </a:lnTo>
                  <a:lnTo>
                    <a:pt x="304800" y="72771"/>
                  </a:lnTo>
                  <a:lnTo>
                    <a:pt x="302933" y="69583"/>
                  </a:lnTo>
                  <a:lnTo>
                    <a:pt x="301396" y="66078"/>
                  </a:lnTo>
                  <a:lnTo>
                    <a:pt x="300418" y="62458"/>
                  </a:lnTo>
                  <a:lnTo>
                    <a:pt x="90411" y="184353"/>
                  </a:lnTo>
                  <a:lnTo>
                    <a:pt x="145262" y="279374"/>
                  </a:lnTo>
                  <a:lnTo>
                    <a:pt x="180378" y="259295"/>
                  </a:lnTo>
                  <a:lnTo>
                    <a:pt x="102146" y="467766"/>
                  </a:lnTo>
                  <a:lnTo>
                    <a:pt x="4940" y="467766"/>
                  </a:lnTo>
                  <a:lnTo>
                    <a:pt x="0" y="472694"/>
                  </a:lnTo>
                  <a:lnTo>
                    <a:pt x="0" y="484771"/>
                  </a:lnTo>
                  <a:lnTo>
                    <a:pt x="4940" y="489699"/>
                  </a:lnTo>
                  <a:lnTo>
                    <a:pt x="499770" y="489699"/>
                  </a:lnTo>
                  <a:lnTo>
                    <a:pt x="504710" y="484771"/>
                  </a:lnTo>
                  <a:lnTo>
                    <a:pt x="504710" y="472694"/>
                  </a:lnTo>
                  <a:close/>
                </a:path>
                <a:path w="1497965" h="490220">
                  <a:moveTo>
                    <a:pt x="1497495" y="468718"/>
                  </a:moveTo>
                  <a:lnTo>
                    <a:pt x="1431785" y="354761"/>
                  </a:lnTo>
                  <a:lnTo>
                    <a:pt x="1416685" y="328574"/>
                  </a:lnTo>
                  <a:lnTo>
                    <a:pt x="1358811" y="228206"/>
                  </a:lnTo>
                  <a:lnTo>
                    <a:pt x="1344231" y="202933"/>
                  </a:lnTo>
                  <a:lnTo>
                    <a:pt x="1344231" y="228206"/>
                  </a:lnTo>
                  <a:lnTo>
                    <a:pt x="1244409" y="197624"/>
                  </a:lnTo>
                  <a:lnTo>
                    <a:pt x="1151864" y="328574"/>
                  </a:lnTo>
                  <a:lnTo>
                    <a:pt x="1094524" y="244309"/>
                  </a:lnTo>
                  <a:lnTo>
                    <a:pt x="1134262" y="175387"/>
                  </a:lnTo>
                  <a:lnTo>
                    <a:pt x="1224013" y="19710"/>
                  </a:lnTo>
                  <a:lnTo>
                    <a:pt x="1344231" y="228206"/>
                  </a:lnTo>
                  <a:lnTo>
                    <a:pt x="1344231" y="202933"/>
                  </a:lnTo>
                  <a:lnTo>
                    <a:pt x="1238580" y="19710"/>
                  </a:lnTo>
                  <a:lnTo>
                    <a:pt x="1227213" y="0"/>
                  </a:lnTo>
                  <a:lnTo>
                    <a:pt x="1220812" y="0"/>
                  </a:lnTo>
                  <a:lnTo>
                    <a:pt x="1218539" y="3911"/>
                  </a:lnTo>
                  <a:lnTo>
                    <a:pt x="1119682" y="175387"/>
                  </a:lnTo>
                  <a:lnTo>
                    <a:pt x="1112393" y="162750"/>
                  </a:lnTo>
                  <a:lnTo>
                    <a:pt x="1112393" y="188036"/>
                  </a:lnTo>
                  <a:lnTo>
                    <a:pt x="1061593" y="276136"/>
                  </a:lnTo>
                  <a:lnTo>
                    <a:pt x="1006030" y="354761"/>
                  </a:lnTo>
                  <a:lnTo>
                    <a:pt x="960056" y="287185"/>
                  </a:lnTo>
                  <a:lnTo>
                    <a:pt x="1064793" y="105486"/>
                  </a:lnTo>
                  <a:lnTo>
                    <a:pt x="1112393" y="188036"/>
                  </a:lnTo>
                  <a:lnTo>
                    <a:pt x="1112393" y="162750"/>
                  </a:lnTo>
                  <a:lnTo>
                    <a:pt x="1079385" y="105486"/>
                  </a:lnTo>
                  <a:lnTo>
                    <a:pt x="1068019" y="85775"/>
                  </a:lnTo>
                  <a:lnTo>
                    <a:pt x="1061593" y="85775"/>
                  </a:lnTo>
                  <a:lnTo>
                    <a:pt x="840790" y="468718"/>
                  </a:lnTo>
                  <a:lnTo>
                    <a:pt x="840790" y="471131"/>
                  </a:lnTo>
                  <a:lnTo>
                    <a:pt x="843051" y="475056"/>
                  </a:lnTo>
                  <a:lnTo>
                    <a:pt x="845134" y="476250"/>
                  </a:lnTo>
                  <a:lnTo>
                    <a:pt x="1493151" y="476250"/>
                  </a:lnTo>
                  <a:lnTo>
                    <a:pt x="1495234" y="475056"/>
                  </a:lnTo>
                  <a:lnTo>
                    <a:pt x="1497495" y="471131"/>
                  </a:lnTo>
                  <a:lnTo>
                    <a:pt x="1497495" y="468718"/>
                  </a:lnTo>
                  <a:close/>
                </a:path>
              </a:pathLst>
            </a:custGeom>
            <a:solidFill>
              <a:srgbClr val="FFFFFF"/>
            </a:solidFill>
          </p:spPr>
          <p:txBody>
            <a:bodyPr wrap="square" lIns="0" tIns="0" rIns="0" bIns="0" rtlCol="0"/>
            <a:lstStyle/>
            <a:p>
              <a:endParaRPr/>
            </a:p>
          </p:txBody>
        </p:sp>
      </p:grpSp>
      <p:sp>
        <p:nvSpPr>
          <p:cNvPr id="44" name="object 44"/>
          <p:cNvSpPr txBox="1"/>
          <p:nvPr/>
        </p:nvSpPr>
        <p:spPr>
          <a:xfrm>
            <a:off x="2573174" y="4057136"/>
            <a:ext cx="1743710" cy="407670"/>
          </a:xfrm>
          <a:prstGeom prst="rect">
            <a:avLst/>
          </a:prstGeom>
        </p:spPr>
        <p:txBody>
          <a:bodyPr vert="horz" wrap="square" lIns="0" tIns="13335" rIns="0" bIns="0" rtlCol="0">
            <a:spAutoFit/>
          </a:bodyPr>
          <a:lstStyle/>
          <a:p>
            <a:pPr>
              <a:lnSpc>
                <a:spcPct val="100000"/>
              </a:lnSpc>
              <a:spcBef>
                <a:spcPts val="105"/>
              </a:spcBef>
            </a:pPr>
            <a:r>
              <a:rPr sz="2500" b="1" spc="105" dirty="0">
                <a:solidFill>
                  <a:srgbClr val="E3112B"/>
                </a:solidFill>
                <a:latin typeface="Arial"/>
                <a:cs typeface="Arial"/>
              </a:rPr>
              <a:t>Fortalezas</a:t>
            </a:r>
            <a:endParaRPr sz="2500">
              <a:latin typeface="Arial"/>
              <a:cs typeface="Arial"/>
            </a:endParaRPr>
          </a:p>
        </p:txBody>
      </p:sp>
      <p:sp>
        <p:nvSpPr>
          <p:cNvPr id="45" name="object 45"/>
          <p:cNvSpPr txBox="1"/>
          <p:nvPr/>
        </p:nvSpPr>
        <p:spPr>
          <a:xfrm>
            <a:off x="2663248" y="4813078"/>
            <a:ext cx="1513840" cy="725805"/>
          </a:xfrm>
          <a:prstGeom prst="rect">
            <a:avLst/>
          </a:prstGeom>
        </p:spPr>
        <p:txBody>
          <a:bodyPr vert="horz" wrap="square" lIns="0" tIns="26034" rIns="0" bIns="0" rtlCol="0">
            <a:spAutoFit/>
          </a:bodyPr>
          <a:lstStyle/>
          <a:p>
            <a:pPr marR="5080" algn="ctr">
              <a:lnSpc>
                <a:spcPts val="1820"/>
              </a:lnSpc>
              <a:spcBef>
                <a:spcPts val="204"/>
              </a:spcBef>
            </a:pPr>
            <a:r>
              <a:rPr sz="1550" b="1" spc="-10" dirty="0">
                <a:solidFill>
                  <a:srgbClr val="737373"/>
                </a:solidFill>
                <a:latin typeface="Roboto"/>
                <a:cs typeface="Roboto"/>
              </a:rPr>
              <a:t>Posicionamiento internacional </a:t>
            </a:r>
            <a:r>
              <a:rPr sz="1550" b="1" dirty="0">
                <a:solidFill>
                  <a:srgbClr val="737373"/>
                </a:solidFill>
                <a:latin typeface="Roboto"/>
                <a:cs typeface="Roboto"/>
              </a:rPr>
              <a:t>consolidado </a:t>
            </a:r>
            <a:r>
              <a:rPr sz="1550" b="1" spc="-25" dirty="0">
                <a:solidFill>
                  <a:srgbClr val="737373"/>
                </a:solidFill>
                <a:latin typeface="Roboto"/>
                <a:cs typeface="Roboto"/>
              </a:rPr>
              <a:t>en:</a:t>
            </a:r>
            <a:endParaRPr sz="1550">
              <a:latin typeface="Roboto"/>
              <a:cs typeface="Roboto"/>
            </a:endParaRPr>
          </a:p>
        </p:txBody>
      </p:sp>
      <p:sp>
        <p:nvSpPr>
          <p:cNvPr id="46" name="object 46"/>
          <p:cNvSpPr/>
          <p:nvPr/>
        </p:nvSpPr>
        <p:spPr>
          <a:xfrm>
            <a:off x="9317114" y="4964378"/>
            <a:ext cx="333375" cy="379730"/>
          </a:xfrm>
          <a:custGeom>
            <a:avLst/>
            <a:gdLst/>
            <a:ahLst/>
            <a:cxnLst/>
            <a:rect l="l" t="t" r="r" b="b"/>
            <a:pathLst>
              <a:path w="333375" h="379729">
                <a:moveTo>
                  <a:pt x="4483" y="313651"/>
                </a:moveTo>
                <a:lnTo>
                  <a:pt x="4279" y="313867"/>
                </a:lnTo>
                <a:lnTo>
                  <a:pt x="3873" y="314325"/>
                </a:lnTo>
                <a:lnTo>
                  <a:pt x="4000" y="314566"/>
                </a:lnTo>
                <a:lnTo>
                  <a:pt x="4368" y="314566"/>
                </a:lnTo>
                <a:lnTo>
                  <a:pt x="4445" y="314134"/>
                </a:lnTo>
                <a:lnTo>
                  <a:pt x="4483" y="313651"/>
                </a:lnTo>
                <a:close/>
              </a:path>
              <a:path w="333375" h="379729">
                <a:moveTo>
                  <a:pt x="9690" y="230314"/>
                </a:moveTo>
                <a:lnTo>
                  <a:pt x="9652" y="230124"/>
                </a:lnTo>
                <a:lnTo>
                  <a:pt x="9436" y="229920"/>
                </a:lnTo>
                <a:lnTo>
                  <a:pt x="9296" y="230009"/>
                </a:lnTo>
                <a:lnTo>
                  <a:pt x="9245" y="230187"/>
                </a:lnTo>
                <a:lnTo>
                  <a:pt x="9296" y="230327"/>
                </a:lnTo>
                <a:lnTo>
                  <a:pt x="9321" y="230492"/>
                </a:lnTo>
                <a:lnTo>
                  <a:pt x="9550" y="230733"/>
                </a:lnTo>
                <a:lnTo>
                  <a:pt x="9690" y="230670"/>
                </a:lnTo>
                <a:lnTo>
                  <a:pt x="9690" y="230454"/>
                </a:lnTo>
                <a:lnTo>
                  <a:pt x="9690" y="230314"/>
                </a:lnTo>
                <a:close/>
              </a:path>
              <a:path w="333375" h="379729">
                <a:moveTo>
                  <a:pt x="23914" y="371005"/>
                </a:moveTo>
                <a:lnTo>
                  <a:pt x="23812" y="370611"/>
                </a:lnTo>
                <a:lnTo>
                  <a:pt x="23685" y="370700"/>
                </a:lnTo>
                <a:lnTo>
                  <a:pt x="23761" y="371094"/>
                </a:lnTo>
                <a:lnTo>
                  <a:pt x="23914" y="371005"/>
                </a:lnTo>
                <a:close/>
              </a:path>
              <a:path w="333375" h="379729">
                <a:moveTo>
                  <a:pt x="38735" y="223278"/>
                </a:moveTo>
                <a:lnTo>
                  <a:pt x="38684" y="222948"/>
                </a:lnTo>
                <a:lnTo>
                  <a:pt x="38544" y="222872"/>
                </a:lnTo>
                <a:lnTo>
                  <a:pt x="38328" y="223062"/>
                </a:lnTo>
                <a:lnTo>
                  <a:pt x="38227" y="223266"/>
                </a:lnTo>
                <a:lnTo>
                  <a:pt x="38138" y="223685"/>
                </a:lnTo>
                <a:lnTo>
                  <a:pt x="38290" y="223951"/>
                </a:lnTo>
                <a:lnTo>
                  <a:pt x="38544" y="223761"/>
                </a:lnTo>
                <a:lnTo>
                  <a:pt x="38633" y="223456"/>
                </a:lnTo>
                <a:lnTo>
                  <a:pt x="38735" y="223278"/>
                </a:lnTo>
                <a:close/>
              </a:path>
              <a:path w="333375" h="379729">
                <a:moveTo>
                  <a:pt x="41986" y="222072"/>
                </a:moveTo>
                <a:lnTo>
                  <a:pt x="41884" y="221488"/>
                </a:lnTo>
                <a:lnTo>
                  <a:pt x="41783" y="221297"/>
                </a:lnTo>
                <a:lnTo>
                  <a:pt x="41567" y="220941"/>
                </a:lnTo>
                <a:lnTo>
                  <a:pt x="41427" y="220980"/>
                </a:lnTo>
                <a:lnTo>
                  <a:pt x="41122" y="222224"/>
                </a:lnTo>
                <a:lnTo>
                  <a:pt x="40805" y="223139"/>
                </a:lnTo>
                <a:lnTo>
                  <a:pt x="40322" y="224180"/>
                </a:lnTo>
                <a:lnTo>
                  <a:pt x="40297" y="224370"/>
                </a:lnTo>
                <a:lnTo>
                  <a:pt x="40500" y="224434"/>
                </a:lnTo>
                <a:lnTo>
                  <a:pt x="40741" y="224447"/>
                </a:lnTo>
                <a:lnTo>
                  <a:pt x="41986" y="222072"/>
                </a:lnTo>
                <a:close/>
              </a:path>
              <a:path w="333375" h="379729">
                <a:moveTo>
                  <a:pt x="44716" y="229870"/>
                </a:moveTo>
                <a:lnTo>
                  <a:pt x="43840" y="228600"/>
                </a:lnTo>
                <a:lnTo>
                  <a:pt x="42506" y="227330"/>
                </a:lnTo>
                <a:lnTo>
                  <a:pt x="41275" y="228600"/>
                </a:lnTo>
                <a:lnTo>
                  <a:pt x="40982" y="228600"/>
                </a:lnTo>
                <a:lnTo>
                  <a:pt x="40703" y="229870"/>
                </a:lnTo>
                <a:lnTo>
                  <a:pt x="40551" y="228600"/>
                </a:lnTo>
                <a:lnTo>
                  <a:pt x="40157" y="228600"/>
                </a:lnTo>
                <a:lnTo>
                  <a:pt x="40640" y="227330"/>
                </a:lnTo>
                <a:lnTo>
                  <a:pt x="40957" y="227330"/>
                </a:lnTo>
                <a:lnTo>
                  <a:pt x="40932" y="226060"/>
                </a:lnTo>
                <a:lnTo>
                  <a:pt x="41021" y="224790"/>
                </a:lnTo>
                <a:lnTo>
                  <a:pt x="39814" y="226060"/>
                </a:lnTo>
                <a:lnTo>
                  <a:pt x="39814" y="231140"/>
                </a:lnTo>
                <a:lnTo>
                  <a:pt x="39420" y="231140"/>
                </a:lnTo>
                <a:lnTo>
                  <a:pt x="39281" y="229870"/>
                </a:lnTo>
                <a:lnTo>
                  <a:pt x="39585"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80" y="220980"/>
                </a:lnTo>
                <a:lnTo>
                  <a:pt x="37325" y="219710"/>
                </a:lnTo>
                <a:lnTo>
                  <a:pt x="37592" y="219710"/>
                </a:lnTo>
                <a:lnTo>
                  <a:pt x="38163" y="220980"/>
                </a:lnTo>
                <a:lnTo>
                  <a:pt x="38849" y="220980"/>
                </a:lnTo>
                <a:lnTo>
                  <a:pt x="39776" y="222250"/>
                </a:lnTo>
                <a:lnTo>
                  <a:pt x="40271" y="222250"/>
                </a:lnTo>
                <a:lnTo>
                  <a:pt x="40944" y="220980"/>
                </a:lnTo>
                <a:lnTo>
                  <a:pt x="40208" y="220980"/>
                </a:lnTo>
                <a:lnTo>
                  <a:pt x="39700" y="219710"/>
                </a:lnTo>
                <a:lnTo>
                  <a:pt x="38163" y="219710"/>
                </a:lnTo>
                <a:lnTo>
                  <a:pt x="38265" y="218440"/>
                </a:lnTo>
                <a:lnTo>
                  <a:pt x="38633" y="217170"/>
                </a:lnTo>
                <a:lnTo>
                  <a:pt x="39001" y="215900"/>
                </a:lnTo>
                <a:lnTo>
                  <a:pt x="38735" y="214630"/>
                </a:lnTo>
                <a:lnTo>
                  <a:pt x="37223" y="214630"/>
                </a:lnTo>
                <a:lnTo>
                  <a:pt x="36715" y="213360"/>
                </a:lnTo>
                <a:lnTo>
                  <a:pt x="36309" y="212090"/>
                </a:lnTo>
                <a:lnTo>
                  <a:pt x="35458" y="213360"/>
                </a:lnTo>
                <a:lnTo>
                  <a:pt x="35242" y="213360"/>
                </a:lnTo>
                <a:lnTo>
                  <a:pt x="35407"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63" y="213360"/>
                </a:lnTo>
                <a:lnTo>
                  <a:pt x="33820" y="213360"/>
                </a:lnTo>
                <a:lnTo>
                  <a:pt x="33820" y="226060"/>
                </a:lnTo>
                <a:lnTo>
                  <a:pt x="33388" y="226060"/>
                </a:lnTo>
                <a:lnTo>
                  <a:pt x="33172" y="224790"/>
                </a:lnTo>
                <a:lnTo>
                  <a:pt x="31483" y="224790"/>
                </a:lnTo>
                <a:lnTo>
                  <a:pt x="31229" y="223520"/>
                </a:lnTo>
                <a:lnTo>
                  <a:pt x="32105" y="223520"/>
                </a:lnTo>
                <a:lnTo>
                  <a:pt x="32550" y="222250"/>
                </a:lnTo>
                <a:lnTo>
                  <a:pt x="32981" y="223520"/>
                </a:lnTo>
                <a:lnTo>
                  <a:pt x="33451" y="223520"/>
                </a:lnTo>
                <a:lnTo>
                  <a:pt x="33591" y="224790"/>
                </a:lnTo>
                <a:lnTo>
                  <a:pt x="33820" y="226060"/>
                </a:lnTo>
                <a:lnTo>
                  <a:pt x="33820" y="213360"/>
                </a:lnTo>
                <a:lnTo>
                  <a:pt x="32778" y="213360"/>
                </a:lnTo>
                <a:lnTo>
                  <a:pt x="32054" y="214630"/>
                </a:lnTo>
                <a:lnTo>
                  <a:pt x="30010" y="214630"/>
                </a:lnTo>
                <a:lnTo>
                  <a:pt x="29794" y="213360"/>
                </a:lnTo>
                <a:lnTo>
                  <a:pt x="29222" y="213360"/>
                </a:lnTo>
                <a:lnTo>
                  <a:pt x="28613" y="212090"/>
                </a:lnTo>
                <a:lnTo>
                  <a:pt x="27355" y="213360"/>
                </a:lnTo>
                <a:lnTo>
                  <a:pt x="27038" y="213360"/>
                </a:lnTo>
                <a:lnTo>
                  <a:pt x="27279" y="214630"/>
                </a:lnTo>
                <a:lnTo>
                  <a:pt x="27762" y="215900"/>
                </a:lnTo>
                <a:lnTo>
                  <a:pt x="27152" y="215900"/>
                </a:lnTo>
                <a:lnTo>
                  <a:pt x="27038" y="217170"/>
                </a:lnTo>
                <a:lnTo>
                  <a:pt x="26250" y="217170"/>
                </a:lnTo>
                <a:lnTo>
                  <a:pt x="26314" y="215900"/>
                </a:lnTo>
                <a:lnTo>
                  <a:pt x="26314" y="214630"/>
                </a:lnTo>
                <a:lnTo>
                  <a:pt x="25400" y="213360"/>
                </a:lnTo>
                <a:lnTo>
                  <a:pt x="24650" y="213360"/>
                </a:lnTo>
                <a:lnTo>
                  <a:pt x="24650" y="224790"/>
                </a:lnTo>
                <a:lnTo>
                  <a:pt x="24384" y="224790"/>
                </a:lnTo>
                <a:lnTo>
                  <a:pt x="24638" y="226060"/>
                </a:lnTo>
                <a:lnTo>
                  <a:pt x="23977" y="226060"/>
                </a:lnTo>
                <a:lnTo>
                  <a:pt x="24053" y="224790"/>
                </a:lnTo>
                <a:lnTo>
                  <a:pt x="22796" y="224790"/>
                </a:lnTo>
                <a:lnTo>
                  <a:pt x="22593" y="226060"/>
                </a:lnTo>
                <a:lnTo>
                  <a:pt x="21234" y="226060"/>
                </a:lnTo>
                <a:lnTo>
                  <a:pt x="20891" y="224790"/>
                </a:lnTo>
                <a:lnTo>
                  <a:pt x="20447" y="224790"/>
                </a:lnTo>
                <a:lnTo>
                  <a:pt x="20993" y="223520"/>
                </a:lnTo>
                <a:lnTo>
                  <a:pt x="22415" y="223520"/>
                </a:lnTo>
                <a:lnTo>
                  <a:pt x="23063" y="222250"/>
                </a:lnTo>
                <a:lnTo>
                  <a:pt x="23723" y="223520"/>
                </a:lnTo>
                <a:lnTo>
                  <a:pt x="24434" y="223520"/>
                </a:lnTo>
                <a:lnTo>
                  <a:pt x="24650" y="224790"/>
                </a:lnTo>
                <a:lnTo>
                  <a:pt x="24650" y="213360"/>
                </a:lnTo>
                <a:lnTo>
                  <a:pt x="23329" y="213360"/>
                </a:lnTo>
                <a:lnTo>
                  <a:pt x="21869" y="214630"/>
                </a:lnTo>
                <a:lnTo>
                  <a:pt x="20955" y="215900"/>
                </a:lnTo>
                <a:lnTo>
                  <a:pt x="19735" y="217170"/>
                </a:lnTo>
                <a:lnTo>
                  <a:pt x="19545" y="217170"/>
                </a:lnTo>
                <a:lnTo>
                  <a:pt x="17907" y="214630"/>
                </a:lnTo>
                <a:lnTo>
                  <a:pt x="16789" y="215900"/>
                </a:lnTo>
                <a:lnTo>
                  <a:pt x="16471" y="218440"/>
                </a:lnTo>
                <a:lnTo>
                  <a:pt x="16408" y="219710"/>
                </a:lnTo>
                <a:lnTo>
                  <a:pt x="13817" y="218440"/>
                </a:lnTo>
                <a:lnTo>
                  <a:pt x="13970" y="219710"/>
                </a:lnTo>
                <a:lnTo>
                  <a:pt x="14757" y="220980"/>
                </a:lnTo>
                <a:lnTo>
                  <a:pt x="15455" y="223520"/>
                </a:lnTo>
                <a:lnTo>
                  <a:pt x="15328" y="224790"/>
                </a:lnTo>
                <a:lnTo>
                  <a:pt x="14617" y="224790"/>
                </a:lnTo>
                <a:lnTo>
                  <a:pt x="14389"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50" y="232410"/>
                </a:lnTo>
                <a:lnTo>
                  <a:pt x="9144" y="233680"/>
                </a:lnTo>
                <a:lnTo>
                  <a:pt x="7480" y="234950"/>
                </a:lnTo>
                <a:lnTo>
                  <a:pt x="7683" y="236220"/>
                </a:lnTo>
                <a:lnTo>
                  <a:pt x="6769" y="237490"/>
                </a:lnTo>
                <a:lnTo>
                  <a:pt x="5194" y="237490"/>
                </a:lnTo>
                <a:lnTo>
                  <a:pt x="4686" y="238760"/>
                </a:lnTo>
                <a:lnTo>
                  <a:pt x="3937" y="241300"/>
                </a:lnTo>
                <a:lnTo>
                  <a:pt x="1701" y="243840"/>
                </a:lnTo>
                <a:lnTo>
                  <a:pt x="800" y="243840"/>
                </a:lnTo>
                <a:lnTo>
                  <a:pt x="1193" y="245110"/>
                </a:lnTo>
                <a:lnTo>
                  <a:pt x="4051" y="245110"/>
                </a:lnTo>
                <a:lnTo>
                  <a:pt x="44488" y="245110"/>
                </a:lnTo>
                <a:lnTo>
                  <a:pt x="44500" y="243840"/>
                </a:lnTo>
                <a:lnTo>
                  <a:pt x="43891" y="241300"/>
                </a:lnTo>
                <a:lnTo>
                  <a:pt x="43726" y="240030"/>
                </a:lnTo>
                <a:lnTo>
                  <a:pt x="42646" y="240030"/>
                </a:lnTo>
                <a:lnTo>
                  <a:pt x="43167" y="238760"/>
                </a:lnTo>
                <a:lnTo>
                  <a:pt x="43662" y="238760"/>
                </a:lnTo>
                <a:lnTo>
                  <a:pt x="44018" y="236220"/>
                </a:lnTo>
                <a:lnTo>
                  <a:pt x="44018" y="234950"/>
                </a:lnTo>
                <a:lnTo>
                  <a:pt x="44132" y="233680"/>
                </a:lnTo>
                <a:lnTo>
                  <a:pt x="44259" y="232410"/>
                </a:lnTo>
                <a:lnTo>
                  <a:pt x="43624" y="232410"/>
                </a:lnTo>
                <a:lnTo>
                  <a:pt x="41122" y="232410"/>
                </a:lnTo>
                <a:lnTo>
                  <a:pt x="41122" y="234950"/>
                </a:lnTo>
                <a:lnTo>
                  <a:pt x="40525" y="234950"/>
                </a:lnTo>
                <a:lnTo>
                  <a:pt x="40551" y="233680"/>
                </a:lnTo>
                <a:lnTo>
                  <a:pt x="41071" y="233680"/>
                </a:lnTo>
                <a:lnTo>
                  <a:pt x="41122" y="234950"/>
                </a:lnTo>
                <a:lnTo>
                  <a:pt x="41122" y="232410"/>
                </a:lnTo>
                <a:lnTo>
                  <a:pt x="40640" y="232410"/>
                </a:lnTo>
                <a:lnTo>
                  <a:pt x="40894" y="231140"/>
                </a:lnTo>
                <a:lnTo>
                  <a:pt x="41363" y="231140"/>
                </a:lnTo>
                <a:lnTo>
                  <a:pt x="42494" y="229870"/>
                </a:lnTo>
                <a:lnTo>
                  <a:pt x="43167" y="229870"/>
                </a:lnTo>
                <a:lnTo>
                  <a:pt x="43853" y="231140"/>
                </a:lnTo>
                <a:lnTo>
                  <a:pt x="43624" y="232410"/>
                </a:lnTo>
                <a:lnTo>
                  <a:pt x="44704" y="231140"/>
                </a:lnTo>
                <a:lnTo>
                  <a:pt x="44716" y="229870"/>
                </a:lnTo>
                <a:close/>
              </a:path>
              <a:path w="333375" h="379729">
                <a:moveTo>
                  <a:pt x="50495" y="279133"/>
                </a:moveTo>
                <a:lnTo>
                  <a:pt x="50355" y="278917"/>
                </a:lnTo>
                <a:lnTo>
                  <a:pt x="50139" y="278815"/>
                </a:lnTo>
                <a:lnTo>
                  <a:pt x="50139" y="279171"/>
                </a:lnTo>
                <a:lnTo>
                  <a:pt x="50342" y="279285"/>
                </a:lnTo>
                <a:lnTo>
                  <a:pt x="50482" y="279234"/>
                </a:lnTo>
                <a:close/>
              </a:path>
              <a:path w="333375" h="379729">
                <a:moveTo>
                  <a:pt x="52171" y="294322"/>
                </a:moveTo>
                <a:lnTo>
                  <a:pt x="52006" y="294411"/>
                </a:lnTo>
                <a:lnTo>
                  <a:pt x="51790" y="294563"/>
                </a:lnTo>
                <a:lnTo>
                  <a:pt x="52070" y="294398"/>
                </a:lnTo>
                <a:close/>
              </a:path>
              <a:path w="333375" h="379729">
                <a:moveTo>
                  <a:pt x="52755" y="294233"/>
                </a:moveTo>
                <a:close/>
              </a:path>
              <a:path w="333375" h="379729">
                <a:moveTo>
                  <a:pt x="52870" y="294017"/>
                </a:moveTo>
                <a:lnTo>
                  <a:pt x="52781" y="294182"/>
                </a:lnTo>
                <a:lnTo>
                  <a:pt x="52870" y="294017"/>
                </a:lnTo>
                <a:close/>
              </a:path>
              <a:path w="333375" h="379729">
                <a:moveTo>
                  <a:pt x="52895" y="295744"/>
                </a:moveTo>
                <a:lnTo>
                  <a:pt x="52844" y="296506"/>
                </a:lnTo>
                <a:lnTo>
                  <a:pt x="52895" y="295935"/>
                </a:lnTo>
                <a:lnTo>
                  <a:pt x="52895" y="295744"/>
                </a:lnTo>
                <a:close/>
              </a:path>
              <a:path w="333375" h="379729">
                <a:moveTo>
                  <a:pt x="53060" y="294640"/>
                </a:moveTo>
                <a:lnTo>
                  <a:pt x="53035" y="295363"/>
                </a:lnTo>
                <a:lnTo>
                  <a:pt x="53060" y="294640"/>
                </a:lnTo>
                <a:close/>
              </a:path>
              <a:path w="333375" h="379729">
                <a:moveTo>
                  <a:pt x="53200" y="297180"/>
                </a:moveTo>
                <a:lnTo>
                  <a:pt x="53200" y="297446"/>
                </a:lnTo>
                <a:lnTo>
                  <a:pt x="53200" y="297180"/>
                </a:lnTo>
                <a:close/>
              </a:path>
              <a:path w="333375" h="379729">
                <a:moveTo>
                  <a:pt x="53251" y="296799"/>
                </a:moveTo>
                <a:lnTo>
                  <a:pt x="53200" y="295998"/>
                </a:lnTo>
                <a:lnTo>
                  <a:pt x="53174" y="295681"/>
                </a:lnTo>
                <a:lnTo>
                  <a:pt x="53136" y="295198"/>
                </a:lnTo>
                <a:lnTo>
                  <a:pt x="53174" y="295922"/>
                </a:lnTo>
                <a:lnTo>
                  <a:pt x="53200" y="296354"/>
                </a:lnTo>
                <a:lnTo>
                  <a:pt x="53225" y="296621"/>
                </a:lnTo>
                <a:lnTo>
                  <a:pt x="53251" y="296799"/>
                </a:lnTo>
                <a:close/>
              </a:path>
              <a:path w="333375" h="379729">
                <a:moveTo>
                  <a:pt x="53530" y="297688"/>
                </a:moveTo>
                <a:lnTo>
                  <a:pt x="53517" y="297180"/>
                </a:lnTo>
                <a:lnTo>
                  <a:pt x="53530" y="297688"/>
                </a:lnTo>
                <a:close/>
              </a:path>
              <a:path w="333375" h="379729">
                <a:moveTo>
                  <a:pt x="53606" y="295478"/>
                </a:moveTo>
                <a:lnTo>
                  <a:pt x="53581" y="295338"/>
                </a:lnTo>
                <a:lnTo>
                  <a:pt x="53467" y="295033"/>
                </a:lnTo>
                <a:lnTo>
                  <a:pt x="53555" y="295313"/>
                </a:lnTo>
                <a:lnTo>
                  <a:pt x="53606" y="295478"/>
                </a:lnTo>
                <a:close/>
              </a:path>
              <a:path w="333375" h="379729">
                <a:moveTo>
                  <a:pt x="53682" y="372071"/>
                </a:moveTo>
                <a:close/>
              </a:path>
              <a:path w="333375" h="379729">
                <a:moveTo>
                  <a:pt x="54051" y="294690"/>
                </a:moveTo>
                <a:close/>
              </a:path>
              <a:path w="333375" h="379729">
                <a:moveTo>
                  <a:pt x="54838" y="294855"/>
                </a:moveTo>
                <a:lnTo>
                  <a:pt x="54775" y="294640"/>
                </a:lnTo>
                <a:lnTo>
                  <a:pt x="54838" y="294855"/>
                </a:lnTo>
                <a:close/>
              </a:path>
              <a:path w="333375" h="379729">
                <a:moveTo>
                  <a:pt x="54952" y="294157"/>
                </a:moveTo>
                <a:lnTo>
                  <a:pt x="54825" y="294017"/>
                </a:lnTo>
                <a:lnTo>
                  <a:pt x="54914" y="294208"/>
                </a:lnTo>
                <a:close/>
              </a:path>
              <a:path w="333375" h="379729">
                <a:moveTo>
                  <a:pt x="55283" y="295414"/>
                </a:moveTo>
                <a:close/>
              </a:path>
              <a:path w="333375" h="379729">
                <a:moveTo>
                  <a:pt x="55308" y="295452"/>
                </a:moveTo>
                <a:close/>
              </a:path>
              <a:path w="333375" h="379729">
                <a:moveTo>
                  <a:pt x="55880" y="292874"/>
                </a:moveTo>
                <a:lnTo>
                  <a:pt x="55346" y="292100"/>
                </a:lnTo>
                <a:lnTo>
                  <a:pt x="55880" y="292874"/>
                </a:lnTo>
                <a:close/>
              </a:path>
              <a:path w="333375" h="379729">
                <a:moveTo>
                  <a:pt x="56261" y="293370"/>
                </a:moveTo>
                <a:lnTo>
                  <a:pt x="55880" y="292874"/>
                </a:lnTo>
                <a:lnTo>
                  <a:pt x="56222" y="293370"/>
                </a:lnTo>
                <a:close/>
              </a:path>
              <a:path w="333375" h="379729">
                <a:moveTo>
                  <a:pt x="61607" y="280873"/>
                </a:moveTo>
                <a:lnTo>
                  <a:pt x="61252" y="280835"/>
                </a:lnTo>
                <a:lnTo>
                  <a:pt x="61226" y="280974"/>
                </a:lnTo>
                <a:lnTo>
                  <a:pt x="61150" y="281127"/>
                </a:lnTo>
                <a:lnTo>
                  <a:pt x="61239" y="281419"/>
                </a:lnTo>
                <a:lnTo>
                  <a:pt x="61391" y="281432"/>
                </a:lnTo>
                <a:lnTo>
                  <a:pt x="61493" y="281254"/>
                </a:lnTo>
                <a:lnTo>
                  <a:pt x="61569" y="281000"/>
                </a:lnTo>
                <a:lnTo>
                  <a:pt x="61607" y="280873"/>
                </a:lnTo>
                <a:close/>
              </a:path>
              <a:path w="333375" h="379729">
                <a:moveTo>
                  <a:pt x="70370" y="266611"/>
                </a:moveTo>
                <a:lnTo>
                  <a:pt x="70281" y="266458"/>
                </a:lnTo>
                <a:lnTo>
                  <a:pt x="70243" y="266331"/>
                </a:lnTo>
                <a:lnTo>
                  <a:pt x="69964" y="266306"/>
                </a:lnTo>
                <a:lnTo>
                  <a:pt x="69850" y="266471"/>
                </a:lnTo>
                <a:lnTo>
                  <a:pt x="69786" y="266687"/>
                </a:lnTo>
                <a:lnTo>
                  <a:pt x="70002" y="266979"/>
                </a:lnTo>
                <a:lnTo>
                  <a:pt x="70205" y="266877"/>
                </a:lnTo>
                <a:lnTo>
                  <a:pt x="70332" y="266687"/>
                </a:lnTo>
                <a:close/>
              </a:path>
              <a:path w="333375" h="379729">
                <a:moveTo>
                  <a:pt x="75044" y="260680"/>
                </a:moveTo>
                <a:lnTo>
                  <a:pt x="74930" y="260527"/>
                </a:lnTo>
                <a:lnTo>
                  <a:pt x="74752" y="260540"/>
                </a:lnTo>
                <a:lnTo>
                  <a:pt x="74625" y="260515"/>
                </a:lnTo>
                <a:lnTo>
                  <a:pt x="74599" y="260654"/>
                </a:lnTo>
                <a:lnTo>
                  <a:pt x="74523" y="260832"/>
                </a:lnTo>
                <a:lnTo>
                  <a:pt x="74625" y="260997"/>
                </a:lnTo>
                <a:lnTo>
                  <a:pt x="74815" y="260972"/>
                </a:lnTo>
                <a:lnTo>
                  <a:pt x="74942" y="260997"/>
                </a:lnTo>
                <a:lnTo>
                  <a:pt x="74968" y="260870"/>
                </a:lnTo>
                <a:lnTo>
                  <a:pt x="75044" y="260680"/>
                </a:lnTo>
                <a:close/>
              </a:path>
              <a:path w="333375" h="379729">
                <a:moveTo>
                  <a:pt x="87096" y="240080"/>
                </a:moveTo>
                <a:lnTo>
                  <a:pt x="87007" y="239928"/>
                </a:lnTo>
                <a:lnTo>
                  <a:pt x="86702" y="239966"/>
                </a:lnTo>
                <a:lnTo>
                  <a:pt x="86588" y="240093"/>
                </a:lnTo>
                <a:lnTo>
                  <a:pt x="86461" y="240157"/>
                </a:lnTo>
                <a:lnTo>
                  <a:pt x="86601" y="240423"/>
                </a:lnTo>
                <a:lnTo>
                  <a:pt x="86868" y="240550"/>
                </a:lnTo>
                <a:lnTo>
                  <a:pt x="87020" y="240449"/>
                </a:lnTo>
                <a:lnTo>
                  <a:pt x="87096" y="240080"/>
                </a:lnTo>
                <a:close/>
              </a:path>
              <a:path w="333375" h="379729">
                <a:moveTo>
                  <a:pt x="93243" y="229997"/>
                </a:moveTo>
                <a:lnTo>
                  <a:pt x="92964" y="229870"/>
                </a:lnTo>
                <a:lnTo>
                  <a:pt x="93205" y="230124"/>
                </a:lnTo>
                <a:lnTo>
                  <a:pt x="93243" y="229997"/>
                </a:lnTo>
                <a:close/>
              </a:path>
              <a:path w="333375" h="379729">
                <a:moveTo>
                  <a:pt x="102323" y="215861"/>
                </a:moveTo>
                <a:lnTo>
                  <a:pt x="102184" y="215620"/>
                </a:lnTo>
                <a:lnTo>
                  <a:pt x="101930" y="215455"/>
                </a:lnTo>
                <a:lnTo>
                  <a:pt x="101803" y="215722"/>
                </a:lnTo>
                <a:lnTo>
                  <a:pt x="101904" y="215988"/>
                </a:lnTo>
                <a:lnTo>
                  <a:pt x="102082" y="216052"/>
                </a:lnTo>
                <a:lnTo>
                  <a:pt x="102209" y="215925"/>
                </a:lnTo>
                <a:close/>
              </a:path>
              <a:path w="333375" h="379729">
                <a:moveTo>
                  <a:pt x="137236" y="255346"/>
                </a:moveTo>
                <a:lnTo>
                  <a:pt x="137198" y="254977"/>
                </a:lnTo>
                <a:lnTo>
                  <a:pt x="136969" y="254838"/>
                </a:lnTo>
                <a:lnTo>
                  <a:pt x="136779" y="254927"/>
                </a:lnTo>
                <a:lnTo>
                  <a:pt x="136652" y="255117"/>
                </a:lnTo>
                <a:lnTo>
                  <a:pt x="136550" y="255257"/>
                </a:lnTo>
                <a:lnTo>
                  <a:pt x="136639" y="255397"/>
                </a:lnTo>
                <a:lnTo>
                  <a:pt x="136969" y="255397"/>
                </a:lnTo>
                <a:lnTo>
                  <a:pt x="137109" y="255358"/>
                </a:lnTo>
                <a:lnTo>
                  <a:pt x="137236" y="255346"/>
                </a:lnTo>
                <a:close/>
              </a:path>
              <a:path w="333375" h="379729">
                <a:moveTo>
                  <a:pt x="139903" y="250431"/>
                </a:moveTo>
                <a:lnTo>
                  <a:pt x="139750" y="250329"/>
                </a:lnTo>
                <a:lnTo>
                  <a:pt x="139585" y="250444"/>
                </a:lnTo>
                <a:lnTo>
                  <a:pt x="139458" y="250634"/>
                </a:lnTo>
                <a:lnTo>
                  <a:pt x="139369" y="250774"/>
                </a:lnTo>
                <a:lnTo>
                  <a:pt x="139661" y="250837"/>
                </a:lnTo>
                <a:lnTo>
                  <a:pt x="139877" y="250748"/>
                </a:lnTo>
                <a:lnTo>
                  <a:pt x="139903" y="250431"/>
                </a:lnTo>
                <a:close/>
              </a:path>
              <a:path w="333375" h="379729">
                <a:moveTo>
                  <a:pt x="181305" y="109689"/>
                </a:moveTo>
                <a:lnTo>
                  <a:pt x="181254" y="109512"/>
                </a:lnTo>
                <a:lnTo>
                  <a:pt x="181076" y="109499"/>
                </a:lnTo>
                <a:lnTo>
                  <a:pt x="180936" y="109588"/>
                </a:lnTo>
                <a:lnTo>
                  <a:pt x="180886" y="109715"/>
                </a:lnTo>
                <a:lnTo>
                  <a:pt x="180898" y="110045"/>
                </a:lnTo>
                <a:lnTo>
                  <a:pt x="181152" y="109956"/>
                </a:lnTo>
                <a:lnTo>
                  <a:pt x="181305" y="109689"/>
                </a:lnTo>
                <a:close/>
              </a:path>
              <a:path w="333375" h="379729">
                <a:moveTo>
                  <a:pt x="223012" y="128549"/>
                </a:moveTo>
                <a:close/>
              </a:path>
              <a:path w="333375" h="379729">
                <a:moveTo>
                  <a:pt x="223659" y="128206"/>
                </a:moveTo>
                <a:lnTo>
                  <a:pt x="223456" y="128409"/>
                </a:lnTo>
                <a:lnTo>
                  <a:pt x="223227" y="128447"/>
                </a:lnTo>
                <a:lnTo>
                  <a:pt x="223012" y="128549"/>
                </a:lnTo>
                <a:lnTo>
                  <a:pt x="223342" y="129184"/>
                </a:lnTo>
                <a:lnTo>
                  <a:pt x="223481" y="128587"/>
                </a:lnTo>
                <a:lnTo>
                  <a:pt x="223659" y="128206"/>
                </a:lnTo>
                <a:close/>
              </a:path>
              <a:path w="333375" h="379729">
                <a:moveTo>
                  <a:pt x="223812" y="128003"/>
                </a:moveTo>
                <a:lnTo>
                  <a:pt x="223659" y="128206"/>
                </a:lnTo>
                <a:lnTo>
                  <a:pt x="223812" y="128003"/>
                </a:lnTo>
                <a:close/>
              </a:path>
              <a:path w="333375" h="379729">
                <a:moveTo>
                  <a:pt x="317665" y="1676"/>
                </a:moveTo>
                <a:lnTo>
                  <a:pt x="317588" y="1447"/>
                </a:lnTo>
                <a:lnTo>
                  <a:pt x="317449" y="1371"/>
                </a:lnTo>
                <a:lnTo>
                  <a:pt x="317284" y="1536"/>
                </a:lnTo>
                <a:lnTo>
                  <a:pt x="317360" y="1765"/>
                </a:lnTo>
                <a:lnTo>
                  <a:pt x="317500" y="1841"/>
                </a:lnTo>
                <a:lnTo>
                  <a:pt x="317665" y="1676"/>
                </a:lnTo>
                <a:close/>
              </a:path>
              <a:path w="333375" h="379729">
                <a:moveTo>
                  <a:pt x="328155" y="3263"/>
                </a:moveTo>
                <a:lnTo>
                  <a:pt x="328104" y="3111"/>
                </a:lnTo>
                <a:lnTo>
                  <a:pt x="327901" y="3009"/>
                </a:lnTo>
                <a:lnTo>
                  <a:pt x="327799" y="3213"/>
                </a:lnTo>
                <a:lnTo>
                  <a:pt x="327863" y="3352"/>
                </a:lnTo>
                <a:lnTo>
                  <a:pt x="328053" y="3467"/>
                </a:lnTo>
                <a:lnTo>
                  <a:pt x="328155" y="3263"/>
                </a:lnTo>
                <a:close/>
              </a:path>
              <a:path w="333375" h="379729">
                <a:moveTo>
                  <a:pt x="333375" y="9918"/>
                </a:moveTo>
                <a:lnTo>
                  <a:pt x="333324" y="9321"/>
                </a:lnTo>
                <a:lnTo>
                  <a:pt x="333133" y="9182"/>
                </a:lnTo>
                <a:lnTo>
                  <a:pt x="332828" y="9232"/>
                </a:lnTo>
                <a:lnTo>
                  <a:pt x="332308" y="9321"/>
                </a:lnTo>
                <a:lnTo>
                  <a:pt x="331724" y="9588"/>
                </a:lnTo>
                <a:lnTo>
                  <a:pt x="331800" y="10452"/>
                </a:lnTo>
                <a:lnTo>
                  <a:pt x="331558" y="10617"/>
                </a:lnTo>
                <a:lnTo>
                  <a:pt x="330161" y="10883"/>
                </a:lnTo>
                <a:lnTo>
                  <a:pt x="329793" y="11150"/>
                </a:lnTo>
                <a:lnTo>
                  <a:pt x="329692" y="11430"/>
                </a:lnTo>
                <a:lnTo>
                  <a:pt x="328396" y="11430"/>
                </a:lnTo>
                <a:lnTo>
                  <a:pt x="328955" y="10160"/>
                </a:lnTo>
                <a:lnTo>
                  <a:pt x="326402" y="10160"/>
                </a:lnTo>
                <a:lnTo>
                  <a:pt x="327406" y="8890"/>
                </a:lnTo>
                <a:lnTo>
                  <a:pt x="328993" y="7708"/>
                </a:lnTo>
                <a:lnTo>
                  <a:pt x="329234" y="8039"/>
                </a:lnTo>
                <a:lnTo>
                  <a:pt x="329336" y="8318"/>
                </a:lnTo>
                <a:lnTo>
                  <a:pt x="330060" y="7823"/>
                </a:lnTo>
                <a:lnTo>
                  <a:pt x="329971" y="7620"/>
                </a:lnTo>
                <a:lnTo>
                  <a:pt x="329692" y="7327"/>
                </a:lnTo>
                <a:lnTo>
                  <a:pt x="329501" y="7239"/>
                </a:lnTo>
                <a:lnTo>
                  <a:pt x="329171" y="7340"/>
                </a:lnTo>
                <a:lnTo>
                  <a:pt x="328968" y="7493"/>
                </a:lnTo>
                <a:lnTo>
                  <a:pt x="327774" y="6350"/>
                </a:lnTo>
                <a:lnTo>
                  <a:pt x="328993" y="6350"/>
                </a:lnTo>
                <a:lnTo>
                  <a:pt x="328523" y="5080"/>
                </a:lnTo>
                <a:lnTo>
                  <a:pt x="329044" y="3810"/>
                </a:lnTo>
                <a:lnTo>
                  <a:pt x="330758" y="3810"/>
                </a:lnTo>
                <a:lnTo>
                  <a:pt x="330454" y="2540"/>
                </a:lnTo>
                <a:lnTo>
                  <a:pt x="328726" y="3810"/>
                </a:lnTo>
                <a:lnTo>
                  <a:pt x="325678" y="3810"/>
                </a:lnTo>
                <a:lnTo>
                  <a:pt x="325005" y="2540"/>
                </a:lnTo>
                <a:lnTo>
                  <a:pt x="324713" y="2540"/>
                </a:lnTo>
                <a:lnTo>
                  <a:pt x="324713" y="15240"/>
                </a:lnTo>
                <a:lnTo>
                  <a:pt x="322973" y="15240"/>
                </a:lnTo>
                <a:lnTo>
                  <a:pt x="322897" y="16510"/>
                </a:lnTo>
                <a:lnTo>
                  <a:pt x="322478" y="16510"/>
                </a:lnTo>
                <a:lnTo>
                  <a:pt x="322643" y="15240"/>
                </a:lnTo>
                <a:lnTo>
                  <a:pt x="323316" y="13970"/>
                </a:lnTo>
                <a:lnTo>
                  <a:pt x="324205" y="13970"/>
                </a:lnTo>
                <a:lnTo>
                  <a:pt x="324713" y="15240"/>
                </a:lnTo>
                <a:lnTo>
                  <a:pt x="324713" y="2540"/>
                </a:lnTo>
                <a:lnTo>
                  <a:pt x="323291" y="2540"/>
                </a:lnTo>
                <a:lnTo>
                  <a:pt x="323291" y="5080"/>
                </a:lnTo>
                <a:lnTo>
                  <a:pt x="322872" y="5080"/>
                </a:lnTo>
                <a:lnTo>
                  <a:pt x="323011" y="3810"/>
                </a:lnTo>
                <a:lnTo>
                  <a:pt x="323253" y="3810"/>
                </a:lnTo>
                <a:lnTo>
                  <a:pt x="323291" y="5080"/>
                </a:lnTo>
                <a:lnTo>
                  <a:pt x="323291" y="2540"/>
                </a:lnTo>
                <a:lnTo>
                  <a:pt x="315214" y="2540"/>
                </a:lnTo>
                <a:lnTo>
                  <a:pt x="314248"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65" y="3810"/>
                </a:lnTo>
                <a:lnTo>
                  <a:pt x="296887" y="3810"/>
                </a:lnTo>
                <a:lnTo>
                  <a:pt x="294233" y="5080"/>
                </a:lnTo>
                <a:lnTo>
                  <a:pt x="292887" y="6350"/>
                </a:lnTo>
                <a:lnTo>
                  <a:pt x="291528" y="6350"/>
                </a:lnTo>
                <a:lnTo>
                  <a:pt x="288861" y="8890"/>
                </a:lnTo>
                <a:lnTo>
                  <a:pt x="284962" y="10160"/>
                </a:lnTo>
                <a:lnTo>
                  <a:pt x="282943" y="12700"/>
                </a:lnTo>
                <a:lnTo>
                  <a:pt x="278828" y="15240"/>
                </a:lnTo>
                <a:lnTo>
                  <a:pt x="276809" y="15240"/>
                </a:lnTo>
                <a:lnTo>
                  <a:pt x="275386" y="17780"/>
                </a:lnTo>
                <a:lnTo>
                  <a:pt x="274421" y="19050"/>
                </a:lnTo>
                <a:lnTo>
                  <a:pt x="271411" y="20320"/>
                </a:lnTo>
                <a:lnTo>
                  <a:pt x="269913" y="22860"/>
                </a:lnTo>
                <a:lnTo>
                  <a:pt x="267817" y="24130"/>
                </a:lnTo>
                <a:lnTo>
                  <a:pt x="265836" y="24130"/>
                </a:lnTo>
                <a:lnTo>
                  <a:pt x="265176" y="26670"/>
                </a:lnTo>
                <a:lnTo>
                  <a:pt x="264337" y="26670"/>
                </a:lnTo>
                <a:lnTo>
                  <a:pt x="262470" y="29210"/>
                </a:lnTo>
                <a:lnTo>
                  <a:pt x="261175" y="29210"/>
                </a:lnTo>
                <a:lnTo>
                  <a:pt x="258876" y="31750"/>
                </a:lnTo>
                <a:lnTo>
                  <a:pt x="256552" y="31750"/>
                </a:lnTo>
                <a:lnTo>
                  <a:pt x="256120" y="34290"/>
                </a:lnTo>
                <a:lnTo>
                  <a:pt x="254292" y="35560"/>
                </a:lnTo>
                <a:lnTo>
                  <a:pt x="250215" y="39370"/>
                </a:lnTo>
                <a:lnTo>
                  <a:pt x="248462" y="39370"/>
                </a:lnTo>
                <a:lnTo>
                  <a:pt x="246341" y="43180"/>
                </a:lnTo>
                <a:lnTo>
                  <a:pt x="244881" y="44450"/>
                </a:lnTo>
                <a:lnTo>
                  <a:pt x="242341" y="45720"/>
                </a:lnTo>
                <a:lnTo>
                  <a:pt x="241490" y="45720"/>
                </a:lnTo>
                <a:lnTo>
                  <a:pt x="241922" y="48260"/>
                </a:lnTo>
                <a:lnTo>
                  <a:pt x="238963" y="48260"/>
                </a:lnTo>
                <a:lnTo>
                  <a:pt x="237312" y="52070"/>
                </a:lnTo>
                <a:lnTo>
                  <a:pt x="234772" y="53340"/>
                </a:lnTo>
                <a:lnTo>
                  <a:pt x="232397" y="55880"/>
                </a:lnTo>
                <a:lnTo>
                  <a:pt x="231381" y="57150"/>
                </a:lnTo>
                <a:lnTo>
                  <a:pt x="227761" y="58420"/>
                </a:lnTo>
                <a:lnTo>
                  <a:pt x="227533" y="60960"/>
                </a:lnTo>
                <a:lnTo>
                  <a:pt x="225412" y="62230"/>
                </a:lnTo>
                <a:lnTo>
                  <a:pt x="225425" y="63500"/>
                </a:lnTo>
                <a:lnTo>
                  <a:pt x="223367" y="63500"/>
                </a:lnTo>
                <a:lnTo>
                  <a:pt x="222897" y="64770"/>
                </a:lnTo>
                <a:lnTo>
                  <a:pt x="222681" y="66040"/>
                </a:lnTo>
                <a:lnTo>
                  <a:pt x="221957" y="67310"/>
                </a:lnTo>
                <a:lnTo>
                  <a:pt x="219989" y="68580"/>
                </a:lnTo>
                <a:lnTo>
                  <a:pt x="218490" y="68580"/>
                </a:lnTo>
                <a:lnTo>
                  <a:pt x="216928" y="71120"/>
                </a:lnTo>
                <a:lnTo>
                  <a:pt x="215722" y="72390"/>
                </a:lnTo>
                <a:lnTo>
                  <a:pt x="214960" y="74930"/>
                </a:lnTo>
                <a:lnTo>
                  <a:pt x="214058" y="74930"/>
                </a:lnTo>
                <a:lnTo>
                  <a:pt x="212229" y="76200"/>
                </a:lnTo>
                <a:lnTo>
                  <a:pt x="210172" y="78740"/>
                </a:lnTo>
                <a:lnTo>
                  <a:pt x="208457" y="80010"/>
                </a:lnTo>
                <a:lnTo>
                  <a:pt x="207327" y="81280"/>
                </a:lnTo>
                <a:lnTo>
                  <a:pt x="205409" y="83820"/>
                </a:lnTo>
                <a:lnTo>
                  <a:pt x="204863" y="85090"/>
                </a:lnTo>
                <a:lnTo>
                  <a:pt x="203949" y="86360"/>
                </a:lnTo>
                <a:lnTo>
                  <a:pt x="201485" y="87630"/>
                </a:lnTo>
                <a:lnTo>
                  <a:pt x="200304" y="88900"/>
                </a:lnTo>
                <a:lnTo>
                  <a:pt x="199796" y="90170"/>
                </a:lnTo>
                <a:lnTo>
                  <a:pt x="197345" y="90170"/>
                </a:lnTo>
                <a:lnTo>
                  <a:pt x="197980" y="91440"/>
                </a:lnTo>
                <a:lnTo>
                  <a:pt x="197904" y="93980"/>
                </a:lnTo>
                <a:lnTo>
                  <a:pt x="195465"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84" y="116840"/>
                </a:lnTo>
                <a:lnTo>
                  <a:pt x="175018" y="116840"/>
                </a:lnTo>
                <a:lnTo>
                  <a:pt x="174904" y="120650"/>
                </a:lnTo>
                <a:lnTo>
                  <a:pt x="172935" y="120650"/>
                </a:lnTo>
                <a:lnTo>
                  <a:pt x="172935" y="139700"/>
                </a:lnTo>
                <a:lnTo>
                  <a:pt x="171678" y="139700"/>
                </a:lnTo>
                <a:lnTo>
                  <a:pt x="171729" y="138430"/>
                </a:lnTo>
                <a:lnTo>
                  <a:pt x="172694" y="138430"/>
                </a:lnTo>
                <a:lnTo>
                  <a:pt x="172935" y="139700"/>
                </a:lnTo>
                <a:lnTo>
                  <a:pt x="172935" y="120650"/>
                </a:lnTo>
                <a:lnTo>
                  <a:pt x="172046" y="120650"/>
                </a:lnTo>
                <a:lnTo>
                  <a:pt x="171970" y="124460"/>
                </a:lnTo>
                <a:lnTo>
                  <a:pt x="170726" y="125234"/>
                </a:lnTo>
                <a:lnTo>
                  <a:pt x="170726"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68" y="127000"/>
                </a:lnTo>
                <a:lnTo>
                  <a:pt x="167411" y="127000"/>
                </a:lnTo>
                <a:lnTo>
                  <a:pt x="167627"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16" y="149860"/>
                </a:lnTo>
                <a:lnTo>
                  <a:pt x="158394" y="148590"/>
                </a:lnTo>
                <a:lnTo>
                  <a:pt x="159270" y="148590"/>
                </a:lnTo>
                <a:lnTo>
                  <a:pt x="159270" y="137160"/>
                </a:lnTo>
                <a:lnTo>
                  <a:pt x="158838" y="137160"/>
                </a:lnTo>
                <a:lnTo>
                  <a:pt x="159092" y="140970"/>
                </a:lnTo>
                <a:lnTo>
                  <a:pt x="156210" y="140970"/>
                </a:lnTo>
                <a:lnTo>
                  <a:pt x="156019" y="144780"/>
                </a:lnTo>
                <a:lnTo>
                  <a:pt x="154787" y="146050"/>
                </a:lnTo>
                <a:lnTo>
                  <a:pt x="152057" y="147320"/>
                </a:lnTo>
                <a:lnTo>
                  <a:pt x="151790" y="148590"/>
                </a:lnTo>
                <a:lnTo>
                  <a:pt x="152552" y="148590"/>
                </a:lnTo>
                <a:lnTo>
                  <a:pt x="151968" y="149860"/>
                </a:lnTo>
                <a:lnTo>
                  <a:pt x="150952" y="151130"/>
                </a:lnTo>
                <a:lnTo>
                  <a:pt x="150825" y="151130"/>
                </a:lnTo>
                <a:lnTo>
                  <a:pt x="149415" y="153670"/>
                </a:lnTo>
                <a:lnTo>
                  <a:pt x="149758" y="154940"/>
                </a:lnTo>
                <a:lnTo>
                  <a:pt x="151536" y="154940"/>
                </a:lnTo>
                <a:lnTo>
                  <a:pt x="151130" y="153670"/>
                </a:lnTo>
                <a:lnTo>
                  <a:pt x="151968" y="153670"/>
                </a:lnTo>
                <a:lnTo>
                  <a:pt x="153047" y="153670"/>
                </a:lnTo>
                <a:lnTo>
                  <a:pt x="152742" y="152400"/>
                </a:lnTo>
                <a:lnTo>
                  <a:pt x="153746" y="152400"/>
                </a:lnTo>
                <a:lnTo>
                  <a:pt x="153365" y="153670"/>
                </a:lnTo>
                <a:lnTo>
                  <a:pt x="153123" y="154940"/>
                </a:lnTo>
                <a:lnTo>
                  <a:pt x="151968" y="153670"/>
                </a:lnTo>
                <a:lnTo>
                  <a:pt x="152692" y="154940"/>
                </a:lnTo>
                <a:lnTo>
                  <a:pt x="151193" y="156210"/>
                </a:lnTo>
                <a:lnTo>
                  <a:pt x="150291" y="157480"/>
                </a:lnTo>
                <a:lnTo>
                  <a:pt x="147853" y="157480"/>
                </a:lnTo>
                <a:lnTo>
                  <a:pt x="147777" y="156210"/>
                </a:lnTo>
                <a:lnTo>
                  <a:pt x="147205" y="154940"/>
                </a:lnTo>
                <a:lnTo>
                  <a:pt x="145478" y="154940"/>
                </a:lnTo>
                <a:lnTo>
                  <a:pt x="145656" y="157480"/>
                </a:lnTo>
                <a:lnTo>
                  <a:pt x="144691" y="157480"/>
                </a:lnTo>
                <a:lnTo>
                  <a:pt x="143141" y="160020"/>
                </a:lnTo>
                <a:lnTo>
                  <a:pt x="141478" y="160020"/>
                </a:lnTo>
                <a:lnTo>
                  <a:pt x="142582" y="162560"/>
                </a:lnTo>
                <a:lnTo>
                  <a:pt x="142354" y="162560"/>
                </a:lnTo>
                <a:lnTo>
                  <a:pt x="140182" y="163830"/>
                </a:lnTo>
                <a:lnTo>
                  <a:pt x="138709" y="166370"/>
                </a:lnTo>
                <a:lnTo>
                  <a:pt x="136918" y="168910"/>
                </a:lnTo>
                <a:lnTo>
                  <a:pt x="135966" y="170180"/>
                </a:lnTo>
                <a:lnTo>
                  <a:pt x="134264" y="171450"/>
                </a:lnTo>
                <a:lnTo>
                  <a:pt x="133235" y="171450"/>
                </a:lnTo>
                <a:lnTo>
                  <a:pt x="134226" y="173990"/>
                </a:lnTo>
                <a:lnTo>
                  <a:pt x="133273" y="175260"/>
                </a:lnTo>
                <a:lnTo>
                  <a:pt x="130822" y="176530"/>
                </a:lnTo>
                <a:lnTo>
                  <a:pt x="129857" y="179070"/>
                </a:lnTo>
                <a:lnTo>
                  <a:pt x="127177" y="180340"/>
                </a:lnTo>
                <a:lnTo>
                  <a:pt x="126936" y="180340"/>
                </a:lnTo>
                <a:lnTo>
                  <a:pt x="126860" y="182880"/>
                </a:lnTo>
                <a:lnTo>
                  <a:pt x="125831" y="185420"/>
                </a:lnTo>
                <a:lnTo>
                  <a:pt x="126009" y="187960"/>
                </a:lnTo>
                <a:lnTo>
                  <a:pt x="124574" y="187960"/>
                </a:lnTo>
                <a:lnTo>
                  <a:pt x="124002" y="189230"/>
                </a:lnTo>
                <a:lnTo>
                  <a:pt x="123215" y="187960"/>
                </a:lnTo>
                <a:lnTo>
                  <a:pt x="123037" y="189839"/>
                </a:lnTo>
                <a:lnTo>
                  <a:pt x="123037" y="269240"/>
                </a:lnTo>
                <a:lnTo>
                  <a:pt x="122656" y="269240"/>
                </a:lnTo>
                <a:lnTo>
                  <a:pt x="122872" y="267970"/>
                </a:lnTo>
                <a:lnTo>
                  <a:pt x="123037" y="269240"/>
                </a:lnTo>
                <a:lnTo>
                  <a:pt x="123037" y="189839"/>
                </a:lnTo>
                <a:lnTo>
                  <a:pt x="122974" y="190500"/>
                </a:lnTo>
                <a:lnTo>
                  <a:pt x="121780" y="190500"/>
                </a:lnTo>
                <a:lnTo>
                  <a:pt x="120357" y="191770"/>
                </a:lnTo>
                <a:lnTo>
                  <a:pt x="119684" y="191770"/>
                </a:lnTo>
                <a:lnTo>
                  <a:pt x="118198" y="193040"/>
                </a:lnTo>
                <a:lnTo>
                  <a:pt x="119761" y="193040"/>
                </a:lnTo>
                <a:lnTo>
                  <a:pt x="119176" y="194310"/>
                </a:lnTo>
                <a:lnTo>
                  <a:pt x="118033" y="195580"/>
                </a:lnTo>
                <a:lnTo>
                  <a:pt x="117906" y="198120"/>
                </a:lnTo>
                <a:lnTo>
                  <a:pt x="115481" y="198120"/>
                </a:lnTo>
                <a:lnTo>
                  <a:pt x="116395" y="200660"/>
                </a:lnTo>
                <a:lnTo>
                  <a:pt x="115392" y="200660"/>
                </a:lnTo>
                <a:lnTo>
                  <a:pt x="113461" y="201930"/>
                </a:lnTo>
                <a:lnTo>
                  <a:pt x="113017" y="203200"/>
                </a:lnTo>
                <a:lnTo>
                  <a:pt x="111658" y="204470"/>
                </a:lnTo>
                <a:lnTo>
                  <a:pt x="110871" y="205740"/>
                </a:lnTo>
                <a:lnTo>
                  <a:pt x="110629" y="207010"/>
                </a:lnTo>
                <a:lnTo>
                  <a:pt x="108127" y="207010"/>
                </a:lnTo>
                <a:lnTo>
                  <a:pt x="108800" y="208280"/>
                </a:lnTo>
                <a:lnTo>
                  <a:pt x="107721" y="210820"/>
                </a:lnTo>
                <a:lnTo>
                  <a:pt x="107378" y="212090"/>
                </a:lnTo>
                <a:lnTo>
                  <a:pt x="105460" y="212090"/>
                </a:lnTo>
                <a:lnTo>
                  <a:pt x="105956" y="214630"/>
                </a:lnTo>
                <a:lnTo>
                  <a:pt x="104559" y="215900"/>
                </a:lnTo>
                <a:lnTo>
                  <a:pt x="104787" y="217170"/>
                </a:lnTo>
                <a:lnTo>
                  <a:pt x="100660" y="217170"/>
                </a:lnTo>
                <a:lnTo>
                  <a:pt x="100291" y="218440"/>
                </a:lnTo>
                <a:lnTo>
                  <a:pt x="101028" y="222250"/>
                </a:lnTo>
                <a:lnTo>
                  <a:pt x="99339" y="222250"/>
                </a:lnTo>
                <a:lnTo>
                  <a:pt x="99415" y="226060"/>
                </a:lnTo>
                <a:lnTo>
                  <a:pt x="94805" y="226060"/>
                </a:lnTo>
                <a:lnTo>
                  <a:pt x="96164" y="228600"/>
                </a:lnTo>
                <a:lnTo>
                  <a:pt x="96139" y="229870"/>
                </a:lnTo>
                <a:lnTo>
                  <a:pt x="95402" y="229870"/>
                </a:lnTo>
                <a:lnTo>
                  <a:pt x="95681" y="231140"/>
                </a:lnTo>
                <a:lnTo>
                  <a:pt x="93281" y="230009"/>
                </a:lnTo>
                <a:lnTo>
                  <a:pt x="93294" y="230212"/>
                </a:lnTo>
                <a:lnTo>
                  <a:pt x="94170" y="231140"/>
                </a:lnTo>
                <a:lnTo>
                  <a:pt x="93535" y="233680"/>
                </a:lnTo>
                <a:lnTo>
                  <a:pt x="93294" y="230212"/>
                </a:lnTo>
                <a:lnTo>
                  <a:pt x="92684" y="232410"/>
                </a:lnTo>
                <a:lnTo>
                  <a:pt x="92811" y="232410"/>
                </a:lnTo>
                <a:lnTo>
                  <a:pt x="93472"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92" y="248920"/>
                </a:lnTo>
                <a:lnTo>
                  <a:pt x="82804" y="251460"/>
                </a:lnTo>
                <a:lnTo>
                  <a:pt x="81254" y="251460"/>
                </a:lnTo>
                <a:lnTo>
                  <a:pt x="81241" y="251193"/>
                </a:lnTo>
                <a:lnTo>
                  <a:pt x="81216" y="251066"/>
                </a:lnTo>
                <a:lnTo>
                  <a:pt x="80835" y="251015"/>
                </a:lnTo>
                <a:lnTo>
                  <a:pt x="80835" y="251155"/>
                </a:lnTo>
                <a:lnTo>
                  <a:pt x="80797" y="251307"/>
                </a:lnTo>
                <a:lnTo>
                  <a:pt x="80962" y="251637"/>
                </a:lnTo>
                <a:lnTo>
                  <a:pt x="81153" y="251625"/>
                </a:lnTo>
                <a:lnTo>
                  <a:pt x="80645" y="254000"/>
                </a:lnTo>
                <a:lnTo>
                  <a:pt x="79502" y="252730"/>
                </a:lnTo>
                <a:lnTo>
                  <a:pt x="79489" y="254000"/>
                </a:lnTo>
                <a:lnTo>
                  <a:pt x="77317" y="255270"/>
                </a:lnTo>
                <a:lnTo>
                  <a:pt x="79019" y="256540"/>
                </a:lnTo>
                <a:lnTo>
                  <a:pt x="78879" y="256540"/>
                </a:lnTo>
                <a:lnTo>
                  <a:pt x="77470" y="257810"/>
                </a:lnTo>
                <a:lnTo>
                  <a:pt x="76771" y="259080"/>
                </a:lnTo>
                <a:lnTo>
                  <a:pt x="76288" y="261620"/>
                </a:lnTo>
                <a:lnTo>
                  <a:pt x="74790" y="261620"/>
                </a:lnTo>
                <a:lnTo>
                  <a:pt x="74510" y="262890"/>
                </a:lnTo>
                <a:lnTo>
                  <a:pt x="72936" y="265430"/>
                </a:lnTo>
                <a:lnTo>
                  <a:pt x="72453" y="266700"/>
                </a:lnTo>
                <a:lnTo>
                  <a:pt x="69494" y="269240"/>
                </a:lnTo>
                <a:lnTo>
                  <a:pt x="69519" y="271780"/>
                </a:lnTo>
                <a:lnTo>
                  <a:pt x="69138" y="270510"/>
                </a:lnTo>
                <a:lnTo>
                  <a:pt x="67894" y="273050"/>
                </a:lnTo>
                <a:lnTo>
                  <a:pt x="67398"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303" y="276860"/>
                </a:lnTo>
                <a:lnTo>
                  <a:pt x="65443" y="278130"/>
                </a:lnTo>
                <a:lnTo>
                  <a:pt x="64033" y="279400"/>
                </a:lnTo>
                <a:lnTo>
                  <a:pt x="64617" y="281940"/>
                </a:lnTo>
                <a:lnTo>
                  <a:pt x="64312" y="281940"/>
                </a:lnTo>
                <a:lnTo>
                  <a:pt x="62115" y="280670"/>
                </a:lnTo>
                <a:lnTo>
                  <a:pt x="60312" y="283210"/>
                </a:lnTo>
                <a:lnTo>
                  <a:pt x="61810" y="285750"/>
                </a:lnTo>
                <a:lnTo>
                  <a:pt x="60210" y="287020"/>
                </a:lnTo>
                <a:lnTo>
                  <a:pt x="60223" y="288290"/>
                </a:lnTo>
                <a:lnTo>
                  <a:pt x="59550" y="288290"/>
                </a:lnTo>
                <a:lnTo>
                  <a:pt x="58153" y="289560"/>
                </a:lnTo>
                <a:lnTo>
                  <a:pt x="57950" y="289560"/>
                </a:lnTo>
                <a:lnTo>
                  <a:pt x="58229" y="290830"/>
                </a:lnTo>
                <a:lnTo>
                  <a:pt x="58635" y="292100"/>
                </a:lnTo>
                <a:lnTo>
                  <a:pt x="56959" y="292100"/>
                </a:lnTo>
                <a:lnTo>
                  <a:pt x="56845" y="292519"/>
                </a:lnTo>
                <a:lnTo>
                  <a:pt x="56845" y="370840"/>
                </a:lnTo>
                <a:lnTo>
                  <a:pt x="56781" y="372110"/>
                </a:lnTo>
                <a:lnTo>
                  <a:pt x="55626" y="372110"/>
                </a:lnTo>
                <a:lnTo>
                  <a:pt x="54876" y="373380"/>
                </a:lnTo>
                <a:lnTo>
                  <a:pt x="53924" y="374650"/>
                </a:lnTo>
                <a:lnTo>
                  <a:pt x="52730" y="374650"/>
                </a:lnTo>
                <a:lnTo>
                  <a:pt x="52387" y="375920"/>
                </a:lnTo>
                <a:lnTo>
                  <a:pt x="51269" y="375920"/>
                </a:lnTo>
                <a:lnTo>
                  <a:pt x="51523" y="374650"/>
                </a:lnTo>
                <a:lnTo>
                  <a:pt x="50723" y="374650"/>
                </a:lnTo>
                <a:lnTo>
                  <a:pt x="51358" y="373380"/>
                </a:lnTo>
                <a:lnTo>
                  <a:pt x="51790" y="372110"/>
                </a:lnTo>
                <a:lnTo>
                  <a:pt x="52057" y="373380"/>
                </a:lnTo>
                <a:lnTo>
                  <a:pt x="53251" y="373380"/>
                </a:lnTo>
                <a:lnTo>
                  <a:pt x="53543" y="372110"/>
                </a:lnTo>
                <a:lnTo>
                  <a:pt x="53403" y="372110"/>
                </a:lnTo>
                <a:lnTo>
                  <a:pt x="53454" y="370840"/>
                </a:lnTo>
                <a:lnTo>
                  <a:pt x="53644" y="370840"/>
                </a:lnTo>
                <a:lnTo>
                  <a:pt x="53682" y="372071"/>
                </a:lnTo>
                <a:lnTo>
                  <a:pt x="54851" y="370840"/>
                </a:lnTo>
                <a:lnTo>
                  <a:pt x="56845" y="370840"/>
                </a:lnTo>
                <a:lnTo>
                  <a:pt x="56845" y="292519"/>
                </a:lnTo>
                <a:lnTo>
                  <a:pt x="56603" y="293370"/>
                </a:lnTo>
                <a:lnTo>
                  <a:pt x="56807" y="294640"/>
                </a:lnTo>
                <a:lnTo>
                  <a:pt x="55499" y="294640"/>
                </a:lnTo>
                <a:lnTo>
                  <a:pt x="55587" y="295440"/>
                </a:lnTo>
                <a:lnTo>
                  <a:pt x="55791" y="295910"/>
                </a:lnTo>
                <a:lnTo>
                  <a:pt x="55651" y="295910"/>
                </a:lnTo>
                <a:lnTo>
                  <a:pt x="55562" y="295363"/>
                </a:lnTo>
                <a:lnTo>
                  <a:pt x="55257" y="294640"/>
                </a:lnTo>
                <a:lnTo>
                  <a:pt x="55587" y="295910"/>
                </a:lnTo>
                <a:lnTo>
                  <a:pt x="55232" y="295427"/>
                </a:lnTo>
                <a:lnTo>
                  <a:pt x="55105" y="295211"/>
                </a:lnTo>
                <a:lnTo>
                  <a:pt x="54940" y="294982"/>
                </a:lnTo>
                <a:lnTo>
                  <a:pt x="54838" y="294855"/>
                </a:lnTo>
                <a:lnTo>
                  <a:pt x="55143" y="295910"/>
                </a:lnTo>
                <a:lnTo>
                  <a:pt x="55587" y="298450"/>
                </a:lnTo>
                <a:lnTo>
                  <a:pt x="54051" y="294690"/>
                </a:lnTo>
                <a:lnTo>
                  <a:pt x="54140" y="295249"/>
                </a:lnTo>
                <a:lnTo>
                  <a:pt x="54076" y="295097"/>
                </a:lnTo>
                <a:lnTo>
                  <a:pt x="53886" y="294767"/>
                </a:lnTo>
                <a:lnTo>
                  <a:pt x="53975" y="295021"/>
                </a:lnTo>
                <a:lnTo>
                  <a:pt x="54076" y="295211"/>
                </a:lnTo>
                <a:lnTo>
                  <a:pt x="54152" y="295338"/>
                </a:lnTo>
                <a:lnTo>
                  <a:pt x="54457" y="297180"/>
                </a:lnTo>
                <a:lnTo>
                  <a:pt x="53911" y="295910"/>
                </a:lnTo>
                <a:lnTo>
                  <a:pt x="54025" y="297180"/>
                </a:lnTo>
                <a:lnTo>
                  <a:pt x="53530" y="295910"/>
                </a:lnTo>
                <a:lnTo>
                  <a:pt x="53860" y="297180"/>
                </a:lnTo>
                <a:lnTo>
                  <a:pt x="53594" y="297180"/>
                </a:lnTo>
                <a:lnTo>
                  <a:pt x="53886" y="298450"/>
                </a:lnTo>
                <a:lnTo>
                  <a:pt x="53860" y="299720"/>
                </a:lnTo>
                <a:lnTo>
                  <a:pt x="53530" y="297688"/>
                </a:lnTo>
                <a:lnTo>
                  <a:pt x="53594" y="300990"/>
                </a:lnTo>
                <a:lnTo>
                  <a:pt x="53467" y="299720"/>
                </a:lnTo>
                <a:lnTo>
                  <a:pt x="53200" y="297446"/>
                </a:lnTo>
                <a:lnTo>
                  <a:pt x="53238" y="299720"/>
                </a:lnTo>
                <a:lnTo>
                  <a:pt x="53035" y="295363"/>
                </a:lnTo>
                <a:lnTo>
                  <a:pt x="52844" y="299720"/>
                </a:lnTo>
                <a:lnTo>
                  <a:pt x="52844" y="297180"/>
                </a:lnTo>
                <a:lnTo>
                  <a:pt x="52793" y="298450"/>
                </a:lnTo>
                <a:lnTo>
                  <a:pt x="52679" y="299720"/>
                </a:lnTo>
                <a:lnTo>
                  <a:pt x="52527" y="299720"/>
                </a:lnTo>
                <a:lnTo>
                  <a:pt x="52679" y="297180"/>
                </a:lnTo>
                <a:lnTo>
                  <a:pt x="52336" y="299720"/>
                </a:lnTo>
                <a:lnTo>
                  <a:pt x="52006" y="298450"/>
                </a:lnTo>
                <a:lnTo>
                  <a:pt x="51638" y="298450"/>
                </a:lnTo>
                <a:lnTo>
                  <a:pt x="51409" y="297180"/>
                </a:lnTo>
                <a:lnTo>
                  <a:pt x="51714" y="297180"/>
                </a:lnTo>
                <a:lnTo>
                  <a:pt x="52717" y="295910"/>
                </a:lnTo>
                <a:lnTo>
                  <a:pt x="52501" y="295910"/>
                </a:lnTo>
                <a:lnTo>
                  <a:pt x="51879" y="294640"/>
                </a:lnTo>
                <a:lnTo>
                  <a:pt x="51460" y="294640"/>
                </a:lnTo>
                <a:lnTo>
                  <a:pt x="50990"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84"/>
                </a:lnTo>
                <a:lnTo>
                  <a:pt x="50393" y="299720"/>
                </a:lnTo>
                <a:lnTo>
                  <a:pt x="50025" y="299720"/>
                </a:lnTo>
                <a:lnTo>
                  <a:pt x="50279" y="298450"/>
                </a:lnTo>
                <a:lnTo>
                  <a:pt x="50393" y="299720"/>
                </a:lnTo>
                <a:lnTo>
                  <a:pt x="50393" y="291884"/>
                </a:lnTo>
                <a:lnTo>
                  <a:pt x="50101" y="290830"/>
                </a:lnTo>
                <a:lnTo>
                  <a:pt x="51015" y="289560"/>
                </a:lnTo>
                <a:lnTo>
                  <a:pt x="50063" y="287020"/>
                </a:lnTo>
                <a:lnTo>
                  <a:pt x="51320" y="287020"/>
                </a:lnTo>
                <a:lnTo>
                  <a:pt x="51155" y="285750"/>
                </a:lnTo>
                <a:lnTo>
                  <a:pt x="51422" y="285750"/>
                </a:lnTo>
                <a:lnTo>
                  <a:pt x="50444" y="284480"/>
                </a:lnTo>
                <a:lnTo>
                  <a:pt x="49784" y="283210"/>
                </a:lnTo>
                <a:lnTo>
                  <a:pt x="49288" y="283210"/>
                </a:lnTo>
                <a:lnTo>
                  <a:pt x="50342" y="281940"/>
                </a:lnTo>
                <a:lnTo>
                  <a:pt x="50203" y="280670"/>
                </a:lnTo>
                <a:lnTo>
                  <a:pt x="48869" y="279400"/>
                </a:lnTo>
                <a:lnTo>
                  <a:pt x="48590" y="278130"/>
                </a:lnTo>
                <a:lnTo>
                  <a:pt x="49885" y="276860"/>
                </a:lnTo>
                <a:lnTo>
                  <a:pt x="49085" y="275590"/>
                </a:lnTo>
                <a:lnTo>
                  <a:pt x="48856" y="273050"/>
                </a:lnTo>
                <a:lnTo>
                  <a:pt x="48539" y="273050"/>
                </a:lnTo>
                <a:lnTo>
                  <a:pt x="47307" y="270510"/>
                </a:lnTo>
                <a:lnTo>
                  <a:pt x="47231" y="269240"/>
                </a:lnTo>
                <a:lnTo>
                  <a:pt x="49047" y="269240"/>
                </a:lnTo>
                <a:lnTo>
                  <a:pt x="48653" y="267970"/>
                </a:lnTo>
                <a:lnTo>
                  <a:pt x="47929" y="265430"/>
                </a:lnTo>
                <a:lnTo>
                  <a:pt x="45885" y="264160"/>
                </a:lnTo>
                <a:lnTo>
                  <a:pt x="47739" y="264160"/>
                </a:lnTo>
                <a:lnTo>
                  <a:pt x="48044" y="262890"/>
                </a:lnTo>
                <a:lnTo>
                  <a:pt x="48348" y="261620"/>
                </a:lnTo>
                <a:lnTo>
                  <a:pt x="47028" y="261620"/>
                </a:lnTo>
                <a:lnTo>
                  <a:pt x="47879" y="260350"/>
                </a:lnTo>
                <a:lnTo>
                  <a:pt x="46634" y="257810"/>
                </a:lnTo>
                <a:lnTo>
                  <a:pt x="45643" y="256641"/>
                </a:lnTo>
                <a:lnTo>
                  <a:pt x="45643" y="264160"/>
                </a:lnTo>
                <a:lnTo>
                  <a:pt x="45059" y="264160"/>
                </a:lnTo>
                <a:lnTo>
                  <a:pt x="44627" y="262991"/>
                </a:lnTo>
                <a:lnTo>
                  <a:pt x="44615" y="265430"/>
                </a:lnTo>
                <a:lnTo>
                  <a:pt x="44157" y="265430"/>
                </a:lnTo>
                <a:lnTo>
                  <a:pt x="43662" y="264160"/>
                </a:lnTo>
                <a:lnTo>
                  <a:pt x="43116" y="264160"/>
                </a:lnTo>
                <a:lnTo>
                  <a:pt x="44577" y="263017"/>
                </a:lnTo>
                <a:lnTo>
                  <a:pt x="44589" y="262890"/>
                </a:lnTo>
                <a:lnTo>
                  <a:pt x="44754" y="262890"/>
                </a:lnTo>
                <a:lnTo>
                  <a:pt x="45529" y="262890"/>
                </a:lnTo>
                <a:lnTo>
                  <a:pt x="45643" y="264160"/>
                </a:lnTo>
                <a:lnTo>
                  <a:pt x="45643" y="256641"/>
                </a:lnTo>
                <a:lnTo>
                  <a:pt x="46761" y="255270"/>
                </a:lnTo>
                <a:lnTo>
                  <a:pt x="46520" y="254000"/>
                </a:lnTo>
                <a:lnTo>
                  <a:pt x="46926" y="254000"/>
                </a:lnTo>
                <a:lnTo>
                  <a:pt x="46050" y="251460"/>
                </a:lnTo>
                <a:lnTo>
                  <a:pt x="44958" y="250190"/>
                </a:lnTo>
                <a:lnTo>
                  <a:pt x="44958" y="248920"/>
                </a:lnTo>
                <a:lnTo>
                  <a:pt x="46024" y="248920"/>
                </a:lnTo>
                <a:lnTo>
                  <a:pt x="46596"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30" y="351790"/>
                </a:lnTo>
                <a:lnTo>
                  <a:pt x="13512" y="353060"/>
                </a:lnTo>
                <a:lnTo>
                  <a:pt x="13423"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40" y="246380"/>
                </a:lnTo>
                <a:lnTo>
                  <a:pt x="5740" y="247650"/>
                </a:lnTo>
                <a:lnTo>
                  <a:pt x="5664" y="248348"/>
                </a:lnTo>
                <a:lnTo>
                  <a:pt x="5664" y="283210"/>
                </a:lnTo>
                <a:lnTo>
                  <a:pt x="5499" y="284480"/>
                </a:lnTo>
                <a:lnTo>
                  <a:pt x="5207" y="284480"/>
                </a:lnTo>
                <a:lnTo>
                  <a:pt x="5118" y="283210"/>
                </a:lnTo>
                <a:lnTo>
                  <a:pt x="5664" y="283210"/>
                </a:lnTo>
                <a:lnTo>
                  <a:pt x="5664" y="248348"/>
                </a:lnTo>
                <a:lnTo>
                  <a:pt x="5600" y="248920"/>
                </a:lnTo>
                <a:lnTo>
                  <a:pt x="4203" y="248920"/>
                </a:lnTo>
                <a:lnTo>
                  <a:pt x="4102" y="247650"/>
                </a:lnTo>
                <a:lnTo>
                  <a:pt x="5740" y="247650"/>
                </a:lnTo>
                <a:lnTo>
                  <a:pt x="5740" y="246380"/>
                </a:lnTo>
                <a:lnTo>
                  <a:pt x="3048" y="246380"/>
                </a:lnTo>
                <a:lnTo>
                  <a:pt x="3225" y="247650"/>
                </a:lnTo>
                <a:lnTo>
                  <a:pt x="2781" y="247650"/>
                </a:lnTo>
                <a:lnTo>
                  <a:pt x="2273" y="247650"/>
                </a:lnTo>
                <a:lnTo>
                  <a:pt x="1333" y="248920"/>
                </a:lnTo>
                <a:lnTo>
                  <a:pt x="2730" y="252730"/>
                </a:lnTo>
                <a:lnTo>
                  <a:pt x="2019" y="254000"/>
                </a:lnTo>
                <a:lnTo>
                  <a:pt x="2578" y="256540"/>
                </a:lnTo>
                <a:lnTo>
                  <a:pt x="1549" y="256540"/>
                </a:lnTo>
                <a:lnTo>
                  <a:pt x="2362" y="257810"/>
                </a:lnTo>
                <a:lnTo>
                  <a:pt x="3263" y="257810"/>
                </a:lnTo>
                <a:lnTo>
                  <a:pt x="3365" y="259080"/>
                </a:lnTo>
                <a:lnTo>
                  <a:pt x="2438" y="259080"/>
                </a:lnTo>
                <a:lnTo>
                  <a:pt x="2997" y="262890"/>
                </a:lnTo>
                <a:lnTo>
                  <a:pt x="0" y="264160"/>
                </a:lnTo>
                <a:lnTo>
                  <a:pt x="88" y="265430"/>
                </a:lnTo>
                <a:lnTo>
                  <a:pt x="1028" y="265430"/>
                </a:lnTo>
                <a:lnTo>
                  <a:pt x="1587" y="266700"/>
                </a:lnTo>
                <a:lnTo>
                  <a:pt x="2565" y="265430"/>
                </a:lnTo>
                <a:lnTo>
                  <a:pt x="2870" y="265430"/>
                </a:lnTo>
                <a:lnTo>
                  <a:pt x="3213" y="266700"/>
                </a:lnTo>
                <a:lnTo>
                  <a:pt x="1587" y="266700"/>
                </a:lnTo>
                <a:lnTo>
                  <a:pt x="1295" y="266700"/>
                </a:lnTo>
                <a:lnTo>
                  <a:pt x="2667" y="269240"/>
                </a:lnTo>
                <a:lnTo>
                  <a:pt x="2006"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54" y="283210"/>
                </a:lnTo>
                <a:lnTo>
                  <a:pt x="1168" y="287020"/>
                </a:lnTo>
                <a:lnTo>
                  <a:pt x="1638" y="288290"/>
                </a:lnTo>
                <a:lnTo>
                  <a:pt x="3263" y="289560"/>
                </a:lnTo>
                <a:lnTo>
                  <a:pt x="3505" y="290830"/>
                </a:lnTo>
                <a:lnTo>
                  <a:pt x="2095" y="292100"/>
                </a:lnTo>
                <a:lnTo>
                  <a:pt x="3175" y="293370"/>
                </a:lnTo>
                <a:lnTo>
                  <a:pt x="2095" y="295910"/>
                </a:lnTo>
                <a:lnTo>
                  <a:pt x="2222" y="297180"/>
                </a:lnTo>
                <a:lnTo>
                  <a:pt x="3327" y="300990"/>
                </a:lnTo>
                <a:lnTo>
                  <a:pt x="4152" y="306070"/>
                </a:lnTo>
                <a:lnTo>
                  <a:pt x="3987" y="309880"/>
                </a:lnTo>
                <a:lnTo>
                  <a:pt x="4559" y="312420"/>
                </a:lnTo>
                <a:lnTo>
                  <a:pt x="5245" y="314960"/>
                </a:lnTo>
                <a:lnTo>
                  <a:pt x="5130" y="318770"/>
                </a:lnTo>
                <a:lnTo>
                  <a:pt x="6629" y="321310"/>
                </a:lnTo>
                <a:lnTo>
                  <a:pt x="6667" y="322580"/>
                </a:lnTo>
                <a:lnTo>
                  <a:pt x="6540" y="325120"/>
                </a:lnTo>
                <a:lnTo>
                  <a:pt x="6477" y="328930"/>
                </a:lnTo>
                <a:lnTo>
                  <a:pt x="7239" y="330200"/>
                </a:lnTo>
                <a:lnTo>
                  <a:pt x="6781" y="331470"/>
                </a:lnTo>
                <a:lnTo>
                  <a:pt x="7010" y="332740"/>
                </a:lnTo>
                <a:lnTo>
                  <a:pt x="7823" y="334010"/>
                </a:lnTo>
                <a:lnTo>
                  <a:pt x="10147" y="339090"/>
                </a:lnTo>
                <a:lnTo>
                  <a:pt x="10337" y="340360"/>
                </a:lnTo>
                <a:lnTo>
                  <a:pt x="9398" y="344170"/>
                </a:lnTo>
                <a:lnTo>
                  <a:pt x="9144" y="345440"/>
                </a:lnTo>
                <a:lnTo>
                  <a:pt x="8839" y="345440"/>
                </a:lnTo>
                <a:lnTo>
                  <a:pt x="8788" y="346710"/>
                </a:lnTo>
                <a:lnTo>
                  <a:pt x="9563" y="347980"/>
                </a:lnTo>
                <a:lnTo>
                  <a:pt x="10236" y="347980"/>
                </a:lnTo>
                <a:lnTo>
                  <a:pt x="11747" y="346710"/>
                </a:lnTo>
                <a:lnTo>
                  <a:pt x="11747" y="347980"/>
                </a:lnTo>
                <a:lnTo>
                  <a:pt x="11404" y="350520"/>
                </a:lnTo>
                <a:lnTo>
                  <a:pt x="10960" y="351790"/>
                </a:lnTo>
                <a:lnTo>
                  <a:pt x="12712" y="354330"/>
                </a:lnTo>
                <a:lnTo>
                  <a:pt x="12941" y="355600"/>
                </a:lnTo>
                <a:lnTo>
                  <a:pt x="13449" y="356870"/>
                </a:lnTo>
                <a:lnTo>
                  <a:pt x="13639" y="358140"/>
                </a:lnTo>
                <a:lnTo>
                  <a:pt x="14986" y="358140"/>
                </a:lnTo>
                <a:lnTo>
                  <a:pt x="14986" y="359410"/>
                </a:lnTo>
                <a:lnTo>
                  <a:pt x="15760" y="360680"/>
                </a:lnTo>
                <a:lnTo>
                  <a:pt x="16802" y="361950"/>
                </a:lnTo>
                <a:lnTo>
                  <a:pt x="18415" y="363220"/>
                </a:lnTo>
                <a:lnTo>
                  <a:pt x="18897"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46" y="373380"/>
                </a:lnTo>
                <a:lnTo>
                  <a:pt x="25260" y="374650"/>
                </a:lnTo>
                <a:lnTo>
                  <a:pt x="27178" y="374650"/>
                </a:lnTo>
                <a:lnTo>
                  <a:pt x="28409" y="375920"/>
                </a:lnTo>
                <a:lnTo>
                  <a:pt x="29603" y="373380"/>
                </a:lnTo>
                <a:lnTo>
                  <a:pt x="29921" y="373380"/>
                </a:lnTo>
                <a:lnTo>
                  <a:pt x="30594" y="374650"/>
                </a:lnTo>
                <a:lnTo>
                  <a:pt x="30137" y="375920"/>
                </a:lnTo>
                <a:lnTo>
                  <a:pt x="31013" y="377190"/>
                </a:lnTo>
                <a:lnTo>
                  <a:pt x="33909" y="377190"/>
                </a:lnTo>
                <a:lnTo>
                  <a:pt x="34925" y="378460"/>
                </a:lnTo>
                <a:lnTo>
                  <a:pt x="35560" y="378460"/>
                </a:lnTo>
                <a:lnTo>
                  <a:pt x="36360" y="379730"/>
                </a:lnTo>
                <a:lnTo>
                  <a:pt x="40640" y="379730"/>
                </a:lnTo>
                <a:lnTo>
                  <a:pt x="40474" y="378460"/>
                </a:lnTo>
                <a:lnTo>
                  <a:pt x="41211" y="377253"/>
                </a:lnTo>
                <a:lnTo>
                  <a:pt x="42468" y="378460"/>
                </a:lnTo>
                <a:lnTo>
                  <a:pt x="45453" y="378460"/>
                </a:lnTo>
                <a:lnTo>
                  <a:pt x="45097" y="377190"/>
                </a:lnTo>
                <a:lnTo>
                  <a:pt x="46101" y="377190"/>
                </a:lnTo>
                <a:lnTo>
                  <a:pt x="46355" y="378460"/>
                </a:lnTo>
                <a:lnTo>
                  <a:pt x="46228" y="379730"/>
                </a:lnTo>
                <a:lnTo>
                  <a:pt x="48539" y="378460"/>
                </a:lnTo>
                <a:lnTo>
                  <a:pt x="49707" y="378460"/>
                </a:lnTo>
                <a:lnTo>
                  <a:pt x="51422" y="377190"/>
                </a:lnTo>
                <a:lnTo>
                  <a:pt x="55549" y="377190"/>
                </a:lnTo>
                <a:lnTo>
                  <a:pt x="56807" y="373380"/>
                </a:lnTo>
                <a:lnTo>
                  <a:pt x="59245" y="370840"/>
                </a:lnTo>
                <a:lnTo>
                  <a:pt x="61137" y="372110"/>
                </a:lnTo>
                <a:lnTo>
                  <a:pt x="61429" y="370840"/>
                </a:lnTo>
                <a:lnTo>
                  <a:pt x="62268" y="369570"/>
                </a:lnTo>
                <a:lnTo>
                  <a:pt x="62738"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92" y="356870"/>
                </a:lnTo>
                <a:lnTo>
                  <a:pt x="76200" y="355600"/>
                </a:lnTo>
                <a:lnTo>
                  <a:pt x="76492" y="355600"/>
                </a:lnTo>
                <a:lnTo>
                  <a:pt x="76987" y="354330"/>
                </a:lnTo>
                <a:lnTo>
                  <a:pt x="77635" y="353060"/>
                </a:lnTo>
                <a:lnTo>
                  <a:pt x="78943" y="350520"/>
                </a:lnTo>
                <a:lnTo>
                  <a:pt x="79908" y="349250"/>
                </a:lnTo>
                <a:lnTo>
                  <a:pt x="80302" y="346710"/>
                </a:lnTo>
                <a:lnTo>
                  <a:pt x="81153" y="346710"/>
                </a:lnTo>
                <a:lnTo>
                  <a:pt x="81457" y="347980"/>
                </a:lnTo>
                <a:lnTo>
                  <a:pt x="81978" y="346710"/>
                </a:lnTo>
                <a:lnTo>
                  <a:pt x="82511" y="345440"/>
                </a:lnTo>
                <a:lnTo>
                  <a:pt x="82791" y="344170"/>
                </a:lnTo>
                <a:lnTo>
                  <a:pt x="84340" y="345440"/>
                </a:lnTo>
                <a:lnTo>
                  <a:pt x="84378" y="344170"/>
                </a:lnTo>
                <a:lnTo>
                  <a:pt x="84467" y="341630"/>
                </a:lnTo>
                <a:lnTo>
                  <a:pt x="85026" y="339090"/>
                </a:lnTo>
                <a:lnTo>
                  <a:pt x="87172" y="339090"/>
                </a:lnTo>
                <a:lnTo>
                  <a:pt x="88506" y="335280"/>
                </a:lnTo>
                <a:lnTo>
                  <a:pt x="90208" y="335280"/>
                </a:lnTo>
                <a:lnTo>
                  <a:pt x="90208" y="332740"/>
                </a:lnTo>
                <a:lnTo>
                  <a:pt x="90881" y="331470"/>
                </a:lnTo>
                <a:lnTo>
                  <a:pt x="92748" y="328930"/>
                </a:lnTo>
                <a:lnTo>
                  <a:pt x="93395" y="327660"/>
                </a:lnTo>
                <a:lnTo>
                  <a:pt x="93624" y="327660"/>
                </a:lnTo>
                <a:lnTo>
                  <a:pt x="93662" y="326390"/>
                </a:lnTo>
                <a:lnTo>
                  <a:pt x="94259" y="326390"/>
                </a:lnTo>
                <a:lnTo>
                  <a:pt x="94818" y="325120"/>
                </a:lnTo>
                <a:lnTo>
                  <a:pt x="95338" y="323850"/>
                </a:lnTo>
                <a:lnTo>
                  <a:pt x="96253" y="322580"/>
                </a:lnTo>
                <a:lnTo>
                  <a:pt x="97015" y="322580"/>
                </a:lnTo>
                <a:lnTo>
                  <a:pt x="96761" y="321310"/>
                </a:lnTo>
                <a:lnTo>
                  <a:pt x="97116" y="320040"/>
                </a:lnTo>
                <a:lnTo>
                  <a:pt x="99250" y="317500"/>
                </a:lnTo>
                <a:lnTo>
                  <a:pt x="99796" y="316230"/>
                </a:lnTo>
                <a:lnTo>
                  <a:pt x="100342" y="314960"/>
                </a:lnTo>
                <a:lnTo>
                  <a:pt x="100876" y="313690"/>
                </a:lnTo>
                <a:lnTo>
                  <a:pt x="101003"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78" y="304800"/>
                </a:lnTo>
                <a:lnTo>
                  <a:pt x="107137" y="303530"/>
                </a:lnTo>
                <a:lnTo>
                  <a:pt x="107022" y="302260"/>
                </a:lnTo>
                <a:lnTo>
                  <a:pt x="107442"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52" y="294640"/>
                </a:lnTo>
                <a:lnTo>
                  <a:pt x="113004" y="294640"/>
                </a:lnTo>
                <a:lnTo>
                  <a:pt x="112864" y="293370"/>
                </a:lnTo>
                <a:lnTo>
                  <a:pt x="113169" y="293370"/>
                </a:lnTo>
                <a:lnTo>
                  <a:pt x="113093" y="292874"/>
                </a:lnTo>
                <a:lnTo>
                  <a:pt x="113030" y="290830"/>
                </a:lnTo>
                <a:lnTo>
                  <a:pt x="114160" y="290830"/>
                </a:lnTo>
                <a:lnTo>
                  <a:pt x="115874" y="289560"/>
                </a:lnTo>
                <a:lnTo>
                  <a:pt x="115392" y="289560"/>
                </a:lnTo>
                <a:lnTo>
                  <a:pt x="115062" y="288290"/>
                </a:lnTo>
                <a:lnTo>
                  <a:pt x="115023" y="287020"/>
                </a:lnTo>
                <a:lnTo>
                  <a:pt x="115201" y="287020"/>
                </a:lnTo>
                <a:lnTo>
                  <a:pt x="115379" y="288290"/>
                </a:lnTo>
                <a:lnTo>
                  <a:pt x="116357" y="288290"/>
                </a:lnTo>
                <a:lnTo>
                  <a:pt x="116217" y="287020"/>
                </a:lnTo>
                <a:lnTo>
                  <a:pt x="116916" y="287020"/>
                </a:lnTo>
                <a:lnTo>
                  <a:pt x="116547" y="285750"/>
                </a:lnTo>
                <a:lnTo>
                  <a:pt x="117906" y="285750"/>
                </a:lnTo>
                <a:lnTo>
                  <a:pt x="118681" y="284480"/>
                </a:lnTo>
                <a:lnTo>
                  <a:pt x="118198" y="284480"/>
                </a:lnTo>
                <a:lnTo>
                  <a:pt x="118148" y="284302"/>
                </a:lnTo>
                <a:lnTo>
                  <a:pt x="117754" y="283210"/>
                </a:lnTo>
                <a:lnTo>
                  <a:pt x="118313" y="283210"/>
                </a:lnTo>
                <a:lnTo>
                  <a:pt x="118148" y="284302"/>
                </a:lnTo>
                <a:lnTo>
                  <a:pt x="118948" y="283210"/>
                </a:lnTo>
                <a:lnTo>
                  <a:pt x="119100" y="283210"/>
                </a:lnTo>
                <a:lnTo>
                  <a:pt x="119075" y="281940"/>
                </a:lnTo>
                <a:lnTo>
                  <a:pt x="120611" y="281940"/>
                </a:lnTo>
                <a:lnTo>
                  <a:pt x="120980" y="280670"/>
                </a:lnTo>
                <a:lnTo>
                  <a:pt x="122161" y="280670"/>
                </a:lnTo>
                <a:lnTo>
                  <a:pt x="122021" y="279400"/>
                </a:lnTo>
                <a:lnTo>
                  <a:pt x="121475" y="278130"/>
                </a:lnTo>
                <a:lnTo>
                  <a:pt x="121831"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79" y="269240"/>
                </a:lnTo>
                <a:lnTo>
                  <a:pt x="126593" y="267970"/>
                </a:lnTo>
                <a:lnTo>
                  <a:pt x="126568" y="269240"/>
                </a:lnTo>
                <a:lnTo>
                  <a:pt x="127050" y="269240"/>
                </a:lnTo>
                <a:lnTo>
                  <a:pt x="126873" y="270510"/>
                </a:lnTo>
                <a:lnTo>
                  <a:pt x="127228" y="270510"/>
                </a:lnTo>
                <a:lnTo>
                  <a:pt x="127330" y="269240"/>
                </a:lnTo>
                <a:lnTo>
                  <a:pt x="127381" y="267970"/>
                </a:lnTo>
                <a:lnTo>
                  <a:pt x="128231" y="267970"/>
                </a:lnTo>
                <a:lnTo>
                  <a:pt x="128778"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61"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59" y="241300"/>
                </a:lnTo>
                <a:lnTo>
                  <a:pt x="144932" y="241300"/>
                </a:lnTo>
                <a:lnTo>
                  <a:pt x="145288" y="240030"/>
                </a:lnTo>
                <a:lnTo>
                  <a:pt x="146659" y="240030"/>
                </a:lnTo>
                <a:lnTo>
                  <a:pt x="146850" y="238760"/>
                </a:lnTo>
                <a:lnTo>
                  <a:pt x="146240" y="238760"/>
                </a:lnTo>
                <a:lnTo>
                  <a:pt x="146456" y="237490"/>
                </a:lnTo>
                <a:lnTo>
                  <a:pt x="146824" y="236220"/>
                </a:lnTo>
                <a:lnTo>
                  <a:pt x="147421" y="234950"/>
                </a:lnTo>
                <a:lnTo>
                  <a:pt x="149606" y="234950"/>
                </a:lnTo>
                <a:lnTo>
                  <a:pt x="149059" y="233680"/>
                </a:lnTo>
                <a:lnTo>
                  <a:pt x="149123" y="232410"/>
                </a:lnTo>
                <a:lnTo>
                  <a:pt x="150215" y="232410"/>
                </a:lnTo>
                <a:lnTo>
                  <a:pt x="152006" y="231140"/>
                </a:lnTo>
                <a:lnTo>
                  <a:pt x="152184" y="231140"/>
                </a:lnTo>
                <a:lnTo>
                  <a:pt x="151663" y="229870"/>
                </a:lnTo>
                <a:lnTo>
                  <a:pt x="151498" y="228600"/>
                </a:lnTo>
                <a:lnTo>
                  <a:pt x="152501" y="228600"/>
                </a:lnTo>
                <a:lnTo>
                  <a:pt x="153009" y="227330"/>
                </a:lnTo>
                <a:lnTo>
                  <a:pt x="154724" y="227330"/>
                </a:lnTo>
                <a:lnTo>
                  <a:pt x="154914" y="226060"/>
                </a:lnTo>
                <a:lnTo>
                  <a:pt x="154800" y="224790"/>
                </a:lnTo>
                <a:lnTo>
                  <a:pt x="155244" y="224790"/>
                </a:lnTo>
                <a:lnTo>
                  <a:pt x="155638" y="223520"/>
                </a:lnTo>
                <a:lnTo>
                  <a:pt x="156629" y="223520"/>
                </a:lnTo>
                <a:lnTo>
                  <a:pt x="156921" y="222250"/>
                </a:lnTo>
                <a:lnTo>
                  <a:pt x="157518" y="220980"/>
                </a:lnTo>
                <a:lnTo>
                  <a:pt x="158038" y="219710"/>
                </a:lnTo>
                <a:lnTo>
                  <a:pt x="158940" y="219710"/>
                </a:lnTo>
                <a:lnTo>
                  <a:pt x="160007" y="217170"/>
                </a:lnTo>
                <a:lnTo>
                  <a:pt x="160502" y="215900"/>
                </a:lnTo>
                <a:lnTo>
                  <a:pt x="161772" y="215900"/>
                </a:lnTo>
                <a:lnTo>
                  <a:pt x="162941" y="212090"/>
                </a:lnTo>
                <a:lnTo>
                  <a:pt x="164287" y="210820"/>
                </a:lnTo>
                <a:lnTo>
                  <a:pt x="165315" y="208280"/>
                </a:lnTo>
                <a:lnTo>
                  <a:pt x="167271" y="207010"/>
                </a:lnTo>
                <a:lnTo>
                  <a:pt x="166852" y="205740"/>
                </a:lnTo>
                <a:lnTo>
                  <a:pt x="167119" y="205740"/>
                </a:lnTo>
                <a:lnTo>
                  <a:pt x="167601" y="204470"/>
                </a:lnTo>
                <a:lnTo>
                  <a:pt x="169672" y="203200"/>
                </a:lnTo>
                <a:lnTo>
                  <a:pt x="170726" y="200660"/>
                </a:lnTo>
                <a:lnTo>
                  <a:pt x="171970" y="198120"/>
                </a:lnTo>
                <a:lnTo>
                  <a:pt x="172580" y="198120"/>
                </a:lnTo>
                <a:lnTo>
                  <a:pt x="173050" y="196850"/>
                </a:lnTo>
                <a:lnTo>
                  <a:pt x="172910" y="194310"/>
                </a:lnTo>
                <a:lnTo>
                  <a:pt x="173977" y="195580"/>
                </a:lnTo>
                <a:lnTo>
                  <a:pt x="175323" y="194310"/>
                </a:lnTo>
                <a:lnTo>
                  <a:pt x="176022" y="194310"/>
                </a:lnTo>
                <a:lnTo>
                  <a:pt x="175742" y="193040"/>
                </a:lnTo>
                <a:lnTo>
                  <a:pt x="177101" y="191770"/>
                </a:lnTo>
                <a:lnTo>
                  <a:pt x="176898" y="190500"/>
                </a:lnTo>
                <a:lnTo>
                  <a:pt x="179031" y="190500"/>
                </a:lnTo>
                <a:lnTo>
                  <a:pt x="179082" y="189230"/>
                </a:lnTo>
                <a:lnTo>
                  <a:pt x="179146" y="187960"/>
                </a:lnTo>
                <a:lnTo>
                  <a:pt x="180314" y="187960"/>
                </a:lnTo>
                <a:lnTo>
                  <a:pt x="180365" y="186690"/>
                </a:lnTo>
                <a:lnTo>
                  <a:pt x="180467" y="185420"/>
                </a:lnTo>
                <a:lnTo>
                  <a:pt x="180809" y="185420"/>
                </a:lnTo>
                <a:lnTo>
                  <a:pt x="181698" y="186690"/>
                </a:lnTo>
                <a:lnTo>
                  <a:pt x="181571" y="185420"/>
                </a:lnTo>
                <a:lnTo>
                  <a:pt x="181622" y="184150"/>
                </a:lnTo>
                <a:lnTo>
                  <a:pt x="182511" y="184150"/>
                </a:lnTo>
                <a:lnTo>
                  <a:pt x="182308" y="182880"/>
                </a:lnTo>
                <a:lnTo>
                  <a:pt x="183426" y="182880"/>
                </a:lnTo>
                <a:lnTo>
                  <a:pt x="183388" y="181610"/>
                </a:lnTo>
                <a:lnTo>
                  <a:pt x="184861" y="181610"/>
                </a:lnTo>
                <a:lnTo>
                  <a:pt x="184899" y="180340"/>
                </a:lnTo>
                <a:lnTo>
                  <a:pt x="185127" y="179070"/>
                </a:lnTo>
                <a:lnTo>
                  <a:pt x="186855" y="179070"/>
                </a:lnTo>
                <a:lnTo>
                  <a:pt x="186905" y="176530"/>
                </a:lnTo>
                <a:lnTo>
                  <a:pt x="187947" y="176530"/>
                </a:lnTo>
                <a:lnTo>
                  <a:pt x="188290" y="175260"/>
                </a:lnTo>
                <a:lnTo>
                  <a:pt x="188582" y="175260"/>
                </a:lnTo>
                <a:lnTo>
                  <a:pt x="189598" y="173990"/>
                </a:lnTo>
                <a:lnTo>
                  <a:pt x="189750" y="172720"/>
                </a:lnTo>
                <a:lnTo>
                  <a:pt x="191135" y="171450"/>
                </a:lnTo>
                <a:lnTo>
                  <a:pt x="190385" y="171450"/>
                </a:lnTo>
                <a:lnTo>
                  <a:pt x="190398" y="170180"/>
                </a:lnTo>
                <a:lnTo>
                  <a:pt x="192430" y="170180"/>
                </a:lnTo>
                <a:lnTo>
                  <a:pt x="193065" y="168910"/>
                </a:lnTo>
                <a:lnTo>
                  <a:pt x="193408" y="167640"/>
                </a:lnTo>
                <a:lnTo>
                  <a:pt x="194703" y="166370"/>
                </a:lnTo>
                <a:lnTo>
                  <a:pt x="193903" y="166370"/>
                </a:lnTo>
                <a:lnTo>
                  <a:pt x="194640" y="165100"/>
                </a:lnTo>
                <a:lnTo>
                  <a:pt x="194729" y="166370"/>
                </a:lnTo>
                <a:lnTo>
                  <a:pt x="195199" y="166370"/>
                </a:lnTo>
                <a:lnTo>
                  <a:pt x="196062" y="165100"/>
                </a:lnTo>
                <a:lnTo>
                  <a:pt x="195846" y="165100"/>
                </a:lnTo>
                <a:lnTo>
                  <a:pt x="196037" y="163830"/>
                </a:lnTo>
                <a:lnTo>
                  <a:pt x="196430" y="163830"/>
                </a:lnTo>
                <a:lnTo>
                  <a:pt x="196811" y="162560"/>
                </a:lnTo>
                <a:lnTo>
                  <a:pt x="197154" y="162560"/>
                </a:lnTo>
                <a:lnTo>
                  <a:pt x="197396" y="161290"/>
                </a:lnTo>
                <a:lnTo>
                  <a:pt x="198678" y="160020"/>
                </a:lnTo>
                <a:lnTo>
                  <a:pt x="199694" y="160020"/>
                </a:lnTo>
                <a:lnTo>
                  <a:pt x="199910" y="158750"/>
                </a:lnTo>
                <a:lnTo>
                  <a:pt x="200583" y="157480"/>
                </a:lnTo>
                <a:lnTo>
                  <a:pt x="201269" y="157480"/>
                </a:lnTo>
                <a:lnTo>
                  <a:pt x="201739" y="154940"/>
                </a:lnTo>
                <a:lnTo>
                  <a:pt x="203530" y="154940"/>
                </a:lnTo>
                <a:lnTo>
                  <a:pt x="203466" y="153670"/>
                </a:lnTo>
                <a:lnTo>
                  <a:pt x="204139" y="153670"/>
                </a:lnTo>
                <a:lnTo>
                  <a:pt x="204203" y="152400"/>
                </a:lnTo>
                <a:lnTo>
                  <a:pt x="205486" y="152400"/>
                </a:lnTo>
                <a:lnTo>
                  <a:pt x="204990"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69" y="139700"/>
                </a:lnTo>
                <a:lnTo>
                  <a:pt x="213258" y="139700"/>
                </a:lnTo>
                <a:lnTo>
                  <a:pt x="213779" y="138430"/>
                </a:lnTo>
                <a:lnTo>
                  <a:pt x="215798" y="138430"/>
                </a:lnTo>
                <a:lnTo>
                  <a:pt x="216154" y="137160"/>
                </a:lnTo>
                <a:lnTo>
                  <a:pt x="216662" y="135890"/>
                </a:lnTo>
                <a:lnTo>
                  <a:pt x="217093" y="134620"/>
                </a:lnTo>
                <a:lnTo>
                  <a:pt x="217665" y="133350"/>
                </a:lnTo>
                <a:lnTo>
                  <a:pt x="219760" y="133350"/>
                </a:lnTo>
                <a:lnTo>
                  <a:pt x="220319" y="132080"/>
                </a:lnTo>
                <a:lnTo>
                  <a:pt x="221767" y="129540"/>
                </a:lnTo>
                <a:lnTo>
                  <a:pt x="222148" y="128270"/>
                </a:lnTo>
                <a:lnTo>
                  <a:pt x="222872" y="128270"/>
                </a:lnTo>
                <a:lnTo>
                  <a:pt x="222885" y="127000"/>
                </a:lnTo>
                <a:lnTo>
                  <a:pt x="224688" y="127000"/>
                </a:lnTo>
                <a:lnTo>
                  <a:pt x="224828" y="125730"/>
                </a:lnTo>
                <a:lnTo>
                  <a:pt x="225044" y="125730"/>
                </a:lnTo>
                <a:lnTo>
                  <a:pt x="225348" y="124460"/>
                </a:lnTo>
                <a:lnTo>
                  <a:pt x="225590" y="124460"/>
                </a:lnTo>
                <a:lnTo>
                  <a:pt x="226504" y="123190"/>
                </a:lnTo>
                <a:lnTo>
                  <a:pt x="227863" y="121920"/>
                </a:lnTo>
                <a:lnTo>
                  <a:pt x="228409" y="120650"/>
                </a:lnTo>
                <a:lnTo>
                  <a:pt x="229577" y="120650"/>
                </a:lnTo>
                <a:lnTo>
                  <a:pt x="229793" y="119380"/>
                </a:lnTo>
                <a:lnTo>
                  <a:pt x="230174" y="118110"/>
                </a:lnTo>
                <a:lnTo>
                  <a:pt x="230809" y="118110"/>
                </a:lnTo>
                <a:lnTo>
                  <a:pt x="231063" y="116840"/>
                </a:lnTo>
                <a:lnTo>
                  <a:pt x="231597"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31" y="102870"/>
                </a:lnTo>
                <a:lnTo>
                  <a:pt x="241122" y="101600"/>
                </a:lnTo>
                <a:lnTo>
                  <a:pt x="241858" y="104140"/>
                </a:lnTo>
                <a:lnTo>
                  <a:pt x="242824"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07" y="91440"/>
                </a:lnTo>
                <a:lnTo>
                  <a:pt x="253085" y="90170"/>
                </a:lnTo>
                <a:lnTo>
                  <a:pt x="254050" y="88900"/>
                </a:lnTo>
                <a:lnTo>
                  <a:pt x="254901" y="87630"/>
                </a:lnTo>
                <a:lnTo>
                  <a:pt x="255524" y="88900"/>
                </a:lnTo>
                <a:lnTo>
                  <a:pt x="255625" y="87630"/>
                </a:lnTo>
                <a:lnTo>
                  <a:pt x="255854" y="86360"/>
                </a:lnTo>
                <a:lnTo>
                  <a:pt x="256616" y="86360"/>
                </a:lnTo>
                <a:lnTo>
                  <a:pt x="257670" y="85090"/>
                </a:lnTo>
                <a:lnTo>
                  <a:pt x="258343" y="85090"/>
                </a:lnTo>
                <a:lnTo>
                  <a:pt x="258445" y="83820"/>
                </a:lnTo>
                <a:lnTo>
                  <a:pt x="260108" y="83820"/>
                </a:lnTo>
                <a:lnTo>
                  <a:pt x="260286" y="82550"/>
                </a:lnTo>
                <a:lnTo>
                  <a:pt x="261264" y="81280"/>
                </a:lnTo>
                <a:lnTo>
                  <a:pt x="261327" y="80010"/>
                </a:lnTo>
                <a:lnTo>
                  <a:pt x="263588" y="78740"/>
                </a:lnTo>
                <a:lnTo>
                  <a:pt x="263817" y="78740"/>
                </a:lnTo>
                <a:lnTo>
                  <a:pt x="263652" y="77470"/>
                </a:lnTo>
                <a:lnTo>
                  <a:pt x="264972" y="77470"/>
                </a:lnTo>
                <a:lnTo>
                  <a:pt x="265341" y="76200"/>
                </a:lnTo>
                <a:lnTo>
                  <a:pt x="265480" y="76200"/>
                </a:lnTo>
                <a:lnTo>
                  <a:pt x="266014" y="74930"/>
                </a:lnTo>
                <a:lnTo>
                  <a:pt x="268185" y="74930"/>
                </a:lnTo>
                <a:lnTo>
                  <a:pt x="267639" y="73660"/>
                </a:lnTo>
                <a:lnTo>
                  <a:pt x="268173" y="72390"/>
                </a:lnTo>
                <a:lnTo>
                  <a:pt x="270167" y="72390"/>
                </a:lnTo>
                <a:lnTo>
                  <a:pt x="271322" y="69850"/>
                </a:lnTo>
                <a:lnTo>
                  <a:pt x="273329" y="68580"/>
                </a:lnTo>
                <a:lnTo>
                  <a:pt x="274980" y="66040"/>
                </a:lnTo>
                <a:lnTo>
                  <a:pt x="275475" y="66040"/>
                </a:lnTo>
                <a:lnTo>
                  <a:pt x="276250" y="64770"/>
                </a:lnTo>
                <a:lnTo>
                  <a:pt x="276529" y="64770"/>
                </a:lnTo>
                <a:lnTo>
                  <a:pt x="276402" y="63500"/>
                </a:lnTo>
                <a:lnTo>
                  <a:pt x="277139" y="63500"/>
                </a:lnTo>
                <a:lnTo>
                  <a:pt x="277329" y="62230"/>
                </a:lnTo>
                <a:lnTo>
                  <a:pt x="278688" y="62230"/>
                </a:lnTo>
                <a:lnTo>
                  <a:pt x="279260" y="60960"/>
                </a:lnTo>
                <a:lnTo>
                  <a:pt x="280606" y="58420"/>
                </a:lnTo>
                <a:lnTo>
                  <a:pt x="282359" y="59690"/>
                </a:lnTo>
                <a:lnTo>
                  <a:pt x="282587" y="58420"/>
                </a:lnTo>
                <a:lnTo>
                  <a:pt x="283679" y="55880"/>
                </a:lnTo>
                <a:lnTo>
                  <a:pt x="283578" y="54610"/>
                </a:lnTo>
                <a:lnTo>
                  <a:pt x="285318" y="54610"/>
                </a:lnTo>
                <a:lnTo>
                  <a:pt x="285902" y="53340"/>
                </a:lnTo>
                <a:lnTo>
                  <a:pt x="287540" y="53340"/>
                </a:lnTo>
                <a:lnTo>
                  <a:pt x="287388" y="52070"/>
                </a:lnTo>
                <a:lnTo>
                  <a:pt x="287782" y="50800"/>
                </a:lnTo>
                <a:lnTo>
                  <a:pt x="288607" y="50800"/>
                </a:lnTo>
                <a:lnTo>
                  <a:pt x="289826" y="49530"/>
                </a:lnTo>
                <a:lnTo>
                  <a:pt x="288912" y="52070"/>
                </a:lnTo>
                <a:lnTo>
                  <a:pt x="290220" y="49530"/>
                </a:lnTo>
                <a:lnTo>
                  <a:pt x="292862" y="45720"/>
                </a:lnTo>
                <a:lnTo>
                  <a:pt x="293446" y="44450"/>
                </a:lnTo>
                <a:lnTo>
                  <a:pt x="293636" y="45720"/>
                </a:lnTo>
                <a:lnTo>
                  <a:pt x="294462" y="45720"/>
                </a:lnTo>
                <a:lnTo>
                  <a:pt x="294462" y="44450"/>
                </a:lnTo>
                <a:lnTo>
                  <a:pt x="294741" y="44450"/>
                </a:lnTo>
                <a:lnTo>
                  <a:pt x="295859" y="43180"/>
                </a:lnTo>
                <a:lnTo>
                  <a:pt x="296062" y="43180"/>
                </a:lnTo>
                <a:lnTo>
                  <a:pt x="295046" y="41910"/>
                </a:lnTo>
                <a:lnTo>
                  <a:pt x="297916" y="41910"/>
                </a:lnTo>
                <a:lnTo>
                  <a:pt x="297484" y="40640"/>
                </a:lnTo>
                <a:lnTo>
                  <a:pt x="296481" y="40640"/>
                </a:lnTo>
                <a:lnTo>
                  <a:pt x="297307" y="39370"/>
                </a:lnTo>
                <a:lnTo>
                  <a:pt x="297434"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21" y="27940"/>
                </a:lnTo>
                <a:lnTo>
                  <a:pt x="317385" y="22860"/>
                </a:lnTo>
                <a:lnTo>
                  <a:pt x="318757" y="22860"/>
                </a:lnTo>
                <a:lnTo>
                  <a:pt x="317474" y="21590"/>
                </a:lnTo>
                <a:lnTo>
                  <a:pt x="318731" y="21590"/>
                </a:lnTo>
                <a:lnTo>
                  <a:pt x="319163" y="22860"/>
                </a:lnTo>
                <a:lnTo>
                  <a:pt x="319671" y="21590"/>
                </a:lnTo>
                <a:lnTo>
                  <a:pt x="320179" y="20320"/>
                </a:lnTo>
                <a:lnTo>
                  <a:pt x="321970" y="19050"/>
                </a:lnTo>
                <a:lnTo>
                  <a:pt x="324866" y="17780"/>
                </a:lnTo>
                <a:lnTo>
                  <a:pt x="325742" y="17780"/>
                </a:lnTo>
                <a:lnTo>
                  <a:pt x="326644" y="16510"/>
                </a:lnTo>
                <a:lnTo>
                  <a:pt x="327545" y="15240"/>
                </a:lnTo>
                <a:lnTo>
                  <a:pt x="328422" y="15240"/>
                </a:lnTo>
                <a:lnTo>
                  <a:pt x="329704" y="13970"/>
                </a:lnTo>
                <a:lnTo>
                  <a:pt x="328244" y="13970"/>
                </a:lnTo>
                <a:lnTo>
                  <a:pt x="327850" y="14020"/>
                </a:lnTo>
                <a:lnTo>
                  <a:pt x="327507" y="14173"/>
                </a:lnTo>
                <a:lnTo>
                  <a:pt x="327660" y="14262"/>
                </a:lnTo>
                <a:lnTo>
                  <a:pt x="326110" y="15240"/>
                </a:lnTo>
                <a:lnTo>
                  <a:pt x="326326" y="13970"/>
                </a:lnTo>
                <a:lnTo>
                  <a:pt x="327469" y="13970"/>
                </a:lnTo>
                <a:lnTo>
                  <a:pt x="327964" y="12700"/>
                </a:lnTo>
                <a:lnTo>
                  <a:pt x="329996" y="12700"/>
                </a:lnTo>
                <a:lnTo>
                  <a:pt x="330377" y="13970"/>
                </a:lnTo>
                <a:lnTo>
                  <a:pt x="331533" y="12700"/>
                </a:lnTo>
                <a:lnTo>
                  <a:pt x="330441" y="12700"/>
                </a:lnTo>
                <a:lnTo>
                  <a:pt x="330339" y="12306"/>
                </a:lnTo>
                <a:lnTo>
                  <a:pt x="332041" y="11785"/>
                </a:lnTo>
                <a:lnTo>
                  <a:pt x="332587" y="9982"/>
                </a:lnTo>
                <a:lnTo>
                  <a:pt x="332994" y="9690"/>
                </a:lnTo>
                <a:lnTo>
                  <a:pt x="333375" y="9918"/>
                </a:lnTo>
                <a:close/>
              </a:path>
            </a:pathLst>
          </a:custGeom>
          <a:solidFill>
            <a:srgbClr val="D02929"/>
          </a:solidFill>
        </p:spPr>
        <p:txBody>
          <a:bodyPr wrap="square" lIns="0" tIns="0" rIns="0" bIns="0" rtlCol="0"/>
          <a:lstStyle/>
          <a:p>
            <a:endParaRPr/>
          </a:p>
        </p:txBody>
      </p:sp>
      <p:sp>
        <p:nvSpPr>
          <p:cNvPr id="47" name="object 47"/>
          <p:cNvSpPr/>
          <p:nvPr/>
        </p:nvSpPr>
        <p:spPr>
          <a:xfrm>
            <a:off x="9317114" y="5900521"/>
            <a:ext cx="333375" cy="379730"/>
          </a:xfrm>
          <a:custGeom>
            <a:avLst/>
            <a:gdLst/>
            <a:ahLst/>
            <a:cxnLst/>
            <a:rect l="l" t="t" r="r" b="b"/>
            <a:pathLst>
              <a:path w="333375" h="379729">
                <a:moveTo>
                  <a:pt x="4483" y="313651"/>
                </a:moveTo>
                <a:lnTo>
                  <a:pt x="4279" y="313867"/>
                </a:lnTo>
                <a:lnTo>
                  <a:pt x="3873" y="314325"/>
                </a:lnTo>
                <a:lnTo>
                  <a:pt x="4000" y="314579"/>
                </a:lnTo>
                <a:lnTo>
                  <a:pt x="4368" y="314566"/>
                </a:lnTo>
                <a:lnTo>
                  <a:pt x="4445" y="314134"/>
                </a:lnTo>
                <a:lnTo>
                  <a:pt x="4483" y="313651"/>
                </a:lnTo>
                <a:close/>
              </a:path>
              <a:path w="333375" h="379729">
                <a:moveTo>
                  <a:pt x="9690" y="230314"/>
                </a:moveTo>
                <a:lnTo>
                  <a:pt x="9652" y="230124"/>
                </a:lnTo>
                <a:lnTo>
                  <a:pt x="9436" y="229920"/>
                </a:lnTo>
                <a:lnTo>
                  <a:pt x="9296" y="230009"/>
                </a:lnTo>
                <a:lnTo>
                  <a:pt x="9245" y="230187"/>
                </a:lnTo>
                <a:lnTo>
                  <a:pt x="9296" y="230327"/>
                </a:lnTo>
                <a:lnTo>
                  <a:pt x="9321" y="230492"/>
                </a:lnTo>
                <a:lnTo>
                  <a:pt x="9550" y="230733"/>
                </a:lnTo>
                <a:lnTo>
                  <a:pt x="9690" y="230670"/>
                </a:lnTo>
                <a:lnTo>
                  <a:pt x="9690" y="230454"/>
                </a:lnTo>
                <a:lnTo>
                  <a:pt x="9690" y="230314"/>
                </a:lnTo>
                <a:close/>
              </a:path>
              <a:path w="333375" h="379729">
                <a:moveTo>
                  <a:pt x="23914" y="371017"/>
                </a:moveTo>
                <a:lnTo>
                  <a:pt x="23812" y="370611"/>
                </a:lnTo>
                <a:lnTo>
                  <a:pt x="23685" y="370700"/>
                </a:lnTo>
                <a:lnTo>
                  <a:pt x="23761" y="371094"/>
                </a:lnTo>
                <a:lnTo>
                  <a:pt x="23914" y="371017"/>
                </a:lnTo>
                <a:close/>
              </a:path>
              <a:path w="333375" h="379729">
                <a:moveTo>
                  <a:pt x="38735" y="223278"/>
                </a:moveTo>
                <a:lnTo>
                  <a:pt x="38684" y="222948"/>
                </a:lnTo>
                <a:lnTo>
                  <a:pt x="38544" y="222885"/>
                </a:lnTo>
                <a:lnTo>
                  <a:pt x="38328" y="223062"/>
                </a:lnTo>
                <a:lnTo>
                  <a:pt x="38227" y="223266"/>
                </a:lnTo>
                <a:lnTo>
                  <a:pt x="38138" y="223685"/>
                </a:lnTo>
                <a:lnTo>
                  <a:pt x="38290" y="223951"/>
                </a:lnTo>
                <a:lnTo>
                  <a:pt x="38544" y="223761"/>
                </a:lnTo>
                <a:lnTo>
                  <a:pt x="38633" y="223469"/>
                </a:lnTo>
                <a:lnTo>
                  <a:pt x="38735" y="223278"/>
                </a:lnTo>
                <a:close/>
              </a:path>
              <a:path w="333375" h="379729">
                <a:moveTo>
                  <a:pt x="41986" y="222084"/>
                </a:moveTo>
                <a:lnTo>
                  <a:pt x="41884" y="221488"/>
                </a:lnTo>
                <a:lnTo>
                  <a:pt x="41783" y="221297"/>
                </a:lnTo>
                <a:lnTo>
                  <a:pt x="41567" y="220941"/>
                </a:lnTo>
                <a:lnTo>
                  <a:pt x="41427" y="220980"/>
                </a:lnTo>
                <a:lnTo>
                  <a:pt x="41122" y="222224"/>
                </a:lnTo>
                <a:lnTo>
                  <a:pt x="40805" y="223139"/>
                </a:lnTo>
                <a:lnTo>
                  <a:pt x="40322" y="224180"/>
                </a:lnTo>
                <a:lnTo>
                  <a:pt x="40297" y="224370"/>
                </a:lnTo>
                <a:lnTo>
                  <a:pt x="40500" y="224434"/>
                </a:lnTo>
                <a:lnTo>
                  <a:pt x="40741" y="224447"/>
                </a:lnTo>
                <a:lnTo>
                  <a:pt x="41986" y="222084"/>
                </a:lnTo>
                <a:close/>
              </a:path>
              <a:path w="333375" h="379729">
                <a:moveTo>
                  <a:pt x="44716" y="229870"/>
                </a:moveTo>
                <a:lnTo>
                  <a:pt x="43840" y="228600"/>
                </a:lnTo>
                <a:lnTo>
                  <a:pt x="42506" y="227330"/>
                </a:lnTo>
                <a:lnTo>
                  <a:pt x="41275" y="228600"/>
                </a:lnTo>
                <a:lnTo>
                  <a:pt x="40982" y="228600"/>
                </a:lnTo>
                <a:lnTo>
                  <a:pt x="40703" y="229870"/>
                </a:lnTo>
                <a:lnTo>
                  <a:pt x="40551" y="228600"/>
                </a:lnTo>
                <a:lnTo>
                  <a:pt x="40157" y="228600"/>
                </a:lnTo>
                <a:lnTo>
                  <a:pt x="40640" y="227330"/>
                </a:lnTo>
                <a:lnTo>
                  <a:pt x="40957" y="227330"/>
                </a:lnTo>
                <a:lnTo>
                  <a:pt x="40932" y="226060"/>
                </a:lnTo>
                <a:lnTo>
                  <a:pt x="41021" y="224790"/>
                </a:lnTo>
                <a:lnTo>
                  <a:pt x="39814" y="226060"/>
                </a:lnTo>
                <a:lnTo>
                  <a:pt x="39814" y="231140"/>
                </a:lnTo>
                <a:lnTo>
                  <a:pt x="39420" y="231140"/>
                </a:lnTo>
                <a:lnTo>
                  <a:pt x="39281" y="229870"/>
                </a:lnTo>
                <a:lnTo>
                  <a:pt x="39585"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80" y="220980"/>
                </a:lnTo>
                <a:lnTo>
                  <a:pt x="37325" y="219710"/>
                </a:lnTo>
                <a:lnTo>
                  <a:pt x="37592" y="219710"/>
                </a:lnTo>
                <a:lnTo>
                  <a:pt x="38163" y="220980"/>
                </a:lnTo>
                <a:lnTo>
                  <a:pt x="38849" y="220980"/>
                </a:lnTo>
                <a:lnTo>
                  <a:pt x="39776" y="222250"/>
                </a:lnTo>
                <a:lnTo>
                  <a:pt x="40271" y="222250"/>
                </a:lnTo>
                <a:lnTo>
                  <a:pt x="40944" y="220980"/>
                </a:lnTo>
                <a:lnTo>
                  <a:pt x="40208" y="220980"/>
                </a:lnTo>
                <a:lnTo>
                  <a:pt x="39700" y="219710"/>
                </a:lnTo>
                <a:lnTo>
                  <a:pt x="38163" y="219710"/>
                </a:lnTo>
                <a:lnTo>
                  <a:pt x="38265" y="218440"/>
                </a:lnTo>
                <a:lnTo>
                  <a:pt x="38633" y="217170"/>
                </a:lnTo>
                <a:lnTo>
                  <a:pt x="39001" y="215900"/>
                </a:lnTo>
                <a:lnTo>
                  <a:pt x="38735" y="214630"/>
                </a:lnTo>
                <a:lnTo>
                  <a:pt x="37223" y="214630"/>
                </a:lnTo>
                <a:lnTo>
                  <a:pt x="36715" y="213360"/>
                </a:lnTo>
                <a:lnTo>
                  <a:pt x="36309" y="212090"/>
                </a:lnTo>
                <a:lnTo>
                  <a:pt x="35458" y="213360"/>
                </a:lnTo>
                <a:lnTo>
                  <a:pt x="35242" y="213360"/>
                </a:lnTo>
                <a:lnTo>
                  <a:pt x="35407"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63" y="213360"/>
                </a:lnTo>
                <a:lnTo>
                  <a:pt x="33820" y="213360"/>
                </a:lnTo>
                <a:lnTo>
                  <a:pt x="33820" y="226060"/>
                </a:lnTo>
                <a:lnTo>
                  <a:pt x="33388" y="226060"/>
                </a:lnTo>
                <a:lnTo>
                  <a:pt x="33172" y="224790"/>
                </a:lnTo>
                <a:lnTo>
                  <a:pt x="31483" y="224790"/>
                </a:lnTo>
                <a:lnTo>
                  <a:pt x="31229" y="223520"/>
                </a:lnTo>
                <a:lnTo>
                  <a:pt x="32105" y="223520"/>
                </a:lnTo>
                <a:lnTo>
                  <a:pt x="32550" y="222250"/>
                </a:lnTo>
                <a:lnTo>
                  <a:pt x="32981" y="223520"/>
                </a:lnTo>
                <a:lnTo>
                  <a:pt x="33451" y="223520"/>
                </a:lnTo>
                <a:lnTo>
                  <a:pt x="33591" y="224790"/>
                </a:lnTo>
                <a:lnTo>
                  <a:pt x="33820" y="226060"/>
                </a:lnTo>
                <a:lnTo>
                  <a:pt x="33820" y="213360"/>
                </a:lnTo>
                <a:lnTo>
                  <a:pt x="32778" y="213360"/>
                </a:lnTo>
                <a:lnTo>
                  <a:pt x="32054" y="214630"/>
                </a:lnTo>
                <a:lnTo>
                  <a:pt x="30010" y="214630"/>
                </a:lnTo>
                <a:lnTo>
                  <a:pt x="29794" y="213360"/>
                </a:lnTo>
                <a:lnTo>
                  <a:pt x="29222" y="213360"/>
                </a:lnTo>
                <a:lnTo>
                  <a:pt x="28613" y="212090"/>
                </a:lnTo>
                <a:lnTo>
                  <a:pt x="27355" y="213360"/>
                </a:lnTo>
                <a:lnTo>
                  <a:pt x="27038" y="213360"/>
                </a:lnTo>
                <a:lnTo>
                  <a:pt x="27279" y="214630"/>
                </a:lnTo>
                <a:lnTo>
                  <a:pt x="27762" y="215900"/>
                </a:lnTo>
                <a:lnTo>
                  <a:pt x="27152" y="215900"/>
                </a:lnTo>
                <a:lnTo>
                  <a:pt x="27038" y="217170"/>
                </a:lnTo>
                <a:lnTo>
                  <a:pt x="26250" y="217170"/>
                </a:lnTo>
                <a:lnTo>
                  <a:pt x="26314" y="215900"/>
                </a:lnTo>
                <a:lnTo>
                  <a:pt x="26314" y="214630"/>
                </a:lnTo>
                <a:lnTo>
                  <a:pt x="25400" y="213360"/>
                </a:lnTo>
                <a:lnTo>
                  <a:pt x="24650" y="213360"/>
                </a:lnTo>
                <a:lnTo>
                  <a:pt x="24650" y="224790"/>
                </a:lnTo>
                <a:lnTo>
                  <a:pt x="24384" y="224790"/>
                </a:lnTo>
                <a:lnTo>
                  <a:pt x="24638" y="226060"/>
                </a:lnTo>
                <a:lnTo>
                  <a:pt x="23977" y="226060"/>
                </a:lnTo>
                <a:lnTo>
                  <a:pt x="24053" y="224790"/>
                </a:lnTo>
                <a:lnTo>
                  <a:pt x="22796" y="224790"/>
                </a:lnTo>
                <a:lnTo>
                  <a:pt x="22593" y="226060"/>
                </a:lnTo>
                <a:lnTo>
                  <a:pt x="21234" y="226060"/>
                </a:lnTo>
                <a:lnTo>
                  <a:pt x="20891" y="224790"/>
                </a:lnTo>
                <a:lnTo>
                  <a:pt x="20447" y="224790"/>
                </a:lnTo>
                <a:lnTo>
                  <a:pt x="20993" y="223520"/>
                </a:lnTo>
                <a:lnTo>
                  <a:pt x="22415" y="223520"/>
                </a:lnTo>
                <a:lnTo>
                  <a:pt x="23063" y="222250"/>
                </a:lnTo>
                <a:lnTo>
                  <a:pt x="23723" y="223520"/>
                </a:lnTo>
                <a:lnTo>
                  <a:pt x="24434" y="223520"/>
                </a:lnTo>
                <a:lnTo>
                  <a:pt x="24650" y="224790"/>
                </a:lnTo>
                <a:lnTo>
                  <a:pt x="24650" y="213360"/>
                </a:lnTo>
                <a:lnTo>
                  <a:pt x="23329" y="213360"/>
                </a:lnTo>
                <a:lnTo>
                  <a:pt x="21869" y="214630"/>
                </a:lnTo>
                <a:lnTo>
                  <a:pt x="20955" y="215900"/>
                </a:lnTo>
                <a:lnTo>
                  <a:pt x="19735" y="217170"/>
                </a:lnTo>
                <a:lnTo>
                  <a:pt x="19545" y="217170"/>
                </a:lnTo>
                <a:lnTo>
                  <a:pt x="17907" y="214630"/>
                </a:lnTo>
                <a:lnTo>
                  <a:pt x="16789" y="215900"/>
                </a:lnTo>
                <a:lnTo>
                  <a:pt x="16471" y="218440"/>
                </a:lnTo>
                <a:lnTo>
                  <a:pt x="16408" y="219710"/>
                </a:lnTo>
                <a:lnTo>
                  <a:pt x="13817" y="218440"/>
                </a:lnTo>
                <a:lnTo>
                  <a:pt x="13970" y="219710"/>
                </a:lnTo>
                <a:lnTo>
                  <a:pt x="14757" y="220980"/>
                </a:lnTo>
                <a:lnTo>
                  <a:pt x="15455" y="223520"/>
                </a:lnTo>
                <a:lnTo>
                  <a:pt x="15328" y="224790"/>
                </a:lnTo>
                <a:lnTo>
                  <a:pt x="14617" y="224790"/>
                </a:lnTo>
                <a:lnTo>
                  <a:pt x="14389"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50" y="232410"/>
                </a:lnTo>
                <a:lnTo>
                  <a:pt x="9144" y="233680"/>
                </a:lnTo>
                <a:lnTo>
                  <a:pt x="7480" y="234950"/>
                </a:lnTo>
                <a:lnTo>
                  <a:pt x="7683" y="236220"/>
                </a:lnTo>
                <a:lnTo>
                  <a:pt x="6769" y="237490"/>
                </a:lnTo>
                <a:lnTo>
                  <a:pt x="5194" y="237490"/>
                </a:lnTo>
                <a:lnTo>
                  <a:pt x="4686" y="238760"/>
                </a:lnTo>
                <a:lnTo>
                  <a:pt x="3937" y="241300"/>
                </a:lnTo>
                <a:lnTo>
                  <a:pt x="1701" y="243840"/>
                </a:lnTo>
                <a:lnTo>
                  <a:pt x="800" y="243840"/>
                </a:lnTo>
                <a:lnTo>
                  <a:pt x="1193" y="245110"/>
                </a:lnTo>
                <a:lnTo>
                  <a:pt x="4051" y="245110"/>
                </a:lnTo>
                <a:lnTo>
                  <a:pt x="44488" y="245110"/>
                </a:lnTo>
                <a:lnTo>
                  <a:pt x="44500" y="243840"/>
                </a:lnTo>
                <a:lnTo>
                  <a:pt x="43891" y="241300"/>
                </a:lnTo>
                <a:lnTo>
                  <a:pt x="43726" y="240030"/>
                </a:lnTo>
                <a:lnTo>
                  <a:pt x="42646" y="240030"/>
                </a:lnTo>
                <a:lnTo>
                  <a:pt x="43167" y="238760"/>
                </a:lnTo>
                <a:lnTo>
                  <a:pt x="43662" y="238760"/>
                </a:lnTo>
                <a:lnTo>
                  <a:pt x="44018" y="236220"/>
                </a:lnTo>
                <a:lnTo>
                  <a:pt x="44018" y="234950"/>
                </a:lnTo>
                <a:lnTo>
                  <a:pt x="44132" y="233680"/>
                </a:lnTo>
                <a:lnTo>
                  <a:pt x="44259" y="232410"/>
                </a:lnTo>
                <a:lnTo>
                  <a:pt x="43624" y="232410"/>
                </a:lnTo>
                <a:lnTo>
                  <a:pt x="41122" y="232410"/>
                </a:lnTo>
                <a:lnTo>
                  <a:pt x="41122" y="234950"/>
                </a:lnTo>
                <a:lnTo>
                  <a:pt x="40525" y="234950"/>
                </a:lnTo>
                <a:lnTo>
                  <a:pt x="40551" y="233680"/>
                </a:lnTo>
                <a:lnTo>
                  <a:pt x="41071" y="233680"/>
                </a:lnTo>
                <a:lnTo>
                  <a:pt x="41122" y="234950"/>
                </a:lnTo>
                <a:lnTo>
                  <a:pt x="41122" y="232410"/>
                </a:lnTo>
                <a:lnTo>
                  <a:pt x="40640" y="232410"/>
                </a:lnTo>
                <a:lnTo>
                  <a:pt x="40894" y="231140"/>
                </a:lnTo>
                <a:lnTo>
                  <a:pt x="41363" y="231140"/>
                </a:lnTo>
                <a:lnTo>
                  <a:pt x="42494" y="229870"/>
                </a:lnTo>
                <a:lnTo>
                  <a:pt x="43167" y="229870"/>
                </a:lnTo>
                <a:lnTo>
                  <a:pt x="43853" y="231140"/>
                </a:lnTo>
                <a:lnTo>
                  <a:pt x="43624" y="232410"/>
                </a:lnTo>
                <a:lnTo>
                  <a:pt x="44704" y="231140"/>
                </a:lnTo>
                <a:lnTo>
                  <a:pt x="44716" y="229870"/>
                </a:lnTo>
                <a:close/>
              </a:path>
              <a:path w="333375" h="379729">
                <a:moveTo>
                  <a:pt x="50495" y="279133"/>
                </a:moveTo>
                <a:lnTo>
                  <a:pt x="50355" y="278917"/>
                </a:lnTo>
                <a:lnTo>
                  <a:pt x="50139" y="278828"/>
                </a:lnTo>
                <a:lnTo>
                  <a:pt x="50139" y="279184"/>
                </a:lnTo>
                <a:lnTo>
                  <a:pt x="50342" y="279285"/>
                </a:lnTo>
                <a:lnTo>
                  <a:pt x="50482" y="279247"/>
                </a:lnTo>
                <a:close/>
              </a:path>
              <a:path w="333375" h="379729">
                <a:moveTo>
                  <a:pt x="52171" y="294322"/>
                </a:moveTo>
                <a:lnTo>
                  <a:pt x="52006" y="294424"/>
                </a:lnTo>
                <a:lnTo>
                  <a:pt x="51790" y="294563"/>
                </a:lnTo>
                <a:lnTo>
                  <a:pt x="52070" y="294398"/>
                </a:lnTo>
                <a:close/>
              </a:path>
              <a:path w="333375" h="379729">
                <a:moveTo>
                  <a:pt x="52781" y="294182"/>
                </a:moveTo>
                <a:lnTo>
                  <a:pt x="52705" y="294322"/>
                </a:lnTo>
                <a:lnTo>
                  <a:pt x="52781" y="294182"/>
                </a:lnTo>
                <a:close/>
              </a:path>
              <a:path w="333375" h="379729">
                <a:moveTo>
                  <a:pt x="52870" y="294017"/>
                </a:moveTo>
                <a:lnTo>
                  <a:pt x="52781" y="294182"/>
                </a:lnTo>
                <a:lnTo>
                  <a:pt x="52870" y="294017"/>
                </a:lnTo>
                <a:close/>
              </a:path>
              <a:path w="333375" h="379729">
                <a:moveTo>
                  <a:pt x="52895" y="295744"/>
                </a:moveTo>
                <a:lnTo>
                  <a:pt x="52844" y="296506"/>
                </a:lnTo>
                <a:lnTo>
                  <a:pt x="52895" y="295935"/>
                </a:lnTo>
                <a:lnTo>
                  <a:pt x="52895" y="295744"/>
                </a:lnTo>
                <a:close/>
              </a:path>
              <a:path w="333375" h="379729">
                <a:moveTo>
                  <a:pt x="53060" y="294640"/>
                </a:moveTo>
                <a:lnTo>
                  <a:pt x="53035" y="295363"/>
                </a:lnTo>
                <a:lnTo>
                  <a:pt x="53060" y="294640"/>
                </a:lnTo>
                <a:close/>
              </a:path>
              <a:path w="333375" h="379729">
                <a:moveTo>
                  <a:pt x="53200" y="297180"/>
                </a:moveTo>
                <a:lnTo>
                  <a:pt x="53200" y="297446"/>
                </a:lnTo>
                <a:lnTo>
                  <a:pt x="53200" y="297180"/>
                </a:lnTo>
                <a:close/>
              </a:path>
              <a:path w="333375" h="379729">
                <a:moveTo>
                  <a:pt x="53251" y="296799"/>
                </a:moveTo>
                <a:lnTo>
                  <a:pt x="53200" y="295998"/>
                </a:lnTo>
                <a:lnTo>
                  <a:pt x="53174" y="295681"/>
                </a:lnTo>
                <a:lnTo>
                  <a:pt x="53136" y="295198"/>
                </a:lnTo>
                <a:lnTo>
                  <a:pt x="53174" y="295922"/>
                </a:lnTo>
                <a:lnTo>
                  <a:pt x="53200" y="296354"/>
                </a:lnTo>
                <a:lnTo>
                  <a:pt x="53225" y="296633"/>
                </a:lnTo>
                <a:lnTo>
                  <a:pt x="53251" y="296799"/>
                </a:lnTo>
                <a:close/>
              </a:path>
              <a:path w="333375" h="379729">
                <a:moveTo>
                  <a:pt x="53530" y="297688"/>
                </a:moveTo>
                <a:lnTo>
                  <a:pt x="53517" y="297180"/>
                </a:lnTo>
                <a:lnTo>
                  <a:pt x="53530" y="297688"/>
                </a:lnTo>
                <a:close/>
              </a:path>
              <a:path w="333375" h="379729">
                <a:moveTo>
                  <a:pt x="53606" y="295478"/>
                </a:moveTo>
                <a:lnTo>
                  <a:pt x="53581" y="295338"/>
                </a:lnTo>
                <a:lnTo>
                  <a:pt x="53467" y="295033"/>
                </a:lnTo>
                <a:lnTo>
                  <a:pt x="53555" y="295313"/>
                </a:lnTo>
                <a:lnTo>
                  <a:pt x="53606" y="295478"/>
                </a:lnTo>
                <a:close/>
              </a:path>
              <a:path w="333375" h="379729">
                <a:moveTo>
                  <a:pt x="53682" y="372084"/>
                </a:moveTo>
                <a:close/>
              </a:path>
              <a:path w="333375" h="379729">
                <a:moveTo>
                  <a:pt x="54051" y="294690"/>
                </a:moveTo>
                <a:close/>
              </a:path>
              <a:path w="333375" h="379729">
                <a:moveTo>
                  <a:pt x="54838" y="294868"/>
                </a:moveTo>
                <a:lnTo>
                  <a:pt x="54775" y="294640"/>
                </a:lnTo>
                <a:lnTo>
                  <a:pt x="54838" y="294868"/>
                </a:lnTo>
                <a:close/>
              </a:path>
              <a:path w="333375" h="379729">
                <a:moveTo>
                  <a:pt x="54952" y="294157"/>
                </a:moveTo>
                <a:lnTo>
                  <a:pt x="54825" y="294017"/>
                </a:lnTo>
                <a:lnTo>
                  <a:pt x="54914" y="294208"/>
                </a:lnTo>
                <a:close/>
              </a:path>
              <a:path w="333375" h="379729">
                <a:moveTo>
                  <a:pt x="55283" y="295414"/>
                </a:moveTo>
                <a:close/>
              </a:path>
              <a:path w="333375" h="379729">
                <a:moveTo>
                  <a:pt x="55308" y="295452"/>
                </a:moveTo>
                <a:close/>
              </a:path>
              <a:path w="333375" h="379729">
                <a:moveTo>
                  <a:pt x="55880" y="292874"/>
                </a:moveTo>
                <a:lnTo>
                  <a:pt x="55346" y="292100"/>
                </a:lnTo>
                <a:lnTo>
                  <a:pt x="55880" y="292874"/>
                </a:lnTo>
                <a:close/>
              </a:path>
              <a:path w="333375" h="379729">
                <a:moveTo>
                  <a:pt x="56261" y="293370"/>
                </a:moveTo>
                <a:lnTo>
                  <a:pt x="55880" y="292874"/>
                </a:lnTo>
                <a:lnTo>
                  <a:pt x="56222" y="293370"/>
                </a:lnTo>
                <a:close/>
              </a:path>
              <a:path w="333375" h="379729">
                <a:moveTo>
                  <a:pt x="61607" y="280873"/>
                </a:moveTo>
                <a:lnTo>
                  <a:pt x="61252" y="280847"/>
                </a:lnTo>
                <a:lnTo>
                  <a:pt x="61226" y="280974"/>
                </a:lnTo>
                <a:lnTo>
                  <a:pt x="61150" y="281127"/>
                </a:lnTo>
                <a:lnTo>
                  <a:pt x="61239" y="281432"/>
                </a:lnTo>
                <a:lnTo>
                  <a:pt x="61391" y="281432"/>
                </a:lnTo>
                <a:lnTo>
                  <a:pt x="61493" y="281254"/>
                </a:lnTo>
                <a:lnTo>
                  <a:pt x="61569" y="281000"/>
                </a:lnTo>
                <a:lnTo>
                  <a:pt x="61607" y="280873"/>
                </a:lnTo>
                <a:close/>
              </a:path>
              <a:path w="333375" h="379729">
                <a:moveTo>
                  <a:pt x="70370" y="266611"/>
                </a:moveTo>
                <a:lnTo>
                  <a:pt x="70281" y="266458"/>
                </a:lnTo>
                <a:lnTo>
                  <a:pt x="70129" y="266344"/>
                </a:lnTo>
                <a:lnTo>
                  <a:pt x="69964" y="266306"/>
                </a:lnTo>
                <a:lnTo>
                  <a:pt x="69850" y="266471"/>
                </a:lnTo>
                <a:lnTo>
                  <a:pt x="69786" y="266687"/>
                </a:lnTo>
                <a:lnTo>
                  <a:pt x="70002" y="266979"/>
                </a:lnTo>
                <a:lnTo>
                  <a:pt x="70205" y="266890"/>
                </a:lnTo>
                <a:lnTo>
                  <a:pt x="70332" y="266687"/>
                </a:lnTo>
                <a:close/>
              </a:path>
              <a:path w="333375" h="379729">
                <a:moveTo>
                  <a:pt x="75044" y="260680"/>
                </a:moveTo>
                <a:lnTo>
                  <a:pt x="74930" y="260527"/>
                </a:lnTo>
                <a:lnTo>
                  <a:pt x="74752" y="260540"/>
                </a:lnTo>
                <a:lnTo>
                  <a:pt x="74625" y="260527"/>
                </a:lnTo>
                <a:lnTo>
                  <a:pt x="74599" y="260667"/>
                </a:lnTo>
                <a:lnTo>
                  <a:pt x="74523" y="260832"/>
                </a:lnTo>
                <a:lnTo>
                  <a:pt x="74625" y="261010"/>
                </a:lnTo>
                <a:lnTo>
                  <a:pt x="74815" y="260985"/>
                </a:lnTo>
                <a:lnTo>
                  <a:pt x="74942" y="260997"/>
                </a:lnTo>
                <a:lnTo>
                  <a:pt x="74968" y="260870"/>
                </a:lnTo>
                <a:lnTo>
                  <a:pt x="75044" y="260680"/>
                </a:lnTo>
                <a:close/>
              </a:path>
              <a:path w="333375" h="379729">
                <a:moveTo>
                  <a:pt x="87096" y="240080"/>
                </a:moveTo>
                <a:lnTo>
                  <a:pt x="87007" y="239941"/>
                </a:lnTo>
                <a:lnTo>
                  <a:pt x="86702" y="239966"/>
                </a:lnTo>
                <a:lnTo>
                  <a:pt x="86588" y="240093"/>
                </a:lnTo>
                <a:lnTo>
                  <a:pt x="86461" y="240169"/>
                </a:lnTo>
                <a:lnTo>
                  <a:pt x="86601" y="240423"/>
                </a:lnTo>
                <a:lnTo>
                  <a:pt x="86868" y="240550"/>
                </a:lnTo>
                <a:lnTo>
                  <a:pt x="87020" y="240449"/>
                </a:lnTo>
                <a:lnTo>
                  <a:pt x="87096" y="240080"/>
                </a:lnTo>
                <a:close/>
              </a:path>
              <a:path w="333375" h="379729">
                <a:moveTo>
                  <a:pt x="93243" y="229997"/>
                </a:moveTo>
                <a:lnTo>
                  <a:pt x="92964" y="229870"/>
                </a:lnTo>
                <a:lnTo>
                  <a:pt x="93205" y="230124"/>
                </a:lnTo>
                <a:lnTo>
                  <a:pt x="93243" y="229997"/>
                </a:lnTo>
                <a:close/>
              </a:path>
              <a:path w="333375" h="379729">
                <a:moveTo>
                  <a:pt x="102323" y="215861"/>
                </a:moveTo>
                <a:lnTo>
                  <a:pt x="102184" y="215620"/>
                </a:lnTo>
                <a:lnTo>
                  <a:pt x="101930" y="215468"/>
                </a:lnTo>
                <a:lnTo>
                  <a:pt x="101803" y="215734"/>
                </a:lnTo>
                <a:lnTo>
                  <a:pt x="101904" y="216001"/>
                </a:lnTo>
                <a:lnTo>
                  <a:pt x="102082" y="216052"/>
                </a:lnTo>
                <a:lnTo>
                  <a:pt x="102209" y="215925"/>
                </a:lnTo>
                <a:close/>
              </a:path>
              <a:path w="333375" h="379729">
                <a:moveTo>
                  <a:pt x="137236" y="255346"/>
                </a:moveTo>
                <a:lnTo>
                  <a:pt x="137198" y="254977"/>
                </a:lnTo>
                <a:lnTo>
                  <a:pt x="136969" y="254838"/>
                </a:lnTo>
                <a:lnTo>
                  <a:pt x="136779" y="254927"/>
                </a:lnTo>
                <a:lnTo>
                  <a:pt x="136652" y="255117"/>
                </a:lnTo>
                <a:lnTo>
                  <a:pt x="136550" y="255257"/>
                </a:lnTo>
                <a:lnTo>
                  <a:pt x="136639" y="255397"/>
                </a:lnTo>
                <a:lnTo>
                  <a:pt x="136969" y="255397"/>
                </a:lnTo>
                <a:lnTo>
                  <a:pt x="137109" y="255358"/>
                </a:lnTo>
                <a:lnTo>
                  <a:pt x="137236" y="255346"/>
                </a:lnTo>
                <a:close/>
              </a:path>
              <a:path w="333375" h="379729">
                <a:moveTo>
                  <a:pt x="139903" y="250431"/>
                </a:moveTo>
                <a:lnTo>
                  <a:pt x="139750" y="250329"/>
                </a:lnTo>
                <a:lnTo>
                  <a:pt x="139585" y="250444"/>
                </a:lnTo>
                <a:lnTo>
                  <a:pt x="139458" y="250634"/>
                </a:lnTo>
                <a:lnTo>
                  <a:pt x="139369" y="250774"/>
                </a:lnTo>
                <a:lnTo>
                  <a:pt x="139661" y="250837"/>
                </a:lnTo>
                <a:lnTo>
                  <a:pt x="139877" y="250748"/>
                </a:lnTo>
                <a:lnTo>
                  <a:pt x="139903" y="250431"/>
                </a:lnTo>
                <a:close/>
              </a:path>
              <a:path w="333375" h="379729">
                <a:moveTo>
                  <a:pt x="181305" y="109689"/>
                </a:moveTo>
                <a:lnTo>
                  <a:pt x="181254" y="109512"/>
                </a:lnTo>
                <a:lnTo>
                  <a:pt x="181076" y="109499"/>
                </a:lnTo>
                <a:lnTo>
                  <a:pt x="180936" y="109588"/>
                </a:lnTo>
                <a:lnTo>
                  <a:pt x="180886" y="109715"/>
                </a:lnTo>
                <a:lnTo>
                  <a:pt x="180898" y="110058"/>
                </a:lnTo>
                <a:lnTo>
                  <a:pt x="181152" y="109956"/>
                </a:lnTo>
                <a:lnTo>
                  <a:pt x="181305" y="109689"/>
                </a:lnTo>
                <a:close/>
              </a:path>
              <a:path w="333375" h="379729">
                <a:moveTo>
                  <a:pt x="223012" y="128549"/>
                </a:moveTo>
                <a:close/>
              </a:path>
              <a:path w="333375" h="379729">
                <a:moveTo>
                  <a:pt x="223659" y="128219"/>
                </a:moveTo>
                <a:lnTo>
                  <a:pt x="223456" y="128409"/>
                </a:lnTo>
                <a:lnTo>
                  <a:pt x="223227" y="128447"/>
                </a:lnTo>
                <a:lnTo>
                  <a:pt x="223012" y="128549"/>
                </a:lnTo>
                <a:lnTo>
                  <a:pt x="223342" y="129184"/>
                </a:lnTo>
                <a:lnTo>
                  <a:pt x="223481" y="128587"/>
                </a:lnTo>
                <a:lnTo>
                  <a:pt x="223659" y="128219"/>
                </a:lnTo>
                <a:close/>
              </a:path>
              <a:path w="333375" h="379729">
                <a:moveTo>
                  <a:pt x="223812" y="128003"/>
                </a:moveTo>
                <a:lnTo>
                  <a:pt x="223659" y="128219"/>
                </a:lnTo>
                <a:lnTo>
                  <a:pt x="223761" y="128092"/>
                </a:lnTo>
                <a:close/>
              </a:path>
              <a:path w="333375" h="379729">
                <a:moveTo>
                  <a:pt x="317665" y="1676"/>
                </a:moveTo>
                <a:lnTo>
                  <a:pt x="317588" y="1447"/>
                </a:lnTo>
                <a:lnTo>
                  <a:pt x="317449" y="1371"/>
                </a:lnTo>
                <a:lnTo>
                  <a:pt x="317284" y="1549"/>
                </a:lnTo>
                <a:lnTo>
                  <a:pt x="317360" y="1765"/>
                </a:lnTo>
                <a:lnTo>
                  <a:pt x="317500" y="1854"/>
                </a:lnTo>
                <a:lnTo>
                  <a:pt x="317665" y="1676"/>
                </a:lnTo>
                <a:close/>
              </a:path>
              <a:path w="333375" h="379729">
                <a:moveTo>
                  <a:pt x="328155" y="3263"/>
                </a:moveTo>
                <a:lnTo>
                  <a:pt x="328104" y="3111"/>
                </a:lnTo>
                <a:lnTo>
                  <a:pt x="327901" y="3009"/>
                </a:lnTo>
                <a:lnTo>
                  <a:pt x="327799" y="3213"/>
                </a:lnTo>
                <a:lnTo>
                  <a:pt x="327863" y="3365"/>
                </a:lnTo>
                <a:lnTo>
                  <a:pt x="328053" y="3467"/>
                </a:lnTo>
                <a:lnTo>
                  <a:pt x="328155" y="3263"/>
                </a:lnTo>
                <a:close/>
              </a:path>
              <a:path w="333375" h="379729">
                <a:moveTo>
                  <a:pt x="333375" y="9918"/>
                </a:moveTo>
                <a:lnTo>
                  <a:pt x="333324" y="9321"/>
                </a:lnTo>
                <a:lnTo>
                  <a:pt x="333133" y="9182"/>
                </a:lnTo>
                <a:lnTo>
                  <a:pt x="332828" y="9232"/>
                </a:lnTo>
                <a:lnTo>
                  <a:pt x="332308" y="9321"/>
                </a:lnTo>
                <a:lnTo>
                  <a:pt x="331724" y="9588"/>
                </a:lnTo>
                <a:lnTo>
                  <a:pt x="331800" y="10452"/>
                </a:lnTo>
                <a:lnTo>
                  <a:pt x="331558" y="10629"/>
                </a:lnTo>
                <a:lnTo>
                  <a:pt x="330161" y="10896"/>
                </a:lnTo>
                <a:lnTo>
                  <a:pt x="329793" y="11163"/>
                </a:lnTo>
                <a:lnTo>
                  <a:pt x="329692" y="11430"/>
                </a:lnTo>
                <a:lnTo>
                  <a:pt x="328396" y="11430"/>
                </a:lnTo>
                <a:lnTo>
                  <a:pt x="328955" y="10160"/>
                </a:lnTo>
                <a:lnTo>
                  <a:pt x="326402" y="10160"/>
                </a:lnTo>
                <a:lnTo>
                  <a:pt x="327406" y="8890"/>
                </a:lnTo>
                <a:lnTo>
                  <a:pt x="328993" y="7708"/>
                </a:lnTo>
                <a:lnTo>
                  <a:pt x="329234" y="8039"/>
                </a:lnTo>
                <a:lnTo>
                  <a:pt x="329336" y="8318"/>
                </a:lnTo>
                <a:lnTo>
                  <a:pt x="330060" y="7823"/>
                </a:lnTo>
                <a:lnTo>
                  <a:pt x="329971" y="7620"/>
                </a:lnTo>
                <a:lnTo>
                  <a:pt x="329692" y="7327"/>
                </a:lnTo>
                <a:lnTo>
                  <a:pt x="329501" y="7239"/>
                </a:lnTo>
                <a:lnTo>
                  <a:pt x="329171" y="7340"/>
                </a:lnTo>
                <a:lnTo>
                  <a:pt x="328968" y="7493"/>
                </a:lnTo>
                <a:lnTo>
                  <a:pt x="327774" y="6350"/>
                </a:lnTo>
                <a:lnTo>
                  <a:pt x="328993" y="6350"/>
                </a:lnTo>
                <a:lnTo>
                  <a:pt x="328523" y="5080"/>
                </a:lnTo>
                <a:lnTo>
                  <a:pt x="329044" y="3810"/>
                </a:lnTo>
                <a:lnTo>
                  <a:pt x="330758" y="3810"/>
                </a:lnTo>
                <a:lnTo>
                  <a:pt x="330454" y="2540"/>
                </a:lnTo>
                <a:lnTo>
                  <a:pt x="328726" y="3810"/>
                </a:lnTo>
                <a:lnTo>
                  <a:pt x="325678" y="3810"/>
                </a:lnTo>
                <a:lnTo>
                  <a:pt x="325005" y="2540"/>
                </a:lnTo>
                <a:lnTo>
                  <a:pt x="324713" y="2540"/>
                </a:lnTo>
                <a:lnTo>
                  <a:pt x="324713" y="15240"/>
                </a:lnTo>
                <a:lnTo>
                  <a:pt x="322973" y="15240"/>
                </a:lnTo>
                <a:lnTo>
                  <a:pt x="322897" y="16510"/>
                </a:lnTo>
                <a:lnTo>
                  <a:pt x="322478" y="16510"/>
                </a:lnTo>
                <a:lnTo>
                  <a:pt x="322643" y="15240"/>
                </a:lnTo>
                <a:lnTo>
                  <a:pt x="323316" y="13970"/>
                </a:lnTo>
                <a:lnTo>
                  <a:pt x="324205" y="13970"/>
                </a:lnTo>
                <a:lnTo>
                  <a:pt x="324713" y="15240"/>
                </a:lnTo>
                <a:lnTo>
                  <a:pt x="324713" y="2540"/>
                </a:lnTo>
                <a:lnTo>
                  <a:pt x="323291" y="2540"/>
                </a:lnTo>
                <a:lnTo>
                  <a:pt x="323291" y="5080"/>
                </a:lnTo>
                <a:lnTo>
                  <a:pt x="322872" y="5080"/>
                </a:lnTo>
                <a:lnTo>
                  <a:pt x="323011" y="3810"/>
                </a:lnTo>
                <a:lnTo>
                  <a:pt x="323253" y="3810"/>
                </a:lnTo>
                <a:lnTo>
                  <a:pt x="323291" y="5080"/>
                </a:lnTo>
                <a:lnTo>
                  <a:pt x="323291" y="2540"/>
                </a:lnTo>
                <a:lnTo>
                  <a:pt x="315214" y="2540"/>
                </a:lnTo>
                <a:lnTo>
                  <a:pt x="314248"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65" y="3810"/>
                </a:lnTo>
                <a:lnTo>
                  <a:pt x="296887" y="3810"/>
                </a:lnTo>
                <a:lnTo>
                  <a:pt x="294233" y="5080"/>
                </a:lnTo>
                <a:lnTo>
                  <a:pt x="292887" y="6350"/>
                </a:lnTo>
                <a:lnTo>
                  <a:pt x="291528" y="6350"/>
                </a:lnTo>
                <a:lnTo>
                  <a:pt x="288861" y="8890"/>
                </a:lnTo>
                <a:lnTo>
                  <a:pt x="284962" y="10160"/>
                </a:lnTo>
                <a:lnTo>
                  <a:pt x="282943" y="12700"/>
                </a:lnTo>
                <a:lnTo>
                  <a:pt x="278828" y="15240"/>
                </a:lnTo>
                <a:lnTo>
                  <a:pt x="276809" y="15240"/>
                </a:lnTo>
                <a:lnTo>
                  <a:pt x="275386" y="17780"/>
                </a:lnTo>
                <a:lnTo>
                  <a:pt x="274421" y="19050"/>
                </a:lnTo>
                <a:lnTo>
                  <a:pt x="271411" y="20320"/>
                </a:lnTo>
                <a:lnTo>
                  <a:pt x="269913" y="22860"/>
                </a:lnTo>
                <a:lnTo>
                  <a:pt x="267817" y="24130"/>
                </a:lnTo>
                <a:lnTo>
                  <a:pt x="265836" y="24130"/>
                </a:lnTo>
                <a:lnTo>
                  <a:pt x="265176" y="26670"/>
                </a:lnTo>
                <a:lnTo>
                  <a:pt x="264337" y="26670"/>
                </a:lnTo>
                <a:lnTo>
                  <a:pt x="262470" y="29210"/>
                </a:lnTo>
                <a:lnTo>
                  <a:pt x="261175" y="29210"/>
                </a:lnTo>
                <a:lnTo>
                  <a:pt x="258876" y="31750"/>
                </a:lnTo>
                <a:lnTo>
                  <a:pt x="256552" y="31750"/>
                </a:lnTo>
                <a:lnTo>
                  <a:pt x="256120" y="34290"/>
                </a:lnTo>
                <a:lnTo>
                  <a:pt x="254292" y="35560"/>
                </a:lnTo>
                <a:lnTo>
                  <a:pt x="250215" y="39370"/>
                </a:lnTo>
                <a:lnTo>
                  <a:pt x="248462" y="39370"/>
                </a:lnTo>
                <a:lnTo>
                  <a:pt x="246341" y="43180"/>
                </a:lnTo>
                <a:lnTo>
                  <a:pt x="244881" y="44450"/>
                </a:lnTo>
                <a:lnTo>
                  <a:pt x="242341" y="45720"/>
                </a:lnTo>
                <a:lnTo>
                  <a:pt x="241490" y="45720"/>
                </a:lnTo>
                <a:lnTo>
                  <a:pt x="241922" y="48260"/>
                </a:lnTo>
                <a:lnTo>
                  <a:pt x="238963" y="48260"/>
                </a:lnTo>
                <a:lnTo>
                  <a:pt x="237312" y="52070"/>
                </a:lnTo>
                <a:lnTo>
                  <a:pt x="234772" y="53340"/>
                </a:lnTo>
                <a:lnTo>
                  <a:pt x="232397" y="55880"/>
                </a:lnTo>
                <a:lnTo>
                  <a:pt x="231381" y="57150"/>
                </a:lnTo>
                <a:lnTo>
                  <a:pt x="227761" y="58420"/>
                </a:lnTo>
                <a:lnTo>
                  <a:pt x="227533" y="60960"/>
                </a:lnTo>
                <a:lnTo>
                  <a:pt x="225412" y="62230"/>
                </a:lnTo>
                <a:lnTo>
                  <a:pt x="225425" y="63500"/>
                </a:lnTo>
                <a:lnTo>
                  <a:pt x="223367" y="63500"/>
                </a:lnTo>
                <a:lnTo>
                  <a:pt x="222897" y="64770"/>
                </a:lnTo>
                <a:lnTo>
                  <a:pt x="222681" y="66040"/>
                </a:lnTo>
                <a:lnTo>
                  <a:pt x="221957" y="67310"/>
                </a:lnTo>
                <a:lnTo>
                  <a:pt x="219989" y="68580"/>
                </a:lnTo>
                <a:lnTo>
                  <a:pt x="218490" y="68580"/>
                </a:lnTo>
                <a:lnTo>
                  <a:pt x="216928" y="71120"/>
                </a:lnTo>
                <a:lnTo>
                  <a:pt x="215722" y="72390"/>
                </a:lnTo>
                <a:lnTo>
                  <a:pt x="214960" y="74930"/>
                </a:lnTo>
                <a:lnTo>
                  <a:pt x="214058" y="74930"/>
                </a:lnTo>
                <a:lnTo>
                  <a:pt x="212229" y="76200"/>
                </a:lnTo>
                <a:lnTo>
                  <a:pt x="210172" y="78740"/>
                </a:lnTo>
                <a:lnTo>
                  <a:pt x="208457" y="80010"/>
                </a:lnTo>
                <a:lnTo>
                  <a:pt x="207327" y="81280"/>
                </a:lnTo>
                <a:lnTo>
                  <a:pt x="205409" y="83820"/>
                </a:lnTo>
                <a:lnTo>
                  <a:pt x="204863" y="85090"/>
                </a:lnTo>
                <a:lnTo>
                  <a:pt x="203949" y="86360"/>
                </a:lnTo>
                <a:lnTo>
                  <a:pt x="201485" y="87630"/>
                </a:lnTo>
                <a:lnTo>
                  <a:pt x="200304" y="88900"/>
                </a:lnTo>
                <a:lnTo>
                  <a:pt x="199796" y="90170"/>
                </a:lnTo>
                <a:lnTo>
                  <a:pt x="197345" y="90170"/>
                </a:lnTo>
                <a:lnTo>
                  <a:pt x="197980" y="91440"/>
                </a:lnTo>
                <a:lnTo>
                  <a:pt x="197904" y="93980"/>
                </a:lnTo>
                <a:lnTo>
                  <a:pt x="195465"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84" y="116840"/>
                </a:lnTo>
                <a:lnTo>
                  <a:pt x="175018" y="116840"/>
                </a:lnTo>
                <a:lnTo>
                  <a:pt x="174904" y="120650"/>
                </a:lnTo>
                <a:lnTo>
                  <a:pt x="172935" y="120650"/>
                </a:lnTo>
                <a:lnTo>
                  <a:pt x="172935" y="139700"/>
                </a:lnTo>
                <a:lnTo>
                  <a:pt x="171678" y="139700"/>
                </a:lnTo>
                <a:lnTo>
                  <a:pt x="171729" y="138430"/>
                </a:lnTo>
                <a:lnTo>
                  <a:pt x="172694" y="138430"/>
                </a:lnTo>
                <a:lnTo>
                  <a:pt x="172935" y="139700"/>
                </a:lnTo>
                <a:lnTo>
                  <a:pt x="172935" y="120650"/>
                </a:lnTo>
                <a:lnTo>
                  <a:pt x="172046" y="120650"/>
                </a:lnTo>
                <a:lnTo>
                  <a:pt x="171970" y="124460"/>
                </a:lnTo>
                <a:lnTo>
                  <a:pt x="170726" y="125234"/>
                </a:lnTo>
                <a:lnTo>
                  <a:pt x="170726"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68" y="127000"/>
                </a:lnTo>
                <a:lnTo>
                  <a:pt x="167411" y="127000"/>
                </a:lnTo>
                <a:lnTo>
                  <a:pt x="167627"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16" y="149860"/>
                </a:lnTo>
                <a:lnTo>
                  <a:pt x="158394" y="148590"/>
                </a:lnTo>
                <a:lnTo>
                  <a:pt x="159270" y="148590"/>
                </a:lnTo>
                <a:lnTo>
                  <a:pt x="159270" y="137160"/>
                </a:lnTo>
                <a:lnTo>
                  <a:pt x="158838" y="137160"/>
                </a:lnTo>
                <a:lnTo>
                  <a:pt x="159092" y="140970"/>
                </a:lnTo>
                <a:lnTo>
                  <a:pt x="156210" y="140970"/>
                </a:lnTo>
                <a:lnTo>
                  <a:pt x="156019" y="144780"/>
                </a:lnTo>
                <a:lnTo>
                  <a:pt x="154787" y="146050"/>
                </a:lnTo>
                <a:lnTo>
                  <a:pt x="152057" y="147320"/>
                </a:lnTo>
                <a:lnTo>
                  <a:pt x="151790" y="148590"/>
                </a:lnTo>
                <a:lnTo>
                  <a:pt x="152552" y="148590"/>
                </a:lnTo>
                <a:lnTo>
                  <a:pt x="151968" y="149860"/>
                </a:lnTo>
                <a:lnTo>
                  <a:pt x="150952" y="151130"/>
                </a:lnTo>
                <a:lnTo>
                  <a:pt x="150825" y="151130"/>
                </a:lnTo>
                <a:lnTo>
                  <a:pt x="149415" y="153670"/>
                </a:lnTo>
                <a:lnTo>
                  <a:pt x="149758" y="154940"/>
                </a:lnTo>
                <a:lnTo>
                  <a:pt x="151536" y="154940"/>
                </a:lnTo>
                <a:lnTo>
                  <a:pt x="151130" y="153670"/>
                </a:lnTo>
                <a:lnTo>
                  <a:pt x="151968" y="153670"/>
                </a:lnTo>
                <a:lnTo>
                  <a:pt x="153047" y="153670"/>
                </a:lnTo>
                <a:lnTo>
                  <a:pt x="152742" y="152400"/>
                </a:lnTo>
                <a:lnTo>
                  <a:pt x="153746" y="152400"/>
                </a:lnTo>
                <a:lnTo>
                  <a:pt x="153365" y="153670"/>
                </a:lnTo>
                <a:lnTo>
                  <a:pt x="153123" y="154940"/>
                </a:lnTo>
                <a:lnTo>
                  <a:pt x="151968" y="153670"/>
                </a:lnTo>
                <a:lnTo>
                  <a:pt x="152692" y="154940"/>
                </a:lnTo>
                <a:lnTo>
                  <a:pt x="151193" y="156210"/>
                </a:lnTo>
                <a:lnTo>
                  <a:pt x="150291" y="157480"/>
                </a:lnTo>
                <a:lnTo>
                  <a:pt x="147853" y="157480"/>
                </a:lnTo>
                <a:lnTo>
                  <a:pt x="147777" y="156210"/>
                </a:lnTo>
                <a:lnTo>
                  <a:pt x="147205" y="154940"/>
                </a:lnTo>
                <a:lnTo>
                  <a:pt x="145478" y="154940"/>
                </a:lnTo>
                <a:lnTo>
                  <a:pt x="145656" y="157480"/>
                </a:lnTo>
                <a:lnTo>
                  <a:pt x="144691" y="157480"/>
                </a:lnTo>
                <a:lnTo>
                  <a:pt x="143141" y="160020"/>
                </a:lnTo>
                <a:lnTo>
                  <a:pt x="141478" y="160020"/>
                </a:lnTo>
                <a:lnTo>
                  <a:pt x="142582" y="162560"/>
                </a:lnTo>
                <a:lnTo>
                  <a:pt x="142354" y="162560"/>
                </a:lnTo>
                <a:lnTo>
                  <a:pt x="140182" y="163830"/>
                </a:lnTo>
                <a:lnTo>
                  <a:pt x="138709" y="166370"/>
                </a:lnTo>
                <a:lnTo>
                  <a:pt x="136918" y="168910"/>
                </a:lnTo>
                <a:lnTo>
                  <a:pt x="135966" y="170180"/>
                </a:lnTo>
                <a:lnTo>
                  <a:pt x="134264" y="171450"/>
                </a:lnTo>
                <a:lnTo>
                  <a:pt x="133235" y="171450"/>
                </a:lnTo>
                <a:lnTo>
                  <a:pt x="134226" y="173990"/>
                </a:lnTo>
                <a:lnTo>
                  <a:pt x="133273" y="175260"/>
                </a:lnTo>
                <a:lnTo>
                  <a:pt x="130822" y="176530"/>
                </a:lnTo>
                <a:lnTo>
                  <a:pt x="129857" y="179070"/>
                </a:lnTo>
                <a:lnTo>
                  <a:pt x="127177" y="180340"/>
                </a:lnTo>
                <a:lnTo>
                  <a:pt x="126936" y="180340"/>
                </a:lnTo>
                <a:lnTo>
                  <a:pt x="126860" y="182880"/>
                </a:lnTo>
                <a:lnTo>
                  <a:pt x="125831" y="185420"/>
                </a:lnTo>
                <a:lnTo>
                  <a:pt x="126009" y="187960"/>
                </a:lnTo>
                <a:lnTo>
                  <a:pt x="124574" y="187960"/>
                </a:lnTo>
                <a:lnTo>
                  <a:pt x="124002" y="189230"/>
                </a:lnTo>
                <a:lnTo>
                  <a:pt x="123215" y="187960"/>
                </a:lnTo>
                <a:lnTo>
                  <a:pt x="123037" y="189839"/>
                </a:lnTo>
                <a:lnTo>
                  <a:pt x="123037" y="269240"/>
                </a:lnTo>
                <a:lnTo>
                  <a:pt x="122656" y="269240"/>
                </a:lnTo>
                <a:lnTo>
                  <a:pt x="122872" y="267970"/>
                </a:lnTo>
                <a:lnTo>
                  <a:pt x="123037" y="269240"/>
                </a:lnTo>
                <a:lnTo>
                  <a:pt x="123037" y="189839"/>
                </a:lnTo>
                <a:lnTo>
                  <a:pt x="122974" y="190500"/>
                </a:lnTo>
                <a:lnTo>
                  <a:pt x="121780" y="190500"/>
                </a:lnTo>
                <a:lnTo>
                  <a:pt x="120357" y="191770"/>
                </a:lnTo>
                <a:lnTo>
                  <a:pt x="119684" y="191770"/>
                </a:lnTo>
                <a:lnTo>
                  <a:pt x="118198" y="193040"/>
                </a:lnTo>
                <a:lnTo>
                  <a:pt x="119761" y="193040"/>
                </a:lnTo>
                <a:lnTo>
                  <a:pt x="119176" y="194310"/>
                </a:lnTo>
                <a:lnTo>
                  <a:pt x="118033" y="195580"/>
                </a:lnTo>
                <a:lnTo>
                  <a:pt x="117906" y="198120"/>
                </a:lnTo>
                <a:lnTo>
                  <a:pt x="115481" y="198120"/>
                </a:lnTo>
                <a:lnTo>
                  <a:pt x="116395" y="200660"/>
                </a:lnTo>
                <a:lnTo>
                  <a:pt x="115392" y="200660"/>
                </a:lnTo>
                <a:lnTo>
                  <a:pt x="113461" y="201930"/>
                </a:lnTo>
                <a:lnTo>
                  <a:pt x="113017" y="203200"/>
                </a:lnTo>
                <a:lnTo>
                  <a:pt x="111658" y="204470"/>
                </a:lnTo>
                <a:lnTo>
                  <a:pt x="110871" y="205740"/>
                </a:lnTo>
                <a:lnTo>
                  <a:pt x="110629" y="207010"/>
                </a:lnTo>
                <a:lnTo>
                  <a:pt x="108127" y="207010"/>
                </a:lnTo>
                <a:lnTo>
                  <a:pt x="108800" y="208280"/>
                </a:lnTo>
                <a:lnTo>
                  <a:pt x="107721" y="210820"/>
                </a:lnTo>
                <a:lnTo>
                  <a:pt x="107378" y="212090"/>
                </a:lnTo>
                <a:lnTo>
                  <a:pt x="105460" y="212090"/>
                </a:lnTo>
                <a:lnTo>
                  <a:pt x="105956" y="214630"/>
                </a:lnTo>
                <a:lnTo>
                  <a:pt x="104559" y="215900"/>
                </a:lnTo>
                <a:lnTo>
                  <a:pt x="104787" y="217170"/>
                </a:lnTo>
                <a:lnTo>
                  <a:pt x="100660" y="217170"/>
                </a:lnTo>
                <a:lnTo>
                  <a:pt x="100291" y="218440"/>
                </a:lnTo>
                <a:lnTo>
                  <a:pt x="101028" y="222250"/>
                </a:lnTo>
                <a:lnTo>
                  <a:pt x="99339" y="222250"/>
                </a:lnTo>
                <a:lnTo>
                  <a:pt x="99415" y="226060"/>
                </a:lnTo>
                <a:lnTo>
                  <a:pt x="94805" y="226060"/>
                </a:lnTo>
                <a:lnTo>
                  <a:pt x="96164" y="228600"/>
                </a:lnTo>
                <a:lnTo>
                  <a:pt x="96139" y="229870"/>
                </a:lnTo>
                <a:lnTo>
                  <a:pt x="95402" y="229870"/>
                </a:lnTo>
                <a:lnTo>
                  <a:pt x="95681" y="231140"/>
                </a:lnTo>
                <a:lnTo>
                  <a:pt x="93281" y="230009"/>
                </a:lnTo>
                <a:lnTo>
                  <a:pt x="93294" y="230212"/>
                </a:lnTo>
                <a:lnTo>
                  <a:pt x="94170" y="231140"/>
                </a:lnTo>
                <a:lnTo>
                  <a:pt x="93535" y="233680"/>
                </a:lnTo>
                <a:lnTo>
                  <a:pt x="93294" y="230212"/>
                </a:lnTo>
                <a:lnTo>
                  <a:pt x="92684" y="232410"/>
                </a:lnTo>
                <a:lnTo>
                  <a:pt x="92811" y="232410"/>
                </a:lnTo>
                <a:lnTo>
                  <a:pt x="93472"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92" y="248920"/>
                </a:lnTo>
                <a:lnTo>
                  <a:pt x="82804" y="251460"/>
                </a:lnTo>
                <a:lnTo>
                  <a:pt x="81267" y="251460"/>
                </a:lnTo>
                <a:lnTo>
                  <a:pt x="81241" y="251193"/>
                </a:lnTo>
                <a:lnTo>
                  <a:pt x="80835" y="251028"/>
                </a:lnTo>
                <a:lnTo>
                  <a:pt x="80835" y="251155"/>
                </a:lnTo>
                <a:lnTo>
                  <a:pt x="80797" y="251307"/>
                </a:lnTo>
                <a:lnTo>
                  <a:pt x="80962" y="251637"/>
                </a:lnTo>
                <a:lnTo>
                  <a:pt x="81153" y="251637"/>
                </a:lnTo>
                <a:lnTo>
                  <a:pt x="80645" y="254000"/>
                </a:lnTo>
                <a:lnTo>
                  <a:pt x="79502" y="252730"/>
                </a:lnTo>
                <a:lnTo>
                  <a:pt x="79489" y="254000"/>
                </a:lnTo>
                <a:lnTo>
                  <a:pt x="77317" y="255270"/>
                </a:lnTo>
                <a:lnTo>
                  <a:pt x="79019" y="256540"/>
                </a:lnTo>
                <a:lnTo>
                  <a:pt x="78879" y="256540"/>
                </a:lnTo>
                <a:lnTo>
                  <a:pt x="77470" y="257810"/>
                </a:lnTo>
                <a:lnTo>
                  <a:pt x="76771" y="259080"/>
                </a:lnTo>
                <a:lnTo>
                  <a:pt x="76288" y="261620"/>
                </a:lnTo>
                <a:lnTo>
                  <a:pt x="74790" y="261620"/>
                </a:lnTo>
                <a:lnTo>
                  <a:pt x="74510" y="262890"/>
                </a:lnTo>
                <a:lnTo>
                  <a:pt x="72936" y="265430"/>
                </a:lnTo>
                <a:lnTo>
                  <a:pt x="72453" y="266700"/>
                </a:lnTo>
                <a:lnTo>
                  <a:pt x="69494" y="269240"/>
                </a:lnTo>
                <a:lnTo>
                  <a:pt x="69519" y="271780"/>
                </a:lnTo>
                <a:lnTo>
                  <a:pt x="69138" y="270510"/>
                </a:lnTo>
                <a:lnTo>
                  <a:pt x="67894" y="273050"/>
                </a:lnTo>
                <a:lnTo>
                  <a:pt x="67398"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303" y="276860"/>
                </a:lnTo>
                <a:lnTo>
                  <a:pt x="65443" y="278130"/>
                </a:lnTo>
                <a:lnTo>
                  <a:pt x="64033" y="279400"/>
                </a:lnTo>
                <a:lnTo>
                  <a:pt x="64617" y="281940"/>
                </a:lnTo>
                <a:lnTo>
                  <a:pt x="64312" y="281940"/>
                </a:lnTo>
                <a:lnTo>
                  <a:pt x="62115" y="280670"/>
                </a:lnTo>
                <a:lnTo>
                  <a:pt x="60312" y="283210"/>
                </a:lnTo>
                <a:lnTo>
                  <a:pt x="61810" y="285750"/>
                </a:lnTo>
                <a:lnTo>
                  <a:pt x="60210" y="287020"/>
                </a:lnTo>
                <a:lnTo>
                  <a:pt x="60223" y="288290"/>
                </a:lnTo>
                <a:lnTo>
                  <a:pt x="59550" y="288290"/>
                </a:lnTo>
                <a:lnTo>
                  <a:pt x="58153" y="289560"/>
                </a:lnTo>
                <a:lnTo>
                  <a:pt x="57950" y="289560"/>
                </a:lnTo>
                <a:lnTo>
                  <a:pt x="58229" y="290830"/>
                </a:lnTo>
                <a:lnTo>
                  <a:pt x="58635" y="292100"/>
                </a:lnTo>
                <a:lnTo>
                  <a:pt x="56959" y="292100"/>
                </a:lnTo>
                <a:lnTo>
                  <a:pt x="56845" y="292519"/>
                </a:lnTo>
                <a:lnTo>
                  <a:pt x="56845" y="370840"/>
                </a:lnTo>
                <a:lnTo>
                  <a:pt x="56781" y="372110"/>
                </a:lnTo>
                <a:lnTo>
                  <a:pt x="55626" y="372110"/>
                </a:lnTo>
                <a:lnTo>
                  <a:pt x="54876" y="373380"/>
                </a:lnTo>
                <a:lnTo>
                  <a:pt x="53924" y="374650"/>
                </a:lnTo>
                <a:lnTo>
                  <a:pt x="52730" y="374650"/>
                </a:lnTo>
                <a:lnTo>
                  <a:pt x="52387" y="375920"/>
                </a:lnTo>
                <a:lnTo>
                  <a:pt x="51269" y="375920"/>
                </a:lnTo>
                <a:lnTo>
                  <a:pt x="51523" y="374650"/>
                </a:lnTo>
                <a:lnTo>
                  <a:pt x="50723" y="374650"/>
                </a:lnTo>
                <a:lnTo>
                  <a:pt x="51358" y="373380"/>
                </a:lnTo>
                <a:lnTo>
                  <a:pt x="51790" y="372110"/>
                </a:lnTo>
                <a:lnTo>
                  <a:pt x="52057" y="373380"/>
                </a:lnTo>
                <a:lnTo>
                  <a:pt x="53251" y="373380"/>
                </a:lnTo>
                <a:lnTo>
                  <a:pt x="53543" y="372110"/>
                </a:lnTo>
                <a:lnTo>
                  <a:pt x="53403" y="372110"/>
                </a:lnTo>
                <a:lnTo>
                  <a:pt x="53454" y="370840"/>
                </a:lnTo>
                <a:lnTo>
                  <a:pt x="53644" y="370840"/>
                </a:lnTo>
                <a:lnTo>
                  <a:pt x="53682" y="372084"/>
                </a:lnTo>
                <a:lnTo>
                  <a:pt x="54851" y="370840"/>
                </a:lnTo>
                <a:lnTo>
                  <a:pt x="56845" y="370840"/>
                </a:lnTo>
                <a:lnTo>
                  <a:pt x="56845" y="292519"/>
                </a:lnTo>
                <a:lnTo>
                  <a:pt x="56603" y="293370"/>
                </a:lnTo>
                <a:lnTo>
                  <a:pt x="56807" y="294640"/>
                </a:lnTo>
                <a:lnTo>
                  <a:pt x="55499" y="294640"/>
                </a:lnTo>
                <a:lnTo>
                  <a:pt x="55587" y="295440"/>
                </a:lnTo>
                <a:lnTo>
                  <a:pt x="55791" y="295910"/>
                </a:lnTo>
                <a:lnTo>
                  <a:pt x="55651" y="295910"/>
                </a:lnTo>
                <a:lnTo>
                  <a:pt x="55562" y="295363"/>
                </a:lnTo>
                <a:lnTo>
                  <a:pt x="55257" y="294640"/>
                </a:lnTo>
                <a:lnTo>
                  <a:pt x="55587" y="295910"/>
                </a:lnTo>
                <a:lnTo>
                  <a:pt x="55232" y="295440"/>
                </a:lnTo>
                <a:lnTo>
                  <a:pt x="55105" y="295211"/>
                </a:lnTo>
                <a:lnTo>
                  <a:pt x="54940" y="294982"/>
                </a:lnTo>
                <a:lnTo>
                  <a:pt x="55143" y="295910"/>
                </a:lnTo>
                <a:lnTo>
                  <a:pt x="55587" y="298450"/>
                </a:lnTo>
                <a:lnTo>
                  <a:pt x="54051" y="294690"/>
                </a:lnTo>
                <a:lnTo>
                  <a:pt x="54140" y="295262"/>
                </a:lnTo>
                <a:lnTo>
                  <a:pt x="54076" y="295097"/>
                </a:lnTo>
                <a:lnTo>
                  <a:pt x="53886" y="294767"/>
                </a:lnTo>
                <a:lnTo>
                  <a:pt x="53975" y="295033"/>
                </a:lnTo>
                <a:lnTo>
                  <a:pt x="54076" y="295211"/>
                </a:lnTo>
                <a:lnTo>
                  <a:pt x="54152" y="295338"/>
                </a:lnTo>
                <a:lnTo>
                  <a:pt x="54457" y="297180"/>
                </a:lnTo>
                <a:lnTo>
                  <a:pt x="53911" y="295910"/>
                </a:lnTo>
                <a:lnTo>
                  <a:pt x="54025" y="297180"/>
                </a:lnTo>
                <a:lnTo>
                  <a:pt x="53530" y="295910"/>
                </a:lnTo>
                <a:lnTo>
                  <a:pt x="53860" y="297180"/>
                </a:lnTo>
                <a:lnTo>
                  <a:pt x="53594" y="297180"/>
                </a:lnTo>
                <a:lnTo>
                  <a:pt x="53886" y="298450"/>
                </a:lnTo>
                <a:lnTo>
                  <a:pt x="53860" y="299720"/>
                </a:lnTo>
                <a:lnTo>
                  <a:pt x="53530" y="297688"/>
                </a:lnTo>
                <a:lnTo>
                  <a:pt x="53594" y="300990"/>
                </a:lnTo>
                <a:lnTo>
                  <a:pt x="53467" y="299720"/>
                </a:lnTo>
                <a:lnTo>
                  <a:pt x="53200" y="297446"/>
                </a:lnTo>
                <a:lnTo>
                  <a:pt x="53238" y="299720"/>
                </a:lnTo>
                <a:lnTo>
                  <a:pt x="53035" y="295363"/>
                </a:lnTo>
                <a:lnTo>
                  <a:pt x="52844" y="299720"/>
                </a:lnTo>
                <a:lnTo>
                  <a:pt x="52844" y="297180"/>
                </a:lnTo>
                <a:lnTo>
                  <a:pt x="52793" y="298450"/>
                </a:lnTo>
                <a:lnTo>
                  <a:pt x="52679" y="299720"/>
                </a:lnTo>
                <a:lnTo>
                  <a:pt x="52527" y="299720"/>
                </a:lnTo>
                <a:lnTo>
                  <a:pt x="52679" y="297180"/>
                </a:lnTo>
                <a:lnTo>
                  <a:pt x="52336" y="299720"/>
                </a:lnTo>
                <a:lnTo>
                  <a:pt x="52006" y="298450"/>
                </a:lnTo>
                <a:lnTo>
                  <a:pt x="51638" y="298450"/>
                </a:lnTo>
                <a:lnTo>
                  <a:pt x="51409" y="297180"/>
                </a:lnTo>
                <a:lnTo>
                  <a:pt x="51714" y="297180"/>
                </a:lnTo>
                <a:lnTo>
                  <a:pt x="52717" y="295910"/>
                </a:lnTo>
                <a:lnTo>
                  <a:pt x="52501" y="295910"/>
                </a:lnTo>
                <a:lnTo>
                  <a:pt x="51879" y="294640"/>
                </a:lnTo>
                <a:lnTo>
                  <a:pt x="51460" y="294640"/>
                </a:lnTo>
                <a:lnTo>
                  <a:pt x="50990"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84"/>
                </a:lnTo>
                <a:lnTo>
                  <a:pt x="50393" y="299720"/>
                </a:lnTo>
                <a:lnTo>
                  <a:pt x="50025" y="299720"/>
                </a:lnTo>
                <a:lnTo>
                  <a:pt x="50279" y="298450"/>
                </a:lnTo>
                <a:lnTo>
                  <a:pt x="50393" y="299720"/>
                </a:lnTo>
                <a:lnTo>
                  <a:pt x="50393" y="291884"/>
                </a:lnTo>
                <a:lnTo>
                  <a:pt x="50101" y="290830"/>
                </a:lnTo>
                <a:lnTo>
                  <a:pt x="51015" y="289560"/>
                </a:lnTo>
                <a:lnTo>
                  <a:pt x="50063" y="287020"/>
                </a:lnTo>
                <a:lnTo>
                  <a:pt x="51320" y="287020"/>
                </a:lnTo>
                <a:lnTo>
                  <a:pt x="51155" y="285750"/>
                </a:lnTo>
                <a:lnTo>
                  <a:pt x="51422" y="285750"/>
                </a:lnTo>
                <a:lnTo>
                  <a:pt x="50444" y="284480"/>
                </a:lnTo>
                <a:lnTo>
                  <a:pt x="49784" y="283210"/>
                </a:lnTo>
                <a:lnTo>
                  <a:pt x="49288" y="283210"/>
                </a:lnTo>
                <a:lnTo>
                  <a:pt x="50342" y="281940"/>
                </a:lnTo>
                <a:lnTo>
                  <a:pt x="50203" y="280670"/>
                </a:lnTo>
                <a:lnTo>
                  <a:pt x="48869" y="279400"/>
                </a:lnTo>
                <a:lnTo>
                  <a:pt x="48590" y="278130"/>
                </a:lnTo>
                <a:lnTo>
                  <a:pt x="49885" y="276860"/>
                </a:lnTo>
                <a:lnTo>
                  <a:pt x="49085" y="275590"/>
                </a:lnTo>
                <a:lnTo>
                  <a:pt x="48856" y="273050"/>
                </a:lnTo>
                <a:lnTo>
                  <a:pt x="48539" y="273050"/>
                </a:lnTo>
                <a:lnTo>
                  <a:pt x="47307" y="270510"/>
                </a:lnTo>
                <a:lnTo>
                  <a:pt x="47231" y="269240"/>
                </a:lnTo>
                <a:lnTo>
                  <a:pt x="49047" y="269240"/>
                </a:lnTo>
                <a:lnTo>
                  <a:pt x="48653" y="267970"/>
                </a:lnTo>
                <a:lnTo>
                  <a:pt x="47929" y="265430"/>
                </a:lnTo>
                <a:lnTo>
                  <a:pt x="45885" y="264160"/>
                </a:lnTo>
                <a:lnTo>
                  <a:pt x="47739" y="264160"/>
                </a:lnTo>
                <a:lnTo>
                  <a:pt x="48044" y="262890"/>
                </a:lnTo>
                <a:lnTo>
                  <a:pt x="48348" y="261620"/>
                </a:lnTo>
                <a:lnTo>
                  <a:pt x="47028" y="261620"/>
                </a:lnTo>
                <a:lnTo>
                  <a:pt x="47879" y="260350"/>
                </a:lnTo>
                <a:lnTo>
                  <a:pt x="46634" y="257810"/>
                </a:lnTo>
                <a:lnTo>
                  <a:pt x="45643" y="256641"/>
                </a:lnTo>
                <a:lnTo>
                  <a:pt x="45643" y="264160"/>
                </a:lnTo>
                <a:lnTo>
                  <a:pt x="45059" y="264160"/>
                </a:lnTo>
                <a:lnTo>
                  <a:pt x="44627" y="262991"/>
                </a:lnTo>
                <a:lnTo>
                  <a:pt x="44615" y="265430"/>
                </a:lnTo>
                <a:lnTo>
                  <a:pt x="44157" y="265430"/>
                </a:lnTo>
                <a:lnTo>
                  <a:pt x="43662" y="264160"/>
                </a:lnTo>
                <a:lnTo>
                  <a:pt x="43116" y="264160"/>
                </a:lnTo>
                <a:lnTo>
                  <a:pt x="44577" y="263029"/>
                </a:lnTo>
                <a:lnTo>
                  <a:pt x="44589" y="262890"/>
                </a:lnTo>
                <a:lnTo>
                  <a:pt x="44754" y="262890"/>
                </a:lnTo>
                <a:lnTo>
                  <a:pt x="45529" y="262890"/>
                </a:lnTo>
                <a:lnTo>
                  <a:pt x="45643" y="264160"/>
                </a:lnTo>
                <a:lnTo>
                  <a:pt x="45643" y="256641"/>
                </a:lnTo>
                <a:lnTo>
                  <a:pt x="46761" y="255270"/>
                </a:lnTo>
                <a:lnTo>
                  <a:pt x="46520" y="254000"/>
                </a:lnTo>
                <a:lnTo>
                  <a:pt x="46926" y="254000"/>
                </a:lnTo>
                <a:lnTo>
                  <a:pt x="46050" y="251460"/>
                </a:lnTo>
                <a:lnTo>
                  <a:pt x="44958" y="250190"/>
                </a:lnTo>
                <a:lnTo>
                  <a:pt x="44958" y="248920"/>
                </a:lnTo>
                <a:lnTo>
                  <a:pt x="46024" y="248920"/>
                </a:lnTo>
                <a:lnTo>
                  <a:pt x="46596"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30" y="351790"/>
                </a:lnTo>
                <a:lnTo>
                  <a:pt x="13512" y="353060"/>
                </a:lnTo>
                <a:lnTo>
                  <a:pt x="13423"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40" y="246380"/>
                </a:lnTo>
                <a:lnTo>
                  <a:pt x="5740" y="247650"/>
                </a:lnTo>
                <a:lnTo>
                  <a:pt x="5664" y="248348"/>
                </a:lnTo>
                <a:lnTo>
                  <a:pt x="5664" y="283210"/>
                </a:lnTo>
                <a:lnTo>
                  <a:pt x="5499" y="284480"/>
                </a:lnTo>
                <a:lnTo>
                  <a:pt x="5207" y="284480"/>
                </a:lnTo>
                <a:lnTo>
                  <a:pt x="5118" y="283210"/>
                </a:lnTo>
                <a:lnTo>
                  <a:pt x="5664" y="283210"/>
                </a:lnTo>
                <a:lnTo>
                  <a:pt x="5664" y="248348"/>
                </a:lnTo>
                <a:lnTo>
                  <a:pt x="5600" y="248920"/>
                </a:lnTo>
                <a:lnTo>
                  <a:pt x="4203" y="248920"/>
                </a:lnTo>
                <a:lnTo>
                  <a:pt x="4102" y="247650"/>
                </a:lnTo>
                <a:lnTo>
                  <a:pt x="5740" y="247650"/>
                </a:lnTo>
                <a:lnTo>
                  <a:pt x="5740" y="246380"/>
                </a:lnTo>
                <a:lnTo>
                  <a:pt x="3048" y="246380"/>
                </a:lnTo>
                <a:lnTo>
                  <a:pt x="3225" y="247650"/>
                </a:lnTo>
                <a:lnTo>
                  <a:pt x="2755" y="247650"/>
                </a:lnTo>
                <a:lnTo>
                  <a:pt x="2273" y="247650"/>
                </a:lnTo>
                <a:lnTo>
                  <a:pt x="1333" y="248920"/>
                </a:lnTo>
                <a:lnTo>
                  <a:pt x="2730" y="252730"/>
                </a:lnTo>
                <a:lnTo>
                  <a:pt x="2019" y="254000"/>
                </a:lnTo>
                <a:lnTo>
                  <a:pt x="2578" y="256540"/>
                </a:lnTo>
                <a:lnTo>
                  <a:pt x="1549" y="256540"/>
                </a:lnTo>
                <a:lnTo>
                  <a:pt x="2362" y="257810"/>
                </a:lnTo>
                <a:lnTo>
                  <a:pt x="3263" y="257810"/>
                </a:lnTo>
                <a:lnTo>
                  <a:pt x="3365" y="259080"/>
                </a:lnTo>
                <a:lnTo>
                  <a:pt x="2438" y="259080"/>
                </a:lnTo>
                <a:lnTo>
                  <a:pt x="2997" y="262890"/>
                </a:lnTo>
                <a:lnTo>
                  <a:pt x="0" y="264160"/>
                </a:lnTo>
                <a:lnTo>
                  <a:pt x="88" y="265430"/>
                </a:lnTo>
                <a:lnTo>
                  <a:pt x="1028" y="265430"/>
                </a:lnTo>
                <a:lnTo>
                  <a:pt x="1587" y="266700"/>
                </a:lnTo>
                <a:lnTo>
                  <a:pt x="2565" y="265430"/>
                </a:lnTo>
                <a:lnTo>
                  <a:pt x="2870" y="265430"/>
                </a:lnTo>
                <a:lnTo>
                  <a:pt x="3213" y="266700"/>
                </a:lnTo>
                <a:lnTo>
                  <a:pt x="1587" y="266700"/>
                </a:lnTo>
                <a:lnTo>
                  <a:pt x="1295" y="266700"/>
                </a:lnTo>
                <a:lnTo>
                  <a:pt x="2667" y="269240"/>
                </a:lnTo>
                <a:lnTo>
                  <a:pt x="2006"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54" y="283210"/>
                </a:lnTo>
                <a:lnTo>
                  <a:pt x="1168" y="287020"/>
                </a:lnTo>
                <a:lnTo>
                  <a:pt x="1638" y="288290"/>
                </a:lnTo>
                <a:lnTo>
                  <a:pt x="3263" y="289560"/>
                </a:lnTo>
                <a:lnTo>
                  <a:pt x="3505" y="290830"/>
                </a:lnTo>
                <a:lnTo>
                  <a:pt x="2095" y="292100"/>
                </a:lnTo>
                <a:lnTo>
                  <a:pt x="3175" y="293370"/>
                </a:lnTo>
                <a:lnTo>
                  <a:pt x="2095" y="295910"/>
                </a:lnTo>
                <a:lnTo>
                  <a:pt x="2222" y="297180"/>
                </a:lnTo>
                <a:lnTo>
                  <a:pt x="3327" y="300990"/>
                </a:lnTo>
                <a:lnTo>
                  <a:pt x="4152" y="306070"/>
                </a:lnTo>
                <a:lnTo>
                  <a:pt x="3987" y="309880"/>
                </a:lnTo>
                <a:lnTo>
                  <a:pt x="4559" y="312420"/>
                </a:lnTo>
                <a:lnTo>
                  <a:pt x="5245" y="314960"/>
                </a:lnTo>
                <a:lnTo>
                  <a:pt x="5130" y="318770"/>
                </a:lnTo>
                <a:lnTo>
                  <a:pt x="6629" y="321310"/>
                </a:lnTo>
                <a:lnTo>
                  <a:pt x="6667" y="322580"/>
                </a:lnTo>
                <a:lnTo>
                  <a:pt x="6540" y="325120"/>
                </a:lnTo>
                <a:lnTo>
                  <a:pt x="6477" y="328930"/>
                </a:lnTo>
                <a:lnTo>
                  <a:pt x="7239" y="330200"/>
                </a:lnTo>
                <a:lnTo>
                  <a:pt x="6781" y="331470"/>
                </a:lnTo>
                <a:lnTo>
                  <a:pt x="7010" y="332740"/>
                </a:lnTo>
                <a:lnTo>
                  <a:pt x="7823" y="334010"/>
                </a:lnTo>
                <a:lnTo>
                  <a:pt x="10147" y="339090"/>
                </a:lnTo>
                <a:lnTo>
                  <a:pt x="10337" y="340360"/>
                </a:lnTo>
                <a:lnTo>
                  <a:pt x="9398" y="344170"/>
                </a:lnTo>
                <a:lnTo>
                  <a:pt x="9144" y="345440"/>
                </a:lnTo>
                <a:lnTo>
                  <a:pt x="8839" y="345440"/>
                </a:lnTo>
                <a:lnTo>
                  <a:pt x="8788" y="346710"/>
                </a:lnTo>
                <a:lnTo>
                  <a:pt x="9563" y="347980"/>
                </a:lnTo>
                <a:lnTo>
                  <a:pt x="10236" y="347980"/>
                </a:lnTo>
                <a:lnTo>
                  <a:pt x="11747" y="346710"/>
                </a:lnTo>
                <a:lnTo>
                  <a:pt x="11747" y="347980"/>
                </a:lnTo>
                <a:lnTo>
                  <a:pt x="11404" y="350520"/>
                </a:lnTo>
                <a:lnTo>
                  <a:pt x="10960" y="351790"/>
                </a:lnTo>
                <a:lnTo>
                  <a:pt x="12712" y="354330"/>
                </a:lnTo>
                <a:lnTo>
                  <a:pt x="12941" y="355600"/>
                </a:lnTo>
                <a:lnTo>
                  <a:pt x="13449" y="356870"/>
                </a:lnTo>
                <a:lnTo>
                  <a:pt x="13639" y="358140"/>
                </a:lnTo>
                <a:lnTo>
                  <a:pt x="14986" y="358140"/>
                </a:lnTo>
                <a:lnTo>
                  <a:pt x="14986" y="359410"/>
                </a:lnTo>
                <a:lnTo>
                  <a:pt x="15760" y="360680"/>
                </a:lnTo>
                <a:lnTo>
                  <a:pt x="16802" y="361950"/>
                </a:lnTo>
                <a:lnTo>
                  <a:pt x="18415" y="363220"/>
                </a:lnTo>
                <a:lnTo>
                  <a:pt x="18897"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46" y="373380"/>
                </a:lnTo>
                <a:lnTo>
                  <a:pt x="25260" y="374650"/>
                </a:lnTo>
                <a:lnTo>
                  <a:pt x="27178" y="374650"/>
                </a:lnTo>
                <a:lnTo>
                  <a:pt x="28409" y="375920"/>
                </a:lnTo>
                <a:lnTo>
                  <a:pt x="29603" y="373380"/>
                </a:lnTo>
                <a:lnTo>
                  <a:pt x="29921" y="373380"/>
                </a:lnTo>
                <a:lnTo>
                  <a:pt x="30594" y="374650"/>
                </a:lnTo>
                <a:lnTo>
                  <a:pt x="30137" y="375920"/>
                </a:lnTo>
                <a:lnTo>
                  <a:pt x="31013" y="377190"/>
                </a:lnTo>
                <a:lnTo>
                  <a:pt x="33909" y="377190"/>
                </a:lnTo>
                <a:lnTo>
                  <a:pt x="34925" y="378460"/>
                </a:lnTo>
                <a:lnTo>
                  <a:pt x="35560" y="378460"/>
                </a:lnTo>
                <a:lnTo>
                  <a:pt x="36360" y="379730"/>
                </a:lnTo>
                <a:lnTo>
                  <a:pt x="40640" y="379730"/>
                </a:lnTo>
                <a:lnTo>
                  <a:pt x="40474" y="378460"/>
                </a:lnTo>
                <a:lnTo>
                  <a:pt x="41211" y="377266"/>
                </a:lnTo>
                <a:lnTo>
                  <a:pt x="42468" y="378460"/>
                </a:lnTo>
                <a:lnTo>
                  <a:pt x="45453" y="378460"/>
                </a:lnTo>
                <a:lnTo>
                  <a:pt x="45097" y="377190"/>
                </a:lnTo>
                <a:lnTo>
                  <a:pt x="46101" y="377190"/>
                </a:lnTo>
                <a:lnTo>
                  <a:pt x="46355" y="378460"/>
                </a:lnTo>
                <a:lnTo>
                  <a:pt x="46228" y="379730"/>
                </a:lnTo>
                <a:lnTo>
                  <a:pt x="48539" y="378460"/>
                </a:lnTo>
                <a:lnTo>
                  <a:pt x="49707" y="378460"/>
                </a:lnTo>
                <a:lnTo>
                  <a:pt x="51422" y="377190"/>
                </a:lnTo>
                <a:lnTo>
                  <a:pt x="55549" y="377190"/>
                </a:lnTo>
                <a:lnTo>
                  <a:pt x="56807" y="373380"/>
                </a:lnTo>
                <a:lnTo>
                  <a:pt x="59245" y="370840"/>
                </a:lnTo>
                <a:lnTo>
                  <a:pt x="61137" y="372110"/>
                </a:lnTo>
                <a:lnTo>
                  <a:pt x="61429" y="370840"/>
                </a:lnTo>
                <a:lnTo>
                  <a:pt x="62268" y="369570"/>
                </a:lnTo>
                <a:lnTo>
                  <a:pt x="62738"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92" y="356870"/>
                </a:lnTo>
                <a:lnTo>
                  <a:pt x="76200" y="355600"/>
                </a:lnTo>
                <a:lnTo>
                  <a:pt x="76492" y="355600"/>
                </a:lnTo>
                <a:lnTo>
                  <a:pt x="76987" y="354330"/>
                </a:lnTo>
                <a:lnTo>
                  <a:pt x="77635" y="353060"/>
                </a:lnTo>
                <a:lnTo>
                  <a:pt x="78943" y="350520"/>
                </a:lnTo>
                <a:lnTo>
                  <a:pt x="79908" y="349250"/>
                </a:lnTo>
                <a:lnTo>
                  <a:pt x="80302" y="346710"/>
                </a:lnTo>
                <a:lnTo>
                  <a:pt x="81153" y="346710"/>
                </a:lnTo>
                <a:lnTo>
                  <a:pt x="81457" y="347980"/>
                </a:lnTo>
                <a:lnTo>
                  <a:pt x="81978" y="346710"/>
                </a:lnTo>
                <a:lnTo>
                  <a:pt x="82511" y="345440"/>
                </a:lnTo>
                <a:lnTo>
                  <a:pt x="82791" y="344170"/>
                </a:lnTo>
                <a:lnTo>
                  <a:pt x="84340" y="345440"/>
                </a:lnTo>
                <a:lnTo>
                  <a:pt x="84378" y="344170"/>
                </a:lnTo>
                <a:lnTo>
                  <a:pt x="84467" y="341630"/>
                </a:lnTo>
                <a:lnTo>
                  <a:pt x="85026" y="339090"/>
                </a:lnTo>
                <a:lnTo>
                  <a:pt x="87172" y="339090"/>
                </a:lnTo>
                <a:lnTo>
                  <a:pt x="88506" y="335280"/>
                </a:lnTo>
                <a:lnTo>
                  <a:pt x="90208" y="335280"/>
                </a:lnTo>
                <a:lnTo>
                  <a:pt x="90208" y="332740"/>
                </a:lnTo>
                <a:lnTo>
                  <a:pt x="90881" y="331470"/>
                </a:lnTo>
                <a:lnTo>
                  <a:pt x="92748" y="328930"/>
                </a:lnTo>
                <a:lnTo>
                  <a:pt x="93395" y="327660"/>
                </a:lnTo>
                <a:lnTo>
                  <a:pt x="93624" y="327660"/>
                </a:lnTo>
                <a:lnTo>
                  <a:pt x="93662" y="326390"/>
                </a:lnTo>
                <a:lnTo>
                  <a:pt x="94259" y="326390"/>
                </a:lnTo>
                <a:lnTo>
                  <a:pt x="94818" y="325120"/>
                </a:lnTo>
                <a:lnTo>
                  <a:pt x="95338" y="323850"/>
                </a:lnTo>
                <a:lnTo>
                  <a:pt x="96253" y="322580"/>
                </a:lnTo>
                <a:lnTo>
                  <a:pt x="97015" y="322580"/>
                </a:lnTo>
                <a:lnTo>
                  <a:pt x="96761" y="321310"/>
                </a:lnTo>
                <a:lnTo>
                  <a:pt x="97116" y="320040"/>
                </a:lnTo>
                <a:lnTo>
                  <a:pt x="99250" y="317500"/>
                </a:lnTo>
                <a:lnTo>
                  <a:pt x="99796" y="316230"/>
                </a:lnTo>
                <a:lnTo>
                  <a:pt x="100342" y="314960"/>
                </a:lnTo>
                <a:lnTo>
                  <a:pt x="100876" y="313690"/>
                </a:lnTo>
                <a:lnTo>
                  <a:pt x="101003"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78" y="304800"/>
                </a:lnTo>
                <a:lnTo>
                  <a:pt x="107137" y="303530"/>
                </a:lnTo>
                <a:lnTo>
                  <a:pt x="107022" y="302260"/>
                </a:lnTo>
                <a:lnTo>
                  <a:pt x="107442"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52" y="294640"/>
                </a:lnTo>
                <a:lnTo>
                  <a:pt x="113004" y="294640"/>
                </a:lnTo>
                <a:lnTo>
                  <a:pt x="112864" y="293370"/>
                </a:lnTo>
                <a:lnTo>
                  <a:pt x="113169" y="293370"/>
                </a:lnTo>
                <a:lnTo>
                  <a:pt x="113093" y="292874"/>
                </a:lnTo>
                <a:lnTo>
                  <a:pt x="113030" y="290830"/>
                </a:lnTo>
                <a:lnTo>
                  <a:pt x="114160" y="290830"/>
                </a:lnTo>
                <a:lnTo>
                  <a:pt x="115874" y="289560"/>
                </a:lnTo>
                <a:lnTo>
                  <a:pt x="115392" y="289560"/>
                </a:lnTo>
                <a:lnTo>
                  <a:pt x="115062" y="288290"/>
                </a:lnTo>
                <a:lnTo>
                  <a:pt x="115023" y="287020"/>
                </a:lnTo>
                <a:lnTo>
                  <a:pt x="115201" y="287020"/>
                </a:lnTo>
                <a:lnTo>
                  <a:pt x="115379" y="288290"/>
                </a:lnTo>
                <a:lnTo>
                  <a:pt x="116357" y="288290"/>
                </a:lnTo>
                <a:lnTo>
                  <a:pt x="116217" y="287020"/>
                </a:lnTo>
                <a:lnTo>
                  <a:pt x="116916" y="287020"/>
                </a:lnTo>
                <a:lnTo>
                  <a:pt x="116547" y="285750"/>
                </a:lnTo>
                <a:lnTo>
                  <a:pt x="117906" y="285750"/>
                </a:lnTo>
                <a:lnTo>
                  <a:pt x="118681" y="284480"/>
                </a:lnTo>
                <a:lnTo>
                  <a:pt x="118198" y="284480"/>
                </a:lnTo>
                <a:lnTo>
                  <a:pt x="118148" y="284314"/>
                </a:lnTo>
                <a:lnTo>
                  <a:pt x="117754" y="283210"/>
                </a:lnTo>
                <a:lnTo>
                  <a:pt x="118313" y="283210"/>
                </a:lnTo>
                <a:lnTo>
                  <a:pt x="118148" y="284314"/>
                </a:lnTo>
                <a:lnTo>
                  <a:pt x="118948" y="283210"/>
                </a:lnTo>
                <a:lnTo>
                  <a:pt x="119100" y="283210"/>
                </a:lnTo>
                <a:lnTo>
                  <a:pt x="119075" y="281940"/>
                </a:lnTo>
                <a:lnTo>
                  <a:pt x="120611" y="281940"/>
                </a:lnTo>
                <a:lnTo>
                  <a:pt x="120980" y="280670"/>
                </a:lnTo>
                <a:lnTo>
                  <a:pt x="122161" y="280670"/>
                </a:lnTo>
                <a:lnTo>
                  <a:pt x="122021" y="279400"/>
                </a:lnTo>
                <a:lnTo>
                  <a:pt x="121475" y="278130"/>
                </a:lnTo>
                <a:lnTo>
                  <a:pt x="121831"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79" y="269240"/>
                </a:lnTo>
                <a:lnTo>
                  <a:pt x="126593" y="267970"/>
                </a:lnTo>
                <a:lnTo>
                  <a:pt x="126568" y="269240"/>
                </a:lnTo>
                <a:lnTo>
                  <a:pt x="127050" y="269240"/>
                </a:lnTo>
                <a:lnTo>
                  <a:pt x="126873" y="270510"/>
                </a:lnTo>
                <a:lnTo>
                  <a:pt x="127228" y="270510"/>
                </a:lnTo>
                <a:lnTo>
                  <a:pt x="127330" y="269240"/>
                </a:lnTo>
                <a:lnTo>
                  <a:pt x="127381" y="267970"/>
                </a:lnTo>
                <a:lnTo>
                  <a:pt x="128231" y="267970"/>
                </a:lnTo>
                <a:lnTo>
                  <a:pt x="128778"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61"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59" y="241300"/>
                </a:lnTo>
                <a:lnTo>
                  <a:pt x="144932" y="241300"/>
                </a:lnTo>
                <a:lnTo>
                  <a:pt x="145288" y="240030"/>
                </a:lnTo>
                <a:lnTo>
                  <a:pt x="146659" y="240030"/>
                </a:lnTo>
                <a:lnTo>
                  <a:pt x="146850" y="238760"/>
                </a:lnTo>
                <a:lnTo>
                  <a:pt x="146240" y="238760"/>
                </a:lnTo>
                <a:lnTo>
                  <a:pt x="146456" y="237490"/>
                </a:lnTo>
                <a:lnTo>
                  <a:pt x="146824" y="236220"/>
                </a:lnTo>
                <a:lnTo>
                  <a:pt x="147421" y="234950"/>
                </a:lnTo>
                <a:lnTo>
                  <a:pt x="149606" y="234950"/>
                </a:lnTo>
                <a:lnTo>
                  <a:pt x="149059" y="233680"/>
                </a:lnTo>
                <a:lnTo>
                  <a:pt x="149123" y="232410"/>
                </a:lnTo>
                <a:lnTo>
                  <a:pt x="150215" y="232410"/>
                </a:lnTo>
                <a:lnTo>
                  <a:pt x="152006" y="231140"/>
                </a:lnTo>
                <a:lnTo>
                  <a:pt x="152184" y="231140"/>
                </a:lnTo>
                <a:lnTo>
                  <a:pt x="151663" y="229870"/>
                </a:lnTo>
                <a:lnTo>
                  <a:pt x="151498" y="228600"/>
                </a:lnTo>
                <a:lnTo>
                  <a:pt x="152501" y="228600"/>
                </a:lnTo>
                <a:lnTo>
                  <a:pt x="153009" y="227330"/>
                </a:lnTo>
                <a:lnTo>
                  <a:pt x="154724" y="227330"/>
                </a:lnTo>
                <a:lnTo>
                  <a:pt x="154914" y="226060"/>
                </a:lnTo>
                <a:lnTo>
                  <a:pt x="154800" y="224790"/>
                </a:lnTo>
                <a:lnTo>
                  <a:pt x="155244" y="224790"/>
                </a:lnTo>
                <a:lnTo>
                  <a:pt x="155638" y="223520"/>
                </a:lnTo>
                <a:lnTo>
                  <a:pt x="156629" y="223520"/>
                </a:lnTo>
                <a:lnTo>
                  <a:pt x="156921" y="222250"/>
                </a:lnTo>
                <a:lnTo>
                  <a:pt x="157518" y="220980"/>
                </a:lnTo>
                <a:lnTo>
                  <a:pt x="158038" y="219710"/>
                </a:lnTo>
                <a:lnTo>
                  <a:pt x="158940" y="219710"/>
                </a:lnTo>
                <a:lnTo>
                  <a:pt x="160007" y="217170"/>
                </a:lnTo>
                <a:lnTo>
                  <a:pt x="160502" y="215900"/>
                </a:lnTo>
                <a:lnTo>
                  <a:pt x="161772" y="215900"/>
                </a:lnTo>
                <a:lnTo>
                  <a:pt x="162941" y="212090"/>
                </a:lnTo>
                <a:lnTo>
                  <a:pt x="164287" y="210820"/>
                </a:lnTo>
                <a:lnTo>
                  <a:pt x="165315" y="208280"/>
                </a:lnTo>
                <a:lnTo>
                  <a:pt x="167271" y="207010"/>
                </a:lnTo>
                <a:lnTo>
                  <a:pt x="166852" y="205740"/>
                </a:lnTo>
                <a:lnTo>
                  <a:pt x="167119" y="205740"/>
                </a:lnTo>
                <a:lnTo>
                  <a:pt x="167601" y="204470"/>
                </a:lnTo>
                <a:lnTo>
                  <a:pt x="169672" y="203200"/>
                </a:lnTo>
                <a:lnTo>
                  <a:pt x="170726" y="200660"/>
                </a:lnTo>
                <a:lnTo>
                  <a:pt x="171970" y="198120"/>
                </a:lnTo>
                <a:lnTo>
                  <a:pt x="172580" y="198120"/>
                </a:lnTo>
                <a:lnTo>
                  <a:pt x="173050" y="196850"/>
                </a:lnTo>
                <a:lnTo>
                  <a:pt x="172910" y="194310"/>
                </a:lnTo>
                <a:lnTo>
                  <a:pt x="173977" y="195580"/>
                </a:lnTo>
                <a:lnTo>
                  <a:pt x="175323" y="194310"/>
                </a:lnTo>
                <a:lnTo>
                  <a:pt x="176022" y="194310"/>
                </a:lnTo>
                <a:lnTo>
                  <a:pt x="175742" y="193040"/>
                </a:lnTo>
                <a:lnTo>
                  <a:pt x="177101" y="191770"/>
                </a:lnTo>
                <a:lnTo>
                  <a:pt x="176898" y="190500"/>
                </a:lnTo>
                <a:lnTo>
                  <a:pt x="179031" y="190500"/>
                </a:lnTo>
                <a:lnTo>
                  <a:pt x="179082" y="189230"/>
                </a:lnTo>
                <a:lnTo>
                  <a:pt x="179146" y="187960"/>
                </a:lnTo>
                <a:lnTo>
                  <a:pt x="180314" y="187960"/>
                </a:lnTo>
                <a:lnTo>
                  <a:pt x="180365" y="186690"/>
                </a:lnTo>
                <a:lnTo>
                  <a:pt x="180467" y="185420"/>
                </a:lnTo>
                <a:lnTo>
                  <a:pt x="180809" y="185420"/>
                </a:lnTo>
                <a:lnTo>
                  <a:pt x="181698" y="186690"/>
                </a:lnTo>
                <a:lnTo>
                  <a:pt x="181571" y="185420"/>
                </a:lnTo>
                <a:lnTo>
                  <a:pt x="181622" y="184150"/>
                </a:lnTo>
                <a:lnTo>
                  <a:pt x="182511" y="184150"/>
                </a:lnTo>
                <a:lnTo>
                  <a:pt x="182308" y="182880"/>
                </a:lnTo>
                <a:lnTo>
                  <a:pt x="183426" y="182880"/>
                </a:lnTo>
                <a:lnTo>
                  <a:pt x="183388" y="181610"/>
                </a:lnTo>
                <a:lnTo>
                  <a:pt x="184861" y="181610"/>
                </a:lnTo>
                <a:lnTo>
                  <a:pt x="184899" y="180340"/>
                </a:lnTo>
                <a:lnTo>
                  <a:pt x="185127" y="179070"/>
                </a:lnTo>
                <a:lnTo>
                  <a:pt x="186855" y="179070"/>
                </a:lnTo>
                <a:lnTo>
                  <a:pt x="186905" y="176530"/>
                </a:lnTo>
                <a:lnTo>
                  <a:pt x="187947" y="176530"/>
                </a:lnTo>
                <a:lnTo>
                  <a:pt x="188290" y="175260"/>
                </a:lnTo>
                <a:lnTo>
                  <a:pt x="188582" y="175260"/>
                </a:lnTo>
                <a:lnTo>
                  <a:pt x="189598" y="173990"/>
                </a:lnTo>
                <a:lnTo>
                  <a:pt x="189750" y="172720"/>
                </a:lnTo>
                <a:lnTo>
                  <a:pt x="191135" y="171450"/>
                </a:lnTo>
                <a:lnTo>
                  <a:pt x="190385" y="171450"/>
                </a:lnTo>
                <a:lnTo>
                  <a:pt x="190398" y="170180"/>
                </a:lnTo>
                <a:lnTo>
                  <a:pt x="192430" y="170180"/>
                </a:lnTo>
                <a:lnTo>
                  <a:pt x="193065" y="168910"/>
                </a:lnTo>
                <a:lnTo>
                  <a:pt x="193408" y="167640"/>
                </a:lnTo>
                <a:lnTo>
                  <a:pt x="194703" y="166370"/>
                </a:lnTo>
                <a:lnTo>
                  <a:pt x="193903" y="166370"/>
                </a:lnTo>
                <a:lnTo>
                  <a:pt x="194640" y="165100"/>
                </a:lnTo>
                <a:lnTo>
                  <a:pt x="194729" y="166370"/>
                </a:lnTo>
                <a:lnTo>
                  <a:pt x="195199" y="166370"/>
                </a:lnTo>
                <a:lnTo>
                  <a:pt x="196062" y="165100"/>
                </a:lnTo>
                <a:lnTo>
                  <a:pt x="195846" y="165100"/>
                </a:lnTo>
                <a:lnTo>
                  <a:pt x="196037" y="163830"/>
                </a:lnTo>
                <a:lnTo>
                  <a:pt x="196430" y="163830"/>
                </a:lnTo>
                <a:lnTo>
                  <a:pt x="196811" y="162560"/>
                </a:lnTo>
                <a:lnTo>
                  <a:pt x="197154" y="162560"/>
                </a:lnTo>
                <a:lnTo>
                  <a:pt x="197396" y="161290"/>
                </a:lnTo>
                <a:lnTo>
                  <a:pt x="198678" y="160020"/>
                </a:lnTo>
                <a:lnTo>
                  <a:pt x="199694" y="160020"/>
                </a:lnTo>
                <a:lnTo>
                  <a:pt x="199910" y="158750"/>
                </a:lnTo>
                <a:lnTo>
                  <a:pt x="200583" y="157480"/>
                </a:lnTo>
                <a:lnTo>
                  <a:pt x="201269" y="157480"/>
                </a:lnTo>
                <a:lnTo>
                  <a:pt x="201739" y="154940"/>
                </a:lnTo>
                <a:lnTo>
                  <a:pt x="203530" y="154940"/>
                </a:lnTo>
                <a:lnTo>
                  <a:pt x="203466" y="153670"/>
                </a:lnTo>
                <a:lnTo>
                  <a:pt x="204139" y="153670"/>
                </a:lnTo>
                <a:lnTo>
                  <a:pt x="204203" y="152400"/>
                </a:lnTo>
                <a:lnTo>
                  <a:pt x="205486" y="152400"/>
                </a:lnTo>
                <a:lnTo>
                  <a:pt x="204990"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69" y="139700"/>
                </a:lnTo>
                <a:lnTo>
                  <a:pt x="213258" y="139700"/>
                </a:lnTo>
                <a:lnTo>
                  <a:pt x="213779" y="138430"/>
                </a:lnTo>
                <a:lnTo>
                  <a:pt x="215798" y="138430"/>
                </a:lnTo>
                <a:lnTo>
                  <a:pt x="216154" y="137160"/>
                </a:lnTo>
                <a:lnTo>
                  <a:pt x="216662" y="135890"/>
                </a:lnTo>
                <a:lnTo>
                  <a:pt x="217093" y="134620"/>
                </a:lnTo>
                <a:lnTo>
                  <a:pt x="217665" y="133350"/>
                </a:lnTo>
                <a:lnTo>
                  <a:pt x="219760" y="133350"/>
                </a:lnTo>
                <a:lnTo>
                  <a:pt x="220319" y="132080"/>
                </a:lnTo>
                <a:lnTo>
                  <a:pt x="221767" y="129540"/>
                </a:lnTo>
                <a:lnTo>
                  <a:pt x="222148" y="128270"/>
                </a:lnTo>
                <a:lnTo>
                  <a:pt x="222872" y="128270"/>
                </a:lnTo>
                <a:lnTo>
                  <a:pt x="222885" y="127000"/>
                </a:lnTo>
                <a:lnTo>
                  <a:pt x="224688" y="127000"/>
                </a:lnTo>
                <a:lnTo>
                  <a:pt x="224828" y="125730"/>
                </a:lnTo>
                <a:lnTo>
                  <a:pt x="225044" y="125730"/>
                </a:lnTo>
                <a:lnTo>
                  <a:pt x="225348" y="124460"/>
                </a:lnTo>
                <a:lnTo>
                  <a:pt x="225590" y="124460"/>
                </a:lnTo>
                <a:lnTo>
                  <a:pt x="226504" y="123190"/>
                </a:lnTo>
                <a:lnTo>
                  <a:pt x="227863" y="121920"/>
                </a:lnTo>
                <a:lnTo>
                  <a:pt x="228409" y="120650"/>
                </a:lnTo>
                <a:lnTo>
                  <a:pt x="229577" y="120650"/>
                </a:lnTo>
                <a:lnTo>
                  <a:pt x="229793" y="119380"/>
                </a:lnTo>
                <a:lnTo>
                  <a:pt x="230174" y="118110"/>
                </a:lnTo>
                <a:lnTo>
                  <a:pt x="230809" y="118110"/>
                </a:lnTo>
                <a:lnTo>
                  <a:pt x="231063" y="116840"/>
                </a:lnTo>
                <a:lnTo>
                  <a:pt x="231597"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31" y="102870"/>
                </a:lnTo>
                <a:lnTo>
                  <a:pt x="241122" y="101600"/>
                </a:lnTo>
                <a:lnTo>
                  <a:pt x="241858" y="104140"/>
                </a:lnTo>
                <a:lnTo>
                  <a:pt x="242824"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07" y="91440"/>
                </a:lnTo>
                <a:lnTo>
                  <a:pt x="253085" y="90170"/>
                </a:lnTo>
                <a:lnTo>
                  <a:pt x="254050" y="88900"/>
                </a:lnTo>
                <a:lnTo>
                  <a:pt x="254901" y="87630"/>
                </a:lnTo>
                <a:lnTo>
                  <a:pt x="255524" y="88900"/>
                </a:lnTo>
                <a:lnTo>
                  <a:pt x="255625" y="87630"/>
                </a:lnTo>
                <a:lnTo>
                  <a:pt x="255854" y="86360"/>
                </a:lnTo>
                <a:lnTo>
                  <a:pt x="256616" y="86360"/>
                </a:lnTo>
                <a:lnTo>
                  <a:pt x="257670" y="85090"/>
                </a:lnTo>
                <a:lnTo>
                  <a:pt x="258343" y="85090"/>
                </a:lnTo>
                <a:lnTo>
                  <a:pt x="258445" y="83820"/>
                </a:lnTo>
                <a:lnTo>
                  <a:pt x="260108" y="83820"/>
                </a:lnTo>
                <a:lnTo>
                  <a:pt x="260286" y="82550"/>
                </a:lnTo>
                <a:lnTo>
                  <a:pt x="261264" y="81280"/>
                </a:lnTo>
                <a:lnTo>
                  <a:pt x="261327" y="80010"/>
                </a:lnTo>
                <a:lnTo>
                  <a:pt x="263588" y="78740"/>
                </a:lnTo>
                <a:lnTo>
                  <a:pt x="263817" y="78740"/>
                </a:lnTo>
                <a:lnTo>
                  <a:pt x="263652" y="77470"/>
                </a:lnTo>
                <a:lnTo>
                  <a:pt x="264972" y="77470"/>
                </a:lnTo>
                <a:lnTo>
                  <a:pt x="265341" y="76200"/>
                </a:lnTo>
                <a:lnTo>
                  <a:pt x="265480" y="76200"/>
                </a:lnTo>
                <a:lnTo>
                  <a:pt x="266014" y="74930"/>
                </a:lnTo>
                <a:lnTo>
                  <a:pt x="268185" y="74930"/>
                </a:lnTo>
                <a:lnTo>
                  <a:pt x="267639" y="73660"/>
                </a:lnTo>
                <a:lnTo>
                  <a:pt x="268173" y="72390"/>
                </a:lnTo>
                <a:lnTo>
                  <a:pt x="270167" y="72390"/>
                </a:lnTo>
                <a:lnTo>
                  <a:pt x="271322" y="69850"/>
                </a:lnTo>
                <a:lnTo>
                  <a:pt x="273329" y="68580"/>
                </a:lnTo>
                <a:lnTo>
                  <a:pt x="274980" y="66040"/>
                </a:lnTo>
                <a:lnTo>
                  <a:pt x="275475" y="66040"/>
                </a:lnTo>
                <a:lnTo>
                  <a:pt x="276250" y="64770"/>
                </a:lnTo>
                <a:lnTo>
                  <a:pt x="276529" y="64770"/>
                </a:lnTo>
                <a:lnTo>
                  <a:pt x="276402" y="63500"/>
                </a:lnTo>
                <a:lnTo>
                  <a:pt x="277139" y="63500"/>
                </a:lnTo>
                <a:lnTo>
                  <a:pt x="277329" y="62230"/>
                </a:lnTo>
                <a:lnTo>
                  <a:pt x="278688" y="62230"/>
                </a:lnTo>
                <a:lnTo>
                  <a:pt x="279260" y="60960"/>
                </a:lnTo>
                <a:lnTo>
                  <a:pt x="280606" y="58420"/>
                </a:lnTo>
                <a:lnTo>
                  <a:pt x="282359" y="59690"/>
                </a:lnTo>
                <a:lnTo>
                  <a:pt x="282587" y="58420"/>
                </a:lnTo>
                <a:lnTo>
                  <a:pt x="283679" y="55880"/>
                </a:lnTo>
                <a:lnTo>
                  <a:pt x="283578" y="54610"/>
                </a:lnTo>
                <a:lnTo>
                  <a:pt x="285318" y="54610"/>
                </a:lnTo>
                <a:lnTo>
                  <a:pt x="285902" y="53340"/>
                </a:lnTo>
                <a:lnTo>
                  <a:pt x="287540" y="53340"/>
                </a:lnTo>
                <a:lnTo>
                  <a:pt x="287388" y="52070"/>
                </a:lnTo>
                <a:lnTo>
                  <a:pt x="287782" y="50800"/>
                </a:lnTo>
                <a:lnTo>
                  <a:pt x="288607" y="50800"/>
                </a:lnTo>
                <a:lnTo>
                  <a:pt x="289826" y="49530"/>
                </a:lnTo>
                <a:lnTo>
                  <a:pt x="288912" y="52070"/>
                </a:lnTo>
                <a:lnTo>
                  <a:pt x="290220" y="49530"/>
                </a:lnTo>
                <a:lnTo>
                  <a:pt x="292862" y="45720"/>
                </a:lnTo>
                <a:lnTo>
                  <a:pt x="293446" y="44450"/>
                </a:lnTo>
                <a:lnTo>
                  <a:pt x="293636" y="45720"/>
                </a:lnTo>
                <a:lnTo>
                  <a:pt x="294462" y="45720"/>
                </a:lnTo>
                <a:lnTo>
                  <a:pt x="294462" y="44450"/>
                </a:lnTo>
                <a:lnTo>
                  <a:pt x="294741" y="44450"/>
                </a:lnTo>
                <a:lnTo>
                  <a:pt x="295859" y="43180"/>
                </a:lnTo>
                <a:lnTo>
                  <a:pt x="296062" y="43180"/>
                </a:lnTo>
                <a:lnTo>
                  <a:pt x="295046" y="41910"/>
                </a:lnTo>
                <a:lnTo>
                  <a:pt x="297916" y="41910"/>
                </a:lnTo>
                <a:lnTo>
                  <a:pt x="297484" y="40640"/>
                </a:lnTo>
                <a:lnTo>
                  <a:pt x="296481" y="40640"/>
                </a:lnTo>
                <a:lnTo>
                  <a:pt x="297307" y="39370"/>
                </a:lnTo>
                <a:lnTo>
                  <a:pt x="297434"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21" y="27940"/>
                </a:lnTo>
                <a:lnTo>
                  <a:pt x="317385" y="22860"/>
                </a:lnTo>
                <a:lnTo>
                  <a:pt x="318757" y="22860"/>
                </a:lnTo>
                <a:lnTo>
                  <a:pt x="317474" y="21590"/>
                </a:lnTo>
                <a:lnTo>
                  <a:pt x="318731" y="21590"/>
                </a:lnTo>
                <a:lnTo>
                  <a:pt x="319163" y="22860"/>
                </a:lnTo>
                <a:lnTo>
                  <a:pt x="319671" y="21590"/>
                </a:lnTo>
                <a:lnTo>
                  <a:pt x="320179" y="20320"/>
                </a:lnTo>
                <a:lnTo>
                  <a:pt x="321970" y="19050"/>
                </a:lnTo>
                <a:lnTo>
                  <a:pt x="324866" y="17780"/>
                </a:lnTo>
                <a:lnTo>
                  <a:pt x="325742" y="17780"/>
                </a:lnTo>
                <a:lnTo>
                  <a:pt x="326644" y="16510"/>
                </a:lnTo>
                <a:lnTo>
                  <a:pt x="327545" y="15240"/>
                </a:lnTo>
                <a:lnTo>
                  <a:pt x="328422" y="15240"/>
                </a:lnTo>
                <a:lnTo>
                  <a:pt x="329704" y="13970"/>
                </a:lnTo>
                <a:lnTo>
                  <a:pt x="328244" y="13970"/>
                </a:lnTo>
                <a:lnTo>
                  <a:pt x="327850" y="14020"/>
                </a:lnTo>
                <a:lnTo>
                  <a:pt x="327507" y="14173"/>
                </a:lnTo>
                <a:lnTo>
                  <a:pt x="327660" y="14274"/>
                </a:lnTo>
                <a:lnTo>
                  <a:pt x="326110" y="15240"/>
                </a:lnTo>
                <a:lnTo>
                  <a:pt x="326326" y="13970"/>
                </a:lnTo>
                <a:lnTo>
                  <a:pt x="327469" y="13970"/>
                </a:lnTo>
                <a:lnTo>
                  <a:pt x="327964" y="12700"/>
                </a:lnTo>
                <a:lnTo>
                  <a:pt x="329996" y="12700"/>
                </a:lnTo>
                <a:lnTo>
                  <a:pt x="330377" y="13970"/>
                </a:lnTo>
                <a:lnTo>
                  <a:pt x="331533" y="12700"/>
                </a:lnTo>
                <a:lnTo>
                  <a:pt x="330441" y="12700"/>
                </a:lnTo>
                <a:lnTo>
                  <a:pt x="330339" y="12306"/>
                </a:lnTo>
                <a:lnTo>
                  <a:pt x="332041" y="11785"/>
                </a:lnTo>
                <a:lnTo>
                  <a:pt x="332587" y="9982"/>
                </a:lnTo>
                <a:lnTo>
                  <a:pt x="332994" y="9690"/>
                </a:lnTo>
                <a:lnTo>
                  <a:pt x="333375" y="9918"/>
                </a:lnTo>
                <a:close/>
              </a:path>
            </a:pathLst>
          </a:custGeom>
          <a:solidFill>
            <a:srgbClr val="D02929"/>
          </a:solidFill>
        </p:spPr>
        <p:txBody>
          <a:bodyPr wrap="square" lIns="0" tIns="0" rIns="0" bIns="0" rtlCol="0"/>
          <a:lstStyle/>
          <a:p>
            <a:endParaRPr/>
          </a:p>
        </p:txBody>
      </p:sp>
      <p:sp>
        <p:nvSpPr>
          <p:cNvPr id="48" name="object 48"/>
          <p:cNvSpPr/>
          <p:nvPr/>
        </p:nvSpPr>
        <p:spPr>
          <a:xfrm>
            <a:off x="9317114" y="6693445"/>
            <a:ext cx="333375" cy="379730"/>
          </a:xfrm>
          <a:custGeom>
            <a:avLst/>
            <a:gdLst/>
            <a:ahLst/>
            <a:cxnLst/>
            <a:rect l="l" t="t" r="r" b="b"/>
            <a:pathLst>
              <a:path w="333375" h="379729">
                <a:moveTo>
                  <a:pt x="4483" y="313664"/>
                </a:moveTo>
                <a:lnTo>
                  <a:pt x="4279" y="313880"/>
                </a:lnTo>
                <a:lnTo>
                  <a:pt x="3873" y="314337"/>
                </a:lnTo>
                <a:lnTo>
                  <a:pt x="4000" y="314579"/>
                </a:lnTo>
                <a:lnTo>
                  <a:pt x="4368" y="314566"/>
                </a:lnTo>
                <a:lnTo>
                  <a:pt x="4445" y="314147"/>
                </a:lnTo>
                <a:lnTo>
                  <a:pt x="4483" y="313664"/>
                </a:lnTo>
                <a:close/>
              </a:path>
              <a:path w="333375" h="379729">
                <a:moveTo>
                  <a:pt x="9690" y="230314"/>
                </a:moveTo>
                <a:lnTo>
                  <a:pt x="9652" y="230124"/>
                </a:lnTo>
                <a:lnTo>
                  <a:pt x="9436" y="229933"/>
                </a:lnTo>
                <a:lnTo>
                  <a:pt x="9296" y="230022"/>
                </a:lnTo>
                <a:lnTo>
                  <a:pt x="9245" y="230200"/>
                </a:lnTo>
                <a:lnTo>
                  <a:pt x="9296" y="230327"/>
                </a:lnTo>
                <a:lnTo>
                  <a:pt x="9321" y="230505"/>
                </a:lnTo>
                <a:lnTo>
                  <a:pt x="9550" y="230746"/>
                </a:lnTo>
                <a:lnTo>
                  <a:pt x="9690" y="230670"/>
                </a:lnTo>
                <a:lnTo>
                  <a:pt x="9690" y="230454"/>
                </a:lnTo>
                <a:lnTo>
                  <a:pt x="9690" y="230314"/>
                </a:lnTo>
                <a:close/>
              </a:path>
              <a:path w="333375" h="379729">
                <a:moveTo>
                  <a:pt x="23914" y="371017"/>
                </a:moveTo>
                <a:lnTo>
                  <a:pt x="23812" y="370624"/>
                </a:lnTo>
                <a:lnTo>
                  <a:pt x="23685" y="370700"/>
                </a:lnTo>
                <a:lnTo>
                  <a:pt x="23761" y="371106"/>
                </a:lnTo>
                <a:lnTo>
                  <a:pt x="23914" y="371017"/>
                </a:lnTo>
                <a:close/>
              </a:path>
              <a:path w="333375" h="379729">
                <a:moveTo>
                  <a:pt x="38735" y="223291"/>
                </a:moveTo>
                <a:lnTo>
                  <a:pt x="38684" y="222961"/>
                </a:lnTo>
                <a:lnTo>
                  <a:pt x="38544" y="222885"/>
                </a:lnTo>
                <a:lnTo>
                  <a:pt x="38328" y="223062"/>
                </a:lnTo>
                <a:lnTo>
                  <a:pt x="38227" y="223266"/>
                </a:lnTo>
                <a:lnTo>
                  <a:pt x="38138" y="223685"/>
                </a:lnTo>
                <a:lnTo>
                  <a:pt x="38290" y="223951"/>
                </a:lnTo>
                <a:lnTo>
                  <a:pt x="38544" y="223774"/>
                </a:lnTo>
                <a:lnTo>
                  <a:pt x="38633" y="223469"/>
                </a:lnTo>
                <a:lnTo>
                  <a:pt x="38735" y="223291"/>
                </a:lnTo>
                <a:close/>
              </a:path>
              <a:path w="333375" h="379729">
                <a:moveTo>
                  <a:pt x="41986" y="222084"/>
                </a:moveTo>
                <a:lnTo>
                  <a:pt x="41884" y="221488"/>
                </a:lnTo>
                <a:lnTo>
                  <a:pt x="41783" y="221310"/>
                </a:lnTo>
                <a:lnTo>
                  <a:pt x="41567" y="220954"/>
                </a:lnTo>
                <a:lnTo>
                  <a:pt x="41427" y="220992"/>
                </a:lnTo>
                <a:lnTo>
                  <a:pt x="41122" y="222237"/>
                </a:lnTo>
                <a:lnTo>
                  <a:pt x="40805" y="223139"/>
                </a:lnTo>
                <a:lnTo>
                  <a:pt x="40322" y="224180"/>
                </a:lnTo>
                <a:lnTo>
                  <a:pt x="40297" y="224370"/>
                </a:lnTo>
                <a:lnTo>
                  <a:pt x="40500" y="224434"/>
                </a:lnTo>
                <a:lnTo>
                  <a:pt x="40741" y="224459"/>
                </a:lnTo>
                <a:lnTo>
                  <a:pt x="41986" y="222084"/>
                </a:lnTo>
                <a:close/>
              </a:path>
              <a:path w="333375" h="379729">
                <a:moveTo>
                  <a:pt x="44716" y="229870"/>
                </a:moveTo>
                <a:lnTo>
                  <a:pt x="43840" y="228600"/>
                </a:lnTo>
                <a:lnTo>
                  <a:pt x="42506" y="227330"/>
                </a:lnTo>
                <a:lnTo>
                  <a:pt x="41275" y="228600"/>
                </a:lnTo>
                <a:lnTo>
                  <a:pt x="40982" y="228600"/>
                </a:lnTo>
                <a:lnTo>
                  <a:pt x="40703" y="229870"/>
                </a:lnTo>
                <a:lnTo>
                  <a:pt x="40551" y="228600"/>
                </a:lnTo>
                <a:lnTo>
                  <a:pt x="40157" y="228600"/>
                </a:lnTo>
                <a:lnTo>
                  <a:pt x="40640" y="227330"/>
                </a:lnTo>
                <a:lnTo>
                  <a:pt x="40957" y="227330"/>
                </a:lnTo>
                <a:lnTo>
                  <a:pt x="40932" y="226060"/>
                </a:lnTo>
                <a:lnTo>
                  <a:pt x="41021" y="224790"/>
                </a:lnTo>
                <a:lnTo>
                  <a:pt x="39814" y="226060"/>
                </a:lnTo>
                <a:lnTo>
                  <a:pt x="39814" y="231140"/>
                </a:lnTo>
                <a:lnTo>
                  <a:pt x="39420" y="231140"/>
                </a:lnTo>
                <a:lnTo>
                  <a:pt x="39281" y="229870"/>
                </a:lnTo>
                <a:lnTo>
                  <a:pt x="39585"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80" y="220980"/>
                </a:lnTo>
                <a:lnTo>
                  <a:pt x="37325" y="219710"/>
                </a:lnTo>
                <a:lnTo>
                  <a:pt x="37592" y="219710"/>
                </a:lnTo>
                <a:lnTo>
                  <a:pt x="38163" y="220980"/>
                </a:lnTo>
                <a:lnTo>
                  <a:pt x="38849" y="220980"/>
                </a:lnTo>
                <a:lnTo>
                  <a:pt x="39776" y="222250"/>
                </a:lnTo>
                <a:lnTo>
                  <a:pt x="40271" y="222250"/>
                </a:lnTo>
                <a:lnTo>
                  <a:pt x="40944" y="220980"/>
                </a:lnTo>
                <a:lnTo>
                  <a:pt x="40208" y="220980"/>
                </a:lnTo>
                <a:lnTo>
                  <a:pt x="39700" y="219710"/>
                </a:lnTo>
                <a:lnTo>
                  <a:pt x="38163" y="219710"/>
                </a:lnTo>
                <a:lnTo>
                  <a:pt x="38265" y="218440"/>
                </a:lnTo>
                <a:lnTo>
                  <a:pt x="38633" y="217170"/>
                </a:lnTo>
                <a:lnTo>
                  <a:pt x="39001" y="215900"/>
                </a:lnTo>
                <a:lnTo>
                  <a:pt x="38735" y="214630"/>
                </a:lnTo>
                <a:lnTo>
                  <a:pt x="37223" y="214630"/>
                </a:lnTo>
                <a:lnTo>
                  <a:pt x="36715" y="213360"/>
                </a:lnTo>
                <a:lnTo>
                  <a:pt x="36309" y="212090"/>
                </a:lnTo>
                <a:lnTo>
                  <a:pt x="35458" y="213360"/>
                </a:lnTo>
                <a:lnTo>
                  <a:pt x="35242" y="213360"/>
                </a:lnTo>
                <a:lnTo>
                  <a:pt x="35407"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63" y="213360"/>
                </a:lnTo>
                <a:lnTo>
                  <a:pt x="33820" y="213360"/>
                </a:lnTo>
                <a:lnTo>
                  <a:pt x="33820" y="226060"/>
                </a:lnTo>
                <a:lnTo>
                  <a:pt x="33388" y="226060"/>
                </a:lnTo>
                <a:lnTo>
                  <a:pt x="33172" y="224790"/>
                </a:lnTo>
                <a:lnTo>
                  <a:pt x="31483" y="224790"/>
                </a:lnTo>
                <a:lnTo>
                  <a:pt x="31229" y="223520"/>
                </a:lnTo>
                <a:lnTo>
                  <a:pt x="32105" y="223520"/>
                </a:lnTo>
                <a:lnTo>
                  <a:pt x="32550" y="222250"/>
                </a:lnTo>
                <a:lnTo>
                  <a:pt x="32981" y="223520"/>
                </a:lnTo>
                <a:lnTo>
                  <a:pt x="33451" y="223520"/>
                </a:lnTo>
                <a:lnTo>
                  <a:pt x="33591" y="224790"/>
                </a:lnTo>
                <a:lnTo>
                  <a:pt x="33820" y="226060"/>
                </a:lnTo>
                <a:lnTo>
                  <a:pt x="33820" y="213360"/>
                </a:lnTo>
                <a:lnTo>
                  <a:pt x="32778" y="213360"/>
                </a:lnTo>
                <a:lnTo>
                  <a:pt x="32054" y="214630"/>
                </a:lnTo>
                <a:lnTo>
                  <a:pt x="30010" y="214630"/>
                </a:lnTo>
                <a:lnTo>
                  <a:pt x="29794" y="213360"/>
                </a:lnTo>
                <a:lnTo>
                  <a:pt x="29222" y="213360"/>
                </a:lnTo>
                <a:lnTo>
                  <a:pt x="28613" y="212090"/>
                </a:lnTo>
                <a:lnTo>
                  <a:pt x="27355" y="213360"/>
                </a:lnTo>
                <a:lnTo>
                  <a:pt x="27038" y="213360"/>
                </a:lnTo>
                <a:lnTo>
                  <a:pt x="27279" y="214630"/>
                </a:lnTo>
                <a:lnTo>
                  <a:pt x="27762" y="215900"/>
                </a:lnTo>
                <a:lnTo>
                  <a:pt x="27152" y="215900"/>
                </a:lnTo>
                <a:lnTo>
                  <a:pt x="27038" y="217170"/>
                </a:lnTo>
                <a:lnTo>
                  <a:pt x="26250" y="217170"/>
                </a:lnTo>
                <a:lnTo>
                  <a:pt x="26314" y="215900"/>
                </a:lnTo>
                <a:lnTo>
                  <a:pt x="26314" y="214630"/>
                </a:lnTo>
                <a:lnTo>
                  <a:pt x="25400" y="213360"/>
                </a:lnTo>
                <a:lnTo>
                  <a:pt x="24650" y="213360"/>
                </a:lnTo>
                <a:lnTo>
                  <a:pt x="24650" y="224790"/>
                </a:lnTo>
                <a:lnTo>
                  <a:pt x="24384" y="224790"/>
                </a:lnTo>
                <a:lnTo>
                  <a:pt x="24638" y="226060"/>
                </a:lnTo>
                <a:lnTo>
                  <a:pt x="23977" y="226060"/>
                </a:lnTo>
                <a:lnTo>
                  <a:pt x="24053" y="224790"/>
                </a:lnTo>
                <a:lnTo>
                  <a:pt x="22796" y="224790"/>
                </a:lnTo>
                <a:lnTo>
                  <a:pt x="22593" y="226060"/>
                </a:lnTo>
                <a:lnTo>
                  <a:pt x="21234" y="226060"/>
                </a:lnTo>
                <a:lnTo>
                  <a:pt x="20891" y="224790"/>
                </a:lnTo>
                <a:lnTo>
                  <a:pt x="20447" y="224790"/>
                </a:lnTo>
                <a:lnTo>
                  <a:pt x="20993" y="223520"/>
                </a:lnTo>
                <a:lnTo>
                  <a:pt x="22415" y="223520"/>
                </a:lnTo>
                <a:lnTo>
                  <a:pt x="23063" y="222250"/>
                </a:lnTo>
                <a:lnTo>
                  <a:pt x="23723" y="223520"/>
                </a:lnTo>
                <a:lnTo>
                  <a:pt x="24434" y="223520"/>
                </a:lnTo>
                <a:lnTo>
                  <a:pt x="24650" y="224790"/>
                </a:lnTo>
                <a:lnTo>
                  <a:pt x="24650" y="213360"/>
                </a:lnTo>
                <a:lnTo>
                  <a:pt x="23329" y="213360"/>
                </a:lnTo>
                <a:lnTo>
                  <a:pt x="21869" y="214630"/>
                </a:lnTo>
                <a:lnTo>
                  <a:pt x="20955" y="215900"/>
                </a:lnTo>
                <a:lnTo>
                  <a:pt x="19735" y="217170"/>
                </a:lnTo>
                <a:lnTo>
                  <a:pt x="19545" y="217170"/>
                </a:lnTo>
                <a:lnTo>
                  <a:pt x="17907" y="214630"/>
                </a:lnTo>
                <a:lnTo>
                  <a:pt x="16789" y="215900"/>
                </a:lnTo>
                <a:lnTo>
                  <a:pt x="16471" y="218440"/>
                </a:lnTo>
                <a:lnTo>
                  <a:pt x="16408" y="219710"/>
                </a:lnTo>
                <a:lnTo>
                  <a:pt x="13817" y="218440"/>
                </a:lnTo>
                <a:lnTo>
                  <a:pt x="13970" y="219710"/>
                </a:lnTo>
                <a:lnTo>
                  <a:pt x="14757" y="220980"/>
                </a:lnTo>
                <a:lnTo>
                  <a:pt x="15455" y="223520"/>
                </a:lnTo>
                <a:lnTo>
                  <a:pt x="15328" y="224790"/>
                </a:lnTo>
                <a:lnTo>
                  <a:pt x="14617" y="224790"/>
                </a:lnTo>
                <a:lnTo>
                  <a:pt x="14389"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50" y="232410"/>
                </a:lnTo>
                <a:lnTo>
                  <a:pt x="9144" y="233680"/>
                </a:lnTo>
                <a:lnTo>
                  <a:pt x="7480" y="234950"/>
                </a:lnTo>
                <a:lnTo>
                  <a:pt x="7683" y="236220"/>
                </a:lnTo>
                <a:lnTo>
                  <a:pt x="6769" y="237490"/>
                </a:lnTo>
                <a:lnTo>
                  <a:pt x="5194" y="237490"/>
                </a:lnTo>
                <a:lnTo>
                  <a:pt x="4686" y="238760"/>
                </a:lnTo>
                <a:lnTo>
                  <a:pt x="3937" y="241300"/>
                </a:lnTo>
                <a:lnTo>
                  <a:pt x="1701" y="243840"/>
                </a:lnTo>
                <a:lnTo>
                  <a:pt x="800" y="243840"/>
                </a:lnTo>
                <a:lnTo>
                  <a:pt x="1193" y="245110"/>
                </a:lnTo>
                <a:lnTo>
                  <a:pt x="4051" y="245110"/>
                </a:lnTo>
                <a:lnTo>
                  <a:pt x="44488" y="245110"/>
                </a:lnTo>
                <a:lnTo>
                  <a:pt x="44500" y="243840"/>
                </a:lnTo>
                <a:lnTo>
                  <a:pt x="43891" y="241300"/>
                </a:lnTo>
                <a:lnTo>
                  <a:pt x="43726" y="240030"/>
                </a:lnTo>
                <a:lnTo>
                  <a:pt x="42646" y="240030"/>
                </a:lnTo>
                <a:lnTo>
                  <a:pt x="43167" y="238760"/>
                </a:lnTo>
                <a:lnTo>
                  <a:pt x="43662" y="238760"/>
                </a:lnTo>
                <a:lnTo>
                  <a:pt x="44018" y="236220"/>
                </a:lnTo>
                <a:lnTo>
                  <a:pt x="44018" y="234950"/>
                </a:lnTo>
                <a:lnTo>
                  <a:pt x="44132" y="233680"/>
                </a:lnTo>
                <a:lnTo>
                  <a:pt x="44259" y="232410"/>
                </a:lnTo>
                <a:lnTo>
                  <a:pt x="43624" y="232410"/>
                </a:lnTo>
                <a:lnTo>
                  <a:pt x="41122" y="232410"/>
                </a:lnTo>
                <a:lnTo>
                  <a:pt x="41122" y="234950"/>
                </a:lnTo>
                <a:lnTo>
                  <a:pt x="40525" y="234950"/>
                </a:lnTo>
                <a:lnTo>
                  <a:pt x="40551" y="233680"/>
                </a:lnTo>
                <a:lnTo>
                  <a:pt x="41071" y="233680"/>
                </a:lnTo>
                <a:lnTo>
                  <a:pt x="41122" y="234950"/>
                </a:lnTo>
                <a:lnTo>
                  <a:pt x="41122" y="232410"/>
                </a:lnTo>
                <a:lnTo>
                  <a:pt x="40640" y="232410"/>
                </a:lnTo>
                <a:lnTo>
                  <a:pt x="40894" y="231140"/>
                </a:lnTo>
                <a:lnTo>
                  <a:pt x="41363" y="231140"/>
                </a:lnTo>
                <a:lnTo>
                  <a:pt x="42494" y="229870"/>
                </a:lnTo>
                <a:lnTo>
                  <a:pt x="43167" y="229870"/>
                </a:lnTo>
                <a:lnTo>
                  <a:pt x="43853" y="231140"/>
                </a:lnTo>
                <a:lnTo>
                  <a:pt x="43624" y="232410"/>
                </a:lnTo>
                <a:lnTo>
                  <a:pt x="44704" y="231140"/>
                </a:lnTo>
                <a:lnTo>
                  <a:pt x="44716" y="229870"/>
                </a:lnTo>
                <a:close/>
              </a:path>
              <a:path w="333375" h="379729">
                <a:moveTo>
                  <a:pt x="50495" y="279146"/>
                </a:moveTo>
                <a:lnTo>
                  <a:pt x="50355" y="278930"/>
                </a:lnTo>
                <a:lnTo>
                  <a:pt x="50139" y="278828"/>
                </a:lnTo>
                <a:lnTo>
                  <a:pt x="50139" y="279184"/>
                </a:lnTo>
                <a:lnTo>
                  <a:pt x="50342" y="279285"/>
                </a:lnTo>
                <a:lnTo>
                  <a:pt x="50482" y="279247"/>
                </a:lnTo>
                <a:close/>
              </a:path>
              <a:path w="333375" h="379729">
                <a:moveTo>
                  <a:pt x="52070" y="294398"/>
                </a:moveTo>
                <a:lnTo>
                  <a:pt x="51892" y="294500"/>
                </a:lnTo>
                <a:lnTo>
                  <a:pt x="51739" y="294614"/>
                </a:lnTo>
                <a:lnTo>
                  <a:pt x="51866" y="294551"/>
                </a:lnTo>
                <a:lnTo>
                  <a:pt x="52070" y="294398"/>
                </a:lnTo>
                <a:close/>
              </a:path>
              <a:path w="333375" h="379729">
                <a:moveTo>
                  <a:pt x="52870" y="294017"/>
                </a:moveTo>
                <a:lnTo>
                  <a:pt x="52781" y="294195"/>
                </a:lnTo>
                <a:lnTo>
                  <a:pt x="52870" y="294017"/>
                </a:lnTo>
                <a:close/>
              </a:path>
              <a:path w="333375" h="379729">
                <a:moveTo>
                  <a:pt x="52895" y="295757"/>
                </a:moveTo>
                <a:lnTo>
                  <a:pt x="52844" y="296506"/>
                </a:lnTo>
                <a:lnTo>
                  <a:pt x="52895" y="295948"/>
                </a:lnTo>
                <a:lnTo>
                  <a:pt x="52895" y="295757"/>
                </a:lnTo>
                <a:close/>
              </a:path>
              <a:path w="333375" h="379729">
                <a:moveTo>
                  <a:pt x="53060" y="294640"/>
                </a:moveTo>
                <a:lnTo>
                  <a:pt x="53035" y="295376"/>
                </a:lnTo>
                <a:lnTo>
                  <a:pt x="53060" y="294640"/>
                </a:lnTo>
                <a:close/>
              </a:path>
              <a:path w="333375" h="379729">
                <a:moveTo>
                  <a:pt x="53200" y="297180"/>
                </a:moveTo>
                <a:lnTo>
                  <a:pt x="53200" y="297459"/>
                </a:lnTo>
                <a:lnTo>
                  <a:pt x="53200" y="297180"/>
                </a:lnTo>
                <a:close/>
              </a:path>
              <a:path w="333375" h="379729">
                <a:moveTo>
                  <a:pt x="53251" y="296799"/>
                </a:moveTo>
                <a:lnTo>
                  <a:pt x="53200" y="295998"/>
                </a:lnTo>
                <a:lnTo>
                  <a:pt x="53174" y="295694"/>
                </a:lnTo>
                <a:lnTo>
                  <a:pt x="53136" y="295198"/>
                </a:lnTo>
                <a:lnTo>
                  <a:pt x="53174" y="295922"/>
                </a:lnTo>
                <a:lnTo>
                  <a:pt x="53200" y="296367"/>
                </a:lnTo>
                <a:lnTo>
                  <a:pt x="53225" y="296633"/>
                </a:lnTo>
                <a:lnTo>
                  <a:pt x="53251" y="296799"/>
                </a:lnTo>
                <a:close/>
              </a:path>
              <a:path w="333375" h="379729">
                <a:moveTo>
                  <a:pt x="53530" y="297700"/>
                </a:moveTo>
                <a:lnTo>
                  <a:pt x="53517" y="297180"/>
                </a:lnTo>
                <a:lnTo>
                  <a:pt x="53530" y="297700"/>
                </a:lnTo>
                <a:close/>
              </a:path>
              <a:path w="333375" h="379729">
                <a:moveTo>
                  <a:pt x="53606" y="295478"/>
                </a:moveTo>
                <a:lnTo>
                  <a:pt x="53581" y="295338"/>
                </a:lnTo>
                <a:lnTo>
                  <a:pt x="53467" y="295046"/>
                </a:lnTo>
                <a:lnTo>
                  <a:pt x="53555" y="295313"/>
                </a:lnTo>
                <a:lnTo>
                  <a:pt x="53606" y="295478"/>
                </a:lnTo>
                <a:close/>
              </a:path>
              <a:path w="333375" h="379729">
                <a:moveTo>
                  <a:pt x="53682" y="372084"/>
                </a:moveTo>
                <a:close/>
              </a:path>
              <a:path w="333375" h="379729">
                <a:moveTo>
                  <a:pt x="54051" y="294703"/>
                </a:moveTo>
                <a:close/>
              </a:path>
              <a:path w="333375" h="379729">
                <a:moveTo>
                  <a:pt x="54838" y="294868"/>
                </a:moveTo>
                <a:lnTo>
                  <a:pt x="54775" y="294640"/>
                </a:lnTo>
                <a:lnTo>
                  <a:pt x="54838" y="294868"/>
                </a:lnTo>
                <a:close/>
              </a:path>
              <a:path w="333375" h="379729">
                <a:moveTo>
                  <a:pt x="54952" y="294170"/>
                </a:moveTo>
                <a:lnTo>
                  <a:pt x="54825" y="294030"/>
                </a:lnTo>
                <a:lnTo>
                  <a:pt x="54914" y="294208"/>
                </a:lnTo>
                <a:close/>
              </a:path>
              <a:path w="333375" h="379729">
                <a:moveTo>
                  <a:pt x="55308" y="295465"/>
                </a:moveTo>
                <a:close/>
              </a:path>
              <a:path w="333375" h="379729">
                <a:moveTo>
                  <a:pt x="55880" y="292887"/>
                </a:moveTo>
                <a:lnTo>
                  <a:pt x="55346" y="292100"/>
                </a:lnTo>
                <a:lnTo>
                  <a:pt x="55880" y="292887"/>
                </a:lnTo>
                <a:close/>
              </a:path>
              <a:path w="333375" h="379729">
                <a:moveTo>
                  <a:pt x="56261" y="293370"/>
                </a:moveTo>
                <a:lnTo>
                  <a:pt x="55880" y="292887"/>
                </a:lnTo>
                <a:lnTo>
                  <a:pt x="56222" y="293370"/>
                </a:lnTo>
                <a:close/>
              </a:path>
              <a:path w="333375" h="379729">
                <a:moveTo>
                  <a:pt x="61607" y="280873"/>
                </a:moveTo>
                <a:lnTo>
                  <a:pt x="61252" y="280847"/>
                </a:lnTo>
                <a:lnTo>
                  <a:pt x="61226" y="280987"/>
                </a:lnTo>
                <a:lnTo>
                  <a:pt x="61150" y="281139"/>
                </a:lnTo>
                <a:lnTo>
                  <a:pt x="61239" y="281432"/>
                </a:lnTo>
                <a:lnTo>
                  <a:pt x="61391" y="281432"/>
                </a:lnTo>
                <a:lnTo>
                  <a:pt x="61493" y="281266"/>
                </a:lnTo>
                <a:lnTo>
                  <a:pt x="61569" y="281012"/>
                </a:lnTo>
                <a:lnTo>
                  <a:pt x="61607" y="280873"/>
                </a:lnTo>
                <a:close/>
              </a:path>
              <a:path w="333375" h="379729">
                <a:moveTo>
                  <a:pt x="70370" y="266623"/>
                </a:moveTo>
                <a:lnTo>
                  <a:pt x="70281" y="266458"/>
                </a:lnTo>
                <a:lnTo>
                  <a:pt x="70129" y="266357"/>
                </a:lnTo>
                <a:lnTo>
                  <a:pt x="69964" y="266319"/>
                </a:lnTo>
                <a:lnTo>
                  <a:pt x="69850" y="266484"/>
                </a:lnTo>
                <a:lnTo>
                  <a:pt x="69786" y="266687"/>
                </a:lnTo>
                <a:lnTo>
                  <a:pt x="70002" y="266979"/>
                </a:lnTo>
                <a:lnTo>
                  <a:pt x="70205" y="266890"/>
                </a:lnTo>
                <a:lnTo>
                  <a:pt x="70332" y="266687"/>
                </a:lnTo>
                <a:close/>
              </a:path>
              <a:path w="333375" h="379729">
                <a:moveTo>
                  <a:pt x="75044" y="260692"/>
                </a:moveTo>
                <a:lnTo>
                  <a:pt x="74930" y="260527"/>
                </a:lnTo>
                <a:lnTo>
                  <a:pt x="74752" y="260553"/>
                </a:lnTo>
                <a:lnTo>
                  <a:pt x="74625" y="260527"/>
                </a:lnTo>
                <a:lnTo>
                  <a:pt x="74599" y="260667"/>
                </a:lnTo>
                <a:lnTo>
                  <a:pt x="74523" y="260845"/>
                </a:lnTo>
                <a:lnTo>
                  <a:pt x="74625" y="261010"/>
                </a:lnTo>
                <a:lnTo>
                  <a:pt x="74815" y="260985"/>
                </a:lnTo>
                <a:lnTo>
                  <a:pt x="74942" y="261010"/>
                </a:lnTo>
                <a:lnTo>
                  <a:pt x="74968" y="260870"/>
                </a:lnTo>
                <a:lnTo>
                  <a:pt x="75044" y="260692"/>
                </a:lnTo>
                <a:close/>
              </a:path>
              <a:path w="333375" h="379729">
                <a:moveTo>
                  <a:pt x="87096" y="240080"/>
                </a:moveTo>
                <a:lnTo>
                  <a:pt x="87007" y="239941"/>
                </a:lnTo>
                <a:lnTo>
                  <a:pt x="86702" y="239979"/>
                </a:lnTo>
                <a:lnTo>
                  <a:pt x="86461" y="240169"/>
                </a:lnTo>
                <a:lnTo>
                  <a:pt x="86601" y="240436"/>
                </a:lnTo>
                <a:lnTo>
                  <a:pt x="86868" y="240563"/>
                </a:lnTo>
                <a:lnTo>
                  <a:pt x="87020" y="240449"/>
                </a:lnTo>
                <a:lnTo>
                  <a:pt x="87096" y="240080"/>
                </a:lnTo>
                <a:close/>
              </a:path>
              <a:path w="333375" h="379729">
                <a:moveTo>
                  <a:pt x="93243" y="229997"/>
                </a:moveTo>
                <a:lnTo>
                  <a:pt x="92964" y="229870"/>
                </a:lnTo>
                <a:lnTo>
                  <a:pt x="93205" y="230124"/>
                </a:lnTo>
                <a:lnTo>
                  <a:pt x="93243" y="229997"/>
                </a:lnTo>
                <a:close/>
              </a:path>
              <a:path w="333375" h="379729">
                <a:moveTo>
                  <a:pt x="102323" y="215861"/>
                </a:moveTo>
                <a:lnTo>
                  <a:pt x="102184" y="215633"/>
                </a:lnTo>
                <a:lnTo>
                  <a:pt x="101930" y="215468"/>
                </a:lnTo>
                <a:lnTo>
                  <a:pt x="101803" y="215734"/>
                </a:lnTo>
                <a:lnTo>
                  <a:pt x="101904" y="216001"/>
                </a:lnTo>
                <a:lnTo>
                  <a:pt x="102082" y="216052"/>
                </a:lnTo>
                <a:lnTo>
                  <a:pt x="102209" y="215925"/>
                </a:lnTo>
                <a:close/>
              </a:path>
              <a:path w="333375" h="379729">
                <a:moveTo>
                  <a:pt x="137236" y="255346"/>
                </a:moveTo>
                <a:lnTo>
                  <a:pt x="137198" y="254990"/>
                </a:lnTo>
                <a:lnTo>
                  <a:pt x="136969" y="254850"/>
                </a:lnTo>
                <a:lnTo>
                  <a:pt x="136779" y="254927"/>
                </a:lnTo>
                <a:lnTo>
                  <a:pt x="136652" y="255117"/>
                </a:lnTo>
                <a:lnTo>
                  <a:pt x="136550" y="255270"/>
                </a:lnTo>
                <a:lnTo>
                  <a:pt x="136639" y="255397"/>
                </a:lnTo>
                <a:lnTo>
                  <a:pt x="136969" y="255409"/>
                </a:lnTo>
                <a:lnTo>
                  <a:pt x="137109" y="255371"/>
                </a:lnTo>
                <a:lnTo>
                  <a:pt x="137236" y="255346"/>
                </a:lnTo>
                <a:close/>
              </a:path>
              <a:path w="333375" h="379729">
                <a:moveTo>
                  <a:pt x="139903" y="250431"/>
                </a:moveTo>
                <a:lnTo>
                  <a:pt x="139750" y="250342"/>
                </a:lnTo>
                <a:lnTo>
                  <a:pt x="139585" y="250444"/>
                </a:lnTo>
                <a:lnTo>
                  <a:pt x="139458" y="250634"/>
                </a:lnTo>
                <a:lnTo>
                  <a:pt x="139369" y="250786"/>
                </a:lnTo>
                <a:lnTo>
                  <a:pt x="139661" y="250850"/>
                </a:lnTo>
                <a:lnTo>
                  <a:pt x="139877" y="250748"/>
                </a:lnTo>
                <a:lnTo>
                  <a:pt x="139903" y="250431"/>
                </a:lnTo>
                <a:close/>
              </a:path>
              <a:path w="333375" h="379729">
                <a:moveTo>
                  <a:pt x="181305" y="109689"/>
                </a:moveTo>
                <a:lnTo>
                  <a:pt x="181254" y="109524"/>
                </a:lnTo>
                <a:lnTo>
                  <a:pt x="181076" y="109499"/>
                </a:lnTo>
                <a:lnTo>
                  <a:pt x="180936" y="109588"/>
                </a:lnTo>
                <a:lnTo>
                  <a:pt x="180886" y="109728"/>
                </a:lnTo>
                <a:lnTo>
                  <a:pt x="180898" y="110058"/>
                </a:lnTo>
                <a:lnTo>
                  <a:pt x="181152" y="109956"/>
                </a:lnTo>
                <a:lnTo>
                  <a:pt x="181305" y="109689"/>
                </a:lnTo>
                <a:close/>
              </a:path>
              <a:path w="333375" h="379729">
                <a:moveTo>
                  <a:pt x="223012" y="128549"/>
                </a:moveTo>
                <a:close/>
              </a:path>
              <a:path w="333375" h="379729">
                <a:moveTo>
                  <a:pt x="223659" y="128219"/>
                </a:moveTo>
                <a:lnTo>
                  <a:pt x="223456" y="128422"/>
                </a:lnTo>
                <a:lnTo>
                  <a:pt x="223227" y="128460"/>
                </a:lnTo>
                <a:lnTo>
                  <a:pt x="223012" y="128549"/>
                </a:lnTo>
                <a:lnTo>
                  <a:pt x="223342" y="129197"/>
                </a:lnTo>
                <a:lnTo>
                  <a:pt x="223481" y="128600"/>
                </a:lnTo>
                <a:lnTo>
                  <a:pt x="223659" y="128219"/>
                </a:lnTo>
                <a:close/>
              </a:path>
              <a:path w="333375" h="379729">
                <a:moveTo>
                  <a:pt x="223812" y="128003"/>
                </a:moveTo>
                <a:lnTo>
                  <a:pt x="223697" y="128130"/>
                </a:lnTo>
                <a:lnTo>
                  <a:pt x="223812" y="128003"/>
                </a:lnTo>
                <a:close/>
              </a:path>
              <a:path w="333375" h="379729">
                <a:moveTo>
                  <a:pt x="317665" y="1676"/>
                </a:moveTo>
                <a:lnTo>
                  <a:pt x="317588" y="1460"/>
                </a:lnTo>
                <a:lnTo>
                  <a:pt x="317449" y="1371"/>
                </a:lnTo>
                <a:lnTo>
                  <a:pt x="317284" y="1549"/>
                </a:lnTo>
                <a:lnTo>
                  <a:pt x="317360" y="1778"/>
                </a:lnTo>
                <a:lnTo>
                  <a:pt x="317500" y="1854"/>
                </a:lnTo>
                <a:lnTo>
                  <a:pt x="317665" y="1676"/>
                </a:lnTo>
                <a:close/>
              </a:path>
              <a:path w="333375" h="379729">
                <a:moveTo>
                  <a:pt x="328155" y="3276"/>
                </a:moveTo>
                <a:lnTo>
                  <a:pt x="328104" y="3124"/>
                </a:lnTo>
                <a:lnTo>
                  <a:pt x="327901" y="3009"/>
                </a:lnTo>
                <a:lnTo>
                  <a:pt x="327799" y="3213"/>
                </a:lnTo>
                <a:lnTo>
                  <a:pt x="327863" y="3365"/>
                </a:lnTo>
                <a:lnTo>
                  <a:pt x="328053" y="3467"/>
                </a:lnTo>
                <a:lnTo>
                  <a:pt x="328155" y="3276"/>
                </a:lnTo>
                <a:close/>
              </a:path>
              <a:path w="333375" h="379729">
                <a:moveTo>
                  <a:pt x="333375" y="9931"/>
                </a:moveTo>
                <a:lnTo>
                  <a:pt x="333324" y="9334"/>
                </a:lnTo>
                <a:lnTo>
                  <a:pt x="333133" y="9182"/>
                </a:lnTo>
                <a:lnTo>
                  <a:pt x="332828" y="9245"/>
                </a:lnTo>
                <a:lnTo>
                  <a:pt x="332308" y="9334"/>
                </a:lnTo>
                <a:lnTo>
                  <a:pt x="331724" y="9601"/>
                </a:lnTo>
                <a:lnTo>
                  <a:pt x="331800" y="10464"/>
                </a:lnTo>
                <a:lnTo>
                  <a:pt x="331558" y="10629"/>
                </a:lnTo>
                <a:lnTo>
                  <a:pt x="330161" y="10896"/>
                </a:lnTo>
                <a:lnTo>
                  <a:pt x="329793" y="11163"/>
                </a:lnTo>
                <a:lnTo>
                  <a:pt x="329692" y="11430"/>
                </a:lnTo>
                <a:lnTo>
                  <a:pt x="328396" y="11430"/>
                </a:lnTo>
                <a:lnTo>
                  <a:pt x="328955" y="10160"/>
                </a:lnTo>
                <a:lnTo>
                  <a:pt x="326402" y="10160"/>
                </a:lnTo>
                <a:lnTo>
                  <a:pt x="327406" y="8890"/>
                </a:lnTo>
                <a:lnTo>
                  <a:pt x="328993" y="7708"/>
                </a:lnTo>
                <a:lnTo>
                  <a:pt x="329234" y="8039"/>
                </a:lnTo>
                <a:lnTo>
                  <a:pt x="329336" y="8318"/>
                </a:lnTo>
                <a:lnTo>
                  <a:pt x="330060" y="7835"/>
                </a:lnTo>
                <a:lnTo>
                  <a:pt x="329971" y="7632"/>
                </a:lnTo>
                <a:lnTo>
                  <a:pt x="329692" y="7340"/>
                </a:lnTo>
                <a:lnTo>
                  <a:pt x="329501" y="7251"/>
                </a:lnTo>
                <a:lnTo>
                  <a:pt x="329171" y="7340"/>
                </a:lnTo>
                <a:lnTo>
                  <a:pt x="328968" y="7493"/>
                </a:lnTo>
                <a:lnTo>
                  <a:pt x="327774" y="6350"/>
                </a:lnTo>
                <a:lnTo>
                  <a:pt x="328993" y="6350"/>
                </a:lnTo>
                <a:lnTo>
                  <a:pt x="328523" y="5080"/>
                </a:lnTo>
                <a:lnTo>
                  <a:pt x="329044" y="3810"/>
                </a:lnTo>
                <a:lnTo>
                  <a:pt x="330758" y="3810"/>
                </a:lnTo>
                <a:lnTo>
                  <a:pt x="330454" y="2540"/>
                </a:lnTo>
                <a:lnTo>
                  <a:pt x="328726" y="3810"/>
                </a:lnTo>
                <a:lnTo>
                  <a:pt x="325678" y="3810"/>
                </a:lnTo>
                <a:lnTo>
                  <a:pt x="325005" y="2540"/>
                </a:lnTo>
                <a:lnTo>
                  <a:pt x="324713" y="2540"/>
                </a:lnTo>
                <a:lnTo>
                  <a:pt x="324713" y="15240"/>
                </a:lnTo>
                <a:lnTo>
                  <a:pt x="322973" y="15240"/>
                </a:lnTo>
                <a:lnTo>
                  <a:pt x="322897" y="16510"/>
                </a:lnTo>
                <a:lnTo>
                  <a:pt x="322478" y="16510"/>
                </a:lnTo>
                <a:lnTo>
                  <a:pt x="322643" y="15240"/>
                </a:lnTo>
                <a:lnTo>
                  <a:pt x="323316" y="13970"/>
                </a:lnTo>
                <a:lnTo>
                  <a:pt x="324205" y="13970"/>
                </a:lnTo>
                <a:lnTo>
                  <a:pt x="324713" y="15240"/>
                </a:lnTo>
                <a:lnTo>
                  <a:pt x="324713" y="2540"/>
                </a:lnTo>
                <a:lnTo>
                  <a:pt x="323291" y="2540"/>
                </a:lnTo>
                <a:lnTo>
                  <a:pt x="323291" y="5080"/>
                </a:lnTo>
                <a:lnTo>
                  <a:pt x="322872" y="5080"/>
                </a:lnTo>
                <a:lnTo>
                  <a:pt x="323011" y="3810"/>
                </a:lnTo>
                <a:lnTo>
                  <a:pt x="323253" y="3810"/>
                </a:lnTo>
                <a:lnTo>
                  <a:pt x="323291" y="5080"/>
                </a:lnTo>
                <a:lnTo>
                  <a:pt x="323291" y="2540"/>
                </a:lnTo>
                <a:lnTo>
                  <a:pt x="315214" y="2540"/>
                </a:lnTo>
                <a:lnTo>
                  <a:pt x="314248"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65" y="3810"/>
                </a:lnTo>
                <a:lnTo>
                  <a:pt x="296887" y="3810"/>
                </a:lnTo>
                <a:lnTo>
                  <a:pt x="294233" y="5080"/>
                </a:lnTo>
                <a:lnTo>
                  <a:pt x="292887" y="6350"/>
                </a:lnTo>
                <a:lnTo>
                  <a:pt x="291528" y="6350"/>
                </a:lnTo>
                <a:lnTo>
                  <a:pt x="288861" y="8890"/>
                </a:lnTo>
                <a:lnTo>
                  <a:pt x="284962" y="10160"/>
                </a:lnTo>
                <a:lnTo>
                  <a:pt x="282943" y="12700"/>
                </a:lnTo>
                <a:lnTo>
                  <a:pt x="278828" y="15240"/>
                </a:lnTo>
                <a:lnTo>
                  <a:pt x="276809" y="15240"/>
                </a:lnTo>
                <a:lnTo>
                  <a:pt x="275386" y="17780"/>
                </a:lnTo>
                <a:lnTo>
                  <a:pt x="274421" y="19050"/>
                </a:lnTo>
                <a:lnTo>
                  <a:pt x="271411" y="20320"/>
                </a:lnTo>
                <a:lnTo>
                  <a:pt x="269913" y="22860"/>
                </a:lnTo>
                <a:lnTo>
                  <a:pt x="267817" y="24130"/>
                </a:lnTo>
                <a:lnTo>
                  <a:pt x="265836" y="24130"/>
                </a:lnTo>
                <a:lnTo>
                  <a:pt x="265176" y="26670"/>
                </a:lnTo>
                <a:lnTo>
                  <a:pt x="264337" y="26670"/>
                </a:lnTo>
                <a:lnTo>
                  <a:pt x="262470" y="29210"/>
                </a:lnTo>
                <a:lnTo>
                  <a:pt x="261175" y="29210"/>
                </a:lnTo>
                <a:lnTo>
                  <a:pt x="258876" y="31750"/>
                </a:lnTo>
                <a:lnTo>
                  <a:pt x="256552" y="31750"/>
                </a:lnTo>
                <a:lnTo>
                  <a:pt x="256120" y="34290"/>
                </a:lnTo>
                <a:lnTo>
                  <a:pt x="254292" y="35560"/>
                </a:lnTo>
                <a:lnTo>
                  <a:pt x="250215" y="39370"/>
                </a:lnTo>
                <a:lnTo>
                  <a:pt x="248462" y="39370"/>
                </a:lnTo>
                <a:lnTo>
                  <a:pt x="246341" y="43180"/>
                </a:lnTo>
                <a:lnTo>
                  <a:pt x="244881" y="44450"/>
                </a:lnTo>
                <a:lnTo>
                  <a:pt x="242341" y="45720"/>
                </a:lnTo>
                <a:lnTo>
                  <a:pt x="241490" y="45720"/>
                </a:lnTo>
                <a:lnTo>
                  <a:pt x="241922" y="48260"/>
                </a:lnTo>
                <a:lnTo>
                  <a:pt x="238963" y="48260"/>
                </a:lnTo>
                <a:lnTo>
                  <a:pt x="237312" y="52070"/>
                </a:lnTo>
                <a:lnTo>
                  <a:pt x="234772" y="53340"/>
                </a:lnTo>
                <a:lnTo>
                  <a:pt x="232397" y="55880"/>
                </a:lnTo>
                <a:lnTo>
                  <a:pt x="231381" y="57150"/>
                </a:lnTo>
                <a:lnTo>
                  <a:pt x="227761" y="58420"/>
                </a:lnTo>
                <a:lnTo>
                  <a:pt x="227533" y="60960"/>
                </a:lnTo>
                <a:lnTo>
                  <a:pt x="225412" y="62230"/>
                </a:lnTo>
                <a:lnTo>
                  <a:pt x="225425" y="63500"/>
                </a:lnTo>
                <a:lnTo>
                  <a:pt x="223367" y="63500"/>
                </a:lnTo>
                <a:lnTo>
                  <a:pt x="222897" y="64770"/>
                </a:lnTo>
                <a:lnTo>
                  <a:pt x="222681" y="66040"/>
                </a:lnTo>
                <a:lnTo>
                  <a:pt x="221957" y="67310"/>
                </a:lnTo>
                <a:lnTo>
                  <a:pt x="219989" y="68580"/>
                </a:lnTo>
                <a:lnTo>
                  <a:pt x="218490" y="68580"/>
                </a:lnTo>
                <a:lnTo>
                  <a:pt x="216928" y="71120"/>
                </a:lnTo>
                <a:lnTo>
                  <a:pt x="215722" y="72390"/>
                </a:lnTo>
                <a:lnTo>
                  <a:pt x="214960" y="74930"/>
                </a:lnTo>
                <a:lnTo>
                  <a:pt x="214058" y="74930"/>
                </a:lnTo>
                <a:lnTo>
                  <a:pt x="212229" y="76200"/>
                </a:lnTo>
                <a:lnTo>
                  <a:pt x="210172" y="78740"/>
                </a:lnTo>
                <a:lnTo>
                  <a:pt x="208457" y="80010"/>
                </a:lnTo>
                <a:lnTo>
                  <a:pt x="207327" y="81280"/>
                </a:lnTo>
                <a:lnTo>
                  <a:pt x="205409" y="83820"/>
                </a:lnTo>
                <a:lnTo>
                  <a:pt x="204863" y="85090"/>
                </a:lnTo>
                <a:lnTo>
                  <a:pt x="203949" y="86360"/>
                </a:lnTo>
                <a:lnTo>
                  <a:pt x="201485" y="87630"/>
                </a:lnTo>
                <a:lnTo>
                  <a:pt x="200304" y="88900"/>
                </a:lnTo>
                <a:lnTo>
                  <a:pt x="199796" y="90170"/>
                </a:lnTo>
                <a:lnTo>
                  <a:pt x="197345" y="90170"/>
                </a:lnTo>
                <a:lnTo>
                  <a:pt x="197980" y="91440"/>
                </a:lnTo>
                <a:lnTo>
                  <a:pt x="197904" y="93980"/>
                </a:lnTo>
                <a:lnTo>
                  <a:pt x="195465"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84" y="116840"/>
                </a:lnTo>
                <a:lnTo>
                  <a:pt x="175018" y="116840"/>
                </a:lnTo>
                <a:lnTo>
                  <a:pt x="174904" y="120650"/>
                </a:lnTo>
                <a:lnTo>
                  <a:pt x="172935" y="120650"/>
                </a:lnTo>
                <a:lnTo>
                  <a:pt x="172935" y="139700"/>
                </a:lnTo>
                <a:lnTo>
                  <a:pt x="171678" y="139700"/>
                </a:lnTo>
                <a:lnTo>
                  <a:pt x="171729" y="138430"/>
                </a:lnTo>
                <a:lnTo>
                  <a:pt x="172694" y="138430"/>
                </a:lnTo>
                <a:lnTo>
                  <a:pt x="172935" y="139700"/>
                </a:lnTo>
                <a:lnTo>
                  <a:pt x="172935" y="120650"/>
                </a:lnTo>
                <a:lnTo>
                  <a:pt x="172046" y="120650"/>
                </a:lnTo>
                <a:lnTo>
                  <a:pt x="171970" y="124460"/>
                </a:lnTo>
                <a:lnTo>
                  <a:pt x="170726" y="125234"/>
                </a:lnTo>
                <a:lnTo>
                  <a:pt x="170726"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68" y="127000"/>
                </a:lnTo>
                <a:lnTo>
                  <a:pt x="167411" y="127000"/>
                </a:lnTo>
                <a:lnTo>
                  <a:pt x="167627"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16" y="149860"/>
                </a:lnTo>
                <a:lnTo>
                  <a:pt x="158394" y="148590"/>
                </a:lnTo>
                <a:lnTo>
                  <a:pt x="159270" y="148590"/>
                </a:lnTo>
                <a:lnTo>
                  <a:pt x="159270" y="137160"/>
                </a:lnTo>
                <a:lnTo>
                  <a:pt x="158838" y="137160"/>
                </a:lnTo>
                <a:lnTo>
                  <a:pt x="159092" y="140970"/>
                </a:lnTo>
                <a:lnTo>
                  <a:pt x="156210" y="140970"/>
                </a:lnTo>
                <a:lnTo>
                  <a:pt x="156019" y="144780"/>
                </a:lnTo>
                <a:lnTo>
                  <a:pt x="154787" y="146050"/>
                </a:lnTo>
                <a:lnTo>
                  <a:pt x="152057" y="147320"/>
                </a:lnTo>
                <a:lnTo>
                  <a:pt x="151790" y="148590"/>
                </a:lnTo>
                <a:lnTo>
                  <a:pt x="152552" y="148590"/>
                </a:lnTo>
                <a:lnTo>
                  <a:pt x="151968" y="149860"/>
                </a:lnTo>
                <a:lnTo>
                  <a:pt x="150952" y="151130"/>
                </a:lnTo>
                <a:lnTo>
                  <a:pt x="150825" y="151130"/>
                </a:lnTo>
                <a:lnTo>
                  <a:pt x="149415" y="153670"/>
                </a:lnTo>
                <a:lnTo>
                  <a:pt x="149758" y="154940"/>
                </a:lnTo>
                <a:lnTo>
                  <a:pt x="151536" y="154940"/>
                </a:lnTo>
                <a:lnTo>
                  <a:pt x="151130" y="153670"/>
                </a:lnTo>
                <a:lnTo>
                  <a:pt x="151968" y="153670"/>
                </a:lnTo>
                <a:lnTo>
                  <a:pt x="153047" y="153670"/>
                </a:lnTo>
                <a:lnTo>
                  <a:pt x="152742" y="152400"/>
                </a:lnTo>
                <a:lnTo>
                  <a:pt x="153746" y="152400"/>
                </a:lnTo>
                <a:lnTo>
                  <a:pt x="153365" y="153670"/>
                </a:lnTo>
                <a:lnTo>
                  <a:pt x="153123" y="154940"/>
                </a:lnTo>
                <a:lnTo>
                  <a:pt x="151968" y="153670"/>
                </a:lnTo>
                <a:lnTo>
                  <a:pt x="152692" y="154940"/>
                </a:lnTo>
                <a:lnTo>
                  <a:pt x="151193" y="156210"/>
                </a:lnTo>
                <a:lnTo>
                  <a:pt x="150291" y="157480"/>
                </a:lnTo>
                <a:lnTo>
                  <a:pt x="147853" y="157480"/>
                </a:lnTo>
                <a:lnTo>
                  <a:pt x="147777" y="156210"/>
                </a:lnTo>
                <a:lnTo>
                  <a:pt x="147205" y="154940"/>
                </a:lnTo>
                <a:lnTo>
                  <a:pt x="145478" y="154940"/>
                </a:lnTo>
                <a:lnTo>
                  <a:pt x="145656" y="157480"/>
                </a:lnTo>
                <a:lnTo>
                  <a:pt x="144691" y="157480"/>
                </a:lnTo>
                <a:lnTo>
                  <a:pt x="143141" y="160020"/>
                </a:lnTo>
                <a:lnTo>
                  <a:pt x="141478" y="160020"/>
                </a:lnTo>
                <a:lnTo>
                  <a:pt x="142582" y="162560"/>
                </a:lnTo>
                <a:lnTo>
                  <a:pt x="142354" y="162560"/>
                </a:lnTo>
                <a:lnTo>
                  <a:pt x="140182" y="163830"/>
                </a:lnTo>
                <a:lnTo>
                  <a:pt x="138709" y="166370"/>
                </a:lnTo>
                <a:lnTo>
                  <a:pt x="136918" y="168910"/>
                </a:lnTo>
                <a:lnTo>
                  <a:pt x="135966" y="170180"/>
                </a:lnTo>
                <a:lnTo>
                  <a:pt x="134264" y="171450"/>
                </a:lnTo>
                <a:lnTo>
                  <a:pt x="133235" y="171450"/>
                </a:lnTo>
                <a:lnTo>
                  <a:pt x="134226" y="173990"/>
                </a:lnTo>
                <a:lnTo>
                  <a:pt x="133273" y="175260"/>
                </a:lnTo>
                <a:lnTo>
                  <a:pt x="130822" y="176530"/>
                </a:lnTo>
                <a:lnTo>
                  <a:pt x="129857" y="179070"/>
                </a:lnTo>
                <a:lnTo>
                  <a:pt x="127177" y="180340"/>
                </a:lnTo>
                <a:lnTo>
                  <a:pt x="126936" y="180340"/>
                </a:lnTo>
                <a:lnTo>
                  <a:pt x="126860" y="182880"/>
                </a:lnTo>
                <a:lnTo>
                  <a:pt x="125831" y="185420"/>
                </a:lnTo>
                <a:lnTo>
                  <a:pt x="126009" y="187960"/>
                </a:lnTo>
                <a:lnTo>
                  <a:pt x="124574" y="187960"/>
                </a:lnTo>
                <a:lnTo>
                  <a:pt x="124002" y="189230"/>
                </a:lnTo>
                <a:lnTo>
                  <a:pt x="123215" y="187960"/>
                </a:lnTo>
                <a:lnTo>
                  <a:pt x="123037" y="189839"/>
                </a:lnTo>
                <a:lnTo>
                  <a:pt x="123037" y="269240"/>
                </a:lnTo>
                <a:lnTo>
                  <a:pt x="122656" y="269240"/>
                </a:lnTo>
                <a:lnTo>
                  <a:pt x="122872" y="267970"/>
                </a:lnTo>
                <a:lnTo>
                  <a:pt x="123037" y="269240"/>
                </a:lnTo>
                <a:lnTo>
                  <a:pt x="123037" y="189839"/>
                </a:lnTo>
                <a:lnTo>
                  <a:pt x="122974" y="190500"/>
                </a:lnTo>
                <a:lnTo>
                  <a:pt x="121780" y="190500"/>
                </a:lnTo>
                <a:lnTo>
                  <a:pt x="120357" y="191770"/>
                </a:lnTo>
                <a:lnTo>
                  <a:pt x="119684" y="191770"/>
                </a:lnTo>
                <a:lnTo>
                  <a:pt x="118198" y="193040"/>
                </a:lnTo>
                <a:lnTo>
                  <a:pt x="119761" y="193040"/>
                </a:lnTo>
                <a:lnTo>
                  <a:pt x="119176" y="194310"/>
                </a:lnTo>
                <a:lnTo>
                  <a:pt x="118033" y="195580"/>
                </a:lnTo>
                <a:lnTo>
                  <a:pt x="117906" y="198120"/>
                </a:lnTo>
                <a:lnTo>
                  <a:pt x="115481" y="198120"/>
                </a:lnTo>
                <a:lnTo>
                  <a:pt x="116395" y="200660"/>
                </a:lnTo>
                <a:lnTo>
                  <a:pt x="115392" y="200660"/>
                </a:lnTo>
                <a:lnTo>
                  <a:pt x="113461" y="201930"/>
                </a:lnTo>
                <a:lnTo>
                  <a:pt x="113017" y="203200"/>
                </a:lnTo>
                <a:lnTo>
                  <a:pt x="111658" y="204470"/>
                </a:lnTo>
                <a:lnTo>
                  <a:pt x="110871" y="205740"/>
                </a:lnTo>
                <a:lnTo>
                  <a:pt x="110629" y="207010"/>
                </a:lnTo>
                <a:lnTo>
                  <a:pt x="108127" y="207010"/>
                </a:lnTo>
                <a:lnTo>
                  <a:pt x="108800" y="208280"/>
                </a:lnTo>
                <a:lnTo>
                  <a:pt x="107721" y="210820"/>
                </a:lnTo>
                <a:lnTo>
                  <a:pt x="107378" y="212090"/>
                </a:lnTo>
                <a:lnTo>
                  <a:pt x="105460" y="212090"/>
                </a:lnTo>
                <a:lnTo>
                  <a:pt x="105956" y="214630"/>
                </a:lnTo>
                <a:lnTo>
                  <a:pt x="104559" y="215900"/>
                </a:lnTo>
                <a:lnTo>
                  <a:pt x="104787" y="217170"/>
                </a:lnTo>
                <a:lnTo>
                  <a:pt x="100660" y="217170"/>
                </a:lnTo>
                <a:lnTo>
                  <a:pt x="100291" y="218440"/>
                </a:lnTo>
                <a:lnTo>
                  <a:pt x="101028" y="222250"/>
                </a:lnTo>
                <a:lnTo>
                  <a:pt x="99339" y="222250"/>
                </a:lnTo>
                <a:lnTo>
                  <a:pt x="99415" y="226060"/>
                </a:lnTo>
                <a:lnTo>
                  <a:pt x="94805" y="226060"/>
                </a:lnTo>
                <a:lnTo>
                  <a:pt x="96164" y="228600"/>
                </a:lnTo>
                <a:lnTo>
                  <a:pt x="96139" y="229870"/>
                </a:lnTo>
                <a:lnTo>
                  <a:pt x="95402" y="229870"/>
                </a:lnTo>
                <a:lnTo>
                  <a:pt x="95681" y="231140"/>
                </a:lnTo>
                <a:lnTo>
                  <a:pt x="93281" y="230022"/>
                </a:lnTo>
                <a:lnTo>
                  <a:pt x="93294" y="230212"/>
                </a:lnTo>
                <a:lnTo>
                  <a:pt x="94170" y="231140"/>
                </a:lnTo>
                <a:lnTo>
                  <a:pt x="93535" y="233680"/>
                </a:lnTo>
                <a:lnTo>
                  <a:pt x="93294" y="230212"/>
                </a:lnTo>
                <a:lnTo>
                  <a:pt x="92684" y="232410"/>
                </a:lnTo>
                <a:lnTo>
                  <a:pt x="92811" y="232410"/>
                </a:lnTo>
                <a:lnTo>
                  <a:pt x="93472"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92" y="248920"/>
                </a:lnTo>
                <a:lnTo>
                  <a:pt x="82804" y="251460"/>
                </a:lnTo>
                <a:lnTo>
                  <a:pt x="81267" y="251460"/>
                </a:lnTo>
                <a:lnTo>
                  <a:pt x="81241" y="251193"/>
                </a:lnTo>
                <a:lnTo>
                  <a:pt x="80835" y="251028"/>
                </a:lnTo>
                <a:lnTo>
                  <a:pt x="80835" y="251155"/>
                </a:lnTo>
                <a:lnTo>
                  <a:pt x="80797" y="251320"/>
                </a:lnTo>
                <a:lnTo>
                  <a:pt x="80962" y="251650"/>
                </a:lnTo>
                <a:lnTo>
                  <a:pt x="81153" y="251637"/>
                </a:lnTo>
                <a:lnTo>
                  <a:pt x="80645" y="254000"/>
                </a:lnTo>
                <a:lnTo>
                  <a:pt x="79502" y="252730"/>
                </a:lnTo>
                <a:lnTo>
                  <a:pt x="79489" y="254000"/>
                </a:lnTo>
                <a:lnTo>
                  <a:pt x="77317" y="255270"/>
                </a:lnTo>
                <a:lnTo>
                  <a:pt x="79019" y="256540"/>
                </a:lnTo>
                <a:lnTo>
                  <a:pt x="78879" y="256540"/>
                </a:lnTo>
                <a:lnTo>
                  <a:pt x="77470" y="257810"/>
                </a:lnTo>
                <a:lnTo>
                  <a:pt x="76771" y="259080"/>
                </a:lnTo>
                <a:lnTo>
                  <a:pt x="76288" y="261620"/>
                </a:lnTo>
                <a:lnTo>
                  <a:pt x="74790" y="261620"/>
                </a:lnTo>
                <a:lnTo>
                  <a:pt x="74510" y="262890"/>
                </a:lnTo>
                <a:lnTo>
                  <a:pt x="72936" y="265430"/>
                </a:lnTo>
                <a:lnTo>
                  <a:pt x="72453" y="266700"/>
                </a:lnTo>
                <a:lnTo>
                  <a:pt x="69494" y="269240"/>
                </a:lnTo>
                <a:lnTo>
                  <a:pt x="69519" y="271780"/>
                </a:lnTo>
                <a:lnTo>
                  <a:pt x="69138" y="270510"/>
                </a:lnTo>
                <a:lnTo>
                  <a:pt x="67894" y="273050"/>
                </a:lnTo>
                <a:lnTo>
                  <a:pt x="67398"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303" y="276860"/>
                </a:lnTo>
                <a:lnTo>
                  <a:pt x="65443" y="278130"/>
                </a:lnTo>
                <a:lnTo>
                  <a:pt x="64033" y="279400"/>
                </a:lnTo>
                <a:lnTo>
                  <a:pt x="64617" y="281940"/>
                </a:lnTo>
                <a:lnTo>
                  <a:pt x="64312" y="281940"/>
                </a:lnTo>
                <a:lnTo>
                  <a:pt x="62115" y="280670"/>
                </a:lnTo>
                <a:lnTo>
                  <a:pt x="60312" y="283210"/>
                </a:lnTo>
                <a:lnTo>
                  <a:pt x="61810" y="285750"/>
                </a:lnTo>
                <a:lnTo>
                  <a:pt x="60210" y="287020"/>
                </a:lnTo>
                <a:lnTo>
                  <a:pt x="60223" y="288290"/>
                </a:lnTo>
                <a:lnTo>
                  <a:pt x="59550" y="288290"/>
                </a:lnTo>
                <a:lnTo>
                  <a:pt x="58153" y="289560"/>
                </a:lnTo>
                <a:lnTo>
                  <a:pt x="57950" y="289560"/>
                </a:lnTo>
                <a:lnTo>
                  <a:pt x="58229" y="290830"/>
                </a:lnTo>
                <a:lnTo>
                  <a:pt x="58635" y="292100"/>
                </a:lnTo>
                <a:lnTo>
                  <a:pt x="56959" y="292100"/>
                </a:lnTo>
                <a:lnTo>
                  <a:pt x="56845" y="292519"/>
                </a:lnTo>
                <a:lnTo>
                  <a:pt x="56845" y="370840"/>
                </a:lnTo>
                <a:lnTo>
                  <a:pt x="56781" y="372110"/>
                </a:lnTo>
                <a:lnTo>
                  <a:pt x="55626" y="372110"/>
                </a:lnTo>
                <a:lnTo>
                  <a:pt x="54876" y="373380"/>
                </a:lnTo>
                <a:lnTo>
                  <a:pt x="53924" y="374650"/>
                </a:lnTo>
                <a:lnTo>
                  <a:pt x="52730" y="374650"/>
                </a:lnTo>
                <a:lnTo>
                  <a:pt x="52387" y="375920"/>
                </a:lnTo>
                <a:lnTo>
                  <a:pt x="51269" y="375920"/>
                </a:lnTo>
                <a:lnTo>
                  <a:pt x="51523" y="374650"/>
                </a:lnTo>
                <a:lnTo>
                  <a:pt x="50723" y="374650"/>
                </a:lnTo>
                <a:lnTo>
                  <a:pt x="51358" y="373380"/>
                </a:lnTo>
                <a:lnTo>
                  <a:pt x="51790" y="372110"/>
                </a:lnTo>
                <a:lnTo>
                  <a:pt x="52057" y="373380"/>
                </a:lnTo>
                <a:lnTo>
                  <a:pt x="53251" y="373380"/>
                </a:lnTo>
                <a:lnTo>
                  <a:pt x="53543" y="372110"/>
                </a:lnTo>
                <a:lnTo>
                  <a:pt x="53403" y="372110"/>
                </a:lnTo>
                <a:lnTo>
                  <a:pt x="53454" y="370840"/>
                </a:lnTo>
                <a:lnTo>
                  <a:pt x="53644" y="370840"/>
                </a:lnTo>
                <a:lnTo>
                  <a:pt x="53682" y="372084"/>
                </a:lnTo>
                <a:lnTo>
                  <a:pt x="54851" y="370840"/>
                </a:lnTo>
                <a:lnTo>
                  <a:pt x="56845" y="370840"/>
                </a:lnTo>
                <a:lnTo>
                  <a:pt x="56845" y="292519"/>
                </a:lnTo>
                <a:lnTo>
                  <a:pt x="56603" y="293370"/>
                </a:lnTo>
                <a:lnTo>
                  <a:pt x="56807" y="294640"/>
                </a:lnTo>
                <a:lnTo>
                  <a:pt x="55499" y="294640"/>
                </a:lnTo>
                <a:lnTo>
                  <a:pt x="55587" y="295440"/>
                </a:lnTo>
                <a:lnTo>
                  <a:pt x="55791" y="295910"/>
                </a:lnTo>
                <a:lnTo>
                  <a:pt x="55651" y="295910"/>
                </a:lnTo>
                <a:lnTo>
                  <a:pt x="55562" y="295376"/>
                </a:lnTo>
                <a:lnTo>
                  <a:pt x="55257" y="294640"/>
                </a:lnTo>
                <a:lnTo>
                  <a:pt x="55587" y="295910"/>
                </a:lnTo>
                <a:lnTo>
                  <a:pt x="55245" y="295440"/>
                </a:lnTo>
                <a:lnTo>
                  <a:pt x="55105" y="295224"/>
                </a:lnTo>
                <a:lnTo>
                  <a:pt x="54940" y="294982"/>
                </a:lnTo>
                <a:lnTo>
                  <a:pt x="55143" y="295910"/>
                </a:lnTo>
                <a:lnTo>
                  <a:pt x="55587" y="298450"/>
                </a:lnTo>
                <a:lnTo>
                  <a:pt x="54051" y="294703"/>
                </a:lnTo>
                <a:lnTo>
                  <a:pt x="54140" y="295262"/>
                </a:lnTo>
                <a:lnTo>
                  <a:pt x="54076" y="295109"/>
                </a:lnTo>
                <a:lnTo>
                  <a:pt x="53886" y="294767"/>
                </a:lnTo>
                <a:lnTo>
                  <a:pt x="53975" y="295033"/>
                </a:lnTo>
                <a:lnTo>
                  <a:pt x="54076" y="295224"/>
                </a:lnTo>
                <a:lnTo>
                  <a:pt x="54457" y="297180"/>
                </a:lnTo>
                <a:lnTo>
                  <a:pt x="53911" y="295910"/>
                </a:lnTo>
                <a:lnTo>
                  <a:pt x="54025" y="297180"/>
                </a:lnTo>
                <a:lnTo>
                  <a:pt x="53530" y="295910"/>
                </a:lnTo>
                <a:lnTo>
                  <a:pt x="53860" y="297180"/>
                </a:lnTo>
                <a:lnTo>
                  <a:pt x="53594" y="297180"/>
                </a:lnTo>
                <a:lnTo>
                  <a:pt x="53886" y="298450"/>
                </a:lnTo>
                <a:lnTo>
                  <a:pt x="53860" y="299720"/>
                </a:lnTo>
                <a:lnTo>
                  <a:pt x="53530" y="297700"/>
                </a:lnTo>
                <a:lnTo>
                  <a:pt x="53594" y="300990"/>
                </a:lnTo>
                <a:lnTo>
                  <a:pt x="53467" y="299720"/>
                </a:lnTo>
                <a:lnTo>
                  <a:pt x="53200" y="297459"/>
                </a:lnTo>
                <a:lnTo>
                  <a:pt x="53238" y="299720"/>
                </a:lnTo>
                <a:lnTo>
                  <a:pt x="53035" y="295376"/>
                </a:lnTo>
                <a:lnTo>
                  <a:pt x="52844" y="299720"/>
                </a:lnTo>
                <a:lnTo>
                  <a:pt x="52844" y="297180"/>
                </a:lnTo>
                <a:lnTo>
                  <a:pt x="52793" y="298450"/>
                </a:lnTo>
                <a:lnTo>
                  <a:pt x="52679" y="299720"/>
                </a:lnTo>
                <a:lnTo>
                  <a:pt x="52527" y="299720"/>
                </a:lnTo>
                <a:lnTo>
                  <a:pt x="52679" y="297180"/>
                </a:lnTo>
                <a:lnTo>
                  <a:pt x="52336" y="299720"/>
                </a:lnTo>
                <a:lnTo>
                  <a:pt x="52006" y="298450"/>
                </a:lnTo>
                <a:lnTo>
                  <a:pt x="51638" y="298450"/>
                </a:lnTo>
                <a:lnTo>
                  <a:pt x="51409" y="297180"/>
                </a:lnTo>
                <a:lnTo>
                  <a:pt x="51714" y="297180"/>
                </a:lnTo>
                <a:lnTo>
                  <a:pt x="52717" y="295910"/>
                </a:lnTo>
                <a:lnTo>
                  <a:pt x="52501" y="295910"/>
                </a:lnTo>
                <a:lnTo>
                  <a:pt x="51879" y="294640"/>
                </a:lnTo>
                <a:lnTo>
                  <a:pt x="51460" y="294640"/>
                </a:lnTo>
                <a:lnTo>
                  <a:pt x="50990"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84"/>
                </a:lnTo>
                <a:lnTo>
                  <a:pt x="50393" y="299720"/>
                </a:lnTo>
                <a:lnTo>
                  <a:pt x="50025" y="299720"/>
                </a:lnTo>
                <a:lnTo>
                  <a:pt x="50279" y="298450"/>
                </a:lnTo>
                <a:lnTo>
                  <a:pt x="50393" y="299720"/>
                </a:lnTo>
                <a:lnTo>
                  <a:pt x="50393" y="291884"/>
                </a:lnTo>
                <a:lnTo>
                  <a:pt x="50101" y="290830"/>
                </a:lnTo>
                <a:lnTo>
                  <a:pt x="51015" y="289560"/>
                </a:lnTo>
                <a:lnTo>
                  <a:pt x="50063" y="287020"/>
                </a:lnTo>
                <a:lnTo>
                  <a:pt x="51320" y="287020"/>
                </a:lnTo>
                <a:lnTo>
                  <a:pt x="51155" y="285750"/>
                </a:lnTo>
                <a:lnTo>
                  <a:pt x="51422" y="285750"/>
                </a:lnTo>
                <a:lnTo>
                  <a:pt x="50444" y="284480"/>
                </a:lnTo>
                <a:lnTo>
                  <a:pt x="49784" y="283210"/>
                </a:lnTo>
                <a:lnTo>
                  <a:pt x="49288" y="283210"/>
                </a:lnTo>
                <a:lnTo>
                  <a:pt x="50342" y="281940"/>
                </a:lnTo>
                <a:lnTo>
                  <a:pt x="50203" y="280670"/>
                </a:lnTo>
                <a:lnTo>
                  <a:pt x="48869" y="279400"/>
                </a:lnTo>
                <a:lnTo>
                  <a:pt x="48590" y="278130"/>
                </a:lnTo>
                <a:lnTo>
                  <a:pt x="49885" y="276860"/>
                </a:lnTo>
                <a:lnTo>
                  <a:pt x="49085" y="275590"/>
                </a:lnTo>
                <a:lnTo>
                  <a:pt x="48856" y="273050"/>
                </a:lnTo>
                <a:lnTo>
                  <a:pt x="48539" y="273050"/>
                </a:lnTo>
                <a:lnTo>
                  <a:pt x="47307" y="270510"/>
                </a:lnTo>
                <a:lnTo>
                  <a:pt x="47231" y="269240"/>
                </a:lnTo>
                <a:lnTo>
                  <a:pt x="49047" y="269240"/>
                </a:lnTo>
                <a:lnTo>
                  <a:pt x="48653" y="267970"/>
                </a:lnTo>
                <a:lnTo>
                  <a:pt x="47929" y="265430"/>
                </a:lnTo>
                <a:lnTo>
                  <a:pt x="45885" y="264160"/>
                </a:lnTo>
                <a:lnTo>
                  <a:pt x="47739" y="264160"/>
                </a:lnTo>
                <a:lnTo>
                  <a:pt x="48044" y="262890"/>
                </a:lnTo>
                <a:lnTo>
                  <a:pt x="48348" y="261620"/>
                </a:lnTo>
                <a:lnTo>
                  <a:pt x="47028" y="261620"/>
                </a:lnTo>
                <a:lnTo>
                  <a:pt x="47879" y="260350"/>
                </a:lnTo>
                <a:lnTo>
                  <a:pt x="46634" y="257810"/>
                </a:lnTo>
                <a:lnTo>
                  <a:pt x="45643" y="256641"/>
                </a:lnTo>
                <a:lnTo>
                  <a:pt x="45643" y="264160"/>
                </a:lnTo>
                <a:lnTo>
                  <a:pt x="45059" y="264160"/>
                </a:lnTo>
                <a:lnTo>
                  <a:pt x="44627" y="262991"/>
                </a:lnTo>
                <a:lnTo>
                  <a:pt x="44615" y="265430"/>
                </a:lnTo>
                <a:lnTo>
                  <a:pt x="44157" y="265430"/>
                </a:lnTo>
                <a:lnTo>
                  <a:pt x="43662" y="264160"/>
                </a:lnTo>
                <a:lnTo>
                  <a:pt x="43116" y="264160"/>
                </a:lnTo>
                <a:lnTo>
                  <a:pt x="44577" y="263029"/>
                </a:lnTo>
                <a:lnTo>
                  <a:pt x="44589" y="262890"/>
                </a:lnTo>
                <a:lnTo>
                  <a:pt x="44754" y="262890"/>
                </a:lnTo>
                <a:lnTo>
                  <a:pt x="45529" y="262890"/>
                </a:lnTo>
                <a:lnTo>
                  <a:pt x="45643" y="264160"/>
                </a:lnTo>
                <a:lnTo>
                  <a:pt x="45643" y="256641"/>
                </a:lnTo>
                <a:lnTo>
                  <a:pt x="46761" y="255270"/>
                </a:lnTo>
                <a:lnTo>
                  <a:pt x="46520" y="254000"/>
                </a:lnTo>
                <a:lnTo>
                  <a:pt x="46926" y="254000"/>
                </a:lnTo>
                <a:lnTo>
                  <a:pt x="46050" y="251460"/>
                </a:lnTo>
                <a:lnTo>
                  <a:pt x="44958" y="250190"/>
                </a:lnTo>
                <a:lnTo>
                  <a:pt x="44958" y="248920"/>
                </a:lnTo>
                <a:lnTo>
                  <a:pt x="46024" y="248920"/>
                </a:lnTo>
                <a:lnTo>
                  <a:pt x="46596"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30" y="351790"/>
                </a:lnTo>
                <a:lnTo>
                  <a:pt x="13512" y="353060"/>
                </a:lnTo>
                <a:lnTo>
                  <a:pt x="13423"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40" y="246380"/>
                </a:lnTo>
                <a:lnTo>
                  <a:pt x="5740" y="247650"/>
                </a:lnTo>
                <a:lnTo>
                  <a:pt x="5664" y="248348"/>
                </a:lnTo>
                <a:lnTo>
                  <a:pt x="5664" y="283210"/>
                </a:lnTo>
                <a:lnTo>
                  <a:pt x="5499" y="284480"/>
                </a:lnTo>
                <a:lnTo>
                  <a:pt x="5207" y="284480"/>
                </a:lnTo>
                <a:lnTo>
                  <a:pt x="5118" y="283210"/>
                </a:lnTo>
                <a:lnTo>
                  <a:pt x="5664" y="283210"/>
                </a:lnTo>
                <a:lnTo>
                  <a:pt x="5664" y="248348"/>
                </a:lnTo>
                <a:lnTo>
                  <a:pt x="5600" y="248920"/>
                </a:lnTo>
                <a:lnTo>
                  <a:pt x="4203" y="248920"/>
                </a:lnTo>
                <a:lnTo>
                  <a:pt x="4102" y="247650"/>
                </a:lnTo>
                <a:lnTo>
                  <a:pt x="5740" y="247650"/>
                </a:lnTo>
                <a:lnTo>
                  <a:pt x="5740" y="246380"/>
                </a:lnTo>
                <a:lnTo>
                  <a:pt x="3048" y="246380"/>
                </a:lnTo>
                <a:lnTo>
                  <a:pt x="3225" y="247650"/>
                </a:lnTo>
                <a:lnTo>
                  <a:pt x="2755" y="247650"/>
                </a:lnTo>
                <a:lnTo>
                  <a:pt x="2273" y="247650"/>
                </a:lnTo>
                <a:lnTo>
                  <a:pt x="1333" y="248920"/>
                </a:lnTo>
                <a:lnTo>
                  <a:pt x="2730" y="252730"/>
                </a:lnTo>
                <a:lnTo>
                  <a:pt x="2019" y="254000"/>
                </a:lnTo>
                <a:lnTo>
                  <a:pt x="2578" y="256540"/>
                </a:lnTo>
                <a:lnTo>
                  <a:pt x="1549" y="256540"/>
                </a:lnTo>
                <a:lnTo>
                  <a:pt x="2362" y="257810"/>
                </a:lnTo>
                <a:lnTo>
                  <a:pt x="3263" y="257810"/>
                </a:lnTo>
                <a:lnTo>
                  <a:pt x="3365" y="259080"/>
                </a:lnTo>
                <a:lnTo>
                  <a:pt x="2438" y="259080"/>
                </a:lnTo>
                <a:lnTo>
                  <a:pt x="2997" y="262890"/>
                </a:lnTo>
                <a:lnTo>
                  <a:pt x="0" y="264160"/>
                </a:lnTo>
                <a:lnTo>
                  <a:pt x="88" y="265430"/>
                </a:lnTo>
                <a:lnTo>
                  <a:pt x="1028" y="265430"/>
                </a:lnTo>
                <a:lnTo>
                  <a:pt x="1587" y="266700"/>
                </a:lnTo>
                <a:lnTo>
                  <a:pt x="2565" y="265430"/>
                </a:lnTo>
                <a:lnTo>
                  <a:pt x="2870" y="265430"/>
                </a:lnTo>
                <a:lnTo>
                  <a:pt x="3213" y="266700"/>
                </a:lnTo>
                <a:lnTo>
                  <a:pt x="1587" y="266700"/>
                </a:lnTo>
                <a:lnTo>
                  <a:pt x="1295" y="266700"/>
                </a:lnTo>
                <a:lnTo>
                  <a:pt x="2667" y="269240"/>
                </a:lnTo>
                <a:lnTo>
                  <a:pt x="2006"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54" y="283210"/>
                </a:lnTo>
                <a:lnTo>
                  <a:pt x="1168" y="287020"/>
                </a:lnTo>
                <a:lnTo>
                  <a:pt x="1638" y="288290"/>
                </a:lnTo>
                <a:lnTo>
                  <a:pt x="3263" y="289560"/>
                </a:lnTo>
                <a:lnTo>
                  <a:pt x="3505" y="290830"/>
                </a:lnTo>
                <a:lnTo>
                  <a:pt x="2095" y="292100"/>
                </a:lnTo>
                <a:lnTo>
                  <a:pt x="3175" y="293370"/>
                </a:lnTo>
                <a:lnTo>
                  <a:pt x="2095" y="295910"/>
                </a:lnTo>
                <a:lnTo>
                  <a:pt x="2222" y="297180"/>
                </a:lnTo>
                <a:lnTo>
                  <a:pt x="3327" y="300990"/>
                </a:lnTo>
                <a:lnTo>
                  <a:pt x="4152" y="306070"/>
                </a:lnTo>
                <a:lnTo>
                  <a:pt x="3987" y="309880"/>
                </a:lnTo>
                <a:lnTo>
                  <a:pt x="4559" y="312420"/>
                </a:lnTo>
                <a:lnTo>
                  <a:pt x="5245" y="314960"/>
                </a:lnTo>
                <a:lnTo>
                  <a:pt x="5130" y="318770"/>
                </a:lnTo>
                <a:lnTo>
                  <a:pt x="6629" y="321310"/>
                </a:lnTo>
                <a:lnTo>
                  <a:pt x="6667" y="322580"/>
                </a:lnTo>
                <a:lnTo>
                  <a:pt x="6540" y="325120"/>
                </a:lnTo>
                <a:lnTo>
                  <a:pt x="6477" y="328930"/>
                </a:lnTo>
                <a:lnTo>
                  <a:pt x="7239" y="330200"/>
                </a:lnTo>
                <a:lnTo>
                  <a:pt x="6781" y="331470"/>
                </a:lnTo>
                <a:lnTo>
                  <a:pt x="7010" y="332740"/>
                </a:lnTo>
                <a:lnTo>
                  <a:pt x="7823" y="334010"/>
                </a:lnTo>
                <a:lnTo>
                  <a:pt x="10147" y="339090"/>
                </a:lnTo>
                <a:lnTo>
                  <a:pt x="10337" y="340360"/>
                </a:lnTo>
                <a:lnTo>
                  <a:pt x="9398" y="344170"/>
                </a:lnTo>
                <a:lnTo>
                  <a:pt x="9144" y="345440"/>
                </a:lnTo>
                <a:lnTo>
                  <a:pt x="8839" y="345440"/>
                </a:lnTo>
                <a:lnTo>
                  <a:pt x="8788" y="346710"/>
                </a:lnTo>
                <a:lnTo>
                  <a:pt x="9563" y="347980"/>
                </a:lnTo>
                <a:lnTo>
                  <a:pt x="10236" y="347980"/>
                </a:lnTo>
                <a:lnTo>
                  <a:pt x="11747" y="346710"/>
                </a:lnTo>
                <a:lnTo>
                  <a:pt x="11747" y="347980"/>
                </a:lnTo>
                <a:lnTo>
                  <a:pt x="11404" y="350520"/>
                </a:lnTo>
                <a:lnTo>
                  <a:pt x="10960" y="351790"/>
                </a:lnTo>
                <a:lnTo>
                  <a:pt x="12712" y="354330"/>
                </a:lnTo>
                <a:lnTo>
                  <a:pt x="12941" y="355600"/>
                </a:lnTo>
                <a:lnTo>
                  <a:pt x="13449" y="356870"/>
                </a:lnTo>
                <a:lnTo>
                  <a:pt x="13639" y="358140"/>
                </a:lnTo>
                <a:lnTo>
                  <a:pt x="14986" y="358140"/>
                </a:lnTo>
                <a:lnTo>
                  <a:pt x="14986" y="359410"/>
                </a:lnTo>
                <a:lnTo>
                  <a:pt x="15760" y="360680"/>
                </a:lnTo>
                <a:lnTo>
                  <a:pt x="16802" y="361950"/>
                </a:lnTo>
                <a:lnTo>
                  <a:pt x="18415" y="363220"/>
                </a:lnTo>
                <a:lnTo>
                  <a:pt x="18897"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46" y="373380"/>
                </a:lnTo>
                <a:lnTo>
                  <a:pt x="25260" y="374650"/>
                </a:lnTo>
                <a:lnTo>
                  <a:pt x="27178" y="374650"/>
                </a:lnTo>
                <a:lnTo>
                  <a:pt x="28409" y="375920"/>
                </a:lnTo>
                <a:lnTo>
                  <a:pt x="29603" y="373380"/>
                </a:lnTo>
                <a:lnTo>
                  <a:pt x="29921" y="373380"/>
                </a:lnTo>
                <a:lnTo>
                  <a:pt x="30594" y="374650"/>
                </a:lnTo>
                <a:lnTo>
                  <a:pt x="30137" y="375920"/>
                </a:lnTo>
                <a:lnTo>
                  <a:pt x="31013" y="377190"/>
                </a:lnTo>
                <a:lnTo>
                  <a:pt x="33909" y="377190"/>
                </a:lnTo>
                <a:lnTo>
                  <a:pt x="34925" y="378460"/>
                </a:lnTo>
                <a:lnTo>
                  <a:pt x="35560" y="378460"/>
                </a:lnTo>
                <a:lnTo>
                  <a:pt x="36360" y="379730"/>
                </a:lnTo>
                <a:lnTo>
                  <a:pt x="40640" y="379730"/>
                </a:lnTo>
                <a:lnTo>
                  <a:pt x="40474" y="378460"/>
                </a:lnTo>
                <a:lnTo>
                  <a:pt x="41211" y="377266"/>
                </a:lnTo>
                <a:lnTo>
                  <a:pt x="42468" y="378460"/>
                </a:lnTo>
                <a:lnTo>
                  <a:pt x="45453" y="378460"/>
                </a:lnTo>
                <a:lnTo>
                  <a:pt x="45097" y="377190"/>
                </a:lnTo>
                <a:lnTo>
                  <a:pt x="46101" y="377190"/>
                </a:lnTo>
                <a:lnTo>
                  <a:pt x="46355" y="378460"/>
                </a:lnTo>
                <a:lnTo>
                  <a:pt x="46228" y="379730"/>
                </a:lnTo>
                <a:lnTo>
                  <a:pt x="48539" y="378460"/>
                </a:lnTo>
                <a:lnTo>
                  <a:pt x="49707" y="378460"/>
                </a:lnTo>
                <a:lnTo>
                  <a:pt x="51422" y="377190"/>
                </a:lnTo>
                <a:lnTo>
                  <a:pt x="55549" y="377190"/>
                </a:lnTo>
                <a:lnTo>
                  <a:pt x="56807" y="373380"/>
                </a:lnTo>
                <a:lnTo>
                  <a:pt x="59245" y="370840"/>
                </a:lnTo>
                <a:lnTo>
                  <a:pt x="61137" y="372110"/>
                </a:lnTo>
                <a:lnTo>
                  <a:pt x="61429" y="370840"/>
                </a:lnTo>
                <a:lnTo>
                  <a:pt x="62268" y="369570"/>
                </a:lnTo>
                <a:lnTo>
                  <a:pt x="62738"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92" y="356870"/>
                </a:lnTo>
                <a:lnTo>
                  <a:pt x="76200" y="355600"/>
                </a:lnTo>
                <a:lnTo>
                  <a:pt x="76492" y="355600"/>
                </a:lnTo>
                <a:lnTo>
                  <a:pt x="76987" y="354330"/>
                </a:lnTo>
                <a:lnTo>
                  <a:pt x="77635" y="353060"/>
                </a:lnTo>
                <a:lnTo>
                  <a:pt x="78943" y="350520"/>
                </a:lnTo>
                <a:lnTo>
                  <a:pt x="79908" y="349250"/>
                </a:lnTo>
                <a:lnTo>
                  <a:pt x="80302" y="346710"/>
                </a:lnTo>
                <a:lnTo>
                  <a:pt x="81153" y="346710"/>
                </a:lnTo>
                <a:lnTo>
                  <a:pt x="81457" y="347980"/>
                </a:lnTo>
                <a:lnTo>
                  <a:pt x="81978" y="346710"/>
                </a:lnTo>
                <a:lnTo>
                  <a:pt x="82511" y="345440"/>
                </a:lnTo>
                <a:lnTo>
                  <a:pt x="82791" y="344170"/>
                </a:lnTo>
                <a:lnTo>
                  <a:pt x="84340" y="345440"/>
                </a:lnTo>
                <a:lnTo>
                  <a:pt x="84378" y="344170"/>
                </a:lnTo>
                <a:lnTo>
                  <a:pt x="84467" y="341630"/>
                </a:lnTo>
                <a:lnTo>
                  <a:pt x="85026" y="339090"/>
                </a:lnTo>
                <a:lnTo>
                  <a:pt x="87172" y="339090"/>
                </a:lnTo>
                <a:lnTo>
                  <a:pt x="88506" y="335280"/>
                </a:lnTo>
                <a:lnTo>
                  <a:pt x="90208" y="335280"/>
                </a:lnTo>
                <a:lnTo>
                  <a:pt x="90208" y="332740"/>
                </a:lnTo>
                <a:lnTo>
                  <a:pt x="90881" y="331470"/>
                </a:lnTo>
                <a:lnTo>
                  <a:pt x="92748" y="328930"/>
                </a:lnTo>
                <a:lnTo>
                  <a:pt x="93395" y="327660"/>
                </a:lnTo>
                <a:lnTo>
                  <a:pt x="93624" y="327660"/>
                </a:lnTo>
                <a:lnTo>
                  <a:pt x="93662" y="326390"/>
                </a:lnTo>
                <a:lnTo>
                  <a:pt x="94259" y="326390"/>
                </a:lnTo>
                <a:lnTo>
                  <a:pt x="94818" y="325120"/>
                </a:lnTo>
                <a:lnTo>
                  <a:pt x="95338" y="323850"/>
                </a:lnTo>
                <a:lnTo>
                  <a:pt x="96253" y="322580"/>
                </a:lnTo>
                <a:lnTo>
                  <a:pt x="97015" y="322580"/>
                </a:lnTo>
                <a:lnTo>
                  <a:pt x="96761" y="321310"/>
                </a:lnTo>
                <a:lnTo>
                  <a:pt x="97116" y="320040"/>
                </a:lnTo>
                <a:lnTo>
                  <a:pt x="99250" y="317500"/>
                </a:lnTo>
                <a:lnTo>
                  <a:pt x="99796" y="316230"/>
                </a:lnTo>
                <a:lnTo>
                  <a:pt x="100342" y="314960"/>
                </a:lnTo>
                <a:lnTo>
                  <a:pt x="100876" y="313690"/>
                </a:lnTo>
                <a:lnTo>
                  <a:pt x="101003"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78" y="304800"/>
                </a:lnTo>
                <a:lnTo>
                  <a:pt x="107137" y="303530"/>
                </a:lnTo>
                <a:lnTo>
                  <a:pt x="107022" y="302260"/>
                </a:lnTo>
                <a:lnTo>
                  <a:pt x="107442"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52" y="294640"/>
                </a:lnTo>
                <a:lnTo>
                  <a:pt x="113004" y="294640"/>
                </a:lnTo>
                <a:lnTo>
                  <a:pt x="112864" y="293370"/>
                </a:lnTo>
                <a:lnTo>
                  <a:pt x="113169" y="293370"/>
                </a:lnTo>
                <a:lnTo>
                  <a:pt x="113093" y="292887"/>
                </a:lnTo>
                <a:lnTo>
                  <a:pt x="113030" y="290830"/>
                </a:lnTo>
                <a:lnTo>
                  <a:pt x="114160" y="290830"/>
                </a:lnTo>
                <a:lnTo>
                  <a:pt x="115874" y="289560"/>
                </a:lnTo>
                <a:lnTo>
                  <a:pt x="115392" y="289560"/>
                </a:lnTo>
                <a:lnTo>
                  <a:pt x="115062" y="288290"/>
                </a:lnTo>
                <a:lnTo>
                  <a:pt x="115023" y="287020"/>
                </a:lnTo>
                <a:lnTo>
                  <a:pt x="115201" y="287020"/>
                </a:lnTo>
                <a:lnTo>
                  <a:pt x="115379" y="288290"/>
                </a:lnTo>
                <a:lnTo>
                  <a:pt x="116357" y="288290"/>
                </a:lnTo>
                <a:lnTo>
                  <a:pt x="116217" y="287020"/>
                </a:lnTo>
                <a:lnTo>
                  <a:pt x="116916" y="287020"/>
                </a:lnTo>
                <a:lnTo>
                  <a:pt x="116547" y="285750"/>
                </a:lnTo>
                <a:lnTo>
                  <a:pt x="117906" y="285750"/>
                </a:lnTo>
                <a:lnTo>
                  <a:pt x="118681" y="284480"/>
                </a:lnTo>
                <a:lnTo>
                  <a:pt x="118198" y="284480"/>
                </a:lnTo>
                <a:lnTo>
                  <a:pt x="118148" y="284314"/>
                </a:lnTo>
                <a:lnTo>
                  <a:pt x="117754" y="283210"/>
                </a:lnTo>
                <a:lnTo>
                  <a:pt x="118313" y="283210"/>
                </a:lnTo>
                <a:lnTo>
                  <a:pt x="118148" y="284314"/>
                </a:lnTo>
                <a:lnTo>
                  <a:pt x="118948" y="283210"/>
                </a:lnTo>
                <a:lnTo>
                  <a:pt x="119100" y="283210"/>
                </a:lnTo>
                <a:lnTo>
                  <a:pt x="119075" y="281940"/>
                </a:lnTo>
                <a:lnTo>
                  <a:pt x="120611" y="281940"/>
                </a:lnTo>
                <a:lnTo>
                  <a:pt x="120980" y="280670"/>
                </a:lnTo>
                <a:lnTo>
                  <a:pt x="122161" y="280670"/>
                </a:lnTo>
                <a:lnTo>
                  <a:pt x="122021" y="279400"/>
                </a:lnTo>
                <a:lnTo>
                  <a:pt x="121475" y="278130"/>
                </a:lnTo>
                <a:lnTo>
                  <a:pt x="121831"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79" y="269240"/>
                </a:lnTo>
                <a:lnTo>
                  <a:pt x="126593" y="267970"/>
                </a:lnTo>
                <a:lnTo>
                  <a:pt x="126568" y="269240"/>
                </a:lnTo>
                <a:lnTo>
                  <a:pt x="127050" y="269240"/>
                </a:lnTo>
                <a:lnTo>
                  <a:pt x="126873" y="270510"/>
                </a:lnTo>
                <a:lnTo>
                  <a:pt x="127228" y="270510"/>
                </a:lnTo>
                <a:lnTo>
                  <a:pt x="127330" y="269240"/>
                </a:lnTo>
                <a:lnTo>
                  <a:pt x="127381" y="267970"/>
                </a:lnTo>
                <a:lnTo>
                  <a:pt x="128231" y="267970"/>
                </a:lnTo>
                <a:lnTo>
                  <a:pt x="128778"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61"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59" y="241300"/>
                </a:lnTo>
                <a:lnTo>
                  <a:pt x="144932" y="241300"/>
                </a:lnTo>
                <a:lnTo>
                  <a:pt x="145288" y="240030"/>
                </a:lnTo>
                <a:lnTo>
                  <a:pt x="146659" y="240030"/>
                </a:lnTo>
                <a:lnTo>
                  <a:pt x="146850" y="238760"/>
                </a:lnTo>
                <a:lnTo>
                  <a:pt x="146240" y="238760"/>
                </a:lnTo>
                <a:lnTo>
                  <a:pt x="146456" y="237490"/>
                </a:lnTo>
                <a:lnTo>
                  <a:pt x="146824" y="236220"/>
                </a:lnTo>
                <a:lnTo>
                  <a:pt x="147421" y="234950"/>
                </a:lnTo>
                <a:lnTo>
                  <a:pt x="149606" y="234950"/>
                </a:lnTo>
                <a:lnTo>
                  <a:pt x="149059" y="233680"/>
                </a:lnTo>
                <a:lnTo>
                  <a:pt x="149123" y="232410"/>
                </a:lnTo>
                <a:lnTo>
                  <a:pt x="150215" y="232410"/>
                </a:lnTo>
                <a:lnTo>
                  <a:pt x="152006" y="231140"/>
                </a:lnTo>
                <a:lnTo>
                  <a:pt x="152184" y="231140"/>
                </a:lnTo>
                <a:lnTo>
                  <a:pt x="151663" y="229870"/>
                </a:lnTo>
                <a:lnTo>
                  <a:pt x="151498" y="228600"/>
                </a:lnTo>
                <a:lnTo>
                  <a:pt x="152501" y="228600"/>
                </a:lnTo>
                <a:lnTo>
                  <a:pt x="153009" y="227330"/>
                </a:lnTo>
                <a:lnTo>
                  <a:pt x="154724" y="227330"/>
                </a:lnTo>
                <a:lnTo>
                  <a:pt x="154914" y="226060"/>
                </a:lnTo>
                <a:lnTo>
                  <a:pt x="154800" y="224790"/>
                </a:lnTo>
                <a:lnTo>
                  <a:pt x="155244" y="224790"/>
                </a:lnTo>
                <a:lnTo>
                  <a:pt x="155638" y="223520"/>
                </a:lnTo>
                <a:lnTo>
                  <a:pt x="156629" y="223520"/>
                </a:lnTo>
                <a:lnTo>
                  <a:pt x="156921" y="222250"/>
                </a:lnTo>
                <a:lnTo>
                  <a:pt x="157518" y="220980"/>
                </a:lnTo>
                <a:lnTo>
                  <a:pt x="158038" y="219710"/>
                </a:lnTo>
                <a:lnTo>
                  <a:pt x="158940" y="219710"/>
                </a:lnTo>
                <a:lnTo>
                  <a:pt x="160007" y="217170"/>
                </a:lnTo>
                <a:lnTo>
                  <a:pt x="160502" y="215900"/>
                </a:lnTo>
                <a:lnTo>
                  <a:pt x="161772" y="215900"/>
                </a:lnTo>
                <a:lnTo>
                  <a:pt x="162941" y="212090"/>
                </a:lnTo>
                <a:lnTo>
                  <a:pt x="164287" y="210820"/>
                </a:lnTo>
                <a:lnTo>
                  <a:pt x="165315" y="208280"/>
                </a:lnTo>
                <a:lnTo>
                  <a:pt x="167271" y="207010"/>
                </a:lnTo>
                <a:lnTo>
                  <a:pt x="166852" y="205740"/>
                </a:lnTo>
                <a:lnTo>
                  <a:pt x="167119" y="205740"/>
                </a:lnTo>
                <a:lnTo>
                  <a:pt x="167601" y="204470"/>
                </a:lnTo>
                <a:lnTo>
                  <a:pt x="169672" y="203200"/>
                </a:lnTo>
                <a:lnTo>
                  <a:pt x="170726" y="200660"/>
                </a:lnTo>
                <a:lnTo>
                  <a:pt x="171970" y="198120"/>
                </a:lnTo>
                <a:lnTo>
                  <a:pt x="172580" y="198120"/>
                </a:lnTo>
                <a:lnTo>
                  <a:pt x="173050" y="196850"/>
                </a:lnTo>
                <a:lnTo>
                  <a:pt x="172910" y="194310"/>
                </a:lnTo>
                <a:lnTo>
                  <a:pt x="173977" y="195580"/>
                </a:lnTo>
                <a:lnTo>
                  <a:pt x="175323" y="194310"/>
                </a:lnTo>
                <a:lnTo>
                  <a:pt x="176022" y="194310"/>
                </a:lnTo>
                <a:lnTo>
                  <a:pt x="175742" y="193040"/>
                </a:lnTo>
                <a:lnTo>
                  <a:pt x="177101" y="191770"/>
                </a:lnTo>
                <a:lnTo>
                  <a:pt x="176898" y="190500"/>
                </a:lnTo>
                <a:lnTo>
                  <a:pt x="179031" y="190500"/>
                </a:lnTo>
                <a:lnTo>
                  <a:pt x="179082" y="189230"/>
                </a:lnTo>
                <a:lnTo>
                  <a:pt x="179146" y="187960"/>
                </a:lnTo>
                <a:lnTo>
                  <a:pt x="180314" y="187960"/>
                </a:lnTo>
                <a:lnTo>
                  <a:pt x="180365" y="186690"/>
                </a:lnTo>
                <a:lnTo>
                  <a:pt x="180467" y="185420"/>
                </a:lnTo>
                <a:lnTo>
                  <a:pt x="180809" y="185420"/>
                </a:lnTo>
                <a:lnTo>
                  <a:pt x="181698" y="186690"/>
                </a:lnTo>
                <a:lnTo>
                  <a:pt x="181571" y="185420"/>
                </a:lnTo>
                <a:lnTo>
                  <a:pt x="181622" y="184150"/>
                </a:lnTo>
                <a:lnTo>
                  <a:pt x="182511" y="184150"/>
                </a:lnTo>
                <a:lnTo>
                  <a:pt x="182308" y="182880"/>
                </a:lnTo>
                <a:lnTo>
                  <a:pt x="183426" y="182880"/>
                </a:lnTo>
                <a:lnTo>
                  <a:pt x="183388" y="181610"/>
                </a:lnTo>
                <a:lnTo>
                  <a:pt x="184861" y="181610"/>
                </a:lnTo>
                <a:lnTo>
                  <a:pt x="184899" y="180340"/>
                </a:lnTo>
                <a:lnTo>
                  <a:pt x="185127" y="179070"/>
                </a:lnTo>
                <a:lnTo>
                  <a:pt x="186855" y="179070"/>
                </a:lnTo>
                <a:lnTo>
                  <a:pt x="186905" y="176530"/>
                </a:lnTo>
                <a:lnTo>
                  <a:pt x="187947" y="176530"/>
                </a:lnTo>
                <a:lnTo>
                  <a:pt x="188290" y="175260"/>
                </a:lnTo>
                <a:lnTo>
                  <a:pt x="188582" y="175260"/>
                </a:lnTo>
                <a:lnTo>
                  <a:pt x="189598" y="173990"/>
                </a:lnTo>
                <a:lnTo>
                  <a:pt x="189750" y="172720"/>
                </a:lnTo>
                <a:lnTo>
                  <a:pt x="191135" y="171450"/>
                </a:lnTo>
                <a:lnTo>
                  <a:pt x="190385" y="171450"/>
                </a:lnTo>
                <a:lnTo>
                  <a:pt x="190398" y="170180"/>
                </a:lnTo>
                <a:lnTo>
                  <a:pt x="192430" y="170180"/>
                </a:lnTo>
                <a:lnTo>
                  <a:pt x="193065" y="168910"/>
                </a:lnTo>
                <a:lnTo>
                  <a:pt x="193408" y="167640"/>
                </a:lnTo>
                <a:lnTo>
                  <a:pt x="194703" y="166370"/>
                </a:lnTo>
                <a:lnTo>
                  <a:pt x="193903" y="166370"/>
                </a:lnTo>
                <a:lnTo>
                  <a:pt x="194640" y="165100"/>
                </a:lnTo>
                <a:lnTo>
                  <a:pt x="194729" y="166370"/>
                </a:lnTo>
                <a:lnTo>
                  <a:pt x="195199" y="166370"/>
                </a:lnTo>
                <a:lnTo>
                  <a:pt x="196062" y="165100"/>
                </a:lnTo>
                <a:lnTo>
                  <a:pt x="195846" y="165100"/>
                </a:lnTo>
                <a:lnTo>
                  <a:pt x="196037" y="163830"/>
                </a:lnTo>
                <a:lnTo>
                  <a:pt x="196430" y="163830"/>
                </a:lnTo>
                <a:lnTo>
                  <a:pt x="196811" y="162560"/>
                </a:lnTo>
                <a:lnTo>
                  <a:pt x="197154" y="162560"/>
                </a:lnTo>
                <a:lnTo>
                  <a:pt x="197396" y="161290"/>
                </a:lnTo>
                <a:lnTo>
                  <a:pt x="198678" y="160020"/>
                </a:lnTo>
                <a:lnTo>
                  <a:pt x="199694" y="160020"/>
                </a:lnTo>
                <a:lnTo>
                  <a:pt x="199910" y="158750"/>
                </a:lnTo>
                <a:lnTo>
                  <a:pt x="200583" y="157480"/>
                </a:lnTo>
                <a:lnTo>
                  <a:pt x="201269" y="157480"/>
                </a:lnTo>
                <a:lnTo>
                  <a:pt x="201739" y="154940"/>
                </a:lnTo>
                <a:lnTo>
                  <a:pt x="203530" y="154940"/>
                </a:lnTo>
                <a:lnTo>
                  <a:pt x="203466" y="153670"/>
                </a:lnTo>
                <a:lnTo>
                  <a:pt x="204139" y="153670"/>
                </a:lnTo>
                <a:lnTo>
                  <a:pt x="204203" y="152400"/>
                </a:lnTo>
                <a:lnTo>
                  <a:pt x="205486" y="152400"/>
                </a:lnTo>
                <a:lnTo>
                  <a:pt x="204990"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69" y="139700"/>
                </a:lnTo>
                <a:lnTo>
                  <a:pt x="213258" y="139700"/>
                </a:lnTo>
                <a:lnTo>
                  <a:pt x="213779" y="138430"/>
                </a:lnTo>
                <a:lnTo>
                  <a:pt x="215798" y="138430"/>
                </a:lnTo>
                <a:lnTo>
                  <a:pt x="216154" y="137160"/>
                </a:lnTo>
                <a:lnTo>
                  <a:pt x="216662" y="135890"/>
                </a:lnTo>
                <a:lnTo>
                  <a:pt x="217093" y="134620"/>
                </a:lnTo>
                <a:lnTo>
                  <a:pt x="217665" y="133350"/>
                </a:lnTo>
                <a:lnTo>
                  <a:pt x="219760" y="133350"/>
                </a:lnTo>
                <a:lnTo>
                  <a:pt x="220319" y="132080"/>
                </a:lnTo>
                <a:lnTo>
                  <a:pt x="221767" y="129540"/>
                </a:lnTo>
                <a:lnTo>
                  <a:pt x="222148" y="128270"/>
                </a:lnTo>
                <a:lnTo>
                  <a:pt x="222872" y="128270"/>
                </a:lnTo>
                <a:lnTo>
                  <a:pt x="222885" y="127000"/>
                </a:lnTo>
                <a:lnTo>
                  <a:pt x="224688" y="127000"/>
                </a:lnTo>
                <a:lnTo>
                  <a:pt x="224828" y="125730"/>
                </a:lnTo>
                <a:lnTo>
                  <a:pt x="225044" y="125730"/>
                </a:lnTo>
                <a:lnTo>
                  <a:pt x="225348" y="124460"/>
                </a:lnTo>
                <a:lnTo>
                  <a:pt x="225590" y="124460"/>
                </a:lnTo>
                <a:lnTo>
                  <a:pt x="226504" y="123190"/>
                </a:lnTo>
                <a:lnTo>
                  <a:pt x="227863" y="121920"/>
                </a:lnTo>
                <a:lnTo>
                  <a:pt x="228409" y="120650"/>
                </a:lnTo>
                <a:lnTo>
                  <a:pt x="229577" y="120650"/>
                </a:lnTo>
                <a:lnTo>
                  <a:pt x="229793" y="119380"/>
                </a:lnTo>
                <a:lnTo>
                  <a:pt x="230174" y="118110"/>
                </a:lnTo>
                <a:lnTo>
                  <a:pt x="230809" y="118110"/>
                </a:lnTo>
                <a:lnTo>
                  <a:pt x="231063" y="116840"/>
                </a:lnTo>
                <a:lnTo>
                  <a:pt x="231597"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31" y="102870"/>
                </a:lnTo>
                <a:lnTo>
                  <a:pt x="241122" y="101600"/>
                </a:lnTo>
                <a:lnTo>
                  <a:pt x="241858" y="104140"/>
                </a:lnTo>
                <a:lnTo>
                  <a:pt x="242824"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07" y="91440"/>
                </a:lnTo>
                <a:lnTo>
                  <a:pt x="253085" y="90170"/>
                </a:lnTo>
                <a:lnTo>
                  <a:pt x="254050" y="88900"/>
                </a:lnTo>
                <a:lnTo>
                  <a:pt x="254901" y="87630"/>
                </a:lnTo>
                <a:lnTo>
                  <a:pt x="255524" y="88900"/>
                </a:lnTo>
                <a:lnTo>
                  <a:pt x="255625" y="87630"/>
                </a:lnTo>
                <a:lnTo>
                  <a:pt x="255854" y="86360"/>
                </a:lnTo>
                <a:lnTo>
                  <a:pt x="256616" y="86360"/>
                </a:lnTo>
                <a:lnTo>
                  <a:pt x="257670" y="85090"/>
                </a:lnTo>
                <a:lnTo>
                  <a:pt x="258343" y="85090"/>
                </a:lnTo>
                <a:lnTo>
                  <a:pt x="258445" y="83820"/>
                </a:lnTo>
                <a:lnTo>
                  <a:pt x="260108" y="83820"/>
                </a:lnTo>
                <a:lnTo>
                  <a:pt x="260286" y="82550"/>
                </a:lnTo>
                <a:lnTo>
                  <a:pt x="261264" y="81280"/>
                </a:lnTo>
                <a:lnTo>
                  <a:pt x="261327" y="80010"/>
                </a:lnTo>
                <a:lnTo>
                  <a:pt x="263588" y="78740"/>
                </a:lnTo>
                <a:lnTo>
                  <a:pt x="263817" y="78740"/>
                </a:lnTo>
                <a:lnTo>
                  <a:pt x="263652" y="77470"/>
                </a:lnTo>
                <a:lnTo>
                  <a:pt x="264972" y="77470"/>
                </a:lnTo>
                <a:lnTo>
                  <a:pt x="265341" y="76200"/>
                </a:lnTo>
                <a:lnTo>
                  <a:pt x="265480" y="76200"/>
                </a:lnTo>
                <a:lnTo>
                  <a:pt x="266014" y="74930"/>
                </a:lnTo>
                <a:lnTo>
                  <a:pt x="268185" y="74930"/>
                </a:lnTo>
                <a:lnTo>
                  <a:pt x="267639" y="73660"/>
                </a:lnTo>
                <a:lnTo>
                  <a:pt x="268173" y="72390"/>
                </a:lnTo>
                <a:lnTo>
                  <a:pt x="270167" y="72390"/>
                </a:lnTo>
                <a:lnTo>
                  <a:pt x="271322" y="69850"/>
                </a:lnTo>
                <a:lnTo>
                  <a:pt x="273329" y="68580"/>
                </a:lnTo>
                <a:lnTo>
                  <a:pt x="274980" y="66040"/>
                </a:lnTo>
                <a:lnTo>
                  <a:pt x="275475" y="66040"/>
                </a:lnTo>
                <a:lnTo>
                  <a:pt x="276250" y="64770"/>
                </a:lnTo>
                <a:lnTo>
                  <a:pt x="276529" y="64770"/>
                </a:lnTo>
                <a:lnTo>
                  <a:pt x="276402" y="63500"/>
                </a:lnTo>
                <a:lnTo>
                  <a:pt x="277139" y="63500"/>
                </a:lnTo>
                <a:lnTo>
                  <a:pt x="277329" y="62230"/>
                </a:lnTo>
                <a:lnTo>
                  <a:pt x="278688" y="62230"/>
                </a:lnTo>
                <a:lnTo>
                  <a:pt x="279260" y="60960"/>
                </a:lnTo>
                <a:lnTo>
                  <a:pt x="280606" y="58420"/>
                </a:lnTo>
                <a:lnTo>
                  <a:pt x="282359" y="59690"/>
                </a:lnTo>
                <a:lnTo>
                  <a:pt x="282587" y="58420"/>
                </a:lnTo>
                <a:lnTo>
                  <a:pt x="283679" y="55880"/>
                </a:lnTo>
                <a:lnTo>
                  <a:pt x="283578" y="54610"/>
                </a:lnTo>
                <a:lnTo>
                  <a:pt x="285318" y="54610"/>
                </a:lnTo>
                <a:lnTo>
                  <a:pt x="285902" y="53340"/>
                </a:lnTo>
                <a:lnTo>
                  <a:pt x="287540" y="53340"/>
                </a:lnTo>
                <a:lnTo>
                  <a:pt x="287388" y="52070"/>
                </a:lnTo>
                <a:lnTo>
                  <a:pt x="287782" y="50800"/>
                </a:lnTo>
                <a:lnTo>
                  <a:pt x="288607" y="50800"/>
                </a:lnTo>
                <a:lnTo>
                  <a:pt x="289826" y="49530"/>
                </a:lnTo>
                <a:lnTo>
                  <a:pt x="288912" y="52070"/>
                </a:lnTo>
                <a:lnTo>
                  <a:pt x="290220" y="49530"/>
                </a:lnTo>
                <a:lnTo>
                  <a:pt x="292862" y="45720"/>
                </a:lnTo>
                <a:lnTo>
                  <a:pt x="293446" y="44450"/>
                </a:lnTo>
                <a:lnTo>
                  <a:pt x="293636" y="45720"/>
                </a:lnTo>
                <a:lnTo>
                  <a:pt x="294462" y="45720"/>
                </a:lnTo>
                <a:lnTo>
                  <a:pt x="294462" y="44450"/>
                </a:lnTo>
                <a:lnTo>
                  <a:pt x="294741" y="44450"/>
                </a:lnTo>
                <a:lnTo>
                  <a:pt x="295859" y="43180"/>
                </a:lnTo>
                <a:lnTo>
                  <a:pt x="296062" y="43180"/>
                </a:lnTo>
                <a:lnTo>
                  <a:pt x="295046" y="41910"/>
                </a:lnTo>
                <a:lnTo>
                  <a:pt x="297916" y="41910"/>
                </a:lnTo>
                <a:lnTo>
                  <a:pt x="297484" y="40640"/>
                </a:lnTo>
                <a:lnTo>
                  <a:pt x="296481" y="40640"/>
                </a:lnTo>
                <a:lnTo>
                  <a:pt x="297307" y="39370"/>
                </a:lnTo>
                <a:lnTo>
                  <a:pt x="297434"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21" y="27940"/>
                </a:lnTo>
                <a:lnTo>
                  <a:pt x="317385" y="22860"/>
                </a:lnTo>
                <a:lnTo>
                  <a:pt x="318757" y="22860"/>
                </a:lnTo>
                <a:lnTo>
                  <a:pt x="317474" y="21590"/>
                </a:lnTo>
                <a:lnTo>
                  <a:pt x="318731" y="21590"/>
                </a:lnTo>
                <a:lnTo>
                  <a:pt x="319163" y="22860"/>
                </a:lnTo>
                <a:lnTo>
                  <a:pt x="319671" y="21590"/>
                </a:lnTo>
                <a:lnTo>
                  <a:pt x="320179" y="20320"/>
                </a:lnTo>
                <a:lnTo>
                  <a:pt x="321970" y="19050"/>
                </a:lnTo>
                <a:lnTo>
                  <a:pt x="324866" y="17780"/>
                </a:lnTo>
                <a:lnTo>
                  <a:pt x="325742" y="17780"/>
                </a:lnTo>
                <a:lnTo>
                  <a:pt x="326644" y="16510"/>
                </a:lnTo>
                <a:lnTo>
                  <a:pt x="327545" y="15240"/>
                </a:lnTo>
                <a:lnTo>
                  <a:pt x="328422" y="15240"/>
                </a:lnTo>
                <a:lnTo>
                  <a:pt x="329704" y="13970"/>
                </a:lnTo>
                <a:lnTo>
                  <a:pt x="328244" y="13970"/>
                </a:lnTo>
                <a:lnTo>
                  <a:pt x="327850" y="14033"/>
                </a:lnTo>
                <a:lnTo>
                  <a:pt x="327507" y="14185"/>
                </a:lnTo>
                <a:lnTo>
                  <a:pt x="327647" y="14274"/>
                </a:lnTo>
                <a:lnTo>
                  <a:pt x="326110" y="15240"/>
                </a:lnTo>
                <a:lnTo>
                  <a:pt x="326326" y="13970"/>
                </a:lnTo>
                <a:lnTo>
                  <a:pt x="327469" y="13970"/>
                </a:lnTo>
                <a:lnTo>
                  <a:pt x="327964" y="12700"/>
                </a:lnTo>
                <a:lnTo>
                  <a:pt x="329996" y="12700"/>
                </a:lnTo>
                <a:lnTo>
                  <a:pt x="330377" y="13970"/>
                </a:lnTo>
                <a:lnTo>
                  <a:pt x="331533" y="12700"/>
                </a:lnTo>
                <a:lnTo>
                  <a:pt x="330441" y="12700"/>
                </a:lnTo>
                <a:lnTo>
                  <a:pt x="330339" y="12319"/>
                </a:lnTo>
                <a:lnTo>
                  <a:pt x="332041" y="11785"/>
                </a:lnTo>
                <a:lnTo>
                  <a:pt x="332587" y="9994"/>
                </a:lnTo>
                <a:lnTo>
                  <a:pt x="332994" y="9702"/>
                </a:lnTo>
                <a:lnTo>
                  <a:pt x="333375" y="9931"/>
                </a:lnTo>
                <a:close/>
              </a:path>
            </a:pathLst>
          </a:custGeom>
          <a:solidFill>
            <a:srgbClr val="D02929"/>
          </a:solidFill>
        </p:spPr>
        <p:txBody>
          <a:bodyPr wrap="square" lIns="0" tIns="0" rIns="0" bIns="0" rtlCol="0"/>
          <a:lstStyle/>
          <a:p>
            <a:endParaRPr/>
          </a:p>
        </p:txBody>
      </p:sp>
      <p:sp>
        <p:nvSpPr>
          <p:cNvPr id="49" name="object 49"/>
          <p:cNvSpPr/>
          <p:nvPr/>
        </p:nvSpPr>
        <p:spPr>
          <a:xfrm>
            <a:off x="13152958" y="4861495"/>
            <a:ext cx="333375" cy="379730"/>
          </a:xfrm>
          <a:custGeom>
            <a:avLst/>
            <a:gdLst/>
            <a:ahLst/>
            <a:cxnLst/>
            <a:rect l="l" t="t" r="r" b="b"/>
            <a:pathLst>
              <a:path w="333375" h="379729">
                <a:moveTo>
                  <a:pt x="4483" y="313664"/>
                </a:moveTo>
                <a:lnTo>
                  <a:pt x="4279" y="313880"/>
                </a:lnTo>
                <a:lnTo>
                  <a:pt x="3873" y="314337"/>
                </a:lnTo>
                <a:lnTo>
                  <a:pt x="4000" y="314579"/>
                </a:lnTo>
                <a:lnTo>
                  <a:pt x="4368" y="314566"/>
                </a:lnTo>
                <a:lnTo>
                  <a:pt x="4445" y="314147"/>
                </a:lnTo>
                <a:lnTo>
                  <a:pt x="4483" y="313664"/>
                </a:lnTo>
                <a:close/>
              </a:path>
              <a:path w="333375" h="379729">
                <a:moveTo>
                  <a:pt x="9690" y="230314"/>
                </a:moveTo>
                <a:lnTo>
                  <a:pt x="9652" y="230124"/>
                </a:lnTo>
                <a:lnTo>
                  <a:pt x="9436" y="229933"/>
                </a:lnTo>
                <a:lnTo>
                  <a:pt x="9296" y="230022"/>
                </a:lnTo>
                <a:lnTo>
                  <a:pt x="9232" y="230200"/>
                </a:lnTo>
                <a:lnTo>
                  <a:pt x="9296" y="230327"/>
                </a:lnTo>
                <a:lnTo>
                  <a:pt x="9321" y="230492"/>
                </a:lnTo>
                <a:lnTo>
                  <a:pt x="9550" y="230746"/>
                </a:lnTo>
                <a:lnTo>
                  <a:pt x="9690" y="230670"/>
                </a:lnTo>
                <a:lnTo>
                  <a:pt x="9690" y="230454"/>
                </a:lnTo>
                <a:lnTo>
                  <a:pt x="9690" y="230314"/>
                </a:lnTo>
                <a:close/>
              </a:path>
              <a:path w="333375" h="379729">
                <a:moveTo>
                  <a:pt x="23901" y="371017"/>
                </a:moveTo>
                <a:lnTo>
                  <a:pt x="23812" y="370624"/>
                </a:lnTo>
                <a:lnTo>
                  <a:pt x="23672" y="370700"/>
                </a:lnTo>
                <a:lnTo>
                  <a:pt x="23761" y="371094"/>
                </a:lnTo>
                <a:lnTo>
                  <a:pt x="23901" y="371017"/>
                </a:lnTo>
                <a:close/>
              </a:path>
              <a:path w="333375" h="379729">
                <a:moveTo>
                  <a:pt x="38735" y="223291"/>
                </a:moveTo>
                <a:lnTo>
                  <a:pt x="38684" y="222961"/>
                </a:lnTo>
                <a:lnTo>
                  <a:pt x="38544" y="222885"/>
                </a:lnTo>
                <a:lnTo>
                  <a:pt x="38328" y="223062"/>
                </a:lnTo>
                <a:lnTo>
                  <a:pt x="38214" y="223266"/>
                </a:lnTo>
                <a:lnTo>
                  <a:pt x="38138" y="223685"/>
                </a:lnTo>
                <a:lnTo>
                  <a:pt x="38290" y="223951"/>
                </a:lnTo>
                <a:lnTo>
                  <a:pt x="38544" y="223774"/>
                </a:lnTo>
                <a:lnTo>
                  <a:pt x="38633" y="223469"/>
                </a:lnTo>
                <a:lnTo>
                  <a:pt x="38735" y="223291"/>
                </a:lnTo>
                <a:close/>
              </a:path>
              <a:path w="333375" h="379729">
                <a:moveTo>
                  <a:pt x="41986" y="222084"/>
                </a:moveTo>
                <a:lnTo>
                  <a:pt x="41884" y="221488"/>
                </a:lnTo>
                <a:lnTo>
                  <a:pt x="41783" y="221297"/>
                </a:lnTo>
                <a:lnTo>
                  <a:pt x="41567" y="220941"/>
                </a:lnTo>
                <a:lnTo>
                  <a:pt x="41414" y="220980"/>
                </a:lnTo>
                <a:lnTo>
                  <a:pt x="41109" y="222237"/>
                </a:lnTo>
                <a:lnTo>
                  <a:pt x="40805" y="223139"/>
                </a:lnTo>
                <a:lnTo>
                  <a:pt x="40322" y="224180"/>
                </a:lnTo>
                <a:lnTo>
                  <a:pt x="40297" y="224370"/>
                </a:lnTo>
                <a:lnTo>
                  <a:pt x="40500" y="224434"/>
                </a:lnTo>
                <a:lnTo>
                  <a:pt x="40741" y="224459"/>
                </a:lnTo>
                <a:lnTo>
                  <a:pt x="41986" y="222084"/>
                </a:lnTo>
                <a:close/>
              </a:path>
              <a:path w="333375" h="379729">
                <a:moveTo>
                  <a:pt x="44704" y="229870"/>
                </a:moveTo>
                <a:lnTo>
                  <a:pt x="43840" y="228600"/>
                </a:lnTo>
                <a:lnTo>
                  <a:pt x="42506" y="227330"/>
                </a:lnTo>
                <a:lnTo>
                  <a:pt x="41275" y="228600"/>
                </a:lnTo>
                <a:lnTo>
                  <a:pt x="40970" y="228600"/>
                </a:lnTo>
                <a:lnTo>
                  <a:pt x="40703" y="229870"/>
                </a:lnTo>
                <a:lnTo>
                  <a:pt x="40538" y="228600"/>
                </a:lnTo>
                <a:lnTo>
                  <a:pt x="40157" y="228600"/>
                </a:lnTo>
                <a:lnTo>
                  <a:pt x="40627" y="227330"/>
                </a:lnTo>
                <a:lnTo>
                  <a:pt x="40944" y="227330"/>
                </a:lnTo>
                <a:lnTo>
                  <a:pt x="40932" y="226060"/>
                </a:lnTo>
                <a:lnTo>
                  <a:pt x="41008" y="224790"/>
                </a:lnTo>
                <a:lnTo>
                  <a:pt x="39814" y="226060"/>
                </a:lnTo>
                <a:lnTo>
                  <a:pt x="39814" y="231140"/>
                </a:lnTo>
                <a:lnTo>
                  <a:pt x="39420" y="231140"/>
                </a:lnTo>
                <a:lnTo>
                  <a:pt x="39281" y="229870"/>
                </a:lnTo>
                <a:lnTo>
                  <a:pt x="39585" y="229870"/>
                </a:lnTo>
                <a:lnTo>
                  <a:pt x="39814" y="231140"/>
                </a:lnTo>
                <a:lnTo>
                  <a:pt x="39814" y="226060"/>
                </a:lnTo>
                <a:lnTo>
                  <a:pt x="39281" y="226060"/>
                </a:lnTo>
                <a:lnTo>
                  <a:pt x="38315" y="224497"/>
                </a:lnTo>
                <a:lnTo>
                  <a:pt x="38315" y="231140"/>
                </a:lnTo>
                <a:lnTo>
                  <a:pt x="38176" y="232410"/>
                </a:lnTo>
                <a:lnTo>
                  <a:pt x="37973" y="232410"/>
                </a:lnTo>
                <a:lnTo>
                  <a:pt x="37973" y="231140"/>
                </a:lnTo>
                <a:lnTo>
                  <a:pt x="38315" y="231140"/>
                </a:lnTo>
                <a:lnTo>
                  <a:pt x="38315" y="224497"/>
                </a:lnTo>
                <a:lnTo>
                  <a:pt x="37719" y="223520"/>
                </a:lnTo>
                <a:lnTo>
                  <a:pt x="37592" y="222250"/>
                </a:lnTo>
                <a:lnTo>
                  <a:pt x="37045" y="220980"/>
                </a:lnTo>
                <a:lnTo>
                  <a:pt x="36880" y="220980"/>
                </a:lnTo>
                <a:lnTo>
                  <a:pt x="37325" y="219710"/>
                </a:lnTo>
                <a:lnTo>
                  <a:pt x="37579" y="219710"/>
                </a:lnTo>
                <a:lnTo>
                  <a:pt x="38163" y="220980"/>
                </a:lnTo>
                <a:lnTo>
                  <a:pt x="38849" y="220980"/>
                </a:lnTo>
                <a:lnTo>
                  <a:pt x="39776" y="222250"/>
                </a:lnTo>
                <a:lnTo>
                  <a:pt x="40271" y="222250"/>
                </a:lnTo>
                <a:lnTo>
                  <a:pt x="40932" y="220980"/>
                </a:lnTo>
                <a:lnTo>
                  <a:pt x="40208" y="220980"/>
                </a:lnTo>
                <a:lnTo>
                  <a:pt x="39700" y="219710"/>
                </a:lnTo>
                <a:lnTo>
                  <a:pt x="38163" y="219710"/>
                </a:lnTo>
                <a:lnTo>
                  <a:pt x="38265" y="218440"/>
                </a:lnTo>
                <a:lnTo>
                  <a:pt x="38633" y="217170"/>
                </a:lnTo>
                <a:lnTo>
                  <a:pt x="38989" y="215900"/>
                </a:lnTo>
                <a:lnTo>
                  <a:pt x="38722" y="214630"/>
                </a:lnTo>
                <a:lnTo>
                  <a:pt x="37223" y="214630"/>
                </a:lnTo>
                <a:lnTo>
                  <a:pt x="36703" y="213360"/>
                </a:lnTo>
                <a:lnTo>
                  <a:pt x="36309" y="212090"/>
                </a:lnTo>
                <a:lnTo>
                  <a:pt x="35458" y="213360"/>
                </a:lnTo>
                <a:lnTo>
                  <a:pt x="35242" y="213360"/>
                </a:lnTo>
                <a:lnTo>
                  <a:pt x="35394" y="214630"/>
                </a:lnTo>
                <a:lnTo>
                  <a:pt x="35712" y="215900"/>
                </a:lnTo>
                <a:lnTo>
                  <a:pt x="35712" y="224790"/>
                </a:lnTo>
                <a:lnTo>
                  <a:pt x="35699" y="226060"/>
                </a:lnTo>
                <a:lnTo>
                  <a:pt x="35661" y="224790"/>
                </a:lnTo>
                <a:lnTo>
                  <a:pt x="35712" y="215900"/>
                </a:lnTo>
                <a:lnTo>
                  <a:pt x="35306" y="215900"/>
                </a:lnTo>
                <a:lnTo>
                  <a:pt x="35229" y="217170"/>
                </a:lnTo>
                <a:lnTo>
                  <a:pt x="34696" y="217170"/>
                </a:lnTo>
                <a:lnTo>
                  <a:pt x="34747" y="215900"/>
                </a:lnTo>
                <a:lnTo>
                  <a:pt x="34759" y="214630"/>
                </a:lnTo>
                <a:lnTo>
                  <a:pt x="34150" y="213360"/>
                </a:lnTo>
                <a:lnTo>
                  <a:pt x="33820" y="213360"/>
                </a:lnTo>
                <a:lnTo>
                  <a:pt x="33820" y="226060"/>
                </a:lnTo>
                <a:lnTo>
                  <a:pt x="33388" y="226060"/>
                </a:lnTo>
                <a:lnTo>
                  <a:pt x="33159" y="224790"/>
                </a:lnTo>
                <a:lnTo>
                  <a:pt x="31483" y="224790"/>
                </a:lnTo>
                <a:lnTo>
                  <a:pt x="31229" y="223520"/>
                </a:lnTo>
                <a:lnTo>
                  <a:pt x="32105" y="223520"/>
                </a:lnTo>
                <a:lnTo>
                  <a:pt x="32550" y="222250"/>
                </a:lnTo>
                <a:lnTo>
                  <a:pt x="32981" y="223520"/>
                </a:lnTo>
                <a:lnTo>
                  <a:pt x="33451" y="223520"/>
                </a:lnTo>
                <a:lnTo>
                  <a:pt x="33591" y="224790"/>
                </a:lnTo>
                <a:lnTo>
                  <a:pt x="33820" y="226060"/>
                </a:lnTo>
                <a:lnTo>
                  <a:pt x="33820" y="213360"/>
                </a:lnTo>
                <a:lnTo>
                  <a:pt x="32778" y="213360"/>
                </a:lnTo>
                <a:lnTo>
                  <a:pt x="32054" y="214630"/>
                </a:lnTo>
                <a:lnTo>
                  <a:pt x="30010" y="214630"/>
                </a:lnTo>
                <a:lnTo>
                  <a:pt x="29794" y="213360"/>
                </a:lnTo>
                <a:lnTo>
                  <a:pt x="29210" y="213360"/>
                </a:lnTo>
                <a:lnTo>
                  <a:pt x="28600" y="212090"/>
                </a:lnTo>
                <a:lnTo>
                  <a:pt x="27343" y="213360"/>
                </a:lnTo>
                <a:lnTo>
                  <a:pt x="27025" y="213360"/>
                </a:lnTo>
                <a:lnTo>
                  <a:pt x="27279" y="214630"/>
                </a:lnTo>
                <a:lnTo>
                  <a:pt x="27749" y="215900"/>
                </a:lnTo>
                <a:lnTo>
                  <a:pt x="27152" y="215900"/>
                </a:lnTo>
                <a:lnTo>
                  <a:pt x="27038" y="217170"/>
                </a:lnTo>
                <a:lnTo>
                  <a:pt x="26250" y="217170"/>
                </a:lnTo>
                <a:lnTo>
                  <a:pt x="26314" y="215900"/>
                </a:lnTo>
                <a:lnTo>
                  <a:pt x="26314" y="214630"/>
                </a:lnTo>
                <a:lnTo>
                  <a:pt x="25400" y="213360"/>
                </a:lnTo>
                <a:lnTo>
                  <a:pt x="24638" y="213360"/>
                </a:lnTo>
                <a:lnTo>
                  <a:pt x="24638" y="224790"/>
                </a:lnTo>
                <a:lnTo>
                  <a:pt x="24371" y="224790"/>
                </a:lnTo>
                <a:lnTo>
                  <a:pt x="24625" y="226060"/>
                </a:lnTo>
                <a:lnTo>
                  <a:pt x="23977" y="226060"/>
                </a:lnTo>
                <a:lnTo>
                  <a:pt x="24053" y="224790"/>
                </a:lnTo>
                <a:lnTo>
                  <a:pt x="22796" y="224790"/>
                </a:lnTo>
                <a:lnTo>
                  <a:pt x="22593" y="226060"/>
                </a:lnTo>
                <a:lnTo>
                  <a:pt x="21234" y="226060"/>
                </a:lnTo>
                <a:lnTo>
                  <a:pt x="20891" y="224790"/>
                </a:lnTo>
                <a:lnTo>
                  <a:pt x="20434" y="224790"/>
                </a:lnTo>
                <a:lnTo>
                  <a:pt x="20993" y="223520"/>
                </a:lnTo>
                <a:lnTo>
                  <a:pt x="22415" y="223520"/>
                </a:lnTo>
                <a:lnTo>
                  <a:pt x="23063" y="222250"/>
                </a:lnTo>
                <a:lnTo>
                  <a:pt x="23723" y="223520"/>
                </a:lnTo>
                <a:lnTo>
                  <a:pt x="24434" y="223520"/>
                </a:lnTo>
                <a:lnTo>
                  <a:pt x="24638" y="224790"/>
                </a:lnTo>
                <a:lnTo>
                  <a:pt x="24638" y="213360"/>
                </a:lnTo>
                <a:lnTo>
                  <a:pt x="23329" y="213360"/>
                </a:lnTo>
                <a:lnTo>
                  <a:pt x="21869" y="214630"/>
                </a:lnTo>
                <a:lnTo>
                  <a:pt x="20955" y="215900"/>
                </a:lnTo>
                <a:lnTo>
                  <a:pt x="19735" y="217170"/>
                </a:lnTo>
                <a:lnTo>
                  <a:pt x="19532" y="217170"/>
                </a:lnTo>
                <a:lnTo>
                  <a:pt x="17907" y="214630"/>
                </a:lnTo>
                <a:lnTo>
                  <a:pt x="16789" y="215900"/>
                </a:lnTo>
                <a:lnTo>
                  <a:pt x="16471" y="218440"/>
                </a:lnTo>
                <a:lnTo>
                  <a:pt x="16408" y="219710"/>
                </a:lnTo>
                <a:lnTo>
                  <a:pt x="13817" y="218440"/>
                </a:lnTo>
                <a:lnTo>
                  <a:pt x="13957" y="219710"/>
                </a:lnTo>
                <a:lnTo>
                  <a:pt x="14757" y="220980"/>
                </a:lnTo>
                <a:lnTo>
                  <a:pt x="15455" y="223520"/>
                </a:lnTo>
                <a:lnTo>
                  <a:pt x="15328" y="224790"/>
                </a:lnTo>
                <a:lnTo>
                  <a:pt x="14605" y="224790"/>
                </a:lnTo>
                <a:lnTo>
                  <a:pt x="14389" y="223520"/>
                </a:lnTo>
                <a:lnTo>
                  <a:pt x="14122" y="222250"/>
                </a:lnTo>
                <a:lnTo>
                  <a:pt x="12814" y="220980"/>
                </a:lnTo>
                <a:lnTo>
                  <a:pt x="11645" y="220980"/>
                </a:lnTo>
                <a:lnTo>
                  <a:pt x="11506" y="223520"/>
                </a:lnTo>
                <a:lnTo>
                  <a:pt x="13627" y="223520"/>
                </a:lnTo>
                <a:lnTo>
                  <a:pt x="12217" y="224790"/>
                </a:lnTo>
                <a:lnTo>
                  <a:pt x="10693" y="224790"/>
                </a:lnTo>
                <a:lnTo>
                  <a:pt x="11607" y="227330"/>
                </a:lnTo>
                <a:lnTo>
                  <a:pt x="11582" y="228600"/>
                </a:lnTo>
                <a:lnTo>
                  <a:pt x="11150" y="232410"/>
                </a:lnTo>
                <a:lnTo>
                  <a:pt x="9144" y="233680"/>
                </a:lnTo>
                <a:lnTo>
                  <a:pt x="7467" y="234950"/>
                </a:lnTo>
                <a:lnTo>
                  <a:pt x="7683" y="236220"/>
                </a:lnTo>
                <a:lnTo>
                  <a:pt x="6769" y="237490"/>
                </a:lnTo>
                <a:lnTo>
                  <a:pt x="5194" y="237490"/>
                </a:lnTo>
                <a:lnTo>
                  <a:pt x="4686" y="238760"/>
                </a:lnTo>
                <a:lnTo>
                  <a:pt x="3937" y="241300"/>
                </a:lnTo>
                <a:lnTo>
                  <a:pt x="1701" y="243840"/>
                </a:lnTo>
                <a:lnTo>
                  <a:pt x="787" y="243840"/>
                </a:lnTo>
                <a:lnTo>
                  <a:pt x="1193" y="245110"/>
                </a:lnTo>
                <a:lnTo>
                  <a:pt x="4051" y="245110"/>
                </a:lnTo>
                <a:lnTo>
                  <a:pt x="44488" y="245110"/>
                </a:lnTo>
                <a:lnTo>
                  <a:pt x="44488" y="243840"/>
                </a:lnTo>
                <a:lnTo>
                  <a:pt x="43891" y="241300"/>
                </a:lnTo>
                <a:lnTo>
                  <a:pt x="43726" y="240030"/>
                </a:lnTo>
                <a:lnTo>
                  <a:pt x="42646" y="240030"/>
                </a:lnTo>
                <a:lnTo>
                  <a:pt x="43167" y="238760"/>
                </a:lnTo>
                <a:lnTo>
                  <a:pt x="43662" y="238760"/>
                </a:lnTo>
                <a:lnTo>
                  <a:pt x="44018" y="236220"/>
                </a:lnTo>
                <a:lnTo>
                  <a:pt x="44018" y="234950"/>
                </a:lnTo>
                <a:lnTo>
                  <a:pt x="44132" y="233680"/>
                </a:lnTo>
                <a:lnTo>
                  <a:pt x="44246" y="232410"/>
                </a:lnTo>
                <a:lnTo>
                  <a:pt x="43624" y="232410"/>
                </a:lnTo>
                <a:lnTo>
                  <a:pt x="41122" y="232410"/>
                </a:lnTo>
                <a:lnTo>
                  <a:pt x="41122" y="234950"/>
                </a:lnTo>
                <a:lnTo>
                  <a:pt x="40525" y="234950"/>
                </a:lnTo>
                <a:lnTo>
                  <a:pt x="40538" y="233680"/>
                </a:lnTo>
                <a:lnTo>
                  <a:pt x="41059" y="233680"/>
                </a:lnTo>
                <a:lnTo>
                  <a:pt x="41122" y="234950"/>
                </a:lnTo>
                <a:lnTo>
                  <a:pt x="41122" y="232410"/>
                </a:lnTo>
                <a:lnTo>
                  <a:pt x="40627" y="232410"/>
                </a:lnTo>
                <a:lnTo>
                  <a:pt x="40881" y="231140"/>
                </a:lnTo>
                <a:lnTo>
                  <a:pt x="41363" y="231140"/>
                </a:lnTo>
                <a:lnTo>
                  <a:pt x="42494" y="229870"/>
                </a:lnTo>
                <a:lnTo>
                  <a:pt x="43167" y="229870"/>
                </a:lnTo>
                <a:lnTo>
                  <a:pt x="43853" y="231140"/>
                </a:lnTo>
                <a:lnTo>
                  <a:pt x="43624" y="232410"/>
                </a:lnTo>
                <a:lnTo>
                  <a:pt x="44704" y="231140"/>
                </a:lnTo>
                <a:lnTo>
                  <a:pt x="44704" y="229870"/>
                </a:lnTo>
                <a:close/>
              </a:path>
              <a:path w="333375" h="379729">
                <a:moveTo>
                  <a:pt x="50495" y="279133"/>
                </a:moveTo>
                <a:lnTo>
                  <a:pt x="50342" y="278930"/>
                </a:lnTo>
                <a:lnTo>
                  <a:pt x="50139" y="278828"/>
                </a:lnTo>
                <a:lnTo>
                  <a:pt x="50139" y="279184"/>
                </a:lnTo>
                <a:lnTo>
                  <a:pt x="50330" y="279285"/>
                </a:lnTo>
                <a:lnTo>
                  <a:pt x="50469" y="279247"/>
                </a:lnTo>
                <a:close/>
              </a:path>
              <a:path w="333375" h="379729">
                <a:moveTo>
                  <a:pt x="52171" y="294322"/>
                </a:moveTo>
                <a:lnTo>
                  <a:pt x="52006" y="294424"/>
                </a:lnTo>
                <a:lnTo>
                  <a:pt x="51790" y="294576"/>
                </a:lnTo>
                <a:lnTo>
                  <a:pt x="52070" y="294398"/>
                </a:lnTo>
                <a:close/>
              </a:path>
              <a:path w="333375" h="379729">
                <a:moveTo>
                  <a:pt x="52743" y="294246"/>
                </a:moveTo>
                <a:close/>
              </a:path>
              <a:path w="333375" h="379729">
                <a:moveTo>
                  <a:pt x="52793" y="294347"/>
                </a:moveTo>
                <a:lnTo>
                  <a:pt x="52578" y="294932"/>
                </a:lnTo>
                <a:lnTo>
                  <a:pt x="52730" y="294538"/>
                </a:lnTo>
                <a:lnTo>
                  <a:pt x="52793" y="294347"/>
                </a:lnTo>
                <a:close/>
              </a:path>
              <a:path w="333375" h="379729">
                <a:moveTo>
                  <a:pt x="52806" y="294132"/>
                </a:moveTo>
                <a:close/>
              </a:path>
              <a:path w="333375" h="379729">
                <a:moveTo>
                  <a:pt x="52920" y="295351"/>
                </a:moveTo>
                <a:lnTo>
                  <a:pt x="52882" y="295757"/>
                </a:lnTo>
                <a:lnTo>
                  <a:pt x="52844" y="296506"/>
                </a:lnTo>
                <a:lnTo>
                  <a:pt x="52895" y="295948"/>
                </a:lnTo>
                <a:lnTo>
                  <a:pt x="52920" y="295351"/>
                </a:lnTo>
                <a:close/>
              </a:path>
              <a:path w="333375" h="379729">
                <a:moveTo>
                  <a:pt x="53060" y="294640"/>
                </a:moveTo>
                <a:lnTo>
                  <a:pt x="53022" y="295363"/>
                </a:lnTo>
                <a:lnTo>
                  <a:pt x="53060" y="294640"/>
                </a:lnTo>
                <a:close/>
              </a:path>
              <a:path w="333375" h="379729">
                <a:moveTo>
                  <a:pt x="53200" y="297180"/>
                </a:moveTo>
                <a:lnTo>
                  <a:pt x="53200" y="297459"/>
                </a:lnTo>
                <a:lnTo>
                  <a:pt x="53200" y="297180"/>
                </a:lnTo>
                <a:close/>
              </a:path>
              <a:path w="333375" h="379729">
                <a:moveTo>
                  <a:pt x="53251" y="296799"/>
                </a:moveTo>
                <a:lnTo>
                  <a:pt x="53200" y="295998"/>
                </a:lnTo>
                <a:lnTo>
                  <a:pt x="53174" y="295694"/>
                </a:lnTo>
                <a:lnTo>
                  <a:pt x="53136" y="295198"/>
                </a:lnTo>
                <a:lnTo>
                  <a:pt x="53174" y="295922"/>
                </a:lnTo>
                <a:lnTo>
                  <a:pt x="53200" y="296367"/>
                </a:lnTo>
                <a:lnTo>
                  <a:pt x="53225" y="296633"/>
                </a:lnTo>
                <a:lnTo>
                  <a:pt x="53251" y="296799"/>
                </a:lnTo>
                <a:close/>
              </a:path>
              <a:path w="333375" h="379729">
                <a:moveTo>
                  <a:pt x="53517" y="297688"/>
                </a:moveTo>
                <a:lnTo>
                  <a:pt x="53505" y="297180"/>
                </a:lnTo>
                <a:lnTo>
                  <a:pt x="53517" y="297688"/>
                </a:lnTo>
                <a:close/>
              </a:path>
              <a:path w="333375" h="379729">
                <a:moveTo>
                  <a:pt x="53606" y="295478"/>
                </a:moveTo>
                <a:lnTo>
                  <a:pt x="53581" y="295338"/>
                </a:lnTo>
                <a:lnTo>
                  <a:pt x="53390" y="294805"/>
                </a:lnTo>
                <a:lnTo>
                  <a:pt x="53454" y="295046"/>
                </a:lnTo>
                <a:lnTo>
                  <a:pt x="53543" y="295313"/>
                </a:lnTo>
                <a:lnTo>
                  <a:pt x="53606" y="295478"/>
                </a:lnTo>
                <a:close/>
              </a:path>
              <a:path w="333375" h="379729">
                <a:moveTo>
                  <a:pt x="53670" y="372084"/>
                </a:moveTo>
                <a:close/>
              </a:path>
              <a:path w="333375" h="379729">
                <a:moveTo>
                  <a:pt x="54051" y="294703"/>
                </a:moveTo>
                <a:close/>
              </a:path>
              <a:path w="333375" h="379729">
                <a:moveTo>
                  <a:pt x="54838" y="294868"/>
                </a:moveTo>
                <a:lnTo>
                  <a:pt x="54775" y="294640"/>
                </a:lnTo>
                <a:lnTo>
                  <a:pt x="54838" y="294868"/>
                </a:lnTo>
                <a:close/>
              </a:path>
              <a:path w="333375" h="379729">
                <a:moveTo>
                  <a:pt x="54952" y="294170"/>
                </a:moveTo>
                <a:lnTo>
                  <a:pt x="54813" y="294030"/>
                </a:lnTo>
                <a:lnTo>
                  <a:pt x="54914" y="294208"/>
                </a:lnTo>
                <a:close/>
              </a:path>
              <a:path w="333375" h="379729">
                <a:moveTo>
                  <a:pt x="55270" y="295414"/>
                </a:moveTo>
                <a:close/>
              </a:path>
              <a:path w="333375" h="379729">
                <a:moveTo>
                  <a:pt x="55283" y="295440"/>
                </a:moveTo>
                <a:close/>
              </a:path>
              <a:path w="333375" h="379729">
                <a:moveTo>
                  <a:pt x="55880" y="292874"/>
                </a:moveTo>
                <a:lnTo>
                  <a:pt x="55333" y="292100"/>
                </a:lnTo>
                <a:lnTo>
                  <a:pt x="55880" y="292874"/>
                </a:lnTo>
                <a:close/>
              </a:path>
              <a:path w="333375" h="379729">
                <a:moveTo>
                  <a:pt x="56261" y="293370"/>
                </a:moveTo>
                <a:lnTo>
                  <a:pt x="55880" y="292874"/>
                </a:lnTo>
                <a:lnTo>
                  <a:pt x="56222" y="293370"/>
                </a:lnTo>
                <a:close/>
              </a:path>
              <a:path w="333375" h="379729">
                <a:moveTo>
                  <a:pt x="61607" y="280873"/>
                </a:moveTo>
                <a:lnTo>
                  <a:pt x="61239" y="280847"/>
                </a:lnTo>
                <a:lnTo>
                  <a:pt x="61214" y="280987"/>
                </a:lnTo>
                <a:lnTo>
                  <a:pt x="61150" y="281139"/>
                </a:lnTo>
                <a:lnTo>
                  <a:pt x="61239" y="281432"/>
                </a:lnTo>
                <a:lnTo>
                  <a:pt x="61391" y="281432"/>
                </a:lnTo>
                <a:lnTo>
                  <a:pt x="61493" y="281266"/>
                </a:lnTo>
                <a:lnTo>
                  <a:pt x="61569" y="281000"/>
                </a:lnTo>
                <a:lnTo>
                  <a:pt x="61607" y="280873"/>
                </a:lnTo>
                <a:close/>
              </a:path>
              <a:path w="333375" h="379729">
                <a:moveTo>
                  <a:pt x="70370" y="266623"/>
                </a:moveTo>
                <a:lnTo>
                  <a:pt x="70281" y="266458"/>
                </a:lnTo>
                <a:lnTo>
                  <a:pt x="70129" y="266344"/>
                </a:lnTo>
                <a:lnTo>
                  <a:pt x="69951" y="266319"/>
                </a:lnTo>
                <a:lnTo>
                  <a:pt x="69850" y="266471"/>
                </a:lnTo>
                <a:lnTo>
                  <a:pt x="69786" y="266687"/>
                </a:lnTo>
                <a:lnTo>
                  <a:pt x="69989" y="266979"/>
                </a:lnTo>
                <a:lnTo>
                  <a:pt x="70205" y="266890"/>
                </a:lnTo>
                <a:lnTo>
                  <a:pt x="70319" y="266687"/>
                </a:lnTo>
                <a:close/>
              </a:path>
              <a:path w="333375" h="379729">
                <a:moveTo>
                  <a:pt x="75044" y="260692"/>
                </a:moveTo>
                <a:lnTo>
                  <a:pt x="74930" y="260527"/>
                </a:lnTo>
                <a:lnTo>
                  <a:pt x="74752" y="260553"/>
                </a:lnTo>
                <a:lnTo>
                  <a:pt x="74612" y="260527"/>
                </a:lnTo>
                <a:lnTo>
                  <a:pt x="74599" y="260667"/>
                </a:lnTo>
                <a:lnTo>
                  <a:pt x="74523" y="260845"/>
                </a:lnTo>
                <a:lnTo>
                  <a:pt x="74625" y="261010"/>
                </a:lnTo>
                <a:lnTo>
                  <a:pt x="74815" y="260985"/>
                </a:lnTo>
                <a:lnTo>
                  <a:pt x="74942" y="261010"/>
                </a:lnTo>
                <a:lnTo>
                  <a:pt x="74968" y="260870"/>
                </a:lnTo>
                <a:lnTo>
                  <a:pt x="75044" y="260692"/>
                </a:lnTo>
                <a:close/>
              </a:path>
              <a:path w="333375" h="379729">
                <a:moveTo>
                  <a:pt x="87096" y="240080"/>
                </a:moveTo>
                <a:lnTo>
                  <a:pt x="87007" y="239941"/>
                </a:lnTo>
                <a:lnTo>
                  <a:pt x="86702" y="239979"/>
                </a:lnTo>
                <a:lnTo>
                  <a:pt x="86575" y="240093"/>
                </a:lnTo>
                <a:lnTo>
                  <a:pt x="86537" y="240284"/>
                </a:lnTo>
                <a:lnTo>
                  <a:pt x="86601" y="240436"/>
                </a:lnTo>
                <a:lnTo>
                  <a:pt x="86868" y="240550"/>
                </a:lnTo>
                <a:lnTo>
                  <a:pt x="87007" y="240449"/>
                </a:lnTo>
                <a:lnTo>
                  <a:pt x="87096" y="240080"/>
                </a:lnTo>
                <a:close/>
              </a:path>
              <a:path w="333375" h="379729">
                <a:moveTo>
                  <a:pt x="93230" y="229997"/>
                </a:moveTo>
                <a:lnTo>
                  <a:pt x="92964" y="229870"/>
                </a:lnTo>
                <a:lnTo>
                  <a:pt x="93205" y="230124"/>
                </a:lnTo>
                <a:lnTo>
                  <a:pt x="93230" y="229997"/>
                </a:lnTo>
                <a:close/>
              </a:path>
              <a:path w="333375" h="379729">
                <a:moveTo>
                  <a:pt x="102311" y="215861"/>
                </a:moveTo>
                <a:lnTo>
                  <a:pt x="102184" y="215633"/>
                </a:lnTo>
                <a:lnTo>
                  <a:pt x="101930" y="215468"/>
                </a:lnTo>
                <a:lnTo>
                  <a:pt x="101803" y="215734"/>
                </a:lnTo>
                <a:lnTo>
                  <a:pt x="101904" y="216001"/>
                </a:lnTo>
                <a:lnTo>
                  <a:pt x="102082" y="216052"/>
                </a:lnTo>
                <a:lnTo>
                  <a:pt x="102209" y="215925"/>
                </a:lnTo>
                <a:close/>
              </a:path>
              <a:path w="333375" h="379729">
                <a:moveTo>
                  <a:pt x="137236" y="255346"/>
                </a:moveTo>
                <a:lnTo>
                  <a:pt x="137198" y="254990"/>
                </a:lnTo>
                <a:lnTo>
                  <a:pt x="136969" y="254850"/>
                </a:lnTo>
                <a:lnTo>
                  <a:pt x="136766" y="254927"/>
                </a:lnTo>
                <a:lnTo>
                  <a:pt x="136652" y="255117"/>
                </a:lnTo>
                <a:lnTo>
                  <a:pt x="136550" y="255270"/>
                </a:lnTo>
                <a:lnTo>
                  <a:pt x="136639" y="255397"/>
                </a:lnTo>
                <a:lnTo>
                  <a:pt x="136956" y="255409"/>
                </a:lnTo>
                <a:lnTo>
                  <a:pt x="137096" y="255371"/>
                </a:lnTo>
                <a:lnTo>
                  <a:pt x="137236" y="255346"/>
                </a:lnTo>
                <a:close/>
              </a:path>
              <a:path w="333375" h="379729">
                <a:moveTo>
                  <a:pt x="139903" y="250431"/>
                </a:moveTo>
                <a:lnTo>
                  <a:pt x="139750" y="250342"/>
                </a:lnTo>
                <a:lnTo>
                  <a:pt x="139585" y="250444"/>
                </a:lnTo>
                <a:lnTo>
                  <a:pt x="139458" y="250634"/>
                </a:lnTo>
                <a:lnTo>
                  <a:pt x="139369" y="250786"/>
                </a:lnTo>
                <a:lnTo>
                  <a:pt x="139661" y="250850"/>
                </a:lnTo>
                <a:lnTo>
                  <a:pt x="139877" y="250748"/>
                </a:lnTo>
                <a:lnTo>
                  <a:pt x="139903" y="250431"/>
                </a:lnTo>
                <a:close/>
              </a:path>
              <a:path w="333375" h="379729">
                <a:moveTo>
                  <a:pt x="181305" y="109689"/>
                </a:moveTo>
                <a:lnTo>
                  <a:pt x="181254" y="109524"/>
                </a:lnTo>
                <a:lnTo>
                  <a:pt x="181076" y="109499"/>
                </a:lnTo>
                <a:lnTo>
                  <a:pt x="180936" y="109588"/>
                </a:lnTo>
                <a:lnTo>
                  <a:pt x="180886" y="109728"/>
                </a:lnTo>
                <a:lnTo>
                  <a:pt x="180886" y="110058"/>
                </a:lnTo>
                <a:lnTo>
                  <a:pt x="181013" y="110109"/>
                </a:lnTo>
                <a:lnTo>
                  <a:pt x="181152" y="109956"/>
                </a:lnTo>
                <a:lnTo>
                  <a:pt x="181305" y="109689"/>
                </a:lnTo>
                <a:close/>
              </a:path>
              <a:path w="333375" h="379729">
                <a:moveTo>
                  <a:pt x="223012" y="128549"/>
                </a:moveTo>
                <a:close/>
              </a:path>
              <a:path w="333375" h="379729">
                <a:moveTo>
                  <a:pt x="223647" y="128219"/>
                </a:moveTo>
                <a:lnTo>
                  <a:pt x="223456" y="128422"/>
                </a:lnTo>
                <a:lnTo>
                  <a:pt x="223227" y="128460"/>
                </a:lnTo>
                <a:lnTo>
                  <a:pt x="223012" y="128549"/>
                </a:lnTo>
                <a:lnTo>
                  <a:pt x="223342" y="129184"/>
                </a:lnTo>
                <a:lnTo>
                  <a:pt x="223481" y="128600"/>
                </a:lnTo>
                <a:lnTo>
                  <a:pt x="223647" y="128219"/>
                </a:lnTo>
                <a:close/>
              </a:path>
              <a:path w="333375" h="379729">
                <a:moveTo>
                  <a:pt x="223812" y="128003"/>
                </a:moveTo>
                <a:lnTo>
                  <a:pt x="223697" y="128130"/>
                </a:lnTo>
                <a:lnTo>
                  <a:pt x="223812" y="128003"/>
                </a:lnTo>
                <a:close/>
              </a:path>
              <a:path w="333375" h="379729">
                <a:moveTo>
                  <a:pt x="317665" y="1676"/>
                </a:moveTo>
                <a:lnTo>
                  <a:pt x="317588" y="1460"/>
                </a:lnTo>
                <a:lnTo>
                  <a:pt x="317449" y="1371"/>
                </a:lnTo>
                <a:lnTo>
                  <a:pt x="317271" y="1549"/>
                </a:lnTo>
                <a:lnTo>
                  <a:pt x="317360" y="1765"/>
                </a:lnTo>
                <a:lnTo>
                  <a:pt x="317487" y="1854"/>
                </a:lnTo>
                <a:lnTo>
                  <a:pt x="317665" y="1676"/>
                </a:lnTo>
                <a:close/>
              </a:path>
              <a:path w="333375" h="379729">
                <a:moveTo>
                  <a:pt x="328142" y="3263"/>
                </a:moveTo>
                <a:lnTo>
                  <a:pt x="328104" y="3124"/>
                </a:lnTo>
                <a:lnTo>
                  <a:pt x="327977" y="3073"/>
                </a:lnTo>
                <a:lnTo>
                  <a:pt x="327799" y="3213"/>
                </a:lnTo>
                <a:lnTo>
                  <a:pt x="327850" y="3365"/>
                </a:lnTo>
                <a:lnTo>
                  <a:pt x="328041" y="3467"/>
                </a:lnTo>
                <a:lnTo>
                  <a:pt x="328142" y="3263"/>
                </a:lnTo>
                <a:close/>
              </a:path>
              <a:path w="333375" h="379729">
                <a:moveTo>
                  <a:pt x="333375" y="9931"/>
                </a:moveTo>
                <a:lnTo>
                  <a:pt x="333324" y="9334"/>
                </a:lnTo>
                <a:lnTo>
                  <a:pt x="333133" y="9182"/>
                </a:lnTo>
                <a:lnTo>
                  <a:pt x="332828" y="9245"/>
                </a:lnTo>
                <a:lnTo>
                  <a:pt x="332295" y="9334"/>
                </a:lnTo>
                <a:lnTo>
                  <a:pt x="331711" y="9588"/>
                </a:lnTo>
                <a:lnTo>
                  <a:pt x="331800" y="10464"/>
                </a:lnTo>
                <a:lnTo>
                  <a:pt x="331546" y="10629"/>
                </a:lnTo>
                <a:lnTo>
                  <a:pt x="330161" y="10896"/>
                </a:lnTo>
                <a:lnTo>
                  <a:pt x="329780" y="11163"/>
                </a:lnTo>
                <a:lnTo>
                  <a:pt x="329692" y="11430"/>
                </a:lnTo>
                <a:lnTo>
                  <a:pt x="328396" y="11430"/>
                </a:lnTo>
                <a:lnTo>
                  <a:pt x="328955" y="10160"/>
                </a:lnTo>
                <a:lnTo>
                  <a:pt x="326402" y="10160"/>
                </a:lnTo>
                <a:lnTo>
                  <a:pt x="327406" y="8890"/>
                </a:lnTo>
                <a:lnTo>
                  <a:pt x="328993" y="7708"/>
                </a:lnTo>
                <a:lnTo>
                  <a:pt x="329234" y="8039"/>
                </a:lnTo>
                <a:lnTo>
                  <a:pt x="329336" y="8318"/>
                </a:lnTo>
                <a:lnTo>
                  <a:pt x="330047" y="7835"/>
                </a:lnTo>
                <a:lnTo>
                  <a:pt x="329958" y="7620"/>
                </a:lnTo>
                <a:lnTo>
                  <a:pt x="329692" y="7340"/>
                </a:lnTo>
                <a:lnTo>
                  <a:pt x="329501" y="7251"/>
                </a:lnTo>
                <a:lnTo>
                  <a:pt x="329171" y="7340"/>
                </a:lnTo>
                <a:lnTo>
                  <a:pt x="328968" y="7493"/>
                </a:lnTo>
                <a:lnTo>
                  <a:pt x="327774" y="6350"/>
                </a:lnTo>
                <a:lnTo>
                  <a:pt x="328993" y="6350"/>
                </a:lnTo>
                <a:lnTo>
                  <a:pt x="328523" y="5080"/>
                </a:lnTo>
                <a:lnTo>
                  <a:pt x="329044" y="3810"/>
                </a:lnTo>
                <a:lnTo>
                  <a:pt x="330758" y="3810"/>
                </a:lnTo>
                <a:lnTo>
                  <a:pt x="330454" y="2540"/>
                </a:lnTo>
                <a:lnTo>
                  <a:pt x="328726" y="3810"/>
                </a:lnTo>
                <a:lnTo>
                  <a:pt x="325678" y="3810"/>
                </a:lnTo>
                <a:lnTo>
                  <a:pt x="325005" y="2540"/>
                </a:lnTo>
                <a:lnTo>
                  <a:pt x="324713" y="2540"/>
                </a:lnTo>
                <a:lnTo>
                  <a:pt x="324713" y="15240"/>
                </a:lnTo>
                <a:lnTo>
                  <a:pt x="322973" y="15240"/>
                </a:lnTo>
                <a:lnTo>
                  <a:pt x="322897" y="16510"/>
                </a:lnTo>
                <a:lnTo>
                  <a:pt x="322478" y="16510"/>
                </a:lnTo>
                <a:lnTo>
                  <a:pt x="322643" y="15240"/>
                </a:lnTo>
                <a:lnTo>
                  <a:pt x="323316" y="13970"/>
                </a:lnTo>
                <a:lnTo>
                  <a:pt x="324205" y="13970"/>
                </a:lnTo>
                <a:lnTo>
                  <a:pt x="324713" y="15240"/>
                </a:lnTo>
                <a:lnTo>
                  <a:pt x="324713" y="2540"/>
                </a:lnTo>
                <a:lnTo>
                  <a:pt x="323291" y="2540"/>
                </a:lnTo>
                <a:lnTo>
                  <a:pt x="323291" y="5080"/>
                </a:lnTo>
                <a:lnTo>
                  <a:pt x="322872" y="5080"/>
                </a:lnTo>
                <a:lnTo>
                  <a:pt x="323011" y="3810"/>
                </a:lnTo>
                <a:lnTo>
                  <a:pt x="323253" y="3810"/>
                </a:lnTo>
                <a:lnTo>
                  <a:pt x="323291" y="5080"/>
                </a:lnTo>
                <a:lnTo>
                  <a:pt x="323291" y="2540"/>
                </a:lnTo>
                <a:lnTo>
                  <a:pt x="315201" y="2540"/>
                </a:lnTo>
                <a:lnTo>
                  <a:pt x="314248" y="1270"/>
                </a:lnTo>
                <a:lnTo>
                  <a:pt x="312686" y="1270"/>
                </a:lnTo>
                <a:lnTo>
                  <a:pt x="312686" y="2540"/>
                </a:lnTo>
                <a:lnTo>
                  <a:pt x="312585" y="3810"/>
                </a:lnTo>
                <a:lnTo>
                  <a:pt x="312115" y="3810"/>
                </a:lnTo>
                <a:lnTo>
                  <a:pt x="312153" y="2540"/>
                </a:lnTo>
                <a:lnTo>
                  <a:pt x="312686" y="2540"/>
                </a:lnTo>
                <a:lnTo>
                  <a:pt x="312686" y="1270"/>
                </a:lnTo>
                <a:lnTo>
                  <a:pt x="312140" y="1270"/>
                </a:lnTo>
                <a:lnTo>
                  <a:pt x="310616" y="0"/>
                </a:lnTo>
                <a:lnTo>
                  <a:pt x="307035" y="0"/>
                </a:lnTo>
                <a:lnTo>
                  <a:pt x="304952" y="1270"/>
                </a:lnTo>
                <a:lnTo>
                  <a:pt x="303847" y="2540"/>
                </a:lnTo>
                <a:lnTo>
                  <a:pt x="302361" y="1270"/>
                </a:lnTo>
                <a:lnTo>
                  <a:pt x="301955" y="1270"/>
                </a:lnTo>
                <a:lnTo>
                  <a:pt x="300659" y="2540"/>
                </a:lnTo>
                <a:lnTo>
                  <a:pt x="297865" y="3810"/>
                </a:lnTo>
                <a:lnTo>
                  <a:pt x="296887" y="3810"/>
                </a:lnTo>
                <a:lnTo>
                  <a:pt x="294233" y="5080"/>
                </a:lnTo>
                <a:lnTo>
                  <a:pt x="292887" y="6350"/>
                </a:lnTo>
                <a:lnTo>
                  <a:pt x="291528" y="6350"/>
                </a:lnTo>
                <a:lnTo>
                  <a:pt x="288861" y="8890"/>
                </a:lnTo>
                <a:lnTo>
                  <a:pt x="284962" y="10160"/>
                </a:lnTo>
                <a:lnTo>
                  <a:pt x="282943" y="12700"/>
                </a:lnTo>
                <a:lnTo>
                  <a:pt x="278828" y="15240"/>
                </a:lnTo>
                <a:lnTo>
                  <a:pt x="276809" y="15240"/>
                </a:lnTo>
                <a:lnTo>
                  <a:pt x="275386" y="17780"/>
                </a:lnTo>
                <a:lnTo>
                  <a:pt x="274421" y="19050"/>
                </a:lnTo>
                <a:lnTo>
                  <a:pt x="271399" y="20320"/>
                </a:lnTo>
                <a:lnTo>
                  <a:pt x="269900" y="22860"/>
                </a:lnTo>
                <a:lnTo>
                  <a:pt x="267817" y="24130"/>
                </a:lnTo>
                <a:lnTo>
                  <a:pt x="265823" y="24130"/>
                </a:lnTo>
                <a:lnTo>
                  <a:pt x="265163" y="26670"/>
                </a:lnTo>
                <a:lnTo>
                  <a:pt x="264337" y="26670"/>
                </a:lnTo>
                <a:lnTo>
                  <a:pt x="262458" y="29210"/>
                </a:lnTo>
                <a:lnTo>
                  <a:pt x="261175" y="29210"/>
                </a:lnTo>
                <a:lnTo>
                  <a:pt x="258876" y="31750"/>
                </a:lnTo>
                <a:lnTo>
                  <a:pt x="256540" y="31750"/>
                </a:lnTo>
                <a:lnTo>
                  <a:pt x="256120" y="34290"/>
                </a:lnTo>
                <a:lnTo>
                  <a:pt x="254292" y="35560"/>
                </a:lnTo>
                <a:lnTo>
                  <a:pt x="250202" y="39370"/>
                </a:lnTo>
                <a:lnTo>
                  <a:pt x="248450" y="39370"/>
                </a:lnTo>
                <a:lnTo>
                  <a:pt x="246341" y="43180"/>
                </a:lnTo>
                <a:lnTo>
                  <a:pt x="244868" y="44450"/>
                </a:lnTo>
                <a:lnTo>
                  <a:pt x="242341" y="45720"/>
                </a:lnTo>
                <a:lnTo>
                  <a:pt x="241490" y="45720"/>
                </a:lnTo>
                <a:lnTo>
                  <a:pt x="241909" y="48260"/>
                </a:lnTo>
                <a:lnTo>
                  <a:pt x="238963" y="48260"/>
                </a:lnTo>
                <a:lnTo>
                  <a:pt x="237312" y="52070"/>
                </a:lnTo>
                <a:lnTo>
                  <a:pt x="234759" y="53340"/>
                </a:lnTo>
                <a:lnTo>
                  <a:pt x="232397" y="55880"/>
                </a:lnTo>
                <a:lnTo>
                  <a:pt x="231381" y="57150"/>
                </a:lnTo>
                <a:lnTo>
                  <a:pt x="227761" y="58420"/>
                </a:lnTo>
                <a:lnTo>
                  <a:pt x="227533" y="60960"/>
                </a:lnTo>
                <a:lnTo>
                  <a:pt x="225412" y="62230"/>
                </a:lnTo>
                <a:lnTo>
                  <a:pt x="225412" y="63500"/>
                </a:lnTo>
                <a:lnTo>
                  <a:pt x="223354" y="63500"/>
                </a:lnTo>
                <a:lnTo>
                  <a:pt x="222897" y="64770"/>
                </a:lnTo>
                <a:lnTo>
                  <a:pt x="222669" y="66040"/>
                </a:lnTo>
                <a:lnTo>
                  <a:pt x="221945" y="67310"/>
                </a:lnTo>
                <a:lnTo>
                  <a:pt x="219989" y="68580"/>
                </a:lnTo>
                <a:lnTo>
                  <a:pt x="218478" y="68580"/>
                </a:lnTo>
                <a:lnTo>
                  <a:pt x="216928" y="71120"/>
                </a:lnTo>
                <a:lnTo>
                  <a:pt x="215722" y="72390"/>
                </a:lnTo>
                <a:lnTo>
                  <a:pt x="214960" y="74930"/>
                </a:lnTo>
                <a:lnTo>
                  <a:pt x="214058" y="74930"/>
                </a:lnTo>
                <a:lnTo>
                  <a:pt x="212229" y="76200"/>
                </a:lnTo>
                <a:lnTo>
                  <a:pt x="210172" y="78740"/>
                </a:lnTo>
                <a:lnTo>
                  <a:pt x="208457" y="80010"/>
                </a:lnTo>
                <a:lnTo>
                  <a:pt x="207327" y="81280"/>
                </a:lnTo>
                <a:lnTo>
                  <a:pt x="205409" y="83820"/>
                </a:lnTo>
                <a:lnTo>
                  <a:pt x="204863" y="85090"/>
                </a:lnTo>
                <a:lnTo>
                  <a:pt x="203949" y="86360"/>
                </a:lnTo>
                <a:lnTo>
                  <a:pt x="201485" y="87630"/>
                </a:lnTo>
                <a:lnTo>
                  <a:pt x="200291" y="88900"/>
                </a:lnTo>
                <a:lnTo>
                  <a:pt x="199796" y="90170"/>
                </a:lnTo>
                <a:lnTo>
                  <a:pt x="197345" y="90170"/>
                </a:lnTo>
                <a:lnTo>
                  <a:pt x="197980" y="91440"/>
                </a:lnTo>
                <a:lnTo>
                  <a:pt x="197904" y="93980"/>
                </a:lnTo>
                <a:lnTo>
                  <a:pt x="195465"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26" y="104140"/>
                </a:lnTo>
                <a:lnTo>
                  <a:pt x="186524" y="106680"/>
                </a:lnTo>
                <a:lnTo>
                  <a:pt x="182727" y="107950"/>
                </a:lnTo>
                <a:lnTo>
                  <a:pt x="181724" y="109220"/>
                </a:lnTo>
                <a:lnTo>
                  <a:pt x="182283" y="110490"/>
                </a:lnTo>
                <a:lnTo>
                  <a:pt x="180517" y="110490"/>
                </a:lnTo>
                <a:lnTo>
                  <a:pt x="179387" y="111760"/>
                </a:lnTo>
                <a:lnTo>
                  <a:pt x="180505" y="113030"/>
                </a:lnTo>
                <a:lnTo>
                  <a:pt x="180009" y="113030"/>
                </a:lnTo>
                <a:lnTo>
                  <a:pt x="176784" y="116840"/>
                </a:lnTo>
                <a:lnTo>
                  <a:pt x="175018" y="116840"/>
                </a:lnTo>
                <a:lnTo>
                  <a:pt x="174891" y="120650"/>
                </a:lnTo>
                <a:lnTo>
                  <a:pt x="172935" y="120650"/>
                </a:lnTo>
                <a:lnTo>
                  <a:pt x="172935" y="139700"/>
                </a:lnTo>
                <a:lnTo>
                  <a:pt x="171678" y="139700"/>
                </a:lnTo>
                <a:lnTo>
                  <a:pt x="171729" y="138430"/>
                </a:lnTo>
                <a:lnTo>
                  <a:pt x="172694" y="138430"/>
                </a:lnTo>
                <a:lnTo>
                  <a:pt x="172935" y="139700"/>
                </a:lnTo>
                <a:lnTo>
                  <a:pt x="172935" y="120650"/>
                </a:lnTo>
                <a:lnTo>
                  <a:pt x="172046" y="120650"/>
                </a:lnTo>
                <a:lnTo>
                  <a:pt x="171970" y="124460"/>
                </a:lnTo>
                <a:lnTo>
                  <a:pt x="170713" y="125247"/>
                </a:lnTo>
                <a:lnTo>
                  <a:pt x="170713"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56" y="137160"/>
                </a:lnTo>
                <a:lnTo>
                  <a:pt x="170408" y="135890"/>
                </a:lnTo>
                <a:lnTo>
                  <a:pt x="170713" y="137160"/>
                </a:lnTo>
                <a:lnTo>
                  <a:pt x="170713" y="125247"/>
                </a:lnTo>
                <a:lnTo>
                  <a:pt x="167868" y="127000"/>
                </a:lnTo>
                <a:lnTo>
                  <a:pt x="167411" y="127000"/>
                </a:lnTo>
                <a:lnTo>
                  <a:pt x="167614"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16" y="149860"/>
                </a:lnTo>
                <a:lnTo>
                  <a:pt x="158394" y="148590"/>
                </a:lnTo>
                <a:lnTo>
                  <a:pt x="159270" y="148590"/>
                </a:lnTo>
                <a:lnTo>
                  <a:pt x="159270" y="137160"/>
                </a:lnTo>
                <a:lnTo>
                  <a:pt x="158838" y="137160"/>
                </a:lnTo>
                <a:lnTo>
                  <a:pt x="159092" y="140970"/>
                </a:lnTo>
                <a:lnTo>
                  <a:pt x="156197" y="140970"/>
                </a:lnTo>
                <a:lnTo>
                  <a:pt x="156019" y="144780"/>
                </a:lnTo>
                <a:lnTo>
                  <a:pt x="154774" y="146050"/>
                </a:lnTo>
                <a:lnTo>
                  <a:pt x="152057" y="147320"/>
                </a:lnTo>
                <a:lnTo>
                  <a:pt x="151790" y="148590"/>
                </a:lnTo>
                <a:lnTo>
                  <a:pt x="152539" y="148590"/>
                </a:lnTo>
                <a:lnTo>
                  <a:pt x="151955" y="149860"/>
                </a:lnTo>
                <a:lnTo>
                  <a:pt x="150952" y="151130"/>
                </a:lnTo>
                <a:lnTo>
                  <a:pt x="150825" y="151130"/>
                </a:lnTo>
                <a:lnTo>
                  <a:pt x="149402" y="153670"/>
                </a:lnTo>
                <a:lnTo>
                  <a:pt x="149745" y="154940"/>
                </a:lnTo>
                <a:lnTo>
                  <a:pt x="151536" y="154940"/>
                </a:lnTo>
                <a:lnTo>
                  <a:pt x="151130" y="153670"/>
                </a:lnTo>
                <a:lnTo>
                  <a:pt x="151968" y="153670"/>
                </a:lnTo>
                <a:lnTo>
                  <a:pt x="153035" y="153670"/>
                </a:lnTo>
                <a:lnTo>
                  <a:pt x="152742" y="152400"/>
                </a:lnTo>
                <a:lnTo>
                  <a:pt x="153746" y="152400"/>
                </a:lnTo>
                <a:lnTo>
                  <a:pt x="153365" y="153670"/>
                </a:lnTo>
                <a:lnTo>
                  <a:pt x="153123" y="154940"/>
                </a:lnTo>
                <a:lnTo>
                  <a:pt x="151968" y="153670"/>
                </a:lnTo>
                <a:lnTo>
                  <a:pt x="152692" y="154940"/>
                </a:lnTo>
                <a:lnTo>
                  <a:pt x="151193" y="156210"/>
                </a:lnTo>
                <a:lnTo>
                  <a:pt x="150291" y="157480"/>
                </a:lnTo>
                <a:lnTo>
                  <a:pt x="147853" y="157480"/>
                </a:lnTo>
                <a:lnTo>
                  <a:pt x="147777" y="156210"/>
                </a:lnTo>
                <a:lnTo>
                  <a:pt x="147205" y="154940"/>
                </a:lnTo>
                <a:lnTo>
                  <a:pt x="145465" y="154940"/>
                </a:lnTo>
                <a:lnTo>
                  <a:pt x="145656" y="157480"/>
                </a:lnTo>
                <a:lnTo>
                  <a:pt x="144691" y="157480"/>
                </a:lnTo>
                <a:lnTo>
                  <a:pt x="143129" y="160020"/>
                </a:lnTo>
                <a:lnTo>
                  <a:pt x="141478" y="160020"/>
                </a:lnTo>
                <a:lnTo>
                  <a:pt x="142582" y="162560"/>
                </a:lnTo>
                <a:lnTo>
                  <a:pt x="142354" y="162560"/>
                </a:lnTo>
                <a:lnTo>
                  <a:pt x="140182" y="163830"/>
                </a:lnTo>
                <a:lnTo>
                  <a:pt x="138696" y="166370"/>
                </a:lnTo>
                <a:lnTo>
                  <a:pt x="136918" y="168910"/>
                </a:lnTo>
                <a:lnTo>
                  <a:pt x="135966" y="170180"/>
                </a:lnTo>
                <a:lnTo>
                  <a:pt x="134264" y="171450"/>
                </a:lnTo>
                <a:lnTo>
                  <a:pt x="133235" y="171450"/>
                </a:lnTo>
                <a:lnTo>
                  <a:pt x="134226" y="173990"/>
                </a:lnTo>
                <a:lnTo>
                  <a:pt x="133273" y="175260"/>
                </a:lnTo>
                <a:lnTo>
                  <a:pt x="130810" y="176530"/>
                </a:lnTo>
                <a:lnTo>
                  <a:pt x="129844" y="179070"/>
                </a:lnTo>
                <a:lnTo>
                  <a:pt x="127177" y="180340"/>
                </a:lnTo>
                <a:lnTo>
                  <a:pt x="126923" y="180340"/>
                </a:lnTo>
                <a:lnTo>
                  <a:pt x="126860" y="182880"/>
                </a:lnTo>
                <a:lnTo>
                  <a:pt x="125831" y="185420"/>
                </a:lnTo>
                <a:lnTo>
                  <a:pt x="125996" y="187960"/>
                </a:lnTo>
                <a:lnTo>
                  <a:pt x="124574" y="187960"/>
                </a:lnTo>
                <a:lnTo>
                  <a:pt x="124002" y="189230"/>
                </a:lnTo>
                <a:lnTo>
                  <a:pt x="123215" y="187960"/>
                </a:lnTo>
                <a:lnTo>
                  <a:pt x="123037" y="189839"/>
                </a:lnTo>
                <a:lnTo>
                  <a:pt x="123037" y="269240"/>
                </a:lnTo>
                <a:lnTo>
                  <a:pt x="122656" y="269240"/>
                </a:lnTo>
                <a:lnTo>
                  <a:pt x="122872" y="267970"/>
                </a:lnTo>
                <a:lnTo>
                  <a:pt x="123037" y="269240"/>
                </a:lnTo>
                <a:lnTo>
                  <a:pt x="123037" y="189839"/>
                </a:lnTo>
                <a:lnTo>
                  <a:pt x="122974" y="190500"/>
                </a:lnTo>
                <a:lnTo>
                  <a:pt x="121780" y="190500"/>
                </a:lnTo>
                <a:lnTo>
                  <a:pt x="120357" y="191770"/>
                </a:lnTo>
                <a:lnTo>
                  <a:pt x="119672" y="191770"/>
                </a:lnTo>
                <a:lnTo>
                  <a:pt x="118198" y="193040"/>
                </a:lnTo>
                <a:lnTo>
                  <a:pt x="119761" y="193040"/>
                </a:lnTo>
                <a:lnTo>
                  <a:pt x="119164" y="194310"/>
                </a:lnTo>
                <a:lnTo>
                  <a:pt x="118033" y="195580"/>
                </a:lnTo>
                <a:lnTo>
                  <a:pt x="117906" y="198120"/>
                </a:lnTo>
                <a:lnTo>
                  <a:pt x="115481" y="198120"/>
                </a:lnTo>
                <a:lnTo>
                  <a:pt x="116382" y="200660"/>
                </a:lnTo>
                <a:lnTo>
                  <a:pt x="115392" y="200660"/>
                </a:lnTo>
                <a:lnTo>
                  <a:pt x="113449" y="201930"/>
                </a:lnTo>
                <a:lnTo>
                  <a:pt x="113004" y="203200"/>
                </a:lnTo>
                <a:lnTo>
                  <a:pt x="111658" y="204470"/>
                </a:lnTo>
                <a:lnTo>
                  <a:pt x="110858" y="205740"/>
                </a:lnTo>
                <a:lnTo>
                  <a:pt x="110629" y="207010"/>
                </a:lnTo>
                <a:lnTo>
                  <a:pt x="108127" y="207010"/>
                </a:lnTo>
                <a:lnTo>
                  <a:pt x="108800" y="208280"/>
                </a:lnTo>
                <a:lnTo>
                  <a:pt x="107708" y="210820"/>
                </a:lnTo>
                <a:lnTo>
                  <a:pt x="107378" y="212090"/>
                </a:lnTo>
                <a:lnTo>
                  <a:pt x="105460" y="212090"/>
                </a:lnTo>
                <a:lnTo>
                  <a:pt x="105943" y="214630"/>
                </a:lnTo>
                <a:lnTo>
                  <a:pt x="104559" y="215900"/>
                </a:lnTo>
                <a:lnTo>
                  <a:pt x="104787" y="217170"/>
                </a:lnTo>
                <a:lnTo>
                  <a:pt x="100660" y="217170"/>
                </a:lnTo>
                <a:lnTo>
                  <a:pt x="100291" y="218440"/>
                </a:lnTo>
                <a:lnTo>
                  <a:pt x="101028" y="222250"/>
                </a:lnTo>
                <a:lnTo>
                  <a:pt x="99339" y="222250"/>
                </a:lnTo>
                <a:lnTo>
                  <a:pt x="99415" y="226060"/>
                </a:lnTo>
                <a:lnTo>
                  <a:pt x="94805" y="226060"/>
                </a:lnTo>
                <a:lnTo>
                  <a:pt x="96164" y="228600"/>
                </a:lnTo>
                <a:lnTo>
                  <a:pt x="96139" y="229870"/>
                </a:lnTo>
                <a:lnTo>
                  <a:pt x="95389" y="229870"/>
                </a:lnTo>
                <a:lnTo>
                  <a:pt x="95681" y="231140"/>
                </a:lnTo>
                <a:lnTo>
                  <a:pt x="93268" y="230022"/>
                </a:lnTo>
                <a:lnTo>
                  <a:pt x="93294" y="230212"/>
                </a:lnTo>
                <a:lnTo>
                  <a:pt x="94170" y="231140"/>
                </a:lnTo>
                <a:lnTo>
                  <a:pt x="93522" y="233680"/>
                </a:lnTo>
                <a:lnTo>
                  <a:pt x="93294" y="230212"/>
                </a:lnTo>
                <a:lnTo>
                  <a:pt x="92684" y="232410"/>
                </a:lnTo>
                <a:lnTo>
                  <a:pt x="92811" y="232410"/>
                </a:lnTo>
                <a:lnTo>
                  <a:pt x="93459"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80" y="248920"/>
                </a:lnTo>
                <a:lnTo>
                  <a:pt x="82791" y="251460"/>
                </a:lnTo>
                <a:lnTo>
                  <a:pt x="81267" y="251460"/>
                </a:lnTo>
                <a:lnTo>
                  <a:pt x="81241" y="251193"/>
                </a:lnTo>
                <a:lnTo>
                  <a:pt x="80835" y="251028"/>
                </a:lnTo>
                <a:lnTo>
                  <a:pt x="80835" y="251155"/>
                </a:lnTo>
                <a:lnTo>
                  <a:pt x="80797" y="251307"/>
                </a:lnTo>
                <a:lnTo>
                  <a:pt x="80962" y="251650"/>
                </a:lnTo>
                <a:lnTo>
                  <a:pt x="81153" y="251637"/>
                </a:lnTo>
                <a:lnTo>
                  <a:pt x="80645" y="254000"/>
                </a:lnTo>
                <a:lnTo>
                  <a:pt x="79489" y="252730"/>
                </a:lnTo>
                <a:lnTo>
                  <a:pt x="79489" y="254000"/>
                </a:lnTo>
                <a:lnTo>
                  <a:pt x="77317" y="255270"/>
                </a:lnTo>
                <a:lnTo>
                  <a:pt x="79019" y="256540"/>
                </a:lnTo>
                <a:lnTo>
                  <a:pt x="78879" y="256540"/>
                </a:lnTo>
                <a:lnTo>
                  <a:pt x="77470" y="257810"/>
                </a:lnTo>
                <a:lnTo>
                  <a:pt x="76771" y="259080"/>
                </a:lnTo>
                <a:lnTo>
                  <a:pt x="76288" y="261620"/>
                </a:lnTo>
                <a:lnTo>
                  <a:pt x="74790" y="261620"/>
                </a:lnTo>
                <a:lnTo>
                  <a:pt x="74510" y="262890"/>
                </a:lnTo>
                <a:lnTo>
                  <a:pt x="72936" y="265430"/>
                </a:lnTo>
                <a:lnTo>
                  <a:pt x="72453" y="266700"/>
                </a:lnTo>
                <a:lnTo>
                  <a:pt x="69481" y="269240"/>
                </a:lnTo>
                <a:lnTo>
                  <a:pt x="69519" y="271780"/>
                </a:lnTo>
                <a:lnTo>
                  <a:pt x="69138" y="270510"/>
                </a:lnTo>
                <a:lnTo>
                  <a:pt x="67894" y="273050"/>
                </a:lnTo>
                <a:lnTo>
                  <a:pt x="67386"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290" y="276860"/>
                </a:lnTo>
                <a:lnTo>
                  <a:pt x="65443" y="278130"/>
                </a:lnTo>
                <a:lnTo>
                  <a:pt x="64020" y="279400"/>
                </a:lnTo>
                <a:lnTo>
                  <a:pt x="64617" y="281940"/>
                </a:lnTo>
                <a:lnTo>
                  <a:pt x="64312" y="281940"/>
                </a:lnTo>
                <a:lnTo>
                  <a:pt x="62115" y="280670"/>
                </a:lnTo>
                <a:lnTo>
                  <a:pt x="60312" y="283210"/>
                </a:lnTo>
                <a:lnTo>
                  <a:pt x="61798" y="285750"/>
                </a:lnTo>
                <a:lnTo>
                  <a:pt x="60198" y="287020"/>
                </a:lnTo>
                <a:lnTo>
                  <a:pt x="60223" y="288290"/>
                </a:lnTo>
                <a:lnTo>
                  <a:pt x="59550" y="288290"/>
                </a:lnTo>
                <a:lnTo>
                  <a:pt x="58153" y="289560"/>
                </a:lnTo>
                <a:lnTo>
                  <a:pt x="57937" y="289560"/>
                </a:lnTo>
                <a:lnTo>
                  <a:pt x="58229" y="290830"/>
                </a:lnTo>
                <a:lnTo>
                  <a:pt x="58635" y="292100"/>
                </a:lnTo>
                <a:lnTo>
                  <a:pt x="56959" y="292100"/>
                </a:lnTo>
                <a:lnTo>
                  <a:pt x="56832" y="292544"/>
                </a:lnTo>
                <a:lnTo>
                  <a:pt x="56832" y="370840"/>
                </a:lnTo>
                <a:lnTo>
                  <a:pt x="56769" y="372110"/>
                </a:lnTo>
                <a:lnTo>
                  <a:pt x="55626" y="372110"/>
                </a:lnTo>
                <a:lnTo>
                  <a:pt x="54876" y="373380"/>
                </a:lnTo>
                <a:lnTo>
                  <a:pt x="53924" y="374650"/>
                </a:lnTo>
                <a:lnTo>
                  <a:pt x="52730" y="374650"/>
                </a:lnTo>
                <a:lnTo>
                  <a:pt x="52387" y="375920"/>
                </a:lnTo>
                <a:lnTo>
                  <a:pt x="51269" y="375920"/>
                </a:lnTo>
                <a:lnTo>
                  <a:pt x="51511" y="374650"/>
                </a:lnTo>
                <a:lnTo>
                  <a:pt x="50723" y="374650"/>
                </a:lnTo>
                <a:lnTo>
                  <a:pt x="51358" y="373380"/>
                </a:lnTo>
                <a:lnTo>
                  <a:pt x="51790" y="372110"/>
                </a:lnTo>
                <a:lnTo>
                  <a:pt x="52057" y="373380"/>
                </a:lnTo>
                <a:lnTo>
                  <a:pt x="53238" y="373380"/>
                </a:lnTo>
                <a:lnTo>
                  <a:pt x="53530" y="372110"/>
                </a:lnTo>
                <a:lnTo>
                  <a:pt x="53403" y="372110"/>
                </a:lnTo>
                <a:lnTo>
                  <a:pt x="53454" y="370840"/>
                </a:lnTo>
                <a:lnTo>
                  <a:pt x="53632" y="370840"/>
                </a:lnTo>
                <a:lnTo>
                  <a:pt x="53670" y="372084"/>
                </a:lnTo>
                <a:lnTo>
                  <a:pt x="54851" y="370840"/>
                </a:lnTo>
                <a:lnTo>
                  <a:pt x="56832" y="370840"/>
                </a:lnTo>
                <a:lnTo>
                  <a:pt x="56832" y="292544"/>
                </a:lnTo>
                <a:lnTo>
                  <a:pt x="56591" y="293370"/>
                </a:lnTo>
                <a:lnTo>
                  <a:pt x="56807" y="294640"/>
                </a:lnTo>
                <a:lnTo>
                  <a:pt x="55486" y="294640"/>
                </a:lnTo>
                <a:lnTo>
                  <a:pt x="55587" y="295440"/>
                </a:lnTo>
                <a:lnTo>
                  <a:pt x="55791" y="295910"/>
                </a:lnTo>
                <a:lnTo>
                  <a:pt x="55651" y="295910"/>
                </a:lnTo>
                <a:lnTo>
                  <a:pt x="55562" y="295363"/>
                </a:lnTo>
                <a:lnTo>
                  <a:pt x="55257" y="294640"/>
                </a:lnTo>
                <a:lnTo>
                  <a:pt x="55587" y="295910"/>
                </a:lnTo>
                <a:lnTo>
                  <a:pt x="55232" y="295440"/>
                </a:lnTo>
                <a:lnTo>
                  <a:pt x="55105" y="295224"/>
                </a:lnTo>
                <a:lnTo>
                  <a:pt x="54940" y="294982"/>
                </a:lnTo>
                <a:lnTo>
                  <a:pt x="55143" y="295910"/>
                </a:lnTo>
                <a:lnTo>
                  <a:pt x="55575" y="298450"/>
                </a:lnTo>
                <a:lnTo>
                  <a:pt x="54051" y="294703"/>
                </a:lnTo>
                <a:lnTo>
                  <a:pt x="54140" y="295275"/>
                </a:lnTo>
                <a:lnTo>
                  <a:pt x="54063" y="295109"/>
                </a:lnTo>
                <a:lnTo>
                  <a:pt x="53860" y="294703"/>
                </a:lnTo>
                <a:lnTo>
                  <a:pt x="53886" y="294830"/>
                </a:lnTo>
                <a:lnTo>
                  <a:pt x="53975" y="295033"/>
                </a:lnTo>
                <a:lnTo>
                  <a:pt x="54076" y="295224"/>
                </a:lnTo>
                <a:lnTo>
                  <a:pt x="54152" y="295363"/>
                </a:lnTo>
                <a:lnTo>
                  <a:pt x="54457" y="297180"/>
                </a:lnTo>
                <a:lnTo>
                  <a:pt x="53911" y="295910"/>
                </a:lnTo>
                <a:lnTo>
                  <a:pt x="54025" y="297180"/>
                </a:lnTo>
                <a:lnTo>
                  <a:pt x="53530" y="295910"/>
                </a:lnTo>
                <a:lnTo>
                  <a:pt x="53860" y="297180"/>
                </a:lnTo>
                <a:lnTo>
                  <a:pt x="53594" y="297180"/>
                </a:lnTo>
                <a:lnTo>
                  <a:pt x="53886" y="298450"/>
                </a:lnTo>
                <a:lnTo>
                  <a:pt x="53860" y="299720"/>
                </a:lnTo>
                <a:lnTo>
                  <a:pt x="53517" y="297688"/>
                </a:lnTo>
                <a:lnTo>
                  <a:pt x="53594" y="300990"/>
                </a:lnTo>
                <a:lnTo>
                  <a:pt x="53467" y="299720"/>
                </a:lnTo>
                <a:lnTo>
                  <a:pt x="53200" y="297459"/>
                </a:lnTo>
                <a:lnTo>
                  <a:pt x="53238" y="299720"/>
                </a:lnTo>
                <a:lnTo>
                  <a:pt x="53022" y="295363"/>
                </a:lnTo>
                <a:lnTo>
                  <a:pt x="52832" y="299720"/>
                </a:lnTo>
                <a:lnTo>
                  <a:pt x="52832" y="297180"/>
                </a:lnTo>
                <a:lnTo>
                  <a:pt x="52793" y="298450"/>
                </a:lnTo>
                <a:lnTo>
                  <a:pt x="52679" y="299720"/>
                </a:lnTo>
                <a:lnTo>
                  <a:pt x="52527" y="299720"/>
                </a:lnTo>
                <a:lnTo>
                  <a:pt x="52679" y="297180"/>
                </a:lnTo>
                <a:lnTo>
                  <a:pt x="52336" y="299720"/>
                </a:lnTo>
                <a:lnTo>
                  <a:pt x="51993" y="298450"/>
                </a:lnTo>
                <a:lnTo>
                  <a:pt x="51638" y="298450"/>
                </a:lnTo>
                <a:lnTo>
                  <a:pt x="51409" y="297180"/>
                </a:lnTo>
                <a:lnTo>
                  <a:pt x="51714" y="297180"/>
                </a:lnTo>
                <a:lnTo>
                  <a:pt x="52705" y="295910"/>
                </a:lnTo>
                <a:lnTo>
                  <a:pt x="52501" y="295910"/>
                </a:lnTo>
                <a:lnTo>
                  <a:pt x="51866" y="294640"/>
                </a:lnTo>
                <a:lnTo>
                  <a:pt x="51460" y="294640"/>
                </a:lnTo>
                <a:lnTo>
                  <a:pt x="50977"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84"/>
                </a:lnTo>
                <a:lnTo>
                  <a:pt x="50393" y="299720"/>
                </a:lnTo>
                <a:lnTo>
                  <a:pt x="50025" y="299720"/>
                </a:lnTo>
                <a:lnTo>
                  <a:pt x="50279" y="298450"/>
                </a:lnTo>
                <a:lnTo>
                  <a:pt x="50393" y="299720"/>
                </a:lnTo>
                <a:lnTo>
                  <a:pt x="50393" y="291884"/>
                </a:lnTo>
                <a:lnTo>
                  <a:pt x="50101" y="290830"/>
                </a:lnTo>
                <a:lnTo>
                  <a:pt x="51015" y="289560"/>
                </a:lnTo>
                <a:lnTo>
                  <a:pt x="50063" y="287020"/>
                </a:lnTo>
                <a:lnTo>
                  <a:pt x="51320" y="287020"/>
                </a:lnTo>
                <a:lnTo>
                  <a:pt x="51142" y="285750"/>
                </a:lnTo>
                <a:lnTo>
                  <a:pt x="51422" y="285750"/>
                </a:lnTo>
                <a:lnTo>
                  <a:pt x="50431" y="284480"/>
                </a:lnTo>
                <a:lnTo>
                  <a:pt x="49771" y="283210"/>
                </a:lnTo>
                <a:lnTo>
                  <a:pt x="49288" y="283210"/>
                </a:lnTo>
                <a:lnTo>
                  <a:pt x="50330" y="281940"/>
                </a:lnTo>
                <a:lnTo>
                  <a:pt x="50190" y="280670"/>
                </a:lnTo>
                <a:lnTo>
                  <a:pt x="48856" y="279400"/>
                </a:lnTo>
                <a:lnTo>
                  <a:pt x="48590" y="278130"/>
                </a:lnTo>
                <a:lnTo>
                  <a:pt x="49872" y="276860"/>
                </a:lnTo>
                <a:lnTo>
                  <a:pt x="49072" y="275590"/>
                </a:lnTo>
                <a:lnTo>
                  <a:pt x="48844" y="273050"/>
                </a:lnTo>
                <a:lnTo>
                  <a:pt x="48539" y="273050"/>
                </a:lnTo>
                <a:lnTo>
                  <a:pt x="47307" y="270510"/>
                </a:lnTo>
                <a:lnTo>
                  <a:pt x="47231" y="269240"/>
                </a:lnTo>
                <a:lnTo>
                  <a:pt x="49047" y="269240"/>
                </a:lnTo>
                <a:lnTo>
                  <a:pt x="48653" y="267970"/>
                </a:lnTo>
                <a:lnTo>
                  <a:pt x="47929" y="265430"/>
                </a:lnTo>
                <a:lnTo>
                  <a:pt x="45885" y="264160"/>
                </a:lnTo>
                <a:lnTo>
                  <a:pt x="47739" y="264160"/>
                </a:lnTo>
                <a:lnTo>
                  <a:pt x="48044" y="262890"/>
                </a:lnTo>
                <a:lnTo>
                  <a:pt x="48348" y="261620"/>
                </a:lnTo>
                <a:lnTo>
                  <a:pt x="47028" y="261620"/>
                </a:lnTo>
                <a:lnTo>
                  <a:pt x="47879" y="260350"/>
                </a:lnTo>
                <a:lnTo>
                  <a:pt x="46634" y="257810"/>
                </a:lnTo>
                <a:lnTo>
                  <a:pt x="45643" y="256641"/>
                </a:lnTo>
                <a:lnTo>
                  <a:pt x="45643" y="264160"/>
                </a:lnTo>
                <a:lnTo>
                  <a:pt x="45059" y="264160"/>
                </a:lnTo>
                <a:lnTo>
                  <a:pt x="44627" y="262991"/>
                </a:lnTo>
                <a:lnTo>
                  <a:pt x="44602" y="265430"/>
                </a:lnTo>
                <a:lnTo>
                  <a:pt x="44157" y="265430"/>
                </a:lnTo>
                <a:lnTo>
                  <a:pt x="43649" y="264160"/>
                </a:lnTo>
                <a:lnTo>
                  <a:pt x="43116" y="264160"/>
                </a:lnTo>
                <a:lnTo>
                  <a:pt x="44577" y="263029"/>
                </a:lnTo>
                <a:lnTo>
                  <a:pt x="44589" y="262890"/>
                </a:lnTo>
                <a:lnTo>
                  <a:pt x="44754" y="262890"/>
                </a:lnTo>
                <a:lnTo>
                  <a:pt x="45529" y="262890"/>
                </a:lnTo>
                <a:lnTo>
                  <a:pt x="45643" y="264160"/>
                </a:lnTo>
                <a:lnTo>
                  <a:pt x="45643" y="256641"/>
                </a:lnTo>
                <a:lnTo>
                  <a:pt x="46761" y="255270"/>
                </a:lnTo>
                <a:lnTo>
                  <a:pt x="46520" y="254000"/>
                </a:lnTo>
                <a:lnTo>
                  <a:pt x="46926" y="254000"/>
                </a:lnTo>
                <a:lnTo>
                  <a:pt x="46050" y="251460"/>
                </a:lnTo>
                <a:lnTo>
                  <a:pt x="44958" y="250190"/>
                </a:lnTo>
                <a:lnTo>
                  <a:pt x="44958" y="248920"/>
                </a:lnTo>
                <a:lnTo>
                  <a:pt x="46024" y="248920"/>
                </a:lnTo>
                <a:lnTo>
                  <a:pt x="46596" y="247650"/>
                </a:lnTo>
                <a:lnTo>
                  <a:pt x="44488" y="246380"/>
                </a:lnTo>
                <a:lnTo>
                  <a:pt x="18923" y="246380"/>
                </a:lnTo>
                <a:lnTo>
                  <a:pt x="18923" y="355600"/>
                </a:lnTo>
                <a:lnTo>
                  <a:pt x="18719" y="356870"/>
                </a:lnTo>
                <a:lnTo>
                  <a:pt x="17881" y="356870"/>
                </a:lnTo>
                <a:lnTo>
                  <a:pt x="18275" y="355600"/>
                </a:lnTo>
                <a:lnTo>
                  <a:pt x="18923" y="355600"/>
                </a:lnTo>
                <a:lnTo>
                  <a:pt x="18923" y="246380"/>
                </a:lnTo>
                <a:lnTo>
                  <a:pt x="14033" y="246380"/>
                </a:lnTo>
                <a:lnTo>
                  <a:pt x="14033" y="351790"/>
                </a:lnTo>
                <a:lnTo>
                  <a:pt x="13830" y="351790"/>
                </a:lnTo>
                <a:lnTo>
                  <a:pt x="13512" y="353060"/>
                </a:lnTo>
                <a:lnTo>
                  <a:pt x="13423"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27" y="246380"/>
                </a:lnTo>
                <a:lnTo>
                  <a:pt x="5727" y="247650"/>
                </a:lnTo>
                <a:lnTo>
                  <a:pt x="5664" y="248234"/>
                </a:lnTo>
                <a:lnTo>
                  <a:pt x="5664" y="283210"/>
                </a:lnTo>
                <a:lnTo>
                  <a:pt x="5499" y="284480"/>
                </a:lnTo>
                <a:lnTo>
                  <a:pt x="5207" y="284480"/>
                </a:lnTo>
                <a:lnTo>
                  <a:pt x="5118" y="283210"/>
                </a:lnTo>
                <a:lnTo>
                  <a:pt x="5664" y="283210"/>
                </a:lnTo>
                <a:lnTo>
                  <a:pt x="5664" y="248234"/>
                </a:lnTo>
                <a:lnTo>
                  <a:pt x="5588" y="248920"/>
                </a:lnTo>
                <a:lnTo>
                  <a:pt x="4203" y="248920"/>
                </a:lnTo>
                <a:lnTo>
                  <a:pt x="4102" y="247650"/>
                </a:lnTo>
                <a:lnTo>
                  <a:pt x="5727" y="247650"/>
                </a:lnTo>
                <a:lnTo>
                  <a:pt x="5727" y="246380"/>
                </a:lnTo>
                <a:lnTo>
                  <a:pt x="3048" y="246380"/>
                </a:lnTo>
                <a:lnTo>
                  <a:pt x="3213" y="247650"/>
                </a:lnTo>
                <a:lnTo>
                  <a:pt x="2743" y="247650"/>
                </a:lnTo>
                <a:lnTo>
                  <a:pt x="2273" y="247650"/>
                </a:lnTo>
                <a:lnTo>
                  <a:pt x="1333" y="248920"/>
                </a:lnTo>
                <a:lnTo>
                  <a:pt x="2730" y="252730"/>
                </a:lnTo>
                <a:lnTo>
                  <a:pt x="2019" y="254000"/>
                </a:lnTo>
                <a:lnTo>
                  <a:pt x="2578" y="256540"/>
                </a:lnTo>
                <a:lnTo>
                  <a:pt x="1549" y="256540"/>
                </a:lnTo>
                <a:lnTo>
                  <a:pt x="2362" y="257810"/>
                </a:lnTo>
                <a:lnTo>
                  <a:pt x="3263" y="257810"/>
                </a:lnTo>
                <a:lnTo>
                  <a:pt x="3365" y="259080"/>
                </a:lnTo>
                <a:lnTo>
                  <a:pt x="2425" y="259080"/>
                </a:lnTo>
                <a:lnTo>
                  <a:pt x="2997" y="262890"/>
                </a:lnTo>
                <a:lnTo>
                  <a:pt x="0" y="264160"/>
                </a:lnTo>
                <a:lnTo>
                  <a:pt x="88" y="265430"/>
                </a:lnTo>
                <a:lnTo>
                  <a:pt x="1028" y="265430"/>
                </a:lnTo>
                <a:lnTo>
                  <a:pt x="1587" y="266700"/>
                </a:lnTo>
                <a:lnTo>
                  <a:pt x="2552" y="265430"/>
                </a:lnTo>
                <a:lnTo>
                  <a:pt x="2870" y="265430"/>
                </a:lnTo>
                <a:lnTo>
                  <a:pt x="3213" y="266700"/>
                </a:lnTo>
                <a:lnTo>
                  <a:pt x="1587" y="266700"/>
                </a:lnTo>
                <a:lnTo>
                  <a:pt x="1295" y="266700"/>
                </a:lnTo>
                <a:lnTo>
                  <a:pt x="2667" y="269240"/>
                </a:lnTo>
                <a:lnTo>
                  <a:pt x="2006" y="269240"/>
                </a:lnTo>
                <a:lnTo>
                  <a:pt x="1041" y="271780"/>
                </a:lnTo>
                <a:lnTo>
                  <a:pt x="749" y="273050"/>
                </a:lnTo>
                <a:lnTo>
                  <a:pt x="2717" y="274320"/>
                </a:lnTo>
                <a:lnTo>
                  <a:pt x="1460" y="274320"/>
                </a:lnTo>
                <a:lnTo>
                  <a:pt x="1422" y="276860"/>
                </a:lnTo>
                <a:lnTo>
                  <a:pt x="1600" y="278130"/>
                </a:lnTo>
                <a:lnTo>
                  <a:pt x="12" y="278130"/>
                </a:lnTo>
                <a:lnTo>
                  <a:pt x="520" y="279400"/>
                </a:lnTo>
                <a:lnTo>
                  <a:pt x="1562" y="279400"/>
                </a:lnTo>
                <a:lnTo>
                  <a:pt x="2590" y="281940"/>
                </a:lnTo>
                <a:lnTo>
                  <a:pt x="381" y="281940"/>
                </a:lnTo>
                <a:lnTo>
                  <a:pt x="1003" y="283210"/>
                </a:lnTo>
                <a:lnTo>
                  <a:pt x="2654" y="283210"/>
                </a:lnTo>
                <a:lnTo>
                  <a:pt x="1155" y="287020"/>
                </a:lnTo>
                <a:lnTo>
                  <a:pt x="1638" y="288290"/>
                </a:lnTo>
                <a:lnTo>
                  <a:pt x="3263" y="289560"/>
                </a:lnTo>
                <a:lnTo>
                  <a:pt x="3505" y="290830"/>
                </a:lnTo>
                <a:lnTo>
                  <a:pt x="2095" y="292100"/>
                </a:lnTo>
                <a:lnTo>
                  <a:pt x="3175" y="293370"/>
                </a:lnTo>
                <a:lnTo>
                  <a:pt x="2095" y="295910"/>
                </a:lnTo>
                <a:lnTo>
                  <a:pt x="2209" y="297180"/>
                </a:lnTo>
                <a:lnTo>
                  <a:pt x="3327" y="300990"/>
                </a:lnTo>
                <a:lnTo>
                  <a:pt x="4152" y="306070"/>
                </a:lnTo>
                <a:lnTo>
                  <a:pt x="3987" y="309880"/>
                </a:lnTo>
                <a:lnTo>
                  <a:pt x="4559" y="312420"/>
                </a:lnTo>
                <a:lnTo>
                  <a:pt x="5245" y="314960"/>
                </a:lnTo>
                <a:lnTo>
                  <a:pt x="5118" y="318770"/>
                </a:lnTo>
                <a:lnTo>
                  <a:pt x="6629" y="321310"/>
                </a:lnTo>
                <a:lnTo>
                  <a:pt x="6667" y="322580"/>
                </a:lnTo>
                <a:lnTo>
                  <a:pt x="6540" y="325120"/>
                </a:lnTo>
                <a:lnTo>
                  <a:pt x="6464" y="328930"/>
                </a:lnTo>
                <a:lnTo>
                  <a:pt x="7239" y="330200"/>
                </a:lnTo>
                <a:lnTo>
                  <a:pt x="6781" y="331470"/>
                </a:lnTo>
                <a:lnTo>
                  <a:pt x="7010" y="332740"/>
                </a:lnTo>
                <a:lnTo>
                  <a:pt x="7810" y="334010"/>
                </a:lnTo>
                <a:lnTo>
                  <a:pt x="10147" y="339090"/>
                </a:lnTo>
                <a:lnTo>
                  <a:pt x="10337" y="340360"/>
                </a:lnTo>
                <a:lnTo>
                  <a:pt x="9398" y="344170"/>
                </a:lnTo>
                <a:lnTo>
                  <a:pt x="9144" y="345440"/>
                </a:lnTo>
                <a:lnTo>
                  <a:pt x="8839" y="345440"/>
                </a:lnTo>
                <a:lnTo>
                  <a:pt x="8788" y="346710"/>
                </a:lnTo>
                <a:lnTo>
                  <a:pt x="9563" y="347980"/>
                </a:lnTo>
                <a:lnTo>
                  <a:pt x="10236" y="347980"/>
                </a:lnTo>
                <a:lnTo>
                  <a:pt x="11747" y="346710"/>
                </a:lnTo>
                <a:lnTo>
                  <a:pt x="11747" y="347980"/>
                </a:lnTo>
                <a:lnTo>
                  <a:pt x="11391" y="350520"/>
                </a:lnTo>
                <a:lnTo>
                  <a:pt x="10947" y="351790"/>
                </a:lnTo>
                <a:lnTo>
                  <a:pt x="12700" y="354330"/>
                </a:lnTo>
                <a:lnTo>
                  <a:pt x="12941" y="355600"/>
                </a:lnTo>
                <a:lnTo>
                  <a:pt x="13449" y="356870"/>
                </a:lnTo>
                <a:lnTo>
                  <a:pt x="13627" y="358140"/>
                </a:lnTo>
                <a:lnTo>
                  <a:pt x="14986" y="358140"/>
                </a:lnTo>
                <a:lnTo>
                  <a:pt x="14986" y="359410"/>
                </a:lnTo>
                <a:lnTo>
                  <a:pt x="15760" y="360680"/>
                </a:lnTo>
                <a:lnTo>
                  <a:pt x="16802" y="361950"/>
                </a:lnTo>
                <a:lnTo>
                  <a:pt x="18415" y="363220"/>
                </a:lnTo>
                <a:lnTo>
                  <a:pt x="18897" y="363220"/>
                </a:lnTo>
                <a:lnTo>
                  <a:pt x="19519" y="364490"/>
                </a:lnTo>
                <a:lnTo>
                  <a:pt x="19697" y="364490"/>
                </a:lnTo>
                <a:lnTo>
                  <a:pt x="20040" y="365760"/>
                </a:lnTo>
                <a:lnTo>
                  <a:pt x="20548" y="367030"/>
                </a:lnTo>
                <a:lnTo>
                  <a:pt x="20739" y="369570"/>
                </a:lnTo>
                <a:lnTo>
                  <a:pt x="23088" y="369570"/>
                </a:lnTo>
                <a:lnTo>
                  <a:pt x="22898" y="368300"/>
                </a:lnTo>
                <a:lnTo>
                  <a:pt x="23431" y="367030"/>
                </a:lnTo>
                <a:lnTo>
                  <a:pt x="23558" y="365760"/>
                </a:lnTo>
                <a:lnTo>
                  <a:pt x="25107" y="367030"/>
                </a:lnTo>
                <a:lnTo>
                  <a:pt x="25755" y="370840"/>
                </a:lnTo>
                <a:lnTo>
                  <a:pt x="25146" y="373380"/>
                </a:lnTo>
                <a:lnTo>
                  <a:pt x="25260" y="374650"/>
                </a:lnTo>
                <a:lnTo>
                  <a:pt x="27178" y="374650"/>
                </a:lnTo>
                <a:lnTo>
                  <a:pt x="28409" y="375920"/>
                </a:lnTo>
                <a:lnTo>
                  <a:pt x="29603" y="373380"/>
                </a:lnTo>
                <a:lnTo>
                  <a:pt x="29921" y="373380"/>
                </a:lnTo>
                <a:lnTo>
                  <a:pt x="30594" y="374650"/>
                </a:lnTo>
                <a:lnTo>
                  <a:pt x="30137" y="375920"/>
                </a:lnTo>
                <a:lnTo>
                  <a:pt x="31013" y="377190"/>
                </a:lnTo>
                <a:lnTo>
                  <a:pt x="33909" y="377190"/>
                </a:lnTo>
                <a:lnTo>
                  <a:pt x="34925" y="378460"/>
                </a:lnTo>
                <a:lnTo>
                  <a:pt x="35547" y="378460"/>
                </a:lnTo>
                <a:lnTo>
                  <a:pt x="36360" y="379730"/>
                </a:lnTo>
                <a:lnTo>
                  <a:pt x="40640" y="379730"/>
                </a:lnTo>
                <a:lnTo>
                  <a:pt x="40474" y="378460"/>
                </a:lnTo>
                <a:lnTo>
                  <a:pt x="41211" y="377266"/>
                </a:lnTo>
                <a:lnTo>
                  <a:pt x="42468" y="378460"/>
                </a:lnTo>
                <a:lnTo>
                  <a:pt x="45440" y="378460"/>
                </a:lnTo>
                <a:lnTo>
                  <a:pt x="45097" y="377190"/>
                </a:lnTo>
                <a:lnTo>
                  <a:pt x="46101" y="377190"/>
                </a:lnTo>
                <a:lnTo>
                  <a:pt x="46355" y="378460"/>
                </a:lnTo>
                <a:lnTo>
                  <a:pt x="46228" y="379730"/>
                </a:lnTo>
                <a:lnTo>
                  <a:pt x="48539" y="378460"/>
                </a:lnTo>
                <a:lnTo>
                  <a:pt x="49707" y="378460"/>
                </a:lnTo>
                <a:lnTo>
                  <a:pt x="51422" y="377190"/>
                </a:lnTo>
                <a:lnTo>
                  <a:pt x="55549" y="377190"/>
                </a:lnTo>
                <a:lnTo>
                  <a:pt x="56794" y="373380"/>
                </a:lnTo>
                <a:lnTo>
                  <a:pt x="59232" y="370840"/>
                </a:lnTo>
                <a:lnTo>
                  <a:pt x="61125" y="372110"/>
                </a:lnTo>
                <a:lnTo>
                  <a:pt x="61429" y="370840"/>
                </a:lnTo>
                <a:lnTo>
                  <a:pt x="62255" y="369570"/>
                </a:lnTo>
                <a:lnTo>
                  <a:pt x="62738" y="369570"/>
                </a:lnTo>
                <a:lnTo>
                  <a:pt x="63220" y="368300"/>
                </a:lnTo>
                <a:lnTo>
                  <a:pt x="65024" y="367030"/>
                </a:lnTo>
                <a:lnTo>
                  <a:pt x="66611" y="365760"/>
                </a:lnTo>
                <a:lnTo>
                  <a:pt x="68478" y="365760"/>
                </a:lnTo>
                <a:lnTo>
                  <a:pt x="69469" y="363220"/>
                </a:lnTo>
                <a:lnTo>
                  <a:pt x="70015" y="363220"/>
                </a:lnTo>
                <a:lnTo>
                  <a:pt x="69646" y="361950"/>
                </a:lnTo>
                <a:lnTo>
                  <a:pt x="70142" y="360680"/>
                </a:lnTo>
                <a:lnTo>
                  <a:pt x="71221" y="359410"/>
                </a:lnTo>
                <a:lnTo>
                  <a:pt x="72186" y="358140"/>
                </a:lnTo>
                <a:lnTo>
                  <a:pt x="75069" y="358140"/>
                </a:lnTo>
                <a:lnTo>
                  <a:pt x="75501" y="356870"/>
                </a:lnTo>
                <a:lnTo>
                  <a:pt x="75679" y="356870"/>
                </a:lnTo>
                <a:lnTo>
                  <a:pt x="76200" y="355600"/>
                </a:lnTo>
                <a:lnTo>
                  <a:pt x="76479" y="355600"/>
                </a:lnTo>
                <a:lnTo>
                  <a:pt x="76987" y="354330"/>
                </a:lnTo>
                <a:lnTo>
                  <a:pt x="77635" y="353060"/>
                </a:lnTo>
                <a:lnTo>
                  <a:pt x="78943" y="350520"/>
                </a:lnTo>
                <a:lnTo>
                  <a:pt x="79908" y="349250"/>
                </a:lnTo>
                <a:lnTo>
                  <a:pt x="80302" y="346710"/>
                </a:lnTo>
                <a:lnTo>
                  <a:pt x="81153" y="346710"/>
                </a:lnTo>
                <a:lnTo>
                  <a:pt x="81457" y="347980"/>
                </a:lnTo>
                <a:lnTo>
                  <a:pt x="81978" y="346710"/>
                </a:lnTo>
                <a:lnTo>
                  <a:pt x="82511" y="345440"/>
                </a:lnTo>
                <a:lnTo>
                  <a:pt x="82791" y="344170"/>
                </a:lnTo>
                <a:lnTo>
                  <a:pt x="84340" y="345440"/>
                </a:lnTo>
                <a:lnTo>
                  <a:pt x="84378" y="344170"/>
                </a:lnTo>
                <a:lnTo>
                  <a:pt x="84467" y="341630"/>
                </a:lnTo>
                <a:lnTo>
                  <a:pt x="85013" y="339090"/>
                </a:lnTo>
                <a:lnTo>
                  <a:pt x="87172" y="339090"/>
                </a:lnTo>
                <a:lnTo>
                  <a:pt x="88506" y="335280"/>
                </a:lnTo>
                <a:lnTo>
                  <a:pt x="90208" y="335280"/>
                </a:lnTo>
                <a:lnTo>
                  <a:pt x="90208" y="332740"/>
                </a:lnTo>
                <a:lnTo>
                  <a:pt x="90881" y="331470"/>
                </a:lnTo>
                <a:lnTo>
                  <a:pt x="92748" y="328930"/>
                </a:lnTo>
                <a:lnTo>
                  <a:pt x="93383" y="327660"/>
                </a:lnTo>
                <a:lnTo>
                  <a:pt x="93624" y="327660"/>
                </a:lnTo>
                <a:lnTo>
                  <a:pt x="93662" y="326390"/>
                </a:lnTo>
                <a:lnTo>
                  <a:pt x="94259" y="326390"/>
                </a:lnTo>
                <a:lnTo>
                  <a:pt x="94818" y="325120"/>
                </a:lnTo>
                <a:lnTo>
                  <a:pt x="95338" y="323850"/>
                </a:lnTo>
                <a:lnTo>
                  <a:pt x="96253" y="322580"/>
                </a:lnTo>
                <a:lnTo>
                  <a:pt x="97015" y="322580"/>
                </a:lnTo>
                <a:lnTo>
                  <a:pt x="96761" y="321310"/>
                </a:lnTo>
                <a:lnTo>
                  <a:pt x="97116" y="320040"/>
                </a:lnTo>
                <a:lnTo>
                  <a:pt x="99250" y="317500"/>
                </a:lnTo>
                <a:lnTo>
                  <a:pt x="99796" y="316230"/>
                </a:lnTo>
                <a:lnTo>
                  <a:pt x="100330" y="314960"/>
                </a:lnTo>
                <a:lnTo>
                  <a:pt x="100876" y="313690"/>
                </a:lnTo>
                <a:lnTo>
                  <a:pt x="101447" y="312420"/>
                </a:lnTo>
                <a:lnTo>
                  <a:pt x="102362" y="311150"/>
                </a:lnTo>
                <a:lnTo>
                  <a:pt x="101866" y="309880"/>
                </a:lnTo>
                <a:lnTo>
                  <a:pt x="103809" y="309880"/>
                </a:lnTo>
                <a:lnTo>
                  <a:pt x="103543" y="307340"/>
                </a:lnTo>
                <a:lnTo>
                  <a:pt x="104063" y="307340"/>
                </a:lnTo>
                <a:lnTo>
                  <a:pt x="105105" y="306070"/>
                </a:lnTo>
                <a:lnTo>
                  <a:pt x="105524" y="306070"/>
                </a:lnTo>
                <a:lnTo>
                  <a:pt x="105765" y="304800"/>
                </a:lnTo>
                <a:lnTo>
                  <a:pt x="107378" y="304800"/>
                </a:lnTo>
                <a:lnTo>
                  <a:pt x="107124" y="303530"/>
                </a:lnTo>
                <a:lnTo>
                  <a:pt x="107022" y="302260"/>
                </a:lnTo>
                <a:lnTo>
                  <a:pt x="107442" y="302260"/>
                </a:lnTo>
                <a:lnTo>
                  <a:pt x="107911" y="300990"/>
                </a:lnTo>
                <a:lnTo>
                  <a:pt x="109321" y="300990"/>
                </a:lnTo>
                <a:lnTo>
                  <a:pt x="109410" y="299720"/>
                </a:lnTo>
                <a:lnTo>
                  <a:pt x="109778" y="299720"/>
                </a:lnTo>
                <a:lnTo>
                  <a:pt x="109804" y="298450"/>
                </a:lnTo>
                <a:lnTo>
                  <a:pt x="109931" y="297180"/>
                </a:lnTo>
                <a:lnTo>
                  <a:pt x="110223" y="297180"/>
                </a:lnTo>
                <a:lnTo>
                  <a:pt x="110426" y="295910"/>
                </a:lnTo>
                <a:lnTo>
                  <a:pt x="112052" y="295910"/>
                </a:lnTo>
                <a:lnTo>
                  <a:pt x="112052" y="294640"/>
                </a:lnTo>
                <a:lnTo>
                  <a:pt x="113004" y="294640"/>
                </a:lnTo>
                <a:lnTo>
                  <a:pt x="112864" y="293370"/>
                </a:lnTo>
                <a:lnTo>
                  <a:pt x="113169" y="293370"/>
                </a:lnTo>
                <a:lnTo>
                  <a:pt x="113093" y="292874"/>
                </a:lnTo>
                <a:lnTo>
                  <a:pt x="113030" y="290830"/>
                </a:lnTo>
                <a:lnTo>
                  <a:pt x="114160" y="290830"/>
                </a:lnTo>
                <a:lnTo>
                  <a:pt x="115874" y="289560"/>
                </a:lnTo>
                <a:lnTo>
                  <a:pt x="115392" y="289560"/>
                </a:lnTo>
                <a:lnTo>
                  <a:pt x="115062" y="288290"/>
                </a:lnTo>
                <a:lnTo>
                  <a:pt x="115023" y="287020"/>
                </a:lnTo>
                <a:lnTo>
                  <a:pt x="115201" y="287020"/>
                </a:lnTo>
                <a:lnTo>
                  <a:pt x="115379" y="288290"/>
                </a:lnTo>
                <a:lnTo>
                  <a:pt x="116357" y="288290"/>
                </a:lnTo>
                <a:lnTo>
                  <a:pt x="116217" y="287020"/>
                </a:lnTo>
                <a:lnTo>
                  <a:pt x="116916" y="287020"/>
                </a:lnTo>
                <a:lnTo>
                  <a:pt x="116547" y="285750"/>
                </a:lnTo>
                <a:lnTo>
                  <a:pt x="117906" y="285750"/>
                </a:lnTo>
                <a:lnTo>
                  <a:pt x="118681" y="284480"/>
                </a:lnTo>
                <a:lnTo>
                  <a:pt x="118198" y="284480"/>
                </a:lnTo>
                <a:lnTo>
                  <a:pt x="118135" y="284314"/>
                </a:lnTo>
                <a:lnTo>
                  <a:pt x="117754" y="283210"/>
                </a:lnTo>
                <a:lnTo>
                  <a:pt x="118313" y="283210"/>
                </a:lnTo>
                <a:lnTo>
                  <a:pt x="118135" y="284314"/>
                </a:lnTo>
                <a:lnTo>
                  <a:pt x="118935" y="283210"/>
                </a:lnTo>
                <a:lnTo>
                  <a:pt x="119100" y="283210"/>
                </a:lnTo>
                <a:lnTo>
                  <a:pt x="119075" y="281940"/>
                </a:lnTo>
                <a:lnTo>
                  <a:pt x="120611" y="281940"/>
                </a:lnTo>
                <a:lnTo>
                  <a:pt x="120980" y="280670"/>
                </a:lnTo>
                <a:lnTo>
                  <a:pt x="122161" y="280670"/>
                </a:lnTo>
                <a:lnTo>
                  <a:pt x="122021" y="279400"/>
                </a:lnTo>
                <a:lnTo>
                  <a:pt x="121475" y="278130"/>
                </a:lnTo>
                <a:lnTo>
                  <a:pt x="121831" y="278130"/>
                </a:lnTo>
                <a:lnTo>
                  <a:pt x="122453" y="276860"/>
                </a:lnTo>
                <a:lnTo>
                  <a:pt x="123266" y="276860"/>
                </a:lnTo>
                <a:lnTo>
                  <a:pt x="124548" y="275590"/>
                </a:lnTo>
                <a:lnTo>
                  <a:pt x="124320" y="274320"/>
                </a:lnTo>
                <a:lnTo>
                  <a:pt x="124269" y="273050"/>
                </a:lnTo>
                <a:lnTo>
                  <a:pt x="125971" y="273050"/>
                </a:lnTo>
                <a:lnTo>
                  <a:pt x="125628" y="271780"/>
                </a:lnTo>
                <a:lnTo>
                  <a:pt x="125831" y="271780"/>
                </a:lnTo>
                <a:lnTo>
                  <a:pt x="126847" y="270510"/>
                </a:lnTo>
                <a:lnTo>
                  <a:pt x="126479" y="269240"/>
                </a:lnTo>
                <a:lnTo>
                  <a:pt x="126593" y="267970"/>
                </a:lnTo>
                <a:lnTo>
                  <a:pt x="126568" y="269240"/>
                </a:lnTo>
                <a:lnTo>
                  <a:pt x="127038" y="269240"/>
                </a:lnTo>
                <a:lnTo>
                  <a:pt x="126860" y="270510"/>
                </a:lnTo>
                <a:lnTo>
                  <a:pt x="127228" y="270510"/>
                </a:lnTo>
                <a:lnTo>
                  <a:pt x="127330" y="269240"/>
                </a:lnTo>
                <a:lnTo>
                  <a:pt x="127381" y="267970"/>
                </a:lnTo>
                <a:lnTo>
                  <a:pt x="128231" y="267970"/>
                </a:lnTo>
                <a:lnTo>
                  <a:pt x="128778" y="266700"/>
                </a:lnTo>
                <a:lnTo>
                  <a:pt x="130187" y="266700"/>
                </a:lnTo>
                <a:lnTo>
                  <a:pt x="130581" y="265430"/>
                </a:lnTo>
                <a:lnTo>
                  <a:pt x="130289" y="264160"/>
                </a:lnTo>
                <a:lnTo>
                  <a:pt x="130505" y="262890"/>
                </a:lnTo>
                <a:lnTo>
                  <a:pt x="130886" y="262890"/>
                </a:lnTo>
                <a:lnTo>
                  <a:pt x="132969" y="261620"/>
                </a:lnTo>
                <a:lnTo>
                  <a:pt x="133477" y="260350"/>
                </a:lnTo>
                <a:lnTo>
                  <a:pt x="132943" y="259080"/>
                </a:lnTo>
                <a:lnTo>
                  <a:pt x="133261"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16" y="246380"/>
                </a:lnTo>
                <a:lnTo>
                  <a:pt x="142430" y="245110"/>
                </a:lnTo>
                <a:lnTo>
                  <a:pt x="143738" y="243840"/>
                </a:lnTo>
                <a:lnTo>
                  <a:pt x="143256" y="242570"/>
                </a:lnTo>
                <a:lnTo>
                  <a:pt x="143383" y="242570"/>
                </a:lnTo>
                <a:lnTo>
                  <a:pt x="143459" y="241300"/>
                </a:lnTo>
                <a:lnTo>
                  <a:pt x="144932" y="241300"/>
                </a:lnTo>
                <a:lnTo>
                  <a:pt x="145288" y="240030"/>
                </a:lnTo>
                <a:lnTo>
                  <a:pt x="146659" y="240030"/>
                </a:lnTo>
                <a:lnTo>
                  <a:pt x="146837" y="238760"/>
                </a:lnTo>
                <a:lnTo>
                  <a:pt x="146240" y="238760"/>
                </a:lnTo>
                <a:lnTo>
                  <a:pt x="146456" y="237490"/>
                </a:lnTo>
                <a:lnTo>
                  <a:pt x="146812" y="236220"/>
                </a:lnTo>
                <a:lnTo>
                  <a:pt x="147421" y="234950"/>
                </a:lnTo>
                <a:lnTo>
                  <a:pt x="149606" y="234950"/>
                </a:lnTo>
                <a:lnTo>
                  <a:pt x="149059" y="233680"/>
                </a:lnTo>
                <a:lnTo>
                  <a:pt x="149123" y="232410"/>
                </a:lnTo>
                <a:lnTo>
                  <a:pt x="150215" y="232410"/>
                </a:lnTo>
                <a:lnTo>
                  <a:pt x="152006" y="231140"/>
                </a:lnTo>
                <a:lnTo>
                  <a:pt x="152184" y="231140"/>
                </a:lnTo>
                <a:lnTo>
                  <a:pt x="151663" y="229870"/>
                </a:lnTo>
                <a:lnTo>
                  <a:pt x="151498" y="228600"/>
                </a:lnTo>
                <a:lnTo>
                  <a:pt x="152501" y="228600"/>
                </a:lnTo>
                <a:lnTo>
                  <a:pt x="152996" y="227330"/>
                </a:lnTo>
                <a:lnTo>
                  <a:pt x="154724" y="227330"/>
                </a:lnTo>
                <a:lnTo>
                  <a:pt x="154901" y="226060"/>
                </a:lnTo>
                <a:lnTo>
                  <a:pt x="154800" y="224790"/>
                </a:lnTo>
                <a:lnTo>
                  <a:pt x="155232" y="224790"/>
                </a:lnTo>
                <a:lnTo>
                  <a:pt x="155638" y="223520"/>
                </a:lnTo>
                <a:lnTo>
                  <a:pt x="156616" y="223520"/>
                </a:lnTo>
                <a:lnTo>
                  <a:pt x="156921" y="222250"/>
                </a:lnTo>
                <a:lnTo>
                  <a:pt x="157518" y="220980"/>
                </a:lnTo>
                <a:lnTo>
                  <a:pt x="158038" y="219710"/>
                </a:lnTo>
                <a:lnTo>
                  <a:pt x="158927" y="219710"/>
                </a:lnTo>
                <a:lnTo>
                  <a:pt x="160007" y="217170"/>
                </a:lnTo>
                <a:lnTo>
                  <a:pt x="160489" y="215900"/>
                </a:lnTo>
                <a:lnTo>
                  <a:pt x="161772" y="215900"/>
                </a:lnTo>
                <a:lnTo>
                  <a:pt x="162928" y="212090"/>
                </a:lnTo>
                <a:lnTo>
                  <a:pt x="164287" y="210820"/>
                </a:lnTo>
                <a:lnTo>
                  <a:pt x="165315" y="208280"/>
                </a:lnTo>
                <a:lnTo>
                  <a:pt x="167271" y="207010"/>
                </a:lnTo>
                <a:lnTo>
                  <a:pt x="166852" y="205740"/>
                </a:lnTo>
                <a:lnTo>
                  <a:pt x="167119" y="205740"/>
                </a:lnTo>
                <a:lnTo>
                  <a:pt x="167601" y="204470"/>
                </a:lnTo>
                <a:lnTo>
                  <a:pt x="169672" y="203200"/>
                </a:lnTo>
                <a:lnTo>
                  <a:pt x="170726" y="200660"/>
                </a:lnTo>
                <a:lnTo>
                  <a:pt x="171970" y="198120"/>
                </a:lnTo>
                <a:lnTo>
                  <a:pt x="172580" y="198120"/>
                </a:lnTo>
                <a:lnTo>
                  <a:pt x="173050" y="196850"/>
                </a:lnTo>
                <a:lnTo>
                  <a:pt x="172910" y="194310"/>
                </a:lnTo>
                <a:lnTo>
                  <a:pt x="173977" y="195580"/>
                </a:lnTo>
                <a:lnTo>
                  <a:pt x="175323" y="194310"/>
                </a:lnTo>
                <a:lnTo>
                  <a:pt x="176009" y="194310"/>
                </a:lnTo>
                <a:lnTo>
                  <a:pt x="175742" y="193040"/>
                </a:lnTo>
                <a:lnTo>
                  <a:pt x="177101" y="191770"/>
                </a:lnTo>
                <a:lnTo>
                  <a:pt x="176898" y="190500"/>
                </a:lnTo>
                <a:lnTo>
                  <a:pt x="179031" y="190500"/>
                </a:lnTo>
                <a:lnTo>
                  <a:pt x="179082" y="189230"/>
                </a:lnTo>
                <a:lnTo>
                  <a:pt x="179133" y="187960"/>
                </a:lnTo>
                <a:lnTo>
                  <a:pt x="180301" y="187960"/>
                </a:lnTo>
                <a:lnTo>
                  <a:pt x="180365" y="186690"/>
                </a:lnTo>
                <a:lnTo>
                  <a:pt x="180467" y="185420"/>
                </a:lnTo>
                <a:lnTo>
                  <a:pt x="180809" y="185420"/>
                </a:lnTo>
                <a:lnTo>
                  <a:pt x="181698" y="186690"/>
                </a:lnTo>
                <a:lnTo>
                  <a:pt x="181559" y="185420"/>
                </a:lnTo>
                <a:lnTo>
                  <a:pt x="181610" y="184150"/>
                </a:lnTo>
                <a:lnTo>
                  <a:pt x="182499" y="184150"/>
                </a:lnTo>
                <a:lnTo>
                  <a:pt x="182308" y="182880"/>
                </a:lnTo>
                <a:lnTo>
                  <a:pt x="183426" y="182880"/>
                </a:lnTo>
                <a:lnTo>
                  <a:pt x="183388" y="181610"/>
                </a:lnTo>
                <a:lnTo>
                  <a:pt x="184848" y="181610"/>
                </a:lnTo>
                <a:lnTo>
                  <a:pt x="184886" y="180340"/>
                </a:lnTo>
                <a:lnTo>
                  <a:pt x="185127" y="179070"/>
                </a:lnTo>
                <a:lnTo>
                  <a:pt x="186855" y="179070"/>
                </a:lnTo>
                <a:lnTo>
                  <a:pt x="186905" y="176530"/>
                </a:lnTo>
                <a:lnTo>
                  <a:pt x="187934" y="176530"/>
                </a:lnTo>
                <a:lnTo>
                  <a:pt x="188277" y="175260"/>
                </a:lnTo>
                <a:lnTo>
                  <a:pt x="188582" y="175260"/>
                </a:lnTo>
                <a:lnTo>
                  <a:pt x="189598" y="173990"/>
                </a:lnTo>
                <a:lnTo>
                  <a:pt x="189738" y="172720"/>
                </a:lnTo>
                <a:lnTo>
                  <a:pt x="191135" y="171450"/>
                </a:lnTo>
                <a:lnTo>
                  <a:pt x="190385" y="171450"/>
                </a:lnTo>
                <a:lnTo>
                  <a:pt x="190398" y="170180"/>
                </a:lnTo>
                <a:lnTo>
                  <a:pt x="192417" y="170180"/>
                </a:lnTo>
                <a:lnTo>
                  <a:pt x="193052" y="168910"/>
                </a:lnTo>
                <a:lnTo>
                  <a:pt x="193408" y="167640"/>
                </a:lnTo>
                <a:lnTo>
                  <a:pt x="194703" y="166370"/>
                </a:lnTo>
                <a:lnTo>
                  <a:pt x="193903" y="166370"/>
                </a:lnTo>
                <a:lnTo>
                  <a:pt x="194640" y="165100"/>
                </a:lnTo>
                <a:lnTo>
                  <a:pt x="194729" y="166370"/>
                </a:lnTo>
                <a:lnTo>
                  <a:pt x="195199" y="166370"/>
                </a:lnTo>
                <a:lnTo>
                  <a:pt x="196062" y="165100"/>
                </a:lnTo>
                <a:lnTo>
                  <a:pt x="195846" y="165100"/>
                </a:lnTo>
                <a:lnTo>
                  <a:pt x="196037" y="163830"/>
                </a:lnTo>
                <a:lnTo>
                  <a:pt x="196418" y="163830"/>
                </a:lnTo>
                <a:lnTo>
                  <a:pt x="196811" y="162560"/>
                </a:lnTo>
                <a:lnTo>
                  <a:pt x="197154" y="162560"/>
                </a:lnTo>
                <a:lnTo>
                  <a:pt x="197396" y="161290"/>
                </a:lnTo>
                <a:lnTo>
                  <a:pt x="198678" y="160020"/>
                </a:lnTo>
                <a:lnTo>
                  <a:pt x="199694" y="160020"/>
                </a:lnTo>
                <a:lnTo>
                  <a:pt x="199910" y="158750"/>
                </a:lnTo>
                <a:lnTo>
                  <a:pt x="200583" y="157480"/>
                </a:lnTo>
                <a:lnTo>
                  <a:pt x="201256" y="157480"/>
                </a:lnTo>
                <a:lnTo>
                  <a:pt x="201739" y="154940"/>
                </a:lnTo>
                <a:lnTo>
                  <a:pt x="203530" y="154940"/>
                </a:lnTo>
                <a:lnTo>
                  <a:pt x="203466" y="153670"/>
                </a:lnTo>
                <a:lnTo>
                  <a:pt x="204127" y="153670"/>
                </a:lnTo>
                <a:lnTo>
                  <a:pt x="204203" y="152400"/>
                </a:lnTo>
                <a:lnTo>
                  <a:pt x="205486" y="152400"/>
                </a:lnTo>
                <a:lnTo>
                  <a:pt x="204990"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32" y="142240"/>
                </a:lnTo>
                <a:lnTo>
                  <a:pt x="212826" y="140970"/>
                </a:lnTo>
                <a:lnTo>
                  <a:pt x="213868" y="140970"/>
                </a:lnTo>
                <a:lnTo>
                  <a:pt x="213969" y="139700"/>
                </a:lnTo>
                <a:lnTo>
                  <a:pt x="213258" y="139700"/>
                </a:lnTo>
                <a:lnTo>
                  <a:pt x="213779" y="138430"/>
                </a:lnTo>
                <a:lnTo>
                  <a:pt x="215785" y="138430"/>
                </a:lnTo>
                <a:lnTo>
                  <a:pt x="216154" y="137160"/>
                </a:lnTo>
                <a:lnTo>
                  <a:pt x="216649" y="135890"/>
                </a:lnTo>
                <a:lnTo>
                  <a:pt x="217081" y="134620"/>
                </a:lnTo>
                <a:lnTo>
                  <a:pt x="217665" y="133350"/>
                </a:lnTo>
                <a:lnTo>
                  <a:pt x="219760" y="133350"/>
                </a:lnTo>
                <a:lnTo>
                  <a:pt x="220319" y="132080"/>
                </a:lnTo>
                <a:lnTo>
                  <a:pt x="221767" y="129540"/>
                </a:lnTo>
                <a:lnTo>
                  <a:pt x="222148" y="128270"/>
                </a:lnTo>
                <a:lnTo>
                  <a:pt x="222872" y="128270"/>
                </a:lnTo>
                <a:lnTo>
                  <a:pt x="222872" y="127000"/>
                </a:lnTo>
                <a:lnTo>
                  <a:pt x="224675" y="127000"/>
                </a:lnTo>
                <a:lnTo>
                  <a:pt x="224828" y="125730"/>
                </a:lnTo>
                <a:lnTo>
                  <a:pt x="225044" y="125730"/>
                </a:lnTo>
                <a:lnTo>
                  <a:pt x="225348" y="124460"/>
                </a:lnTo>
                <a:lnTo>
                  <a:pt x="225590" y="124460"/>
                </a:lnTo>
                <a:lnTo>
                  <a:pt x="226504" y="123190"/>
                </a:lnTo>
                <a:lnTo>
                  <a:pt x="227863" y="121920"/>
                </a:lnTo>
                <a:lnTo>
                  <a:pt x="228409" y="120650"/>
                </a:lnTo>
                <a:lnTo>
                  <a:pt x="229577" y="120650"/>
                </a:lnTo>
                <a:lnTo>
                  <a:pt x="229781" y="119380"/>
                </a:lnTo>
                <a:lnTo>
                  <a:pt x="230174" y="118110"/>
                </a:lnTo>
                <a:lnTo>
                  <a:pt x="230809" y="118110"/>
                </a:lnTo>
                <a:lnTo>
                  <a:pt x="231063" y="116840"/>
                </a:lnTo>
                <a:lnTo>
                  <a:pt x="231584" y="116840"/>
                </a:lnTo>
                <a:lnTo>
                  <a:pt x="231457" y="115570"/>
                </a:lnTo>
                <a:lnTo>
                  <a:pt x="233299" y="115570"/>
                </a:lnTo>
                <a:lnTo>
                  <a:pt x="233489" y="114300"/>
                </a:lnTo>
                <a:lnTo>
                  <a:pt x="234302" y="111760"/>
                </a:lnTo>
                <a:lnTo>
                  <a:pt x="236143" y="111760"/>
                </a:lnTo>
                <a:lnTo>
                  <a:pt x="235496" y="110490"/>
                </a:lnTo>
                <a:lnTo>
                  <a:pt x="235648" y="109220"/>
                </a:lnTo>
                <a:lnTo>
                  <a:pt x="236867" y="110490"/>
                </a:lnTo>
                <a:lnTo>
                  <a:pt x="237312" y="110490"/>
                </a:lnTo>
                <a:lnTo>
                  <a:pt x="237490" y="109220"/>
                </a:lnTo>
                <a:lnTo>
                  <a:pt x="237667" y="107950"/>
                </a:lnTo>
                <a:lnTo>
                  <a:pt x="238518" y="106680"/>
                </a:lnTo>
                <a:lnTo>
                  <a:pt x="239280" y="106680"/>
                </a:lnTo>
                <a:lnTo>
                  <a:pt x="239814" y="105410"/>
                </a:lnTo>
                <a:lnTo>
                  <a:pt x="239979" y="105410"/>
                </a:lnTo>
                <a:lnTo>
                  <a:pt x="240195" y="102870"/>
                </a:lnTo>
                <a:lnTo>
                  <a:pt x="240931" y="102870"/>
                </a:lnTo>
                <a:lnTo>
                  <a:pt x="241122" y="101600"/>
                </a:lnTo>
                <a:lnTo>
                  <a:pt x="241858" y="104140"/>
                </a:lnTo>
                <a:lnTo>
                  <a:pt x="242824" y="101600"/>
                </a:lnTo>
                <a:lnTo>
                  <a:pt x="244843" y="101600"/>
                </a:lnTo>
                <a:lnTo>
                  <a:pt x="244652" y="100330"/>
                </a:lnTo>
                <a:lnTo>
                  <a:pt x="245033" y="99060"/>
                </a:lnTo>
                <a:lnTo>
                  <a:pt x="245821" y="99060"/>
                </a:lnTo>
                <a:lnTo>
                  <a:pt x="246176" y="97790"/>
                </a:lnTo>
                <a:lnTo>
                  <a:pt x="245757" y="96520"/>
                </a:lnTo>
                <a:lnTo>
                  <a:pt x="246672" y="96520"/>
                </a:lnTo>
                <a:lnTo>
                  <a:pt x="247281" y="95250"/>
                </a:lnTo>
                <a:lnTo>
                  <a:pt x="248386" y="95250"/>
                </a:lnTo>
                <a:lnTo>
                  <a:pt x="248881" y="93980"/>
                </a:lnTo>
                <a:lnTo>
                  <a:pt x="249516" y="93980"/>
                </a:lnTo>
                <a:lnTo>
                  <a:pt x="249872" y="95250"/>
                </a:lnTo>
                <a:lnTo>
                  <a:pt x="250380" y="93980"/>
                </a:lnTo>
                <a:lnTo>
                  <a:pt x="250926" y="92710"/>
                </a:lnTo>
                <a:lnTo>
                  <a:pt x="250723" y="92710"/>
                </a:lnTo>
                <a:lnTo>
                  <a:pt x="251091" y="91440"/>
                </a:lnTo>
                <a:lnTo>
                  <a:pt x="251307" y="91440"/>
                </a:lnTo>
                <a:lnTo>
                  <a:pt x="253085" y="90170"/>
                </a:lnTo>
                <a:lnTo>
                  <a:pt x="254050" y="88900"/>
                </a:lnTo>
                <a:lnTo>
                  <a:pt x="254901" y="87630"/>
                </a:lnTo>
                <a:lnTo>
                  <a:pt x="255524" y="88900"/>
                </a:lnTo>
                <a:lnTo>
                  <a:pt x="255625" y="87630"/>
                </a:lnTo>
                <a:lnTo>
                  <a:pt x="255854" y="86360"/>
                </a:lnTo>
                <a:lnTo>
                  <a:pt x="256603" y="86360"/>
                </a:lnTo>
                <a:lnTo>
                  <a:pt x="257670" y="85090"/>
                </a:lnTo>
                <a:lnTo>
                  <a:pt x="258343" y="85090"/>
                </a:lnTo>
                <a:lnTo>
                  <a:pt x="258445" y="83820"/>
                </a:lnTo>
                <a:lnTo>
                  <a:pt x="260108" y="83820"/>
                </a:lnTo>
                <a:lnTo>
                  <a:pt x="260286" y="82550"/>
                </a:lnTo>
                <a:lnTo>
                  <a:pt x="261251" y="81280"/>
                </a:lnTo>
                <a:lnTo>
                  <a:pt x="261327" y="80010"/>
                </a:lnTo>
                <a:lnTo>
                  <a:pt x="263588" y="78740"/>
                </a:lnTo>
                <a:lnTo>
                  <a:pt x="263817" y="78740"/>
                </a:lnTo>
                <a:lnTo>
                  <a:pt x="263652" y="77470"/>
                </a:lnTo>
                <a:lnTo>
                  <a:pt x="264972" y="77470"/>
                </a:lnTo>
                <a:lnTo>
                  <a:pt x="265341" y="76200"/>
                </a:lnTo>
                <a:lnTo>
                  <a:pt x="265480" y="76200"/>
                </a:lnTo>
                <a:lnTo>
                  <a:pt x="266001" y="74930"/>
                </a:lnTo>
                <a:lnTo>
                  <a:pt x="268185" y="74930"/>
                </a:lnTo>
                <a:lnTo>
                  <a:pt x="267639" y="73660"/>
                </a:lnTo>
                <a:lnTo>
                  <a:pt x="268173" y="72390"/>
                </a:lnTo>
                <a:lnTo>
                  <a:pt x="270167" y="72390"/>
                </a:lnTo>
                <a:lnTo>
                  <a:pt x="271322" y="69850"/>
                </a:lnTo>
                <a:lnTo>
                  <a:pt x="273316" y="68580"/>
                </a:lnTo>
                <a:lnTo>
                  <a:pt x="274980" y="66040"/>
                </a:lnTo>
                <a:lnTo>
                  <a:pt x="275475" y="66040"/>
                </a:lnTo>
                <a:lnTo>
                  <a:pt x="276250" y="64770"/>
                </a:lnTo>
                <a:lnTo>
                  <a:pt x="276517" y="64770"/>
                </a:lnTo>
                <a:lnTo>
                  <a:pt x="276402" y="63500"/>
                </a:lnTo>
                <a:lnTo>
                  <a:pt x="277139" y="63500"/>
                </a:lnTo>
                <a:lnTo>
                  <a:pt x="277329" y="62230"/>
                </a:lnTo>
                <a:lnTo>
                  <a:pt x="278688" y="62230"/>
                </a:lnTo>
                <a:lnTo>
                  <a:pt x="279247" y="60960"/>
                </a:lnTo>
                <a:lnTo>
                  <a:pt x="280593" y="58420"/>
                </a:lnTo>
                <a:lnTo>
                  <a:pt x="282359" y="59690"/>
                </a:lnTo>
                <a:lnTo>
                  <a:pt x="282587" y="58420"/>
                </a:lnTo>
                <a:lnTo>
                  <a:pt x="283679" y="55880"/>
                </a:lnTo>
                <a:lnTo>
                  <a:pt x="283578" y="54610"/>
                </a:lnTo>
                <a:lnTo>
                  <a:pt x="285305" y="54610"/>
                </a:lnTo>
                <a:lnTo>
                  <a:pt x="285902" y="53340"/>
                </a:lnTo>
                <a:lnTo>
                  <a:pt x="287540" y="53340"/>
                </a:lnTo>
                <a:lnTo>
                  <a:pt x="287388" y="52070"/>
                </a:lnTo>
                <a:lnTo>
                  <a:pt x="287782" y="50800"/>
                </a:lnTo>
                <a:lnTo>
                  <a:pt x="288594" y="50800"/>
                </a:lnTo>
                <a:lnTo>
                  <a:pt x="289826" y="49530"/>
                </a:lnTo>
                <a:lnTo>
                  <a:pt x="288899" y="52070"/>
                </a:lnTo>
                <a:lnTo>
                  <a:pt x="290220" y="49530"/>
                </a:lnTo>
                <a:lnTo>
                  <a:pt x="292862" y="45720"/>
                </a:lnTo>
                <a:lnTo>
                  <a:pt x="293446" y="44450"/>
                </a:lnTo>
                <a:lnTo>
                  <a:pt x="293636" y="45720"/>
                </a:lnTo>
                <a:lnTo>
                  <a:pt x="294462" y="45720"/>
                </a:lnTo>
                <a:lnTo>
                  <a:pt x="294462" y="44450"/>
                </a:lnTo>
                <a:lnTo>
                  <a:pt x="294728" y="44450"/>
                </a:lnTo>
                <a:lnTo>
                  <a:pt x="295859" y="43180"/>
                </a:lnTo>
                <a:lnTo>
                  <a:pt x="296062" y="43180"/>
                </a:lnTo>
                <a:lnTo>
                  <a:pt x="295046" y="41910"/>
                </a:lnTo>
                <a:lnTo>
                  <a:pt x="297916" y="41910"/>
                </a:lnTo>
                <a:lnTo>
                  <a:pt x="297484" y="40640"/>
                </a:lnTo>
                <a:lnTo>
                  <a:pt x="296481" y="40640"/>
                </a:lnTo>
                <a:lnTo>
                  <a:pt x="297307" y="39370"/>
                </a:lnTo>
                <a:lnTo>
                  <a:pt x="297510" y="40640"/>
                </a:lnTo>
                <a:lnTo>
                  <a:pt x="297662" y="40640"/>
                </a:lnTo>
                <a:lnTo>
                  <a:pt x="297802" y="39370"/>
                </a:lnTo>
                <a:lnTo>
                  <a:pt x="298196" y="39370"/>
                </a:lnTo>
                <a:lnTo>
                  <a:pt x="298310" y="40640"/>
                </a:lnTo>
                <a:lnTo>
                  <a:pt x="300037" y="39370"/>
                </a:lnTo>
                <a:lnTo>
                  <a:pt x="301434" y="38100"/>
                </a:lnTo>
                <a:lnTo>
                  <a:pt x="303885" y="35560"/>
                </a:lnTo>
                <a:lnTo>
                  <a:pt x="305257" y="34290"/>
                </a:lnTo>
                <a:lnTo>
                  <a:pt x="307911" y="30480"/>
                </a:lnTo>
                <a:lnTo>
                  <a:pt x="308775" y="30480"/>
                </a:lnTo>
                <a:lnTo>
                  <a:pt x="311721" y="27940"/>
                </a:lnTo>
                <a:lnTo>
                  <a:pt x="317373" y="22860"/>
                </a:lnTo>
                <a:lnTo>
                  <a:pt x="318744" y="22860"/>
                </a:lnTo>
                <a:lnTo>
                  <a:pt x="317474" y="21590"/>
                </a:lnTo>
                <a:lnTo>
                  <a:pt x="318731" y="21590"/>
                </a:lnTo>
                <a:lnTo>
                  <a:pt x="319163" y="22860"/>
                </a:lnTo>
                <a:lnTo>
                  <a:pt x="319671" y="21590"/>
                </a:lnTo>
                <a:lnTo>
                  <a:pt x="320167" y="20320"/>
                </a:lnTo>
                <a:lnTo>
                  <a:pt x="321970" y="19050"/>
                </a:lnTo>
                <a:lnTo>
                  <a:pt x="324866" y="17780"/>
                </a:lnTo>
                <a:lnTo>
                  <a:pt x="325742" y="17780"/>
                </a:lnTo>
                <a:lnTo>
                  <a:pt x="326644" y="16510"/>
                </a:lnTo>
                <a:lnTo>
                  <a:pt x="327533" y="15240"/>
                </a:lnTo>
                <a:lnTo>
                  <a:pt x="328422" y="15240"/>
                </a:lnTo>
                <a:lnTo>
                  <a:pt x="329704" y="13970"/>
                </a:lnTo>
                <a:lnTo>
                  <a:pt x="328244" y="13970"/>
                </a:lnTo>
                <a:lnTo>
                  <a:pt x="327850" y="14033"/>
                </a:lnTo>
                <a:lnTo>
                  <a:pt x="327507" y="14185"/>
                </a:lnTo>
                <a:lnTo>
                  <a:pt x="327647" y="14274"/>
                </a:lnTo>
                <a:lnTo>
                  <a:pt x="326110" y="15240"/>
                </a:lnTo>
                <a:lnTo>
                  <a:pt x="326326" y="13970"/>
                </a:lnTo>
                <a:lnTo>
                  <a:pt x="327456" y="13970"/>
                </a:lnTo>
                <a:lnTo>
                  <a:pt x="327964" y="12700"/>
                </a:lnTo>
                <a:lnTo>
                  <a:pt x="329996" y="12700"/>
                </a:lnTo>
                <a:lnTo>
                  <a:pt x="330377" y="13970"/>
                </a:lnTo>
                <a:lnTo>
                  <a:pt x="331533" y="12700"/>
                </a:lnTo>
                <a:lnTo>
                  <a:pt x="330441" y="12700"/>
                </a:lnTo>
                <a:lnTo>
                  <a:pt x="330339" y="12319"/>
                </a:lnTo>
                <a:lnTo>
                  <a:pt x="332041" y="11785"/>
                </a:lnTo>
                <a:lnTo>
                  <a:pt x="332574" y="9982"/>
                </a:lnTo>
                <a:lnTo>
                  <a:pt x="332994" y="9690"/>
                </a:lnTo>
                <a:lnTo>
                  <a:pt x="333375" y="9931"/>
                </a:lnTo>
                <a:close/>
              </a:path>
            </a:pathLst>
          </a:custGeom>
          <a:solidFill>
            <a:srgbClr val="D02929"/>
          </a:solidFill>
        </p:spPr>
        <p:txBody>
          <a:bodyPr wrap="square" lIns="0" tIns="0" rIns="0" bIns="0" rtlCol="0"/>
          <a:lstStyle/>
          <a:p>
            <a:endParaRPr/>
          </a:p>
        </p:txBody>
      </p:sp>
      <p:sp>
        <p:nvSpPr>
          <p:cNvPr id="50" name="object 50"/>
          <p:cNvSpPr/>
          <p:nvPr/>
        </p:nvSpPr>
        <p:spPr>
          <a:xfrm>
            <a:off x="5565127" y="5536462"/>
            <a:ext cx="333375" cy="379730"/>
          </a:xfrm>
          <a:custGeom>
            <a:avLst/>
            <a:gdLst/>
            <a:ahLst/>
            <a:cxnLst/>
            <a:rect l="l" t="t" r="r" b="b"/>
            <a:pathLst>
              <a:path w="333375" h="379729">
                <a:moveTo>
                  <a:pt x="4483" y="313664"/>
                </a:moveTo>
                <a:lnTo>
                  <a:pt x="4279" y="313880"/>
                </a:lnTo>
                <a:lnTo>
                  <a:pt x="3886" y="314337"/>
                </a:lnTo>
                <a:lnTo>
                  <a:pt x="4013" y="314579"/>
                </a:lnTo>
                <a:lnTo>
                  <a:pt x="4381" y="314566"/>
                </a:lnTo>
                <a:lnTo>
                  <a:pt x="4457" y="314147"/>
                </a:lnTo>
                <a:lnTo>
                  <a:pt x="4483" y="313664"/>
                </a:lnTo>
                <a:close/>
              </a:path>
              <a:path w="333375" h="379729">
                <a:moveTo>
                  <a:pt x="9690" y="230314"/>
                </a:moveTo>
                <a:lnTo>
                  <a:pt x="9652" y="230124"/>
                </a:lnTo>
                <a:lnTo>
                  <a:pt x="9436" y="229933"/>
                </a:lnTo>
                <a:lnTo>
                  <a:pt x="9309" y="230022"/>
                </a:lnTo>
                <a:lnTo>
                  <a:pt x="9245" y="230200"/>
                </a:lnTo>
                <a:lnTo>
                  <a:pt x="9296" y="230327"/>
                </a:lnTo>
                <a:lnTo>
                  <a:pt x="9321" y="230505"/>
                </a:lnTo>
                <a:lnTo>
                  <a:pt x="9550" y="230746"/>
                </a:lnTo>
                <a:lnTo>
                  <a:pt x="9690" y="230682"/>
                </a:lnTo>
                <a:lnTo>
                  <a:pt x="9690" y="230454"/>
                </a:lnTo>
                <a:lnTo>
                  <a:pt x="9690" y="230314"/>
                </a:lnTo>
                <a:close/>
              </a:path>
              <a:path w="333375" h="379729">
                <a:moveTo>
                  <a:pt x="23914" y="371017"/>
                </a:moveTo>
                <a:lnTo>
                  <a:pt x="23812" y="370624"/>
                </a:lnTo>
                <a:lnTo>
                  <a:pt x="23685" y="370700"/>
                </a:lnTo>
                <a:lnTo>
                  <a:pt x="23774" y="371106"/>
                </a:lnTo>
                <a:lnTo>
                  <a:pt x="23914" y="371017"/>
                </a:lnTo>
                <a:close/>
              </a:path>
              <a:path w="333375" h="379729">
                <a:moveTo>
                  <a:pt x="38735" y="223291"/>
                </a:moveTo>
                <a:lnTo>
                  <a:pt x="38696" y="222961"/>
                </a:lnTo>
                <a:lnTo>
                  <a:pt x="38544" y="222885"/>
                </a:lnTo>
                <a:lnTo>
                  <a:pt x="38328" y="223062"/>
                </a:lnTo>
                <a:lnTo>
                  <a:pt x="38227" y="223266"/>
                </a:lnTo>
                <a:lnTo>
                  <a:pt x="38150" y="223697"/>
                </a:lnTo>
                <a:lnTo>
                  <a:pt x="38290" y="223951"/>
                </a:lnTo>
                <a:lnTo>
                  <a:pt x="38557" y="223774"/>
                </a:lnTo>
                <a:lnTo>
                  <a:pt x="38646" y="223469"/>
                </a:lnTo>
                <a:lnTo>
                  <a:pt x="38735" y="223291"/>
                </a:lnTo>
                <a:close/>
              </a:path>
              <a:path w="333375" h="379729">
                <a:moveTo>
                  <a:pt x="41998" y="222084"/>
                </a:moveTo>
                <a:lnTo>
                  <a:pt x="41884" y="221488"/>
                </a:lnTo>
                <a:lnTo>
                  <a:pt x="41783" y="221310"/>
                </a:lnTo>
                <a:lnTo>
                  <a:pt x="41567" y="220954"/>
                </a:lnTo>
                <a:lnTo>
                  <a:pt x="41427" y="220992"/>
                </a:lnTo>
                <a:lnTo>
                  <a:pt x="41122" y="222237"/>
                </a:lnTo>
                <a:lnTo>
                  <a:pt x="40805" y="223139"/>
                </a:lnTo>
                <a:lnTo>
                  <a:pt x="40322" y="224180"/>
                </a:lnTo>
                <a:lnTo>
                  <a:pt x="40297" y="224370"/>
                </a:lnTo>
                <a:lnTo>
                  <a:pt x="40500" y="224434"/>
                </a:lnTo>
                <a:lnTo>
                  <a:pt x="40741" y="224459"/>
                </a:lnTo>
                <a:lnTo>
                  <a:pt x="41998" y="222084"/>
                </a:lnTo>
                <a:close/>
              </a:path>
              <a:path w="333375" h="379729">
                <a:moveTo>
                  <a:pt x="44716" y="229870"/>
                </a:moveTo>
                <a:lnTo>
                  <a:pt x="43840" y="228600"/>
                </a:lnTo>
                <a:lnTo>
                  <a:pt x="42506" y="227330"/>
                </a:lnTo>
                <a:lnTo>
                  <a:pt x="41275" y="228600"/>
                </a:lnTo>
                <a:lnTo>
                  <a:pt x="40982" y="228600"/>
                </a:lnTo>
                <a:lnTo>
                  <a:pt x="40703" y="229870"/>
                </a:lnTo>
                <a:lnTo>
                  <a:pt x="40551" y="228600"/>
                </a:lnTo>
                <a:lnTo>
                  <a:pt x="40170" y="228600"/>
                </a:lnTo>
                <a:lnTo>
                  <a:pt x="40640" y="227330"/>
                </a:lnTo>
                <a:lnTo>
                  <a:pt x="40957" y="227330"/>
                </a:lnTo>
                <a:lnTo>
                  <a:pt x="40932" y="226060"/>
                </a:lnTo>
                <a:lnTo>
                  <a:pt x="41021" y="224790"/>
                </a:lnTo>
                <a:lnTo>
                  <a:pt x="39814" y="226060"/>
                </a:lnTo>
                <a:lnTo>
                  <a:pt x="39814" y="231140"/>
                </a:lnTo>
                <a:lnTo>
                  <a:pt x="39420" y="231140"/>
                </a:lnTo>
                <a:lnTo>
                  <a:pt x="39293" y="229870"/>
                </a:lnTo>
                <a:lnTo>
                  <a:pt x="39585"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80" y="220980"/>
                </a:lnTo>
                <a:lnTo>
                  <a:pt x="37325" y="219710"/>
                </a:lnTo>
                <a:lnTo>
                  <a:pt x="37592" y="219710"/>
                </a:lnTo>
                <a:lnTo>
                  <a:pt x="38163" y="220980"/>
                </a:lnTo>
                <a:lnTo>
                  <a:pt x="38849" y="220980"/>
                </a:lnTo>
                <a:lnTo>
                  <a:pt x="39776" y="222250"/>
                </a:lnTo>
                <a:lnTo>
                  <a:pt x="40271" y="222250"/>
                </a:lnTo>
                <a:lnTo>
                  <a:pt x="40944" y="220980"/>
                </a:lnTo>
                <a:lnTo>
                  <a:pt x="40220" y="220980"/>
                </a:lnTo>
                <a:lnTo>
                  <a:pt x="39700" y="219710"/>
                </a:lnTo>
                <a:lnTo>
                  <a:pt x="38176" y="219710"/>
                </a:lnTo>
                <a:lnTo>
                  <a:pt x="38265" y="218440"/>
                </a:lnTo>
                <a:lnTo>
                  <a:pt x="38633" y="217170"/>
                </a:lnTo>
                <a:lnTo>
                  <a:pt x="39001" y="215900"/>
                </a:lnTo>
                <a:lnTo>
                  <a:pt x="38735" y="214630"/>
                </a:lnTo>
                <a:lnTo>
                  <a:pt x="37223" y="214630"/>
                </a:lnTo>
                <a:lnTo>
                  <a:pt x="36715" y="213360"/>
                </a:lnTo>
                <a:lnTo>
                  <a:pt x="36309" y="212090"/>
                </a:lnTo>
                <a:lnTo>
                  <a:pt x="35458" y="213360"/>
                </a:lnTo>
                <a:lnTo>
                  <a:pt x="35242" y="213360"/>
                </a:lnTo>
                <a:lnTo>
                  <a:pt x="35407"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63" y="213360"/>
                </a:lnTo>
                <a:lnTo>
                  <a:pt x="33832" y="213360"/>
                </a:lnTo>
                <a:lnTo>
                  <a:pt x="33832" y="226060"/>
                </a:lnTo>
                <a:lnTo>
                  <a:pt x="33388" y="226060"/>
                </a:lnTo>
                <a:lnTo>
                  <a:pt x="33172" y="224790"/>
                </a:lnTo>
                <a:lnTo>
                  <a:pt x="31496" y="224790"/>
                </a:lnTo>
                <a:lnTo>
                  <a:pt x="31229" y="223520"/>
                </a:lnTo>
                <a:lnTo>
                  <a:pt x="32118" y="223520"/>
                </a:lnTo>
                <a:lnTo>
                  <a:pt x="32550" y="222250"/>
                </a:lnTo>
                <a:lnTo>
                  <a:pt x="32981" y="223520"/>
                </a:lnTo>
                <a:lnTo>
                  <a:pt x="33464" y="223520"/>
                </a:lnTo>
                <a:lnTo>
                  <a:pt x="33604" y="224790"/>
                </a:lnTo>
                <a:lnTo>
                  <a:pt x="33832" y="226060"/>
                </a:lnTo>
                <a:lnTo>
                  <a:pt x="33832" y="213360"/>
                </a:lnTo>
                <a:lnTo>
                  <a:pt x="32778" y="213360"/>
                </a:lnTo>
                <a:lnTo>
                  <a:pt x="32054" y="214630"/>
                </a:lnTo>
                <a:lnTo>
                  <a:pt x="30010" y="214630"/>
                </a:lnTo>
                <a:lnTo>
                  <a:pt x="29794" y="213360"/>
                </a:lnTo>
                <a:lnTo>
                  <a:pt x="29222" y="213360"/>
                </a:lnTo>
                <a:lnTo>
                  <a:pt x="28613" y="212090"/>
                </a:lnTo>
                <a:lnTo>
                  <a:pt x="27355" y="213360"/>
                </a:lnTo>
                <a:lnTo>
                  <a:pt x="27038" y="213360"/>
                </a:lnTo>
                <a:lnTo>
                  <a:pt x="27279" y="214630"/>
                </a:lnTo>
                <a:lnTo>
                  <a:pt x="27762" y="215900"/>
                </a:lnTo>
                <a:lnTo>
                  <a:pt x="27152" y="215900"/>
                </a:lnTo>
                <a:lnTo>
                  <a:pt x="27038" y="217170"/>
                </a:lnTo>
                <a:lnTo>
                  <a:pt x="26263" y="217170"/>
                </a:lnTo>
                <a:lnTo>
                  <a:pt x="26327" y="215900"/>
                </a:lnTo>
                <a:lnTo>
                  <a:pt x="26314" y="214630"/>
                </a:lnTo>
                <a:lnTo>
                  <a:pt x="25412" y="213360"/>
                </a:lnTo>
                <a:lnTo>
                  <a:pt x="24650" y="213360"/>
                </a:lnTo>
                <a:lnTo>
                  <a:pt x="24650" y="224790"/>
                </a:lnTo>
                <a:lnTo>
                  <a:pt x="24384" y="224790"/>
                </a:lnTo>
                <a:lnTo>
                  <a:pt x="24638" y="226060"/>
                </a:lnTo>
                <a:lnTo>
                  <a:pt x="23977" y="226060"/>
                </a:lnTo>
                <a:lnTo>
                  <a:pt x="24066" y="224790"/>
                </a:lnTo>
                <a:lnTo>
                  <a:pt x="22796" y="224790"/>
                </a:lnTo>
                <a:lnTo>
                  <a:pt x="22593" y="226060"/>
                </a:lnTo>
                <a:lnTo>
                  <a:pt x="21234" y="226060"/>
                </a:lnTo>
                <a:lnTo>
                  <a:pt x="20891" y="224790"/>
                </a:lnTo>
                <a:lnTo>
                  <a:pt x="20447" y="224790"/>
                </a:lnTo>
                <a:lnTo>
                  <a:pt x="20993" y="223520"/>
                </a:lnTo>
                <a:lnTo>
                  <a:pt x="22415" y="223520"/>
                </a:lnTo>
                <a:lnTo>
                  <a:pt x="23075" y="222250"/>
                </a:lnTo>
                <a:lnTo>
                  <a:pt x="23723" y="223520"/>
                </a:lnTo>
                <a:lnTo>
                  <a:pt x="24434" y="223520"/>
                </a:lnTo>
                <a:lnTo>
                  <a:pt x="24650" y="224790"/>
                </a:lnTo>
                <a:lnTo>
                  <a:pt x="24650" y="213360"/>
                </a:lnTo>
                <a:lnTo>
                  <a:pt x="23329" y="213360"/>
                </a:lnTo>
                <a:lnTo>
                  <a:pt x="21869" y="214630"/>
                </a:lnTo>
                <a:lnTo>
                  <a:pt x="20955" y="215900"/>
                </a:lnTo>
                <a:lnTo>
                  <a:pt x="19748" y="217170"/>
                </a:lnTo>
                <a:lnTo>
                  <a:pt x="19545" y="217170"/>
                </a:lnTo>
                <a:lnTo>
                  <a:pt x="17907" y="214630"/>
                </a:lnTo>
                <a:lnTo>
                  <a:pt x="16802" y="215900"/>
                </a:lnTo>
                <a:lnTo>
                  <a:pt x="16471" y="218440"/>
                </a:lnTo>
                <a:lnTo>
                  <a:pt x="16408"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50" y="232410"/>
                </a:lnTo>
                <a:lnTo>
                  <a:pt x="9144" y="233680"/>
                </a:lnTo>
                <a:lnTo>
                  <a:pt x="7480" y="234950"/>
                </a:lnTo>
                <a:lnTo>
                  <a:pt x="7696" y="236220"/>
                </a:lnTo>
                <a:lnTo>
                  <a:pt x="6769" y="237490"/>
                </a:lnTo>
                <a:lnTo>
                  <a:pt x="5207" y="237490"/>
                </a:lnTo>
                <a:lnTo>
                  <a:pt x="4686" y="238760"/>
                </a:lnTo>
                <a:lnTo>
                  <a:pt x="3937" y="241300"/>
                </a:lnTo>
                <a:lnTo>
                  <a:pt x="1701" y="243840"/>
                </a:lnTo>
                <a:lnTo>
                  <a:pt x="800" y="243840"/>
                </a:lnTo>
                <a:lnTo>
                  <a:pt x="1193" y="245110"/>
                </a:lnTo>
                <a:lnTo>
                  <a:pt x="4064" y="245110"/>
                </a:lnTo>
                <a:lnTo>
                  <a:pt x="44488" y="245110"/>
                </a:lnTo>
                <a:lnTo>
                  <a:pt x="44500" y="243840"/>
                </a:lnTo>
                <a:lnTo>
                  <a:pt x="43903" y="241300"/>
                </a:lnTo>
                <a:lnTo>
                  <a:pt x="43726" y="240030"/>
                </a:lnTo>
                <a:lnTo>
                  <a:pt x="42646" y="240030"/>
                </a:lnTo>
                <a:lnTo>
                  <a:pt x="43167" y="238760"/>
                </a:lnTo>
                <a:lnTo>
                  <a:pt x="43662" y="238760"/>
                </a:lnTo>
                <a:lnTo>
                  <a:pt x="44018" y="236220"/>
                </a:lnTo>
                <a:lnTo>
                  <a:pt x="44018" y="234950"/>
                </a:lnTo>
                <a:lnTo>
                  <a:pt x="44132" y="233680"/>
                </a:lnTo>
                <a:lnTo>
                  <a:pt x="44259" y="232410"/>
                </a:lnTo>
                <a:lnTo>
                  <a:pt x="43624" y="232410"/>
                </a:lnTo>
                <a:lnTo>
                  <a:pt x="41135" y="232410"/>
                </a:lnTo>
                <a:lnTo>
                  <a:pt x="41135" y="234950"/>
                </a:lnTo>
                <a:lnTo>
                  <a:pt x="40525" y="234950"/>
                </a:lnTo>
                <a:lnTo>
                  <a:pt x="40551" y="233680"/>
                </a:lnTo>
                <a:lnTo>
                  <a:pt x="41071" y="233680"/>
                </a:lnTo>
                <a:lnTo>
                  <a:pt x="41135" y="234950"/>
                </a:lnTo>
                <a:lnTo>
                  <a:pt x="41135" y="232410"/>
                </a:lnTo>
                <a:lnTo>
                  <a:pt x="40640" y="232410"/>
                </a:lnTo>
                <a:lnTo>
                  <a:pt x="40894" y="231140"/>
                </a:lnTo>
                <a:lnTo>
                  <a:pt x="41363" y="231140"/>
                </a:lnTo>
                <a:lnTo>
                  <a:pt x="42506" y="229870"/>
                </a:lnTo>
                <a:lnTo>
                  <a:pt x="43167" y="229870"/>
                </a:lnTo>
                <a:lnTo>
                  <a:pt x="43853" y="231140"/>
                </a:lnTo>
                <a:lnTo>
                  <a:pt x="43624" y="232410"/>
                </a:lnTo>
                <a:lnTo>
                  <a:pt x="44704" y="231140"/>
                </a:lnTo>
                <a:lnTo>
                  <a:pt x="44716" y="229870"/>
                </a:lnTo>
                <a:close/>
              </a:path>
              <a:path w="333375" h="379729">
                <a:moveTo>
                  <a:pt x="50495" y="279146"/>
                </a:moveTo>
                <a:lnTo>
                  <a:pt x="50355" y="278930"/>
                </a:lnTo>
                <a:lnTo>
                  <a:pt x="50152" y="278828"/>
                </a:lnTo>
                <a:lnTo>
                  <a:pt x="50139" y="279184"/>
                </a:lnTo>
                <a:lnTo>
                  <a:pt x="50266" y="279222"/>
                </a:lnTo>
                <a:lnTo>
                  <a:pt x="50482" y="279247"/>
                </a:lnTo>
                <a:close/>
              </a:path>
              <a:path w="333375" h="379729">
                <a:moveTo>
                  <a:pt x="52070" y="294398"/>
                </a:moveTo>
                <a:lnTo>
                  <a:pt x="51904" y="294500"/>
                </a:lnTo>
                <a:lnTo>
                  <a:pt x="51739" y="294614"/>
                </a:lnTo>
                <a:lnTo>
                  <a:pt x="51879" y="294551"/>
                </a:lnTo>
                <a:lnTo>
                  <a:pt x="52070" y="294398"/>
                </a:lnTo>
                <a:close/>
              </a:path>
              <a:path w="333375" h="379729">
                <a:moveTo>
                  <a:pt x="52870" y="294017"/>
                </a:moveTo>
                <a:lnTo>
                  <a:pt x="52781" y="294195"/>
                </a:lnTo>
                <a:lnTo>
                  <a:pt x="52870" y="294017"/>
                </a:lnTo>
                <a:close/>
              </a:path>
              <a:path w="333375" h="379729">
                <a:moveTo>
                  <a:pt x="52895" y="295757"/>
                </a:moveTo>
                <a:lnTo>
                  <a:pt x="52844" y="296506"/>
                </a:lnTo>
                <a:lnTo>
                  <a:pt x="52844" y="296760"/>
                </a:lnTo>
                <a:lnTo>
                  <a:pt x="52870" y="296468"/>
                </a:lnTo>
                <a:lnTo>
                  <a:pt x="52895" y="295948"/>
                </a:lnTo>
                <a:lnTo>
                  <a:pt x="52895" y="295757"/>
                </a:lnTo>
                <a:close/>
              </a:path>
              <a:path w="333375" h="379729">
                <a:moveTo>
                  <a:pt x="53060" y="294640"/>
                </a:moveTo>
                <a:lnTo>
                  <a:pt x="53035" y="295376"/>
                </a:lnTo>
                <a:lnTo>
                  <a:pt x="53060" y="294640"/>
                </a:lnTo>
                <a:close/>
              </a:path>
              <a:path w="333375" h="379729">
                <a:moveTo>
                  <a:pt x="53213" y="297459"/>
                </a:moveTo>
                <a:lnTo>
                  <a:pt x="53200" y="297180"/>
                </a:lnTo>
                <a:lnTo>
                  <a:pt x="53213" y="297459"/>
                </a:lnTo>
                <a:close/>
              </a:path>
              <a:path w="333375" h="379729">
                <a:moveTo>
                  <a:pt x="53263" y="296799"/>
                </a:moveTo>
                <a:lnTo>
                  <a:pt x="53200" y="295998"/>
                </a:lnTo>
                <a:lnTo>
                  <a:pt x="53174" y="295694"/>
                </a:lnTo>
                <a:lnTo>
                  <a:pt x="53136" y="295198"/>
                </a:lnTo>
                <a:lnTo>
                  <a:pt x="53174" y="295922"/>
                </a:lnTo>
                <a:lnTo>
                  <a:pt x="53200" y="296367"/>
                </a:lnTo>
                <a:lnTo>
                  <a:pt x="53225" y="296633"/>
                </a:lnTo>
                <a:lnTo>
                  <a:pt x="53263" y="296799"/>
                </a:lnTo>
                <a:close/>
              </a:path>
              <a:path w="333375" h="379729">
                <a:moveTo>
                  <a:pt x="53530" y="297700"/>
                </a:moveTo>
                <a:lnTo>
                  <a:pt x="53517" y="297180"/>
                </a:lnTo>
                <a:lnTo>
                  <a:pt x="53530" y="297700"/>
                </a:lnTo>
                <a:close/>
              </a:path>
              <a:path w="333375" h="379729">
                <a:moveTo>
                  <a:pt x="53632" y="295490"/>
                </a:moveTo>
                <a:lnTo>
                  <a:pt x="53581" y="295338"/>
                </a:lnTo>
                <a:lnTo>
                  <a:pt x="53467" y="295046"/>
                </a:lnTo>
                <a:lnTo>
                  <a:pt x="53555" y="295313"/>
                </a:lnTo>
                <a:lnTo>
                  <a:pt x="53606" y="295478"/>
                </a:lnTo>
                <a:close/>
              </a:path>
              <a:path w="333375" h="379729">
                <a:moveTo>
                  <a:pt x="53682" y="372084"/>
                </a:moveTo>
                <a:close/>
              </a:path>
              <a:path w="333375" h="379729">
                <a:moveTo>
                  <a:pt x="54051" y="294703"/>
                </a:moveTo>
                <a:close/>
              </a:path>
              <a:path w="333375" h="379729">
                <a:moveTo>
                  <a:pt x="54838" y="294868"/>
                </a:moveTo>
                <a:lnTo>
                  <a:pt x="54775" y="294640"/>
                </a:lnTo>
                <a:lnTo>
                  <a:pt x="54838" y="294868"/>
                </a:lnTo>
                <a:close/>
              </a:path>
              <a:path w="333375" h="379729">
                <a:moveTo>
                  <a:pt x="54965" y="294170"/>
                </a:moveTo>
                <a:lnTo>
                  <a:pt x="54825" y="294030"/>
                </a:lnTo>
                <a:lnTo>
                  <a:pt x="54914" y="294208"/>
                </a:lnTo>
                <a:close/>
              </a:path>
              <a:path w="333375" h="379729">
                <a:moveTo>
                  <a:pt x="55270" y="295402"/>
                </a:moveTo>
                <a:close/>
              </a:path>
              <a:path w="333375" h="379729">
                <a:moveTo>
                  <a:pt x="55295" y="295440"/>
                </a:moveTo>
                <a:close/>
              </a:path>
              <a:path w="333375" h="379729">
                <a:moveTo>
                  <a:pt x="55880" y="292887"/>
                </a:moveTo>
                <a:lnTo>
                  <a:pt x="55346" y="292100"/>
                </a:lnTo>
                <a:lnTo>
                  <a:pt x="55880" y="292887"/>
                </a:lnTo>
                <a:close/>
              </a:path>
              <a:path w="333375" h="379729">
                <a:moveTo>
                  <a:pt x="56261" y="293370"/>
                </a:moveTo>
                <a:lnTo>
                  <a:pt x="55880" y="292887"/>
                </a:lnTo>
                <a:lnTo>
                  <a:pt x="56222" y="293370"/>
                </a:lnTo>
                <a:close/>
              </a:path>
              <a:path w="333375" h="379729">
                <a:moveTo>
                  <a:pt x="61607" y="280873"/>
                </a:moveTo>
                <a:lnTo>
                  <a:pt x="61252" y="280847"/>
                </a:lnTo>
                <a:lnTo>
                  <a:pt x="61226" y="280987"/>
                </a:lnTo>
                <a:lnTo>
                  <a:pt x="61163" y="281139"/>
                </a:lnTo>
                <a:lnTo>
                  <a:pt x="61239" y="281432"/>
                </a:lnTo>
                <a:lnTo>
                  <a:pt x="61391" y="281432"/>
                </a:lnTo>
                <a:lnTo>
                  <a:pt x="61493" y="281266"/>
                </a:lnTo>
                <a:lnTo>
                  <a:pt x="61569" y="281012"/>
                </a:lnTo>
                <a:lnTo>
                  <a:pt x="61607" y="280873"/>
                </a:lnTo>
                <a:close/>
              </a:path>
              <a:path w="333375" h="379729">
                <a:moveTo>
                  <a:pt x="70370" y="266623"/>
                </a:moveTo>
                <a:lnTo>
                  <a:pt x="70281" y="266458"/>
                </a:lnTo>
                <a:lnTo>
                  <a:pt x="70142" y="266357"/>
                </a:lnTo>
                <a:lnTo>
                  <a:pt x="69964" y="266319"/>
                </a:lnTo>
                <a:lnTo>
                  <a:pt x="69850" y="266484"/>
                </a:lnTo>
                <a:lnTo>
                  <a:pt x="69799" y="266687"/>
                </a:lnTo>
                <a:lnTo>
                  <a:pt x="70002" y="266979"/>
                </a:lnTo>
                <a:lnTo>
                  <a:pt x="70205" y="266890"/>
                </a:lnTo>
                <a:lnTo>
                  <a:pt x="70332" y="266687"/>
                </a:lnTo>
                <a:close/>
              </a:path>
              <a:path w="333375" h="379729">
                <a:moveTo>
                  <a:pt x="75057" y="260692"/>
                </a:moveTo>
                <a:lnTo>
                  <a:pt x="74942" y="260527"/>
                </a:lnTo>
                <a:lnTo>
                  <a:pt x="74752" y="260553"/>
                </a:lnTo>
                <a:lnTo>
                  <a:pt x="74625" y="260527"/>
                </a:lnTo>
                <a:lnTo>
                  <a:pt x="74599" y="260667"/>
                </a:lnTo>
                <a:lnTo>
                  <a:pt x="74536" y="260845"/>
                </a:lnTo>
                <a:lnTo>
                  <a:pt x="74625" y="261010"/>
                </a:lnTo>
                <a:lnTo>
                  <a:pt x="74828" y="260985"/>
                </a:lnTo>
                <a:lnTo>
                  <a:pt x="74955" y="261010"/>
                </a:lnTo>
                <a:lnTo>
                  <a:pt x="74968" y="260870"/>
                </a:lnTo>
                <a:lnTo>
                  <a:pt x="75057" y="260692"/>
                </a:lnTo>
                <a:close/>
              </a:path>
              <a:path w="333375" h="379729">
                <a:moveTo>
                  <a:pt x="87096" y="240080"/>
                </a:moveTo>
                <a:lnTo>
                  <a:pt x="87007" y="239941"/>
                </a:lnTo>
                <a:lnTo>
                  <a:pt x="86702" y="239979"/>
                </a:lnTo>
                <a:lnTo>
                  <a:pt x="86461" y="240169"/>
                </a:lnTo>
                <a:lnTo>
                  <a:pt x="86601" y="240436"/>
                </a:lnTo>
                <a:lnTo>
                  <a:pt x="86868" y="240563"/>
                </a:lnTo>
                <a:lnTo>
                  <a:pt x="87020" y="240449"/>
                </a:lnTo>
                <a:lnTo>
                  <a:pt x="87096" y="240080"/>
                </a:lnTo>
                <a:close/>
              </a:path>
              <a:path w="333375" h="379729">
                <a:moveTo>
                  <a:pt x="93243" y="229997"/>
                </a:moveTo>
                <a:lnTo>
                  <a:pt x="92976" y="229870"/>
                </a:lnTo>
                <a:lnTo>
                  <a:pt x="93218" y="230124"/>
                </a:lnTo>
                <a:lnTo>
                  <a:pt x="93243" y="229997"/>
                </a:lnTo>
                <a:close/>
              </a:path>
              <a:path w="333375" h="379729">
                <a:moveTo>
                  <a:pt x="102323" y="215861"/>
                </a:moveTo>
                <a:lnTo>
                  <a:pt x="102184" y="215633"/>
                </a:lnTo>
                <a:lnTo>
                  <a:pt x="101930" y="215468"/>
                </a:lnTo>
                <a:lnTo>
                  <a:pt x="101803" y="215734"/>
                </a:lnTo>
                <a:lnTo>
                  <a:pt x="101917" y="216001"/>
                </a:lnTo>
                <a:lnTo>
                  <a:pt x="102082" y="216052"/>
                </a:lnTo>
                <a:lnTo>
                  <a:pt x="102209" y="215925"/>
                </a:lnTo>
                <a:close/>
              </a:path>
              <a:path w="333375" h="379729">
                <a:moveTo>
                  <a:pt x="137248" y="255346"/>
                </a:moveTo>
                <a:lnTo>
                  <a:pt x="137198" y="254990"/>
                </a:lnTo>
                <a:lnTo>
                  <a:pt x="136969" y="254850"/>
                </a:lnTo>
                <a:lnTo>
                  <a:pt x="136779" y="254927"/>
                </a:lnTo>
                <a:lnTo>
                  <a:pt x="136652" y="255117"/>
                </a:lnTo>
                <a:lnTo>
                  <a:pt x="136550" y="255270"/>
                </a:lnTo>
                <a:lnTo>
                  <a:pt x="136652" y="255397"/>
                </a:lnTo>
                <a:lnTo>
                  <a:pt x="136969" y="255409"/>
                </a:lnTo>
                <a:lnTo>
                  <a:pt x="137109" y="255371"/>
                </a:lnTo>
                <a:lnTo>
                  <a:pt x="137248" y="255346"/>
                </a:lnTo>
                <a:close/>
              </a:path>
              <a:path w="333375" h="379729">
                <a:moveTo>
                  <a:pt x="139903" y="250431"/>
                </a:moveTo>
                <a:lnTo>
                  <a:pt x="139750" y="250342"/>
                </a:lnTo>
                <a:lnTo>
                  <a:pt x="139598" y="250444"/>
                </a:lnTo>
                <a:lnTo>
                  <a:pt x="139471" y="250634"/>
                </a:lnTo>
                <a:lnTo>
                  <a:pt x="139369" y="250786"/>
                </a:lnTo>
                <a:lnTo>
                  <a:pt x="139661" y="250850"/>
                </a:lnTo>
                <a:lnTo>
                  <a:pt x="139890" y="250748"/>
                </a:lnTo>
                <a:lnTo>
                  <a:pt x="139903" y="250431"/>
                </a:lnTo>
                <a:close/>
              </a:path>
              <a:path w="333375" h="379729">
                <a:moveTo>
                  <a:pt x="181317" y="109702"/>
                </a:moveTo>
                <a:lnTo>
                  <a:pt x="181254" y="109524"/>
                </a:lnTo>
                <a:lnTo>
                  <a:pt x="181076" y="109512"/>
                </a:lnTo>
                <a:lnTo>
                  <a:pt x="180936" y="109588"/>
                </a:lnTo>
                <a:lnTo>
                  <a:pt x="180898" y="109728"/>
                </a:lnTo>
                <a:lnTo>
                  <a:pt x="180898" y="110058"/>
                </a:lnTo>
                <a:lnTo>
                  <a:pt x="181165" y="109956"/>
                </a:lnTo>
                <a:lnTo>
                  <a:pt x="181317" y="109702"/>
                </a:lnTo>
                <a:close/>
              </a:path>
              <a:path w="333375" h="379729">
                <a:moveTo>
                  <a:pt x="223012" y="128549"/>
                </a:moveTo>
                <a:close/>
              </a:path>
              <a:path w="333375" h="379729">
                <a:moveTo>
                  <a:pt x="223659" y="128219"/>
                </a:moveTo>
                <a:lnTo>
                  <a:pt x="223469" y="128422"/>
                </a:lnTo>
                <a:lnTo>
                  <a:pt x="223227" y="128460"/>
                </a:lnTo>
                <a:lnTo>
                  <a:pt x="223012" y="128549"/>
                </a:lnTo>
                <a:lnTo>
                  <a:pt x="223342" y="129197"/>
                </a:lnTo>
                <a:lnTo>
                  <a:pt x="223481" y="128600"/>
                </a:lnTo>
                <a:lnTo>
                  <a:pt x="223659" y="128219"/>
                </a:lnTo>
                <a:close/>
              </a:path>
              <a:path w="333375" h="379729">
                <a:moveTo>
                  <a:pt x="223812" y="128003"/>
                </a:moveTo>
                <a:lnTo>
                  <a:pt x="223697" y="128130"/>
                </a:lnTo>
                <a:lnTo>
                  <a:pt x="223812" y="128003"/>
                </a:lnTo>
                <a:close/>
              </a:path>
              <a:path w="333375" h="379729">
                <a:moveTo>
                  <a:pt x="317665" y="1676"/>
                </a:moveTo>
                <a:lnTo>
                  <a:pt x="317588" y="1460"/>
                </a:lnTo>
                <a:lnTo>
                  <a:pt x="317449" y="1371"/>
                </a:lnTo>
                <a:lnTo>
                  <a:pt x="317284" y="1549"/>
                </a:lnTo>
                <a:lnTo>
                  <a:pt x="317360" y="1778"/>
                </a:lnTo>
                <a:lnTo>
                  <a:pt x="317500" y="1854"/>
                </a:lnTo>
                <a:lnTo>
                  <a:pt x="317665" y="1676"/>
                </a:lnTo>
                <a:close/>
              </a:path>
              <a:path w="333375" h="379729">
                <a:moveTo>
                  <a:pt x="328155" y="3276"/>
                </a:moveTo>
                <a:lnTo>
                  <a:pt x="328104" y="3124"/>
                </a:lnTo>
                <a:lnTo>
                  <a:pt x="327901" y="3009"/>
                </a:lnTo>
                <a:lnTo>
                  <a:pt x="327799" y="3213"/>
                </a:lnTo>
                <a:lnTo>
                  <a:pt x="327863" y="3365"/>
                </a:lnTo>
                <a:lnTo>
                  <a:pt x="328053" y="3467"/>
                </a:lnTo>
                <a:lnTo>
                  <a:pt x="328155" y="3276"/>
                </a:lnTo>
                <a:close/>
              </a:path>
              <a:path w="333375" h="379729">
                <a:moveTo>
                  <a:pt x="333375" y="9931"/>
                </a:moveTo>
                <a:lnTo>
                  <a:pt x="333336" y="9334"/>
                </a:lnTo>
                <a:lnTo>
                  <a:pt x="333133" y="9182"/>
                </a:lnTo>
                <a:lnTo>
                  <a:pt x="332828" y="9245"/>
                </a:lnTo>
                <a:lnTo>
                  <a:pt x="332308" y="9334"/>
                </a:lnTo>
                <a:lnTo>
                  <a:pt x="331724" y="9601"/>
                </a:lnTo>
                <a:lnTo>
                  <a:pt x="331812" y="10464"/>
                </a:lnTo>
                <a:lnTo>
                  <a:pt x="331558" y="10629"/>
                </a:lnTo>
                <a:lnTo>
                  <a:pt x="330161" y="10896"/>
                </a:lnTo>
                <a:lnTo>
                  <a:pt x="329793" y="11163"/>
                </a:lnTo>
                <a:lnTo>
                  <a:pt x="329704" y="11430"/>
                </a:lnTo>
                <a:lnTo>
                  <a:pt x="328396" y="11430"/>
                </a:lnTo>
                <a:lnTo>
                  <a:pt x="328955" y="10160"/>
                </a:lnTo>
                <a:lnTo>
                  <a:pt x="326402" y="10160"/>
                </a:lnTo>
                <a:lnTo>
                  <a:pt x="327418" y="8890"/>
                </a:lnTo>
                <a:lnTo>
                  <a:pt x="328993" y="7708"/>
                </a:lnTo>
                <a:lnTo>
                  <a:pt x="329247" y="8039"/>
                </a:lnTo>
                <a:lnTo>
                  <a:pt x="329349" y="8318"/>
                </a:lnTo>
                <a:lnTo>
                  <a:pt x="330060" y="7835"/>
                </a:lnTo>
                <a:lnTo>
                  <a:pt x="329971" y="7632"/>
                </a:lnTo>
                <a:lnTo>
                  <a:pt x="329704" y="7340"/>
                </a:lnTo>
                <a:lnTo>
                  <a:pt x="329501" y="7251"/>
                </a:lnTo>
                <a:lnTo>
                  <a:pt x="329171" y="7353"/>
                </a:lnTo>
                <a:lnTo>
                  <a:pt x="328980" y="7493"/>
                </a:lnTo>
                <a:lnTo>
                  <a:pt x="327774" y="6350"/>
                </a:lnTo>
                <a:lnTo>
                  <a:pt x="328993" y="6350"/>
                </a:lnTo>
                <a:lnTo>
                  <a:pt x="328536" y="5080"/>
                </a:lnTo>
                <a:lnTo>
                  <a:pt x="329044" y="3810"/>
                </a:lnTo>
                <a:lnTo>
                  <a:pt x="330758" y="3810"/>
                </a:lnTo>
                <a:lnTo>
                  <a:pt x="330454" y="2540"/>
                </a:lnTo>
                <a:lnTo>
                  <a:pt x="328726" y="3810"/>
                </a:lnTo>
                <a:lnTo>
                  <a:pt x="325678" y="3810"/>
                </a:lnTo>
                <a:lnTo>
                  <a:pt x="325005" y="2540"/>
                </a:lnTo>
                <a:lnTo>
                  <a:pt x="324726" y="2540"/>
                </a:lnTo>
                <a:lnTo>
                  <a:pt x="324726" y="15240"/>
                </a:lnTo>
                <a:lnTo>
                  <a:pt x="322986" y="15240"/>
                </a:lnTo>
                <a:lnTo>
                  <a:pt x="322897" y="16510"/>
                </a:lnTo>
                <a:lnTo>
                  <a:pt x="322491" y="16510"/>
                </a:lnTo>
                <a:lnTo>
                  <a:pt x="322643" y="15240"/>
                </a:lnTo>
                <a:lnTo>
                  <a:pt x="323329" y="13970"/>
                </a:lnTo>
                <a:lnTo>
                  <a:pt x="324205" y="13970"/>
                </a:lnTo>
                <a:lnTo>
                  <a:pt x="324726" y="15240"/>
                </a:lnTo>
                <a:lnTo>
                  <a:pt x="324726" y="2540"/>
                </a:lnTo>
                <a:lnTo>
                  <a:pt x="323303" y="2540"/>
                </a:lnTo>
                <a:lnTo>
                  <a:pt x="323303" y="5080"/>
                </a:lnTo>
                <a:lnTo>
                  <a:pt x="322872" y="5080"/>
                </a:lnTo>
                <a:lnTo>
                  <a:pt x="323011" y="3810"/>
                </a:lnTo>
                <a:lnTo>
                  <a:pt x="323253"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78" y="3810"/>
                </a:lnTo>
                <a:lnTo>
                  <a:pt x="296887" y="3810"/>
                </a:lnTo>
                <a:lnTo>
                  <a:pt x="294233" y="5080"/>
                </a:lnTo>
                <a:lnTo>
                  <a:pt x="292887" y="6350"/>
                </a:lnTo>
                <a:lnTo>
                  <a:pt x="291528"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75" y="29210"/>
                </a:lnTo>
                <a:lnTo>
                  <a:pt x="258876" y="31750"/>
                </a:lnTo>
                <a:lnTo>
                  <a:pt x="256552" y="31750"/>
                </a:lnTo>
                <a:lnTo>
                  <a:pt x="256120" y="34290"/>
                </a:lnTo>
                <a:lnTo>
                  <a:pt x="254292" y="35560"/>
                </a:lnTo>
                <a:lnTo>
                  <a:pt x="250215" y="39370"/>
                </a:lnTo>
                <a:lnTo>
                  <a:pt x="248462" y="39370"/>
                </a:lnTo>
                <a:lnTo>
                  <a:pt x="246354" y="43180"/>
                </a:lnTo>
                <a:lnTo>
                  <a:pt x="244881" y="44450"/>
                </a:lnTo>
                <a:lnTo>
                  <a:pt x="242341" y="45720"/>
                </a:lnTo>
                <a:lnTo>
                  <a:pt x="241503" y="45720"/>
                </a:lnTo>
                <a:lnTo>
                  <a:pt x="241922" y="48260"/>
                </a:lnTo>
                <a:lnTo>
                  <a:pt x="238975" y="48260"/>
                </a:lnTo>
                <a:lnTo>
                  <a:pt x="237312" y="52070"/>
                </a:lnTo>
                <a:lnTo>
                  <a:pt x="234772" y="53340"/>
                </a:lnTo>
                <a:lnTo>
                  <a:pt x="232397" y="55880"/>
                </a:lnTo>
                <a:lnTo>
                  <a:pt x="231381" y="57150"/>
                </a:lnTo>
                <a:lnTo>
                  <a:pt x="227761" y="58420"/>
                </a:lnTo>
                <a:lnTo>
                  <a:pt x="227533" y="60960"/>
                </a:lnTo>
                <a:lnTo>
                  <a:pt x="225412" y="62230"/>
                </a:lnTo>
                <a:lnTo>
                  <a:pt x="225425" y="63500"/>
                </a:lnTo>
                <a:lnTo>
                  <a:pt x="223367" y="63500"/>
                </a:lnTo>
                <a:lnTo>
                  <a:pt x="222910" y="64770"/>
                </a:lnTo>
                <a:lnTo>
                  <a:pt x="222681" y="66040"/>
                </a:lnTo>
                <a:lnTo>
                  <a:pt x="221957" y="67310"/>
                </a:lnTo>
                <a:lnTo>
                  <a:pt x="219989" y="68580"/>
                </a:lnTo>
                <a:lnTo>
                  <a:pt x="218490" y="68580"/>
                </a:lnTo>
                <a:lnTo>
                  <a:pt x="216928" y="71120"/>
                </a:lnTo>
                <a:lnTo>
                  <a:pt x="215734" y="72390"/>
                </a:lnTo>
                <a:lnTo>
                  <a:pt x="214960" y="74930"/>
                </a:lnTo>
                <a:lnTo>
                  <a:pt x="214058" y="74930"/>
                </a:lnTo>
                <a:lnTo>
                  <a:pt x="212229" y="76200"/>
                </a:lnTo>
                <a:lnTo>
                  <a:pt x="210172" y="78740"/>
                </a:lnTo>
                <a:lnTo>
                  <a:pt x="208470" y="80010"/>
                </a:lnTo>
                <a:lnTo>
                  <a:pt x="207327" y="81280"/>
                </a:lnTo>
                <a:lnTo>
                  <a:pt x="205409" y="83820"/>
                </a:lnTo>
                <a:lnTo>
                  <a:pt x="204876" y="85090"/>
                </a:lnTo>
                <a:lnTo>
                  <a:pt x="203962" y="86360"/>
                </a:lnTo>
                <a:lnTo>
                  <a:pt x="201498" y="87630"/>
                </a:lnTo>
                <a:lnTo>
                  <a:pt x="200304" y="88900"/>
                </a:lnTo>
                <a:lnTo>
                  <a:pt x="199796" y="90170"/>
                </a:lnTo>
                <a:lnTo>
                  <a:pt x="197345" y="90170"/>
                </a:lnTo>
                <a:lnTo>
                  <a:pt x="197993" y="91440"/>
                </a:lnTo>
                <a:lnTo>
                  <a:pt x="197904" y="93980"/>
                </a:lnTo>
                <a:lnTo>
                  <a:pt x="195478"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84"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29" y="149860"/>
                </a:lnTo>
                <a:lnTo>
                  <a:pt x="158394" y="148590"/>
                </a:lnTo>
                <a:lnTo>
                  <a:pt x="159270" y="148590"/>
                </a:lnTo>
                <a:lnTo>
                  <a:pt x="159270" y="137160"/>
                </a:lnTo>
                <a:lnTo>
                  <a:pt x="158851" y="137160"/>
                </a:lnTo>
                <a:lnTo>
                  <a:pt x="159092" y="140970"/>
                </a:lnTo>
                <a:lnTo>
                  <a:pt x="156210" y="140970"/>
                </a:lnTo>
                <a:lnTo>
                  <a:pt x="156032" y="144780"/>
                </a:lnTo>
                <a:lnTo>
                  <a:pt x="154787" y="146050"/>
                </a:lnTo>
                <a:lnTo>
                  <a:pt x="152057"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42"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56"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66" y="170180"/>
                </a:lnTo>
                <a:lnTo>
                  <a:pt x="134264" y="171450"/>
                </a:lnTo>
                <a:lnTo>
                  <a:pt x="133248" y="171450"/>
                </a:lnTo>
                <a:lnTo>
                  <a:pt x="134239" y="173990"/>
                </a:lnTo>
                <a:lnTo>
                  <a:pt x="133273" y="175260"/>
                </a:lnTo>
                <a:lnTo>
                  <a:pt x="130822" y="176530"/>
                </a:lnTo>
                <a:lnTo>
                  <a:pt x="129857" y="179070"/>
                </a:lnTo>
                <a:lnTo>
                  <a:pt x="127177" y="180340"/>
                </a:lnTo>
                <a:lnTo>
                  <a:pt x="126936" y="180340"/>
                </a:lnTo>
                <a:lnTo>
                  <a:pt x="126860" y="182880"/>
                </a:lnTo>
                <a:lnTo>
                  <a:pt x="125831" y="185420"/>
                </a:lnTo>
                <a:lnTo>
                  <a:pt x="126009" y="187960"/>
                </a:lnTo>
                <a:lnTo>
                  <a:pt x="124574" y="187960"/>
                </a:lnTo>
                <a:lnTo>
                  <a:pt x="124002" y="189230"/>
                </a:lnTo>
                <a:lnTo>
                  <a:pt x="123228" y="187960"/>
                </a:lnTo>
                <a:lnTo>
                  <a:pt x="123037" y="189865"/>
                </a:lnTo>
                <a:lnTo>
                  <a:pt x="123037" y="269240"/>
                </a:lnTo>
                <a:lnTo>
                  <a:pt x="122656" y="269240"/>
                </a:lnTo>
                <a:lnTo>
                  <a:pt x="122872" y="267970"/>
                </a:lnTo>
                <a:lnTo>
                  <a:pt x="123037" y="269240"/>
                </a:lnTo>
                <a:lnTo>
                  <a:pt x="123037" y="189865"/>
                </a:lnTo>
                <a:lnTo>
                  <a:pt x="122974" y="190500"/>
                </a:lnTo>
                <a:lnTo>
                  <a:pt x="121780" y="190500"/>
                </a:lnTo>
                <a:lnTo>
                  <a:pt x="120357" y="191770"/>
                </a:lnTo>
                <a:lnTo>
                  <a:pt x="119684" y="191770"/>
                </a:lnTo>
                <a:lnTo>
                  <a:pt x="118198" y="193040"/>
                </a:lnTo>
                <a:lnTo>
                  <a:pt x="119761" y="193040"/>
                </a:lnTo>
                <a:lnTo>
                  <a:pt x="119176" y="194310"/>
                </a:lnTo>
                <a:lnTo>
                  <a:pt x="118033" y="195580"/>
                </a:lnTo>
                <a:lnTo>
                  <a:pt x="117906" y="198120"/>
                </a:lnTo>
                <a:lnTo>
                  <a:pt x="115493" y="198120"/>
                </a:lnTo>
                <a:lnTo>
                  <a:pt x="116395" y="200660"/>
                </a:lnTo>
                <a:lnTo>
                  <a:pt x="115404" y="200660"/>
                </a:lnTo>
                <a:lnTo>
                  <a:pt x="113461" y="201930"/>
                </a:lnTo>
                <a:lnTo>
                  <a:pt x="113017" y="203200"/>
                </a:lnTo>
                <a:lnTo>
                  <a:pt x="111658" y="204470"/>
                </a:lnTo>
                <a:lnTo>
                  <a:pt x="110871" y="205740"/>
                </a:lnTo>
                <a:lnTo>
                  <a:pt x="110629" y="207010"/>
                </a:lnTo>
                <a:lnTo>
                  <a:pt x="108140" y="207010"/>
                </a:lnTo>
                <a:lnTo>
                  <a:pt x="108800" y="208280"/>
                </a:lnTo>
                <a:lnTo>
                  <a:pt x="107721" y="210820"/>
                </a:lnTo>
                <a:lnTo>
                  <a:pt x="107391" y="212090"/>
                </a:lnTo>
                <a:lnTo>
                  <a:pt x="105460" y="212090"/>
                </a:lnTo>
                <a:lnTo>
                  <a:pt x="105956" y="214630"/>
                </a:lnTo>
                <a:lnTo>
                  <a:pt x="104559" y="215900"/>
                </a:lnTo>
                <a:lnTo>
                  <a:pt x="104787" y="217170"/>
                </a:lnTo>
                <a:lnTo>
                  <a:pt x="100672" y="217170"/>
                </a:lnTo>
                <a:lnTo>
                  <a:pt x="100291" y="218440"/>
                </a:lnTo>
                <a:lnTo>
                  <a:pt x="101041" y="222250"/>
                </a:lnTo>
                <a:lnTo>
                  <a:pt x="99339" y="222250"/>
                </a:lnTo>
                <a:lnTo>
                  <a:pt x="99415" y="226060"/>
                </a:lnTo>
                <a:lnTo>
                  <a:pt x="94805" y="226060"/>
                </a:lnTo>
                <a:lnTo>
                  <a:pt x="96177" y="228600"/>
                </a:lnTo>
                <a:lnTo>
                  <a:pt x="96139" y="229870"/>
                </a:lnTo>
                <a:lnTo>
                  <a:pt x="95402" y="229870"/>
                </a:lnTo>
                <a:lnTo>
                  <a:pt x="95694" y="231140"/>
                </a:lnTo>
                <a:lnTo>
                  <a:pt x="93281" y="230022"/>
                </a:lnTo>
                <a:lnTo>
                  <a:pt x="93294" y="230212"/>
                </a:lnTo>
                <a:lnTo>
                  <a:pt x="94170" y="231140"/>
                </a:lnTo>
                <a:lnTo>
                  <a:pt x="93535" y="233680"/>
                </a:lnTo>
                <a:lnTo>
                  <a:pt x="93294" y="230212"/>
                </a:lnTo>
                <a:lnTo>
                  <a:pt x="92697" y="232410"/>
                </a:lnTo>
                <a:lnTo>
                  <a:pt x="92824" y="232410"/>
                </a:lnTo>
                <a:lnTo>
                  <a:pt x="93472"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92" y="248920"/>
                </a:lnTo>
                <a:lnTo>
                  <a:pt x="82804" y="251460"/>
                </a:lnTo>
                <a:lnTo>
                  <a:pt x="81267" y="251460"/>
                </a:lnTo>
                <a:lnTo>
                  <a:pt x="81241" y="251193"/>
                </a:lnTo>
                <a:lnTo>
                  <a:pt x="80848" y="251028"/>
                </a:lnTo>
                <a:lnTo>
                  <a:pt x="80835" y="251155"/>
                </a:lnTo>
                <a:lnTo>
                  <a:pt x="80797" y="251320"/>
                </a:lnTo>
                <a:lnTo>
                  <a:pt x="80962" y="251650"/>
                </a:lnTo>
                <a:lnTo>
                  <a:pt x="81153" y="251637"/>
                </a:lnTo>
                <a:lnTo>
                  <a:pt x="80645" y="254000"/>
                </a:lnTo>
                <a:lnTo>
                  <a:pt x="79502" y="252730"/>
                </a:lnTo>
                <a:lnTo>
                  <a:pt x="79489" y="254000"/>
                </a:lnTo>
                <a:lnTo>
                  <a:pt x="77330" y="255270"/>
                </a:lnTo>
                <a:lnTo>
                  <a:pt x="79019" y="256540"/>
                </a:lnTo>
                <a:lnTo>
                  <a:pt x="78879" y="256540"/>
                </a:lnTo>
                <a:lnTo>
                  <a:pt x="77470" y="257810"/>
                </a:lnTo>
                <a:lnTo>
                  <a:pt x="76771" y="259080"/>
                </a:lnTo>
                <a:lnTo>
                  <a:pt x="76288" y="261620"/>
                </a:lnTo>
                <a:lnTo>
                  <a:pt x="74790" y="261620"/>
                </a:lnTo>
                <a:lnTo>
                  <a:pt x="74523" y="262890"/>
                </a:lnTo>
                <a:lnTo>
                  <a:pt x="72936" y="265430"/>
                </a:lnTo>
                <a:lnTo>
                  <a:pt x="72453" y="266700"/>
                </a:lnTo>
                <a:lnTo>
                  <a:pt x="69494" y="269240"/>
                </a:lnTo>
                <a:lnTo>
                  <a:pt x="69532" y="271780"/>
                </a:lnTo>
                <a:lnTo>
                  <a:pt x="69151" y="270510"/>
                </a:lnTo>
                <a:lnTo>
                  <a:pt x="67894" y="273050"/>
                </a:lnTo>
                <a:lnTo>
                  <a:pt x="67398"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303" y="276860"/>
                </a:lnTo>
                <a:lnTo>
                  <a:pt x="65443" y="278130"/>
                </a:lnTo>
                <a:lnTo>
                  <a:pt x="64033" y="279400"/>
                </a:lnTo>
                <a:lnTo>
                  <a:pt x="64617" y="281940"/>
                </a:lnTo>
                <a:lnTo>
                  <a:pt x="64312" y="281940"/>
                </a:lnTo>
                <a:lnTo>
                  <a:pt x="62115" y="280670"/>
                </a:lnTo>
                <a:lnTo>
                  <a:pt x="60325" y="283210"/>
                </a:lnTo>
                <a:lnTo>
                  <a:pt x="61810" y="285750"/>
                </a:lnTo>
                <a:lnTo>
                  <a:pt x="60210" y="287020"/>
                </a:lnTo>
                <a:lnTo>
                  <a:pt x="60223" y="288290"/>
                </a:lnTo>
                <a:lnTo>
                  <a:pt x="59550" y="288290"/>
                </a:lnTo>
                <a:lnTo>
                  <a:pt x="58166" y="289560"/>
                </a:lnTo>
                <a:lnTo>
                  <a:pt x="57950" y="289560"/>
                </a:lnTo>
                <a:lnTo>
                  <a:pt x="58229" y="290830"/>
                </a:lnTo>
                <a:lnTo>
                  <a:pt x="58635" y="292100"/>
                </a:lnTo>
                <a:lnTo>
                  <a:pt x="56972" y="292100"/>
                </a:lnTo>
                <a:lnTo>
                  <a:pt x="56845" y="292544"/>
                </a:lnTo>
                <a:lnTo>
                  <a:pt x="56845" y="370840"/>
                </a:lnTo>
                <a:lnTo>
                  <a:pt x="56781" y="372110"/>
                </a:lnTo>
                <a:lnTo>
                  <a:pt x="55638" y="372110"/>
                </a:lnTo>
                <a:lnTo>
                  <a:pt x="54889" y="373380"/>
                </a:lnTo>
                <a:lnTo>
                  <a:pt x="53924" y="374650"/>
                </a:lnTo>
                <a:lnTo>
                  <a:pt x="52730" y="374650"/>
                </a:lnTo>
                <a:lnTo>
                  <a:pt x="52400" y="375920"/>
                </a:lnTo>
                <a:lnTo>
                  <a:pt x="51269" y="375920"/>
                </a:lnTo>
                <a:lnTo>
                  <a:pt x="51523" y="374650"/>
                </a:lnTo>
                <a:lnTo>
                  <a:pt x="50723" y="374650"/>
                </a:lnTo>
                <a:lnTo>
                  <a:pt x="51358" y="373380"/>
                </a:lnTo>
                <a:lnTo>
                  <a:pt x="51790" y="372110"/>
                </a:lnTo>
                <a:lnTo>
                  <a:pt x="52070" y="373380"/>
                </a:lnTo>
                <a:lnTo>
                  <a:pt x="53251" y="373380"/>
                </a:lnTo>
                <a:lnTo>
                  <a:pt x="53543" y="372110"/>
                </a:lnTo>
                <a:lnTo>
                  <a:pt x="53403" y="372110"/>
                </a:lnTo>
                <a:lnTo>
                  <a:pt x="53454" y="370840"/>
                </a:lnTo>
                <a:lnTo>
                  <a:pt x="53644" y="370840"/>
                </a:lnTo>
                <a:lnTo>
                  <a:pt x="53682" y="372084"/>
                </a:lnTo>
                <a:lnTo>
                  <a:pt x="54851" y="370840"/>
                </a:lnTo>
                <a:lnTo>
                  <a:pt x="56845" y="370840"/>
                </a:lnTo>
                <a:lnTo>
                  <a:pt x="56845" y="292544"/>
                </a:lnTo>
                <a:lnTo>
                  <a:pt x="56603" y="293370"/>
                </a:lnTo>
                <a:lnTo>
                  <a:pt x="56807" y="294640"/>
                </a:lnTo>
                <a:lnTo>
                  <a:pt x="55499" y="294640"/>
                </a:lnTo>
                <a:lnTo>
                  <a:pt x="55600" y="295440"/>
                </a:lnTo>
                <a:lnTo>
                  <a:pt x="55791" y="295910"/>
                </a:lnTo>
                <a:lnTo>
                  <a:pt x="55651" y="295910"/>
                </a:lnTo>
                <a:lnTo>
                  <a:pt x="55562" y="295376"/>
                </a:lnTo>
                <a:lnTo>
                  <a:pt x="55257" y="294640"/>
                </a:lnTo>
                <a:lnTo>
                  <a:pt x="55587" y="295910"/>
                </a:lnTo>
                <a:lnTo>
                  <a:pt x="55245" y="295440"/>
                </a:lnTo>
                <a:lnTo>
                  <a:pt x="55118" y="295224"/>
                </a:lnTo>
                <a:lnTo>
                  <a:pt x="54940" y="294982"/>
                </a:lnTo>
                <a:lnTo>
                  <a:pt x="55143" y="295910"/>
                </a:lnTo>
                <a:lnTo>
                  <a:pt x="55587" y="298450"/>
                </a:lnTo>
                <a:lnTo>
                  <a:pt x="54051" y="294703"/>
                </a:lnTo>
                <a:lnTo>
                  <a:pt x="54140" y="295262"/>
                </a:lnTo>
                <a:lnTo>
                  <a:pt x="54076" y="295109"/>
                </a:lnTo>
                <a:lnTo>
                  <a:pt x="53886" y="294767"/>
                </a:lnTo>
                <a:lnTo>
                  <a:pt x="53975" y="295033"/>
                </a:lnTo>
                <a:lnTo>
                  <a:pt x="54076" y="295224"/>
                </a:lnTo>
                <a:lnTo>
                  <a:pt x="54152" y="295351"/>
                </a:lnTo>
                <a:lnTo>
                  <a:pt x="54457" y="297180"/>
                </a:lnTo>
                <a:lnTo>
                  <a:pt x="53911" y="295910"/>
                </a:lnTo>
                <a:lnTo>
                  <a:pt x="54025" y="297180"/>
                </a:lnTo>
                <a:lnTo>
                  <a:pt x="53530" y="295910"/>
                </a:lnTo>
                <a:lnTo>
                  <a:pt x="53860" y="297180"/>
                </a:lnTo>
                <a:lnTo>
                  <a:pt x="53594" y="297180"/>
                </a:lnTo>
                <a:lnTo>
                  <a:pt x="53886" y="298450"/>
                </a:lnTo>
                <a:lnTo>
                  <a:pt x="53873" y="299720"/>
                </a:lnTo>
                <a:lnTo>
                  <a:pt x="53530" y="297700"/>
                </a:lnTo>
                <a:lnTo>
                  <a:pt x="53606" y="300990"/>
                </a:lnTo>
                <a:lnTo>
                  <a:pt x="53467" y="299720"/>
                </a:lnTo>
                <a:lnTo>
                  <a:pt x="53213" y="297459"/>
                </a:lnTo>
                <a:lnTo>
                  <a:pt x="53238" y="299720"/>
                </a:lnTo>
                <a:lnTo>
                  <a:pt x="53035" y="295376"/>
                </a:lnTo>
                <a:lnTo>
                  <a:pt x="52844" y="299720"/>
                </a:lnTo>
                <a:lnTo>
                  <a:pt x="52844" y="297180"/>
                </a:lnTo>
                <a:lnTo>
                  <a:pt x="52793" y="298450"/>
                </a:lnTo>
                <a:lnTo>
                  <a:pt x="52692" y="299720"/>
                </a:lnTo>
                <a:lnTo>
                  <a:pt x="52539" y="299720"/>
                </a:lnTo>
                <a:lnTo>
                  <a:pt x="52679" y="297180"/>
                </a:lnTo>
                <a:lnTo>
                  <a:pt x="52336" y="299720"/>
                </a:lnTo>
                <a:lnTo>
                  <a:pt x="52006" y="298450"/>
                </a:lnTo>
                <a:lnTo>
                  <a:pt x="51638" y="298450"/>
                </a:lnTo>
                <a:lnTo>
                  <a:pt x="51422" y="297180"/>
                </a:lnTo>
                <a:lnTo>
                  <a:pt x="51714" y="297180"/>
                </a:lnTo>
                <a:lnTo>
                  <a:pt x="52717" y="295910"/>
                </a:lnTo>
                <a:lnTo>
                  <a:pt x="52514" y="295910"/>
                </a:lnTo>
                <a:lnTo>
                  <a:pt x="51879" y="294640"/>
                </a:lnTo>
                <a:lnTo>
                  <a:pt x="51460" y="294640"/>
                </a:lnTo>
                <a:lnTo>
                  <a:pt x="50990"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46"/>
                </a:lnTo>
                <a:lnTo>
                  <a:pt x="50393" y="299720"/>
                </a:lnTo>
                <a:lnTo>
                  <a:pt x="50038" y="299720"/>
                </a:lnTo>
                <a:lnTo>
                  <a:pt x="50279" y="298450"/>
                </a:lnTo>
                <a:lnTo>
                  <a:pt x="50393" y="299720"/>
                </a:lnTo>
                <a:lnTo>
                  <a:pt x="50393" y="291846"/>
                </a:lnTo>
                <a:lnTo>
                  <a:pt x="50101" y="290830"/>
                </a:lnTo>
                <a:lnTo>
                  <a:pt x="51015" y="289560"/>
                </a:lnTo>
                <a:lnTo>
                  <a:pt x="50063" y="287020"/>
                </a:lnTo>
                <a:lnTo>
                  <a:pt x="51320" y="287020"/>
                </a:lnTo>
                <a:lnTo>
                  <a:pt x="51155" y="285750"/>
                </a:lnTo>
                <a:lnTo>
                  <a:pt x="51422" y="285750"/>
                </a:lnTo>
                <a:lnTo>
                  <a:pt x="50444" y="284480"/>
                </a:lnTo>
                <a:lnTo>
                  <a:pt x="49784" y="283210"/>
                </a:lnTo>
                <a:lnTo>
                  <a:pt x="49288" y="283210"/>
                </a:lnTo>
                <a:lnTo>
                  <a:pt x="50342" y="281940"/>
                </a:lnTo>
                <a:lnTo>
                  <a:pt x="50203" y="280670"/>
                </a:lnTo>
                <a:lnTo>
                  <a:pt x="48869" y="279400"/>
                </a:lnTo>
                <a:lnTo>
                  <a:pt x="48590" y="278130"/>
                </a:lnTo>
                <a:lnTo>
                  <a:pt x="49885" y="276860"/>
                </a:lnTo>
                <a:lnTo>
                  <a:pt x="49085" y="275590"/>
                </a:lnTo>
                <a:lnTo>
                  <a:pt x="48856" y="273050"/>
                </a:lnTo>
                <a:lnTo>
                  <a:pt x="48552" y="273050"/>
                </a:lnTo>
                <a:lnTo>
                  <a:pt x="47307" y="270510"/>
                </a:lnTo>
                <a:lnTo>
                  <a:pt x="47231" y="269240"/>
                </a:lnTo>
                <a:lnTo>
                  <a:pt x="49047" y="269240"/>
                </a:lnTo>
                <a:lnTo>
                  <a:pt x="48653" y="267970"/>
                </a:lnTo>
                <a:lnTo>
                  <a:pt x="47929" y="265430"/>
                </a:lnTo>
                <a:lnTo>
                  <a:pt x="45885" y="264160"/>
                </a:lnTo>
                <a:lnTo>
                  <a:pt x="47752" y="264160"/>
                </a:lnTo>
                <a:lnTo>
                  <a:pt x="48044" y="262890"/>
                </a:lnTo>
                <a:lnTo>
                  <a:pt x="48348" y="261620"/>
                </a:lnTo>
                <a:lnTo>
                  <a:pt x="47028" y="261620"/>
                </a:lnTo>
                <a:lnTo>
                  <a:pt x="47891" y="260350"/>
                </a:lnTo>
                <a:lnTo>
                  <a:pt x="46634" y="257810"/>
                </a:lnTo>
                <a:lnTo>
                  <a:pt x="45656" y="256654"/>
                </a:lnTo>
                <a:lnTo>
                  <a:pt x="45656" y="264160"/>
                </a:lnTo>
                <a:lnTo>
                  <a:pt x="45059" y="264160"/>
                </a:lnTo>
                <a:lnTo>
                  <a:pt x="44627" y="262991"/>
                </a:lnTo>
                <a:lnTo>
                  <a:pt x="44615" y="265430"/>
                </a:lnTo>
                <a:lnTo>
                  <a:pt x="44157" y="265430"/>
                </a:lnTo>
                <a:lnTo>
                  <a:pt x="43662" y="264160"/>
                </a:lnTo>
                <a:lnTo>
                  <a:pt x="43116" y="264160"/>
                </a:lnTo>
                <a:lnTo>
                  <a:pt x="44589" y="263029"/>
                </a:lnTo>
                <a:lnTo>
                  <a:pt x="44589" y="262890"/>
                </a:lnTo>
                <a:lnTo>
                  <a:pt x="44754" y="262890"/>
                </a:lnTo>
                <a:lnTo>
                  <a:pt x="45529" y="262890"/>
                </a:lnTo>
                <a:lnTo>
                  <a:pt x="45656" y="264160"/>
                </a:lnTo>
                <a:lnTo>
                  <a:pt x="45656" y="256654"/>
                </a:lnTo>
                <a:lnTo>
                  <a:pt x="46761" y="255270"/>
                </a:lnTo>
                <a:lnTo>
                  <a:pt x="46520" y="254000"/>
                </a:lnTo>
                <a:lnTo>
                  <a:pt x="46926" y="254000"/>
                </a:lnTo>
                <a:lnTo>
                  <a:pt x="46050" y="251460"/>
                </a:lnTo>
                <a:lnTo>
                  <a:pt x="44970" y="250190"/>
                </a:lnTo>
                <a:lnTo>
                  <a:pt x="44970" y="248920"/>
                </a:lnTo>
                <a:lnTo>
                  <a:pt x="46037" y="248920"/>
                </a:lnTo>
                <a:lnTo>
                  <a:pt x="46596"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43" y="351790"/>
                </a:lnTo>
                <a:lnTo>
                  <a:pt x="13512" y="353060"/>
                </a:lnTo>
                <a:lnTo>
                  <a:pt x="13436"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40" y="246380"/>
                </a:lnTo>
                <a:lnTo>
                  <a:pt x="5740" y="247650"/>
                </a:lnTo>
                <a:lnTo>
                  <a:pt x="5664" y="248348"/>
                </a:lnTo>
                <a:lnTo>
                  <a:pt x="5664" y="283210"/>
                </a:lnTo>
                <a:lnTo>
                  <a:pt x="5499" y="284480"/>
                </a:lnTo>
                <a:lnTo>
                  <a:pt x="5207" y="284480"/>
                </a:lnTo>
                <a:lnTo>
                  <a:pt x="5118" y="283210"/>
                </a:lnTo>
                <a:lnTo>
                  <a:pt x="5664" y="283210"/>
                </a:lnTo>
                <a:lnTo>
                  <a:pt x="5664" y="248348"/>
                </a:lnTo>
                <a:lnTo>
                  <a:pt x="5600" y="248920"/>
                </a:lnTo>
                <a:lnTo>
                  <a:pt x="4203" y="248920"/>
                </a:lnTo>
                <a:lnTo>
                  <a:pt x="4114" y="247650"/>
                </a:lnTo>
                <a:lnTo>
                  <a:pt x="5740" y="247650"/>
                </a:lnTo>
                <a:lnTo>
                  <a:pt x="5740" y="246380"/>
                </a:lnTo>
                <a:lnTo>
                  <a:pt x="3048" y="246380"/>
                </a:lnTo>
                <a:lnTo>
                  <a:pt x="3225" y="247650"/>
                </a:lnTo>
                <a:lnTo>
                  <a:pt x="2755" y="247650"/>
                </a:lnTo>
                <a:lnTo>
                  <a:pt x="2273" y="247650"/>
                </a:lnTo>
                <a:lnTo>
                  <a:pt x="1333" y="248920"/>
                </a:lnTo>
                <a:lnTo>
                  <a:pt x="2743" y="252730"/>
                </a:lnTo>
                <a:lnTo>
                  <a:pt x="2019" y="254000"/>
                </a:lnTo>
                <a:lnTo>
                  <a:pt x="2578" y="256540"/>
                </a:lnTo>
                <a:lnTo>
                  <a:pt x="1549" y="256540"/>
                </a:lnTo>
                <a:lnTo>
                  <a:pt x="2362" y="257810"/>
                </a:lnTo>
                <a:lnTo>
                  <a:pt x="3263" y="257810"/>
                </a:lnTo>
                <a:lnTo>
                  <a:pt x="3365" y="259080"/>
                </a:lnTo>
                <a:lnTo>
                  <a:pt x="2438" y="259080"/>
                </a:lnTo>
                <a:lnTo>
                  <a:pt x="2997" y="262890"/>
                </a:lnTo>
                <a:lnTo>
                  <a:pt x="0" y="264160"/>
                </a:lnTo>
                <a:lnTo>
                  <a:pt x="88" y="265430"/>
                </a:lnTo>
                <a:lnTo>
                  <a:pt x="1028" y="265430"/>
                </a:lnTo>
                <a:lnTo>
                  <a:pt x="1587" y="266700"/>
                </a:lnTo>
                <a:lnTo>
                  <a:pt x="2565" y="265430"/>
                </a:lnTo>
                <a:lnTo>
                  <a:pt x="2870" y="265430"/>
                </a:lnTo>
                <a:lnTo>
                  <a:pt x="3225" y="266700"/>
                </a:lnTo>
                <a:lnTo>
                  <a:pt x="1587" y="266700"/>
                </a:lnTo>
                <a:lnTo>
                  <a:pt x="1295" y="266700"/>
                </a:lnTo>
                <a:lnTo>
                  <a:pt x="2667" y="269240"/>
                </a:lnTo>
                <a:lnTo>
                  <a:pt x="2019"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54" y="283210"/>
                </a:lnTo>
                <a:lnTo>
                  <a:pt x="1168" y="287020"/>
                </a:lnTo>
                <a:lnTo>
                  <a:pt x="1638" y="288290"/>
                </a:lnTo>
                <a:lnTo>
                  <a:pt x="3263" y="289560"/>
                </a:lnTo>
                <a:lnTo>
                  <a:pt x="3505" y="290830"/>
                </a:lnTo>
                <a:lnTo>
                  <a:pt x="2095" y="292100"/>
                </a:lnTo>
                <a:lnTo>
                  <a:pt x="3175" y="293370"/>
                </a:lnTo>
                <a:lnTo>
                  <a:pt x="2095" y="295910"/>
                </a:lnTo>
                <a:lnTo>
                  <a:pt x="2222" y="297180"/>
                </a:lnTo>
                <a:lnTo>
                  <a:pt x="3327" y="300990"/>
                </a:lnTo>
                <a:lnTo>
                  <a:pt x="4165" y="306070"/>
                </a:lnTo>
                <a:lnTo>
                  <a:pt x="3987" y="309880"/>
                </a:lnTo>
                <a:lnTo>
                  <a:pt x="4559" y="312420"/>
                </a:lnTo>
                <a:lnTo>
                  <a:pt x="5245" y="314960"/>
                </a:lnTo>
                <a:lnTo>
                  <a:pt x="5130" y="318770"/>
                </a:lnTo>
                <a:lnTo>
                  <a:pt x="6629" y="321310"/>
                </a:lnTo>
                <a:lnTo>
                  <a:pt x="6667" y="322580"/>
                </a:lnTo>
                <a:lnTo>
                  <a:pt x="6540" y="325120"/>
                </a:lnTo>
                <a:lnTo>
                  <a:pt x="6477" y="328930"/>
                </a:lnTo>
                <a:lnTo>
                  <a:pt x="7239" y="330200"/>
                </a:lnTo>
                <a:lnTo>
                  <a:pt x="6794" y="331470"/>
                </a:lnTo>
                <a:lnTo>
                  <a:pt x="7010" y="332740"/>
                </a:lnTo>
                <a:lnTo>
                  <a:pt x="7823" y="334010"/>
                </a:lnTo>
                <a:lnTo>
                  <a:pt x="10147" y="339090"/>
                </a:lnTo>
                <a:lnTo>
                  <a:pt x="10337" y="340360"/>
                </a:lnTo>
                <a:lnTo>
                  <a:pt x="9398" y="344170"/>
                </a:lnTo>
                <a:lnTo>
                  <a:pt x="9144" y="345440"/>
                </a:lnTo>
                <a:lnTo>
                  <a:pt x="8851" y="345440"/>
                </a:lnTo>
                <a:lnTo>
                  <a:pt x="8801" y="346710"/>
                </a:lnTo>
                <a:lnTo>
                  <a:pt x="9563" y="347980"/>
                </a:lnTo>
                <a:lnTo>
                  <a:pt x="10248" y="347980"/>
                </a:lnTo>
                <a:lnTo>
                  <a:pt x="11747" y="346710"/>
                </a:lnTo>
                <a:lnTo>
                  <a:pt x="11747" y="347980"/>
                </a:lnTo>
                <a:lnTo>
                  <a:pt x="11404" y="350520"/>
                </a:lnTo>
                <a:lnTo>
                  <a:pt x="10960" y="351790"/>
                </a:lnTo>
                <a:lnTo>
                  <a:pt x="12712" y="354330"/>
                </a:lnTo>
                <a:lnTo>
                  <a:pt x="12954" y="355600"/>
                </a:lnTo>
                <a:lnTo>
                  <a:pt x="13449" y="356870"/>
                </a:lnTo>
                <a:lnTo>
                  <a:pt x="13639" y="358140"/>
                </a:lnTo>
                <a:lnTo>
                  <a:pt x="14986" y="358140"/>
                </a:lnTo>
                <a:lnTo>
                  <a:pt x="14986" y="359410"/>
                </a:lnTo>
                <a:lnTo>
                  <a:pt x="15760" y="360680"/>
                </a:lnTo>
                <a:lnTo>
                  <a:pt x="16802" y="361950"/>
                </a:lnTo>
                <a:lnTo>
                  <a:pt x="18415"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58" y="373380"/>
                </a:lnTo>
                <a:lnTo>
                  <a:pt x="25260" y="374650"/>
                </a:lnTo>
                <a:lnTo>
                  <a:pt x="27178" y="374650"/>
                </a:lnTo>
                <a:lnTo>
                  <a:pt x="28409" y="375920"/>
                </a:lnTo>
                <a:lnTo>
                  <a:pt x="29603" y="373380"/>
                </a:lnTo>
                <a:lnTo>
                  <a:pt x="29921" y="373380"/>
                </a:lnTo>
                <a:lnTo>
                  <a:pt x="30594" y="374650"/>
                </a:lnTo>
                <a:lnTo>
                  <a:pt x="30149" y="375920"/>
                </a:lnTo>
                <a:lnTo>
                  <a:pt x="31013" y="377190"/>
                </a:lnTo>
                <a:lnTo>
                  <a:pt x="33909" y="377190"/>
                </a:lnTo>
                <a:lnTo>
                  <a:pt x="34937" y="378460"/>
                </a:lnTo>
                <a:lnTo>
                  <a:pt x="35560" y="378460"/>
                </a:lnTo>
                <a:lnTo>
                  <a:pt x="36360" y="379730"/>
                </a:lnTo>
                <a:lnTo>
                  <a:pt x="40640" y="379730"/>
                </a:lnTo>
                <a:lnTo>
                  <a:pt x="40474" y="378460"/>
                </a:lnTo>
                <a:lnTo>
                  <a:pt x="41211" y="377266"/>
                </a:lnTo>
                <a:lnTo>
                  <a:pt x="42468"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29" y="370840"/>
                </a:lnTo>
                <a:lnTo>
                  <a:pt x="62268" y="369570"/>
                </a:lnTo>
                <a:lnTo>
                  <a:pt x="62750"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92" y="356870"/>
                </a:lnTo>
                <a:lnTo>
                  <a:pt x="76212" y="355600"/>
                </a:lnTo>
                <a:lnTo>
                  <a:pt x="76492" y="355600"/>
                </a:lnTo>
                <a:lnTo>
                  <a:pt x="76987" y="354330"/>
                </a:lnTo>
                <a:lnTo>
                  <a:pt x="77647" y="353060"/>
                </a:lnTo>
                <a:lnTo>
                  <a:pt x="78955" y="350520"/>
                </a:lnTo>
                <a:lnTo>
                  <a:pt x="79908" y="349250"/>
                </a:lnTo>
                <a:lnTo>
                  <a:pt x="80302" y="346710"/>
                </a:lnTo>
                <a:lnTo>
                  <a:pt x="81165" y="346710"/>
                </a:lnTo>
                <a:lnTo>
                  <a:pt x="81457" y="347980"/>
                </a:lnTo>
                <a:lnTo>
                  <a:pt x="81991" y="346710"/>
                </a:lnTo>
                <a:lnTo>
                  <a:pt x="82511" y="345440"/>
                </a:lnTo>
                <a:lnTo>
                  <a:pt x="82791" y="344170"/>
                </a:lnTo>
                <a:lnTo>
                  <a:pt x="84340" y="345440"/>
                </a:lnTo>
                <a:lnTo>
                  <a:pt x="84391" y="344170"/>
                </a:lnTo>
                <a:lnTo>
                  <a:pt x="84467" y="341630"/>
                </a:lnTo>
                <a:lnTo>
                  <a:pt x="85026" y="339090"/>
                </a:lnTo>
                <a:lnTo>
                  <a:pt x="87172" y="339090"/>
                </a:lnTo>
                <a:lnTo>
                  <a:pt x="88506" y="335280"/>
                </a:lnTo>
                <a:lnTo>
                  <a:pt x="90208" y="335280"/>
                </a:lnTo>
                <a:lnTo>
                  <a:pt x="90208" y="332740"/>
                </a:lnTo>
                <a:lnTo>
                  <a:pt x="90881" y="331470"/>
                </a:lnTo>
                <a:lnTo>
                  <a:pt x="92760" y="328930"/>
                </a:lnTo>
                <a:lnTo>
                  <a:pt x="93395" y="327660"/>
                </a:lnTo>
                <a:lnTo>
                  <a:pt x="93624" y="327660"/>
                </a:lnTo>
                <a:lnTo>
                  <a:pt x="93675" y="326390"/>
                </a:lnTo>
                <a:lnTo>
                  <a:pt x="94259" y="326390"/>
                </a:lnTo>
                <a:lnTo>
                  <a:pt x="94818" y="325120"/>
                </a:lnTo>
                <a:lnTo>
                  <a:pt x="95351" y="323850"/>
                </a:lnTo>
                <a:lnTo>
                  <a:pt x="96253" y="322580"/>
                </a:lnTo>
                <a:lnTo>
                  <a:pt x="97015" y="322580"/>
                </a:lnTo>
                <a:lnTo>
                  <a:pt x="96761" y="321310"/>
                </a:lnTo>
                <a:lnTo>
                  <a:pt x="97116" y="320040"/>
                </a:lnTo>
                <a:lnTo>
                  <a:pt x="99250" y="317500"/>
                </a:lnTo>
                <a:lnTo>
                  <a:pt x="99796" y="316230"/>
                </a:lnTo>
                <a:lnTo>
                  <a:pt x="100342" y="314960"/>
                </a:lnTo>
                <a:lnTo>
                  <a:pt x="100888"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91" y="304800"/>
                </a:lnTo>
                <a:lnTo>
                  <a:pt x="107137" y="303530"/>
                </a:lnTo>
                <a:lnTo>
                  <a:pt x="107022" y="302260"/>
                </a:lnTo>
                <a:lnTo>
                  <a:pt x="107454"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64" y="294640"/>
                </a:lnTo>
                <a:lnTo>
                  <a:pt x="113004" y="294640"/>
                </a:lnTo>
                <a:lnTo>
                  <a:pt x="112864" y="293370"/>
                </a:lnTo>
                <a:lnTo>
                  <a:pt x="113169" y="293370"/>
                </a:lnTo>
                <a:lnTo>
                  <a:pt x="113093" y="292887"/>
                </a:lnTo>
                <a:lnTo>
                  <a:pt x="113042" y="290830"/>
                </a:lnTo>
                <a:lnTo>
                  <a:pt x="114160" y="290830"/>
                </a:lnTo>
                <a:lnTo>
                  <a:pt x="115874" y="289560"/>
                </a:lnTo>
                <a:lnTo>
                  <a:pt x="115404" y="289560"/>
                </a:lnTo>
                <a:lnTo>
                  <a:pt x="115062" y="288290"/>
                </a:lnTo>
                <a:lnTo>
                  <a:pt x="115023" y="287020"/>
                </a:lnTo>
                <a:lnTo>
                  <a:pt x="115201" y="287020"/>
                </a:lnTo>
                <a:lnTo>
                  <a:pt x="115379" y="288290"/>
                </a:lnTo>
                <a:lnTo>
                  <a:pt x="116370" y="288290"/>
                </a:lnTo>
                <a:lnTo>
                  <a:pt x="116217" y="287020"/>
                </a:lnTo>
                <a:lnTo>
                  <a:pt x="116916" y="287020"/>
                </a:lnTo>
                <a:lnTo>
                  <a:pt x="116547" y="285750"/>
                </a:lnTo>
                <a:lnTo>
                  <a:pt x="117906" y="285750"/>
                </a:lnTo>
                <a:lnTo>
                  <a:pt x="118681" y="284480"/>
                </a:lnTo>
                <a:lnTo>
                  <a:pt x="118211" y="284480"/>
                </a:lnTo>
                <a:lnTo>
                  <a:pt x="118148" y="284314"/>
                </a:lnTo>
                <a:lnTo>
                  <a:pt x="117754" y="283210"/>
                </a:lnTo>
                <a:lnTo>
                  <a:pt x="118313" y="283210"/>
                </a:lnTo>
                <a:lnTo>
                  <a:pt x="118148" y="284314"/>
                </a:lnTo>
                <a:lnTo>
                  <a:pt x="118948" y="283210"/>
                </a:lnTo>
                <a:lnTo>
                  <a:pt x="119113" y="283210"/>
                </a:lnTo>
                <a:lnTo>
                  <a:pt x="119075" y="281940"/>
                </a:lnTo>
                <a:lnTo>
                  <a:pt x="120611" y="281940"/>
                </a:lnTo>
                <a:lnTo>
                  <a:pt x="120980" y="280670"/>
                </a:lnTo>
                <a:lnTo>
                  <a:pt x="122174" y="280670"/>
                </a:lnTo>
                <a:lnTo>
                  <a:pt x="122034" y="279400"/>
                </a:lnTo>
                <a:lnTo>
                  <a:pt x="121488" y="278130"/>
                </a:lnTo>
                <a:lnTo>
                  <a:pt x="121843"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92" y="269240"/>
                </a:lnTo>
                <a:lnTo>
                  <a:pt x="126606" y="267970"/>
                </a:lnTo>
                <a:lnTo>
                  <a:pt x="126568" y="269240"/>
                </a:lnTo>
                <a:lnTo>
                  <a:pt x="127050" y="269240"/>
                </a:lnTo>
                <a:lnTo>
                  <a:pt x="126873" y="270510"/>
                </a:lnTo>
                <a:lnTo>
                  <a:pt x="127228" y="270510"/>
                </a:lnTo>
                <a:lnTo>
                  <a:pt x="127330" y="269240"/>
                </a:lnTo>
                <a:lnTo>
                  <a:pt x="127393" y="267970"/>
                </a:lnTo>
                <a:lnTo>
                  <a:pt x="128231" y="267970"/>
                </a:lnTo>
                <a:lnTo>
                  <a:pt x="128790"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73"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71" y="241300"/>
                </a:lnTo>
                <a:lnTo>
                  <a:pt x="144932" y="241300"/>
                </a:lnTo>
                <a:lnTo>
                  <a:pt x="145288" y="240030"/>
                </a:lnTo>
                <a:lnTo>
                  <a:pt x="146659" y="240030"/>
                </a:lnTo>
                <a:lnTo>
                  <a:pt x="146850" y="238760"/>
                </a:lnTo>
                <a:lnTo>
                  <a:pt x="146240" y="238760"/>
                </a:lnTo>
                <a:lnTo>
                  <a:pt x="146469" y="237490"/>
                </a:lnTo>
                <a:lnTo>
                  <a:pt x="146824" y="236220"/>
                </a:lnTo>
                <a:lnTo>
                  <a:pt x="147421" y="234950"/>
                </a:lnTo>
                <a:lnTo>
                  <a:pt x="149606" y="234950"/>
                </a:lnTo>
                <a:lnTo>
                  <a:pt x="149072" y="233680"/>
                </a:lnTo>
                <a:lnTo>
                  <a:pt x="149136" y="232410"/>
                </a:lnTo>
                <a:lnTo>
                  <a:pt x="150215" y="232410"/>
                </a:lnTo>
                <a:lnTo>
                  <a:pt x="152006" y="231140"/>
                </a:lnTo>
                <a:lnTo>
                  <a:pt x="152196" y="231140"/>
                </a:lnTo>
                <a:lnTo>
                  <a:pt x="151663" y="229870"/>
                </a:lnTo>
                <a:lnTo>
                  <a:pt x="151498" y="228600"/>
                </a:lnTo>
                <a:lnTo>
                  <a:pt x="152514" y="228600"/>
                </a:lnTo>
                <a:lnTo>
                  <a:pt x="153009" y="227330"/>
                </a:lnTo>
                <a:lnTo>
                  <a:pt x="154724" y="227330"/>
                </a:lnTo>
                <a:lnTo>
                  <a:pt x="154914" y="226060"/>
                </a:lnTo>
                <a:lnTo>
                  <a:pt x="154813" y="224790"/>
                </a:lnTo>
                <a:lnTo>
                  <a:pt x="155244" y="224790"/>
                </a:lnTo>
                <a:lnTo>
                  <a:pt x="155651" y="223520"/>
                </a:lnTo>
                <a:lnTo>
                  <a:pt x="156629" y="223520"/>
                </a:lnTo>
                <a:lnTo>
                  <a:pt x="156933" y="222250"/>
                </a:lnTo>
                <a:lnTo>
                  <a:pt x="157518" y="220980"/>
                </a:lnTo>
                <a:lnTo>
                  <a:pt x="158051" y="219710"/>
                </a:lnTo>
                <a:lnTo>
                  <a:pt x="158940" y="219710"/>
                </a:lnTo>
                <a:lnTo>
                  <a:pt x="160007" y="217170"/>
                </a:lnTo>
                <a:lnTo>
                  <a:pt x="160502" y="215900"/>
                </a:lnTo>
                <a:lnTo>
                  <a:pt x="161785" y="215900"/>
                </a:lnTo>
                <a:lnTo>
                  <a:pt x="162941" y="212090"/>
                </a:lnTo>
                <a:lnTo>
                  <a:pt x="164287" y="210820"/>
                </a:lnTo>
                <a:lnTo>
                  <a:pt x="165328" y="208280"/>
                </a:lnTo>
                <a:lnTo>
                  <a:pt x="167271" y="207010"/>
                </a:lnTo>
                <a:lnTo>
                  <a:pt x="166852" y="205740"/>
                </a:lnTo>
                <a:lnTo>
                  <a:pt x="167132" y="205740"/>
                </a:lnTo>
                <a:lnTo>
                  <a:pt x="167601" y="204470"/>
                </a:lnTo>
                <a:lnTo>
                  <a:pt x="169684" y="203200"/>
                </a:lnTo>
                <a:lnTo>
                  <a:pt x="170738" y="200660"/>
                </a:lnTo>
                <a:lnTo>
                  <a:pt x="171970" y="198120"/>
                </a:lnTo>
                <a:lnTo>
                  <a:pt x="172593" y="198120"/>
                </a:lnTo>
                <a:lnTo>
                  <a:pt x="173050" y="196850"/>
                </a:lnTo>
                <a:lnTo>
                  <a:pt x="172923" y="194310"/>
                </a:lnTo>
                <a:lnTo>
                  <a:pt x="173977" y="195580"/>
                </a:lnTo>
                <a:lnTo>
                  <a:pt x="175323" y="194310"/>
                </a:lnTo>
                <a:lnTo>
                  <a:pt x="176022" y="194310"/>
                </a:lnTo>
                <a:lnTo>
                  <a:pt x="175742" y="193040"/>
                </a:lnTo>
                <a:lnTo>
                  <a:pt x="177101"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26" y="182880"/>
                </a:lnTo>
                <a:lnTo>
                  <a:pt x="183400" y="181610"/>
                </a:lnTo>
                <a:lnTo>
                  <a:pt x="184861" y="181610"/>
                </a:lnTo>
                <a:lnTo>
                  <a:pt x="184899" y="180340"/>
                </a:lnTo>
                <a:lnTo>
                  <a:pt x="185140" y="179070"/>
                </a:lnTo>
                <a:lnTo>
                  <a:pt x="186855" y="179070"/>
                </a:lnTo>
                <a:lnTo>
                  <a:pt x="186905"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08" y="167640"/>
                </a:lnTo>
                <a:lnTo>
                  <a:pt x="194716" y="166370"/>
                </a:lnTo>
                <a:lnTo>
                  <a:pt x="193916" y="166370"/>
                </a:lnTo>
                <a:lnTo>
                  <a:pt x="194652" y="165100"/>
                </a:lnTo>
                <a:lnTo>
                  <a:pt x="194741" y="166370"/>
                </a:lnTo>
                <a:lnTo>
                  <a:pt x="195211" y="166370"/>
                </a:lnTo>
                <a:lnTo>
                  <a:pt x="196062" y="165100"/>
                </a:lnTo>
                <a:lnTo>
                  <a:pt x="195846" y="165100"/>
                </a:lnTo>
                <a:lnTo>
                  <a:pt x="196049" y="163830"/>
                </a:lnTo>
                <a:lnTo>
                  <a:pt x="196430" y="163830"/>
                </a:lnTo>
                <a:lnTo>
                  <a:pt x="196811" y="162560"/>
                </a:lnTo>
                <a:lnTo>
                  <a:pt x="197154" y="162560"/>
                </a:lnTo>
                <a:lnTo>
                  <a:pt x="197396" y="161290"/>
                </a:lnTo>
                <a:lnTo>
                  <a:pt x="198678" y="160020"/>
                </a:lnTo>
                <a:lnTo>
                  <a:pt x="199694" y="160020"/>
                </a:lnTo>
                <a:lnTo>
                  <a:pt x="199910" y="158750"/>
                </a:lnTo>
                <a:lnTo>
                  <a:pt x="200596" y="157480"/>
                </a:lnTo>
                <a:lnTo>
                  <a:pt x="201269" y="157480"/>
                </a:lnTo>
                <a:lnTo>
                  <a:pt x="201739" y="154940"/>
                </a:lnTo>
                <a:lnTo>
                  <a:pt x="203530" y="154940"/>
                </a:lnTo>
                <a:lnTo>
                  <a:pt x="203466" y="153670"/>
                </a:lnTo>
                <a:lnTo>
                  <a:pt x="204139" y="153670"/>
                </a:lnTo>
                <a:lnTo>
                  <a:pt x="204203" y="152400"/>
                </a:lnTo>
                <a:lnTo>
                  <a:pt x="205486" y="152400"/>
                </a:lnTo>
                <a:lnTo>
                  <a:pt x="205003"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69" y="139700"/>
                </a:lnTo>
                <a:lnTo>
                  <a:pt x="213271" y="139700"/>
                </a:lnTo>
                <a:lnTo>
                  <a:pt x="213779" y="138430"/>
                </a:lnTo>
                <a:lnTo>
                  <a:pt x="215798" y="138430"/>
                </a:lnTo>
                <a:lnTo>
                  <a:pt x="216166" y="137160"/>
                </a:lnTo>
                <a:lnTo>
                  <a:pt x="216662" y="135890"/>
                </a:lnTo>
                <a:lnTo>
                  <a:pt x="217093" y="134620"/>
                </a:lnTo>
                <a:lnTo>
                  <a:pt x="217678" y="133350"/>
                </a:lnTo>
                <a:lnTo>
                  <a:pt x="219760" y="133350"/>
                </a:lnTo>
                <a:lnTo>
                  <a:pt x="220319" y="132080"/>
                </a:lnTo>
                <a:lnTo>
                  <a:pt x="221767" y="129540"/>
                </a:lnTo>
                <a:lnTo>
                  <a:pt x="222148" y="128270"/>
                </a:lnTo>
                <a:lnTo>
                  <a:pt x="222885" y="128270"/>
                </a:lnTo>
                <a:lnTo>
                  <a:pt x="222885" y="127000"/>
                </a:lnTo>
                <a:lnTo>
                  <a:pt x="224688" y="127000"/>
                </a:lnTo>
                <a:lnTo>
                  <a:pt x="224828" y="125730"/>
                </a:lnTo>
                <a:lnTo>
                  <a:pt x="225056" y="125730"/>
                </a:lnTo>
                <a:lnTo>
                  <a:pt x="225348" y="124460"/>
                </a:lnTo>
                <a:lnTo>
                  <a:pt x="225590" y="124460"/>
                </a:lnTo>
                <a:lnTo>
                  <a:pt x="226504" y="123190"/>
                </a:lnTo>
                <a:lnTo>
                  <a:pt x="227863" y="121920"/>
                </a:lnTo>
                <a:lnTo>
                  <a:pt x="228422" y="120650"/>
                </a:lnTo>
                <a:lnTo>
                  <a:pt x="229590" y="120650"/>
                </a:lnTo>
                <a:lnTo>
                  <a:pt x="229793" y="119380"/>
                </a:lnTo>
                <a:lnTo>
                  <a:pt x="230174" y="118110"/>
                </a:lnTo>
                <a:lnTo>
                  <a:pt x="230809" y="118110"/>
                </a:lnTo>
                <a:lnTo>
                  <a:pt x="231063" y="116840"/>
                </a:lnTo>
                <a:lnTo>
                  <a:pt x="231597"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20" y="91440"/>
                </a:lnTo>
                <a:lnTo>
                  <a:pt x="253098" y="90170"/>
                </a:lnTo>
                <a:lnTo>
                  <a:pt x="254063" y="88900"/>
                </a:lnTo>
                <a:lnTo>
                  <a:pt x="254901" y="87630"/>
                </a:lnTo>
                <a:lnTo>
                  <a:pt x="255524" y="88900"/>
                </a:lnTo>
                <a:lnTo>
                  <a:pt x="255638" y="87630"/>
                </a:lnTo>
                <a:lnTo>
                  <a:pt x="255854" y="86360"/>
                </a:lnTo>
                <a:lnTo>
                  <a:pt x="256616" y="86360"/>
                </a:lnTo>
                <a:lnTo>
                  <a:pt x="257670" y="85090"/>
                </a:lnTo>
                <a:lnTo>
                  <a:pt x="258343" y="85090"/>
                </a:lnTo>
                <a:lnTo>
                  <a:pt x="258445" y="83820"/>
                </a:lnTo>
                <a:lnTo>
                  <a:pt x="260108" y="83820"/>
                </a:lnTo>
                <a:lnTo>
                  <a:pt x="260286" y="82550"/>
                </a:lnTo>
                <a:lnTo>
                  <a:pt x="261264" y="81280"/>
                </a:lnTo>
                <a:lnTo>
                  <a:pt x="261327" y="80010"/>
                </a:lnTo>
                <a:lnTo>
                  <a:pt x="263588" y="78740"/>
                </a:lnTo>
                <a:lnTo>
                  <a:pt x="263829" y="78740"/>
                </a:lnTo>
                <a:lnTo>
                  <a:pt x="263664" y="77470"/>
                </a:lnTo>
                <a:lnTo>
                  <a:pt x="264985" y="77470"/>
                </a:lnTo>
                <a:lnTo>
                  <a:pt x="265353" y="76200"/>
                </a:lnTo>
                <a:lnTo>
                  <a:pt x="265480" y="76200"/>
                </a:lnTo>
                <a:lnTo>
                  <a:pt x="266014" y="74930"/>
                </a:lnTo>
                <a:lnTo>
                  <a:pt x="268185" y="74930"/>
                </a:lnTo>
                <a:lnTo>
                  <a:pt x="267639" y="73660"/>
                </a:lnTo>
                <a:lnTo>
                  <a:pt x="268173" y="72390"/>
                </a:lnTo>
                <a:lnTo>
                  <a:pt x="270167" y="72390"/>
                </a:lnTo>
                <a:lnTo>
                  <a:pt x="271335" y="69850"/>
                </a:lnTo>
                <a:lnTo>
                  <a:pt x="273329" y="68580"/>
                </a:lnTo>
                <a:lnTo>
                  <a:pt x="274980" y="66040"/>
                </a:lnTo>
                <a:lnTo>
                  <a:pt x="275475" y="66040"/>
                </a:lnTo>
                <a:lnTo>
                  <a:pt x="276263" y="64770"/>
                </a:lnTo>
                <a:lnTo>
                  <a:pt x="276529" y="64770"/>
                </a:lnTo>
                <a:lnTo>
                  <a:pt x="276402"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388" y="52070"/>
                </a:lnTo>
                <a:lnTo>
                  <a:pt x="287782" y="50800"/>
                </a:lnTo>
                <a:lnTo>
                  <a:pt x="288607" y="50800"/>
                </a:lnTo>
                <a:lnTo>
                  <a:pt x="289826" y="49530"/>
                </a:lnTo>
                <a:lnTo>
                  <a:pt x="288912" y="52070"/>
                </a:lnTo>
                <a:lnTo>
                  <a:pt x="290220" y="49530"/>
                </a:lnTo>
                <a:lnTo>
                  <a:pt x="292862" y="45720"/>
                </a:lnTo>
                <a:lnTo>
                  <a:pt x="293446" y="44450"/>
                </a:lnTo>
                <a:lnTo>
                  <a:pt x="293649" y="45720"/>
                </a:lnTo>
                <a:lnTo>
                  <a:pt x="294462" y="45720"/>
                </a:lnTo>
                <a:lnTo>
                  <a:pt x="294462" y="44450"/>
                </a:lnTo>
                <a:lnTo>
                  <a:pt x="294741" y="44450"/>
                </a:lnTo>
                <a:lnTo>
                  <a:pt x="295871" y="43180"/>
                </a:lnTo>
                <a:lnTo>
                  <a:pt x="296062" y="43180"/>
                </a:lnTo>
                <a:lnTo>
                  <a:pt x="295059" y="41910"/>
                </a:lnTo>
                <a:lnTo>
                  <a:pt x="297916" y="41910"/>
                </a:lnTo>
                <a:lnTo>
                  <a:pt x="297484" y="40640"/>
                </a:lnTo>
                <a:lnTo>
                  <a:pt x="296481" y="40640"/>
                </a:lnTo>
                <a:lnTo>
                  <a:pt x="297307" y="39370"/>
                </a:lnTo>
                <a:lnTo>
                  <a:pt x="297434"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21" y="27940"/>
                </a:lnTo>
                <a:lnTo>
                  <a:pt x="317385" y="22860"/>
                </a:lnTo>
                <a:lnTo>
                  <a:pt x="318757" y="22860"/>
                </a:lnTo>
                <a:lnTo>
                  <a:pt x="317474" y="21590"/>
                </a:lnTo>
                <a:lnTo>
                  <a:pt x="318731" y="21590"/>
                </a:lnTo>
                <a:lnTo>
                  <a:pt x="319176" y="22860"/>
                </a:lnTo>
                <a:lnTo>
                  <a:pt x="319671" y="21590"/>
                </a:lnTo>
                <a:lnTo>
                  <a:pt x="320179" y="20320"/>
                </a:lnTo>
                <a:lnTo>
                  <a:pt x="321970" y="19050"/>
                </a:lnTo>
                <a:lnTo>
                  <a:pt x="324878" y="17780"/>
                </a:lnTo>
                <a:lnTo>
                  <a:pt x="325742" y="17780"/>
                </a:lnTo>
                <a:lnTo>
                  <a:pt x="326644" y="16510"/>
                </a:lnTo>
                <a:lnTo>
                  <a:pt x="327545" y="15240"/>
                </a:lnTo>
                <a:lnTo>
                  <a:pt x="328434" y="15240"/>
                </a:lnTo>
                <a:lnTo>
                  <a:pt x="329704" y="13970"/>
                </a:lnTo>
                <a:lnTo>
                  <a:pt x="328244" y="13970"/>
                </a:lnTo>
                <a:lnTo>
                  <a:pt x="327850" y="14033"/>
                </a:lnTo>
                <a:lnTo>
                  <a:pt x="327507" y="14185"/>
                </a:lnTo>
                <a:lnTo>
                  <a:pt x="327660" y="14274"/>
                </a:lnTo>
                <a:lnTo>
                  <a:pt x="326110" y="15240"/>
                </a:lnTo>
                <a:lnTo>
                  <a:pt x="326326" y="13970"/>
                </a:lnTo>
                <a:lnTo>
                  <a:pt x="327469" y="13970"/>
                </a:lnTo>
                <a:lnTo>
                  <a:pt x="327977" y="12700"/>
                </a:lnTo>
                <a:lnTo>
                  <a:pt x="329996" y="12700"/>
                </a:lnTo>
                <a:lnTo>
                  <a:pt x="330377" y="13970"/>
                </a:lnTo>
                <a:lnTo>
                  <a:pt x="331533" y="12700"/>
                </a:lnTo>
                <a:lnTo>
                  <a:pt x="330441" y="12700"/>
                </a:lnTo>
                <a:lnTo>
                  <a:pt x="330352" y="12319"/>
                </a:lnTo>
                <a:lnTo>
                  <a:pt x="332041" y="11785"/>
                </a:lnTo>
                <a:lnTo>
                  <a:pt x="332587" y="9994"/>
                </a:lnTo>
                <a:lnTo>
                  <a:pt x="332994" y="9702"/>
                </a:lnTo>
                <a:lnTo>
                  <a:pt x="333375" y="9931"/>
                </a:lnTo>
                <a:close/>
              </a:path>
            </a:pathLst>
          </a:custGeom>
          <a:solidFill>
            <a:srgbClr val="D02929"/>
          </a:solidFill>
        </p:spPr>
        <p:txBody>
          <a:bodyPr wrap="square" lIns="0" tIns="0" rIns="0" bIns="0" rtlCol="0"/>
          <a:lstStyle/>
          <a:p>
            <a:endParaRPr/>
          </a:p>
        </p:txBody>
      </p:sp>
      <p:sp>
        <p:nvSpPr>
          <p:cNvPr id="51" name="object 51"/>
          <p:cNvSpPr/>
          <p:nvPr/>
        </p:nvSpPr>
        <p:spPr>
          <a:xfrm>
            <a:off x="5565127" y="6693445"/>
            <a:ext cx="333375" cy="379730"/>
          </a:xfrm>
          <a:custGeom>
            <a:avLst/>
            <a:gdLst/>
            <a:ahLst/>
            <a:cxnLst/>
            <a:rect l="l" t="t" r="r" b="b"/>
            <a:pathLst>
              <a:path w="333375" h="379729">
                <a:moveTo>
                  <a:pt x="4483" y="313664"/>
                </a:moveTo>
                <a:lnTo>
                  <a:pt x="4279" y="313880"/>
                </a:lnTo>
                <a:lnTo>
                  <a:pt x="3886" y="314337"/>
                </a:lnTo>
                <a:lnTo>
                  <a:pt x="4013" y="314579"/>
                </a:lnTo>
                <a:lnTo>
                  <a:pt x="4381" y="314566"/>
                </a:lnTo>
                <a:lnTo>
                  <a:pt x="4457" y="314147"/>
                </a:lnTo>
                <a:lnTo>
                  <a:pt x="4483" y="313664"/>
                </a:lnTo>
                <a:close/>
              </a:path>
              <a:path w="333375" h="379729">
                <a:moveTo>
                  <a:pt x="9690" y="230314"/>
                </a:moveTo>
                <a:lnTo>
                  <a:pt x="9652" y="230124"/>
                </a:lnTo>
                <a:lnTo>
                  <a:pt x="9436" y="229933"/>
                </a:lnTo>
                <a:lnTo>
                  <a:pt x="9309" y="230022"/>
                </a:lnTo>
                <a:lnTo>
                  <a:pt x="9245" y="230200"/>
                </a:lnTo>
                <a:lnTo>
                  <a:pt x="9296" y="230327"/>
                </a:lnTo>
                <a:lnTo>
                  <a:pt x="9321" y="230505"/>
                </a:lnTo>
                <a:lnTo>
                  <a:pt x="9550" y="230746"/>
                </a:lnTo>
                <a:lnTo>
                  <a:pt x="9690" y="230670"/>
                </a:lnTo>
                <a:lnTo>
                  <a:pt x="9690" y="230454"/>
                </a:lnTo>
                <a:lnTo>
                  <a:pt x="9690" y="230314"/>
                </a:lnTo>
                <a:close/>
              </a:path>
              <a:path w="333375" h="379729">
                <a:moveTo>
                  <a:pt x="23914" y="371017"/>
                </a:moveTo>
                <a:lnTo>
                  <a:pt x="23812" y="370624"/>
                </a:lnTo>
                <a:lnTo>
                  <a:pt x="23685" y="370700"/>
                </a:lnTo>
                <a:lnTo>
                  <a:pt x="23774" y="371106"/>
                </a:lnTo>
                <a:lnTo>
                  <a:pt x="23914" y="371017"/>
                </a:lnTo>
                <a:close/>
              </a:path>
              <a:path w="333375" h="379729">
                <a:moveTo>
                  <a:pt x="38735" y="223291"/>
                </a:moveTo>
                <a:lnTo>
                  <a:pt x="38696" y="222961"/>
                </a:lnTo>
                <a:lnTo>
                  <a:pt x="38544" y="222885"/>
                </a:lnTo>
                <a:lnTo>
                  <a:pt x="38328" y="223062"/>
                </a:lnTo>
                <a:lnTo>
                  <a:pt x="38227" y="223266"/>
                </a:lnTo>
                <a:lnTo>
                  <a:pt x="38150" y="223685"/>
                </a:lnTo>
                <a:lnTo>
                  <a:pt x="38290" y="223951"/>
                </a:lnTo>
                <a:lnTo>
                  <a:pt x="38557" y="223774"/>
                </a:lnTo>
                <a:lnTo>
                  <a:pt x="38646" y="223469"/>
                </a:lnTo>
                <a:lnTo>
                  <a:pt x="38735" y="223291"/>
                </a:lnTo>
                <a:close/>
              </a:path>
              <a:path w="333375" h="379729">
                <a:moveTo>
                  <a:pt x="41998" y="222084"/>
                </a:moveTo>
                <a:lnTo>
                  <a:pt x="41884" y="221488"/>
                </a:lnTo>
                <a:lnTo>
                  <a:pt x="41783" y="221310"/>
                </a:lnTo>
                <a:lnTo>
                  <a:pt x="41567" y="220954"/>
                </a:lnTo>
                <a:lnTo>
                  <a:pt x="41427" y="220992"/>
                </a:lnTo>
                <a:lnTo>
                  <a:pt x="41122" y="222237"/>
                </a:lnTo>
                <a:lnTo>
                  <a:pt x="40805" y="223139"/>
                </a:lnTo>
                <a:lnTo>
                  <a:pt x="40322" y="224180"/>
                </a:lnTo>
                <a:lnTo>
                  <a:pt x="40297" y="224370"/>
                </a:lnTo>
                <a:lnTo>
                  <a:pt x="40500" y="224434"/>
                </a:lnTo>
                <a:lnTo>
                  <a:pt x="40741" y="224459"/>
                </a:lnTo>
                <a:lnTo>
                  <a:pt x="41998" y="222084"/>
                </a:lnTo>
                <a:close/>
              </a:path>
              <a:path w="333375" h="379729">
                <a:moveTo>
                  <a:pt x="44716" y="229870"/>
                </a:moveTo>
                <a:lnTo>
                  <a:pt x="43840" y="228600"/>
                </a:lnTo>
                <a:lnTo>
                  <a:pt x="42506" y="227330"/>
                </a:lnTo>
                <a:lnTo>
                  <a:pt x="41275" y="228600"/>
                </a:lnTo>
                <a:lnTo>
                  <a:pt x="40982" y="228600"/>
                </a:lnTo>
                <a:lnTo>
                  <a:pt x="40703" y="229870"/>
                </a:lnTo>
                <a:lnTo>
                  <a:pt x="40551" y="228600"/>
                </a:lnTo>
                <a:lnTo>
                  <a:pt x="40170" y="228600"/>
                </a:lnTo>
                <a:lnTo>
                  <a:pt x="40640" y="227330"/>
                </a:lnTo>
                <a:lnTo>
                  <a:pt x="40957" y="227330"/>
                </a:lnTo>
                <a:lnTo>
                  <a:pt x="40932" y="226060"/>
                </a:lnTo>
                <a:lnTo>
                  <a:pt x="41021" y="224790"/>
                </a:lnTo>
                <a:lnTo>
                  <a:pt x="39814" y="226060"/>
                </a:lnTo>
                <a:lnTo>
                  <a:pt x="39814" y="231140"/>
                </a:lnTo>
                <a:lnTo>
                  <a:pt x="39420" y="231140"/>
                </a:lnTo>
                <a:lnTo>
                  <a:pt x="39293" y="229870"/>
                </a:lnTo>
                <a:lnTo>
                  <a:pt x="39585"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80" y="220980"/>
                </a:lnTo>
                <a:lnTo>
                  <a:pt x="37325" y="219710"/>
                </a:lnTo>
                <a:lnTo>
                  <a:pt x="37592" y="219710"/>
                </a:lnTo>
                <a:lnTo>
                  <a:pt x="38163" y="220980"/>
                </a:lnTo>
                <a:lnTo>
                  <a:pt x="38849" y="220980"/>
                </a:lnTo>
                <a:lnTo>
                  <a:pt x="39776" y="222250"/>
                </a:lnTo>
                <a:lnTo>
                  <a:pt x="40271" y="222250"/>
                </a:lnTo>
                <a:lnTo>
                  <a:pt x="40944" y="220980"/>
                </a:lnTo>
                <a:lnTo>
                  <a:pt x="40220" y="220980"/>
                </a:lnTo>
                <a:lnTo>
                  <a:pt x="39700" y="219710"/>
                </a:lnTo>
                <a:lnTo>
                  <a:pt x="38176" y="219710"/>
                </a:lnTo>
                <a:lnTo>
                  <a:pt x="38265" y="218440"/>
                </a:lnTo>
                <a:lnTo>
                  <a:pt x="38633" y="217170"/>
                </a:lnTo>
                <a:lnTo>
                  <a:pt x="39001" y="215900"/>
                </a:lnTo>
                <a:lnTo>
                  <a:pt x="38735" y="214630"/>
                </a:lnTo>
                <a:lnTo>
                  <a:pt x="37223" y="214630"/>
                </a:lnTo>
                <a:lnTo>
                  <a:pt x="36715" y="213360"/>
                </a:lnTo>
                <a:lnTo>
                  <a:pt x="36309" y="212090"/>
                </a:lnTo>
                <a:lnTo>
                  <a:pt x="35458" y="213360"/>
                </a:lnTo>
                <a:lnTo>
                  <a:pt x="35242" y="213360"/>
                </a:lnTo>
                <a:lnTo>
                  <a:pt x="35407"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63" y="213360"/>
                </a:lnTo>
                <a:lnTo>
                  <a:pt x="33832" y="213360"/>
                </a:lnTo>
                <a:lnTo>
                  <a:pt x="33832" y="226060"/>
                </a:lnTo>
                <a:lnTo>
                  <a:pt x="33388" y="226060"/>
                </a:lnTo>
                <a:lnTo>
                  <a:pt x="33172" y="224790"/>
                </a:lnTo>
                <a:lnTo>
                  <a:pt x="31496" y="224790"/>
                </a:lnTo>
                <a:lnTo>
                  <a:pt x="31229" y="223520"/>
                </a:lnTo>
                <a:lnTo>
                  <a:pt x="32118" y="223520"/>
                </a:lnTo>
                <a:lnTo>
                  <a:pt x="32550" y="222250"/>
                </a:lnTo>
                <a:lnTo>
                  <a:pt x="32981" y="223520"/>
                </a:lnTo>
                <a:lnTo>
                  <a:pt x="33464" y="223520"/>
                </a:lnTo>
                <a:lnTo>
                  <a:pt x="33604" y="224790"/>
                </a:lnTo>
                <a:lnTo>
                  <a:pt x="33832" y="226060"/>
                </a:lnTo>
                <a:lnTo>
                  <a:pt x="33832" y="213360"/>
                </a:lnTo>
                <a:lnTo>
                  <a:pt x="32778" y="213360"/>
                </a:lnTo>
                <a:lnTo>
                  <a:pt x="32054" y="214630"/>
                </a:lnTo>
                <a:lnTo>
                  <a:pt x="30010" y="214630"/>
                </a:lnTo>
                <a:lnTo>
                  <a:pt x="29794" y="213360"/>
                </a:lnTo>
                <a:lnTo>
                  <a:pt x="29222" y="213360"/>
                </a:lnTo>
                <a:lnTo>
                  <a:pt x="28613" y="212090"/>
                </a:lnTo>
                <a:lnTo>
                  <a:pt x="27355" y="213360"/>
                </a:lnTo>
                <a:lnTo>
                  <a:pt x="27038" y="213360"/>
                </a:lnTo>
                <a:lnTo>
                  <a:pt x="27279" y="214630"/>
                </a:lnTo>
                <a:lnTo>
                  <a:pt x="27762" y="215900"/>
                </a:lnTo>
                <a:lnTo>
                  <a:pt x="27152" y="215900"/>
                </a:lnTo>
                <a:lnTo>
                  <a:pt x="27038" y="217170"/>
                </a:lnTo>
                <a:lnTo>
                  <a:pt x="26263" y="217170"/>
                </a:lnTo>
                <a:lnTo>
                  <a:pt x="26327" y="215900"/>
                </a:lnTo>
                <a:lnTo>
                  <a:pt x="26314" y="214630"/>
                </a:lnTo>
                <a:lnTo>
                  <a:pt x="25412" y="213360"/>
                </a:lnTo>
                <a:lnTo>
                  <a:pt x="24650" y="213360"/>
                </a:lnTo>
                <a:lnTo>
                  <a:pt x="24650" y="224790"/>
                </a:lnTo>
                <a:lnTo>
                  <a:pt x="24384" y="224790"/>
                </a:lnTo>
                <a:lnTo>
                  <a:pt x="24638" y="226060"/>
                </a:lnTo>
                <a:lnTo>
                  <a:pt x="23977" y="226060"/>
                </a:lnTo>
                <a:lnTo>
                  <a:pt x="24066" y="224790"/>
                </a:lnTo>
                <a:lnTo>
                  <a:pt x="22796" y="224790"/>
                </a:lnTo>
                <a:lnTo>
                  <a:pt x="22593" y="226060"/>
                </a:lnTo>
                <a:lnTo>
                  <a:pt x="21234" y="226060"/>
                </a:lnTo>
                <a:lnTo>
                  <a:pt x="20891" y="224790"/>
                </a:lnTo>
                <a:lnTo>
                  <a:pt x="20447" y="224790"/>
                </a:lnTo>
                <a:lnTo>
                  <a:pt x="20993" y="223520"/>
                </a:lnTo>
                <a:lnTo>
                  <a:pt x="22415" y="223520"/>
                </a:lnTo>
                <a:lnTo>
                  <a:pt x="23075" y="222250"/>
                </a:lnTo>
                <a:lnTo>
                  <a:pt x="23723" y="223520"/>
                </a:lnTo>
                <a:lnTo>
                  <a:pt x="24434" y="223520"/>
                </a:lnTo>
                <a:lnTo>
                  <a:pt x="24650" y="224790"/>
                </a:lnTo>
                <a:lnTo>
                  <a:pt x="24650" y="213360"/>
                </a:lnTo>
                <a:lnTo>
                  <a:pt x="23329" y="213360"/>
                </a:lnTo>
                <a:lnTo>
                  <a:pt x="21869" y="214630"/>
                </a:lnTo>
                <a:lnTo>
                  <a:pt x="20955" y="215900"/>
                </a:lnTo>
                <a:lnTo>
                  <a:pt x="19748" y="217170"/>
                </a:lnTo>
                <a:lnTo>
                  <a:pt x="19545" y="217170"/>
                </a:lnTo>
                <a:lnTo>
                  <a:pt x="17907" y="214630"/>
                </a:lnTo>
                <a:lnTo>
                  <a:pt x="16802" y="215900"/>
                </a:lnTo>
                <a:lnTo>
                  <a:pt x="16471" y="218440"/>
                </a:lnTo>
                <a:lnTo>
                  <a:pt x="16408"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50" y="232410"/>
                </a:lnTo>
                <a:lnTo>
                  <a:pt x="9144" y="233680"/>
                </a:lnTo>
                <a:lnTo>
                  <a:pt x="7480" y="234950"/>
                </a:lnTo>
                <a:lnTo>
                  <a:pt x="7696" y="236220"/>
                </a:lnTo>
                <a:lnTo>
                  <a:pt x="6769" y="237490"/>
                </a:lnTo>
                <a:lnTo>
                  <a:pt x="5207" y="237490"/>
                </a:lnTo>
                <a:lnTo>
                  <a:pt x="4686" y="238760"/>
                </a:lnTo>
                <a:lnTo>
                  <a:pt x="3937" y="241300"/>
                </a:lnTo>
                <a:lnTo>
                  <a:pt x="1701" y="243840"/>
                </a:lnTo>
                <a:lnTo>
                  <a:pt x="800" y="243840"/>
                </a:lnTo>
                <a:lnTo>
                  <a:pt x="1193" y="245110"/>
                </a:lnTo>
                <a:lnTo>
                  <a:pt x="4064" y="245110"/>
                </a:lnTo>
                <a:lnTo>
                  <a:pt x="44488" y="245110"/>
                </a:lnTo>
                <a:lnTo>
                  <a:pt x="44500" y="243840"/>
                </a:lnTo>
                <a:lnTo>
                  <a:pt x="43903" y="241300"/>
                </a:lnTo>
                <a:lnTo>
                  <a:pt x="43726" y="240030"/>
                </a:lnTo>
                <a:lnTo>
                  <a:pt x="42646" y="240030"/>
                </a:lnTo>
                <a:lnTo>
                  <a:pt x="43167" y="238760"/>
                </a:lnTo>
                <a:lnTo>
                  <a:pt x="43662" y="238760"/>
                </a:lnTo>
                <a:lnTo>
                  <a:pt x="44018" y="236220"/>
                </a:lnTo>
                <a:lnTo>
                  <a:pt x="44018" y="234950"/>
                </a:lnTo>
                <a:lnTo>
                  <a:pt x="44132" y="233680"/>
                </a:lnTo>
                <a:lnTo>
                  <a:pt x="44259" y="232410"/>
                </a:lnTo>
                <a:lnTo>
                  <a:pt x="43624" y="232410"/>
                </a:lnTo>
                <a:lnTo>
                  <a:pt x="41135" y="232410"/>
                </a:lnTo>
                <a:lnTo>
                  <a:pt x="41135" y="234950"/>
                </a:lnTo>
                <a:lnTo>
                  <a:pt x="40525" y="234950"/>
                </a:lnTo>
                <a:lnTo>
                  <a:pt x="40551" y="233680"/>
                </a:lnTo>
                <a:lnTo>
                  <a:pt x="41071" y="233680"/>
                </a:lnTo>
                <a:lnTo>
                  <a:pt x="41135" y="234950"/>
                </a:lnTo>
                <a:lnTo>
                  <a:pt x="41135" y="232410"/>
                </a:lnTo>
                <a:lnTo>
                  <a:pt x="40640" y="232410"/>
                </a:lnTo>
                <a:lnTo>
                  <a:pt x="40894" y="231140"/>
                </a:lnTo>
                <a:lnTo>
                  <a:pt x="41363" y="231140"/>
                </a:lnTo>
                <a:lnTo>
                  <a:pt x="42506" y="229870"/>
                </a:lnTo>
                <a:lnTo>
                  <a:pt x="43167" y="229870"/>
                </a:lnTo>
                <a:lnTo>
                  <a:pt x="43853" y="231140"/>
                </a:lnTo>
                <a:lnTo>
                  <a:pt x="43624" y="232410"/>
                </a:lnTo>
                <a:lnTo>
                  <a:pt x="44704" y="231140"/>
                </a:lnTo>
                <a:lnTo>
                  <a:pt x="44716" y="229870"/>
                </a:lnTo>
                <a:close/>
              </a:path>
              <a:path w="333375" h="379729">
                <a:moveTo>
                  <a:pt x="50495" y="279146"/>
                </a:moveTo>
                <a:lnTo>
                  <a:pt x="50355" y="278930"/>
                </a:lnTo>
                <a:lnTo>
                  <a:pt x="50152" y="278828"/>
                </a:lnTo>
                <a:lnTo>
                  <a:pt x="50139" y="279184"/>
                </a:lnTo>
                <a:lnTo>
                  <a:pt x="50266" y="279222"/>
                </a:lnTo>
                <a:lnTo>
                  <a:pt x="50482" y="279247"/>
                </a:lnTo>
                <a:close/>
              </a:path>
              <a:path w="333375" h="379729">
                <a:moveTo>
                  <a:pt x="52070" y="294398"/>
                </a:moveTo>
                <a:lnTo>
                  <a:pt x="51904" y="294500"/>
                </a:lnTo>
                <a:lnTo>
                  <a:pt x="51739" y="294614"/>
                </a:lnTo>
                <a:lnTo>
                  <a:pt x="51879" y="294551"/>
                </a:lnTo>
                <a:lnTo>
                  <a:pt x="52070" y="294398"/>
                </a:lnTo>
                <a:close/>
              </a:path>
              <a:path w="333375" h="379729">
                <a:moveTo>
                  <a:pt x="52870" y="294017"/>
                </a:moveTo>
                <a:lnTo>
                  <a:pt x="52781" y="294195"/>
                </a:lnTo>
                <a:lnTo>
                  <a:pt x="52870" y="294017"/>
                </a:lnTo>
                <a:close/>
              </a:path>
              <a:path w="333375" h="379729">
                <a:moveTo>
                  <a:pt x="52895" y="295757"/>
                </a:moveTo>
                <a:lnTo>
                  <a:pt x="52844" y="296506"/>
                </a:lnTo>
                <a:lnTo>
                  <a:pt x="52844" y="296760"/>
                </a:lnTo>
                <a:lnTo>
                  <a:pt x="52870" y="296468"/>
                </a:lnTo>
                <a:lnTo>
                  <a:pt x="52895" y="295948"/>
                </a:lnTo>
                <a:lnTo>
                  <a:pt x="52895" y="295757"/>
                </a:lnTo>
                <a:close/>
              </a:path>
              <a:path w="333375" h="379729">
                <a:moveTo>
                  <a:pt x="53060" y="294640"/>
                </a:moveTo>
                <a:lnTo>
                  <a:pt x="53035" y="295376"/>
                </a:lnTo>
                <a:lnTo>
                  <a:pt x="53060" y="294640"/>
                </a:lnTo>
                <a:close/>
              </a:path>
              <a:path w="333375" h="379729">
                <a:moveTo>
                  <a:pt x="53213" y="297459"/>
                </a:moveTo>
                <a:lnTo>
                  <a:pt x="53200" y="297180"/>
                </a:lnTo>
                <a:lnTo>
                  <a:pt x="53213" y="297459"/>
                </a:lnTo>
                <a:close/>
              </a:path>
              <a:path w="333375" h="379729">
                <a:moveTo>
                  <a:pt x="53263" y="296799"/>
                </a:moveTo>
                <a:lnTo>
                  <a:pt x="53200" y="295998"/>
                </a:lnTo>
                <a:lnTo>
                  <a:pt x="53174" y="295694"/>
                </a:lnTo>
                <a:lnTo>
                  <a:pt x="53136" y="295198"/>
                </a:lnTo>
                <a:lnTo>
                  <a:pt x="53174" y="295922"/>
                </a:lnTo>
                <a:lnTo>
                  <a:pt x="53200" y="296367"/>
                </a:lnTo>
                <a:lnTo>
                  <a:pt x="53225" y="296633"/>
                </a:lnTo>
                <a:lnTo>
                  <a:pt x="53263" y="296799"/>
                </a:lnTo>
                <a:close/>
              </a:path>
              <a:path w="333375" h="379729">
                <a:moveTo>
                  <a:pt x="53530" y="297700"/>
                </a:moveTo>
                <a:lnTo>
                  <a:pt x="53517" y="297180"/>
                </a:lnTo>
                <a:lnTo>
                  <a:pt x="53530" y="297700"/>
                </a:lnTo>
                <a:close/>
              </a:path>
              <a:path w="333375" h="379729">
                <a:moveTo>
                  <a:pt x="53632" y="295490"/>
                </a:moveTo>
                <a:lnTo>
                  <a:pt x="53581" y="295338"/>
                </a:lnTo>
                <a:lnTo>
                  <a:pt x="53467" y="295046"/>
                </a:lnTo>
                <a:lnTo>
                  <a:pt x="53555" y="295313"/>
                </a:lnTo>
                <a:lnTo>
                  <a:pt x="53606" y="295478"/>
                </a:lnTo>
                <a:close/>
              </a:path>
              <a:path w="333375" h="379729">
                <a:moveTo>
                  <a:pt x="53682" y="372084"/>
                </a:moveTo>
                <a:close/>
              </a:path>
              <a:path w="333375" h="379729">
                <a:moveTo>
                  <a:pt x="54051" y="294703"/>
                </a:moveTo>
                <a:close/>
              </a:path>
              <a:path w="333375" h="379729">
                <a:moveTo>
                  <a:pt x="54838" y="294868"/>
                </a:moveTo>
                <a:lnTo>
                  <a:pt x="54775" y="294640"/>
                </a:lnTo>
                <a:lnTo>
                  <a:pt x="54838" y="294868"/>
                </a:lnTo>
                <a:close/>
              </a:path>
              <a:path w="333375" h="379729">
                <a:moveTo>
                  <a:pt x="54965" y="294170"/>
                </a:moveTo>
                <a:lnTo>
                  <a:pt x="54825" y="294030"/>
                </a:lnTo>
                <a:lnTo>
                  <a:pt x="54914" y="294208"/>
                </a:lnTo>
                <a:close/>
              </a:path>
              <a:path w="333375" h="379729">
                <a:moveTo>
                  <a:pt x="55295" y="295440"/>
                </a:moveTo>
                <a:close/>
              </a:path>
              <a:path w="333375" h="379729">
                <a:moveTo>
                  <a:pt x="55880" y="292887"/>
                </a:moveTo>
                <a:lnTo>
                  <a:pt x="55346" y="292100"/>
                </a:lnTo>
                <a:lnTo>
                  <a:pt x="55880" y="292887"/>
                </a:lnTo>
                <a:close/>
              </a:path>
              <a:path w="333375" h="379729">
                <a:moveTo>
                  <a:pt x="56261" y="293370"/>
                </a:moveTo>
                <a:lnTo>
                  <a:pt x="55880" y="292887"/>
                </a:lnTo>
                <a:lnTo>
                  <a:pt x="56222" y="293370"/>
                </a:lnTo>
                <a:close/>
              </a:path>
              <a:path w="333375" h="379729">
                <a:moveTo>
                  <a:pt x="61607" y="280873"/>
                </a:moveTo>
                <a:lnTo>
                  <a:pt x="61252" y="280847"/>
                </a:lnTo>
                <a:lnTo>
                  <a:pt x="61226" y="280987"/>
                </a:lnTo>
                <a:lnTo>
                  <a:pt x="61163" y="281139"/>
                </a:lnTo>
                <a:lnTo>
                  <a:pt x="61239" y="281432"/>
                </a:lnTo>
                <a:lnTo>
                  <a:pt x="61391" y="281432"/>
                </a:lnTo>
                <a:lnTo>
                  <a:pt x="61493" y="281266"/>
                </a:lnTo>
                <a:lnTo>
                  <a:pt x="61569" y="281012"/>
                </a:lnTo>
                <a:lnTo>
                  <a:pt x="61607" y="280873"/>
                </a:lnTo>
                <a:close/>
              </a:path>
              <a:path w="333375" h="379729">
                <a:moveTo>
                  <a:pt x="70370" y="266623"/>
                </a:moveTo>
                <a:lnTo>
                  <a:pt x="70281" y="266458"/>
                </a:lnTo>
                <a:lnTo>
                  <a:pt x="70142" y="266357"/>
                </a:lnTo>
                <a:lnTo>
                  <a:pt x="69964" y="266319"/>
                </a:lnTo>
                <a:lnTo>
                  <a:pt x="69850" y="266484"/>
                </a:lnTo>
                <a:lnTo>
                  <a:pt x="69799" y="266687"/>
                </a:lnTo>
                <a:lnTo>
                  <a:pt x="70002" y="266979"/>
                </a:lnTo>
                <a:lnTo>
                  <a:pt x="70205" y="266890"/>
                </a:lnTo>
                <a:lnTo>
                  <a:pt x="70332" y="266687"/>
                </a:lnTo>
                <a:close/>
              </a:path>
              <a:path w="333375" h="379729">
                <a:moveTo>
                  <a:pt x="75057" y="260692"/>
                </a:moveTo>
                <a:lnTo>
                  <a:pt x="74942" y="260527"/>
                </a:lnTo>
                <a:lnTo>
                  <a:pt x="74752" y="260553"/>
                </a:lnTo>
                <a:lnTo>
                  <a:pt x="74625" y="260527"/>
                </a:lnTo>
                <a:lnTo>
                  <a:pt x="74599" y="260667"/>
                </a:lnTo>
                <a:lnTo>
                  <a:pt x="74536" y="260845"/>
                </a:lnTo>
                <a:lnTo>
                  <a:pt x="74625" y="261010"/>
                </a:lnTo>
                <a:lnTo>
                  <a:pt x="74828" y="260985"/>
                </a:lnTo>
                <a:lnTo>
                  <a:pt x="74955" y="261010"/>
                </a:lnTo>
                <a:lnTo>
                  <a:pt x="74968" y="260870"/>
                </a:lnTo>
                <a:lnTo>
                  <a:pt x="75057" y="260692"/>
                </a:lnTo>
                <a:close/>
              </a:path>
              <a:path w="333375" h="379729">
                <a:moveTo>
                  <a:pt x="87096" y="240080"/>
                </a:moveTo>
                <a:lnTo>
                  <a:pt x="87007" y="239941"/>
                </a:lnTo>
                <a:lnTo>
                  <a:pt x="86702" y="239979"/>
                </a:lnTo>
                <a:lnTo>
                  <a:pt x="86461" y="240169"/>
                </a:lnTo>
                <a:lnTo>
                  <a:pt x="86601" y="240436"/>
                </a:lnTo>
                <a:lnTo>
                  <a:pt x="86868" y="240563"/>
                </a:lnTo>
                <a:lnTo>
                  <a:pt x="87020" y="240449"/>
                </a:lnTo>
                <a:lnTo>
                  <a:pt x="87096" y="240080"/>
                </a:lnTo>
                <a:close/>
              </a:path>
              <a:path w="333375" h="379729">
                <a:moveTo>
                  <a:pt x="93243" y="229997"/>
                </a:moveTo>
                <a:lnTo>
                  <a:pt x="92976" y="229870"/>
                </a:lnTo>
                <a:lnTo>
                  <a:pt x="93218" y="230124"/>
                </a:lnTo>
                <a:lnTo>
                  <a:pt x="93243" y="229997"/>
                </a:lnTo>
                <a:close/>
              </a:path>
              <a:path w="333375" h="379729">
                <a:moveTo>
                  <a:pt x="102323" y="215861"/>
                </a:moveTo>
                <a:lnTo>
                  <a:pt x="102184" y="215633"/>
                </a:lnTo>
                <a:lnTo>
                  <a:pt x="101930" y="215468"/>
                </a:lnTo>
                <a:lnTo>
                  <a:pt x="101803" y="215734"/>
                </a:lnTo>
                <a:lnTo>
                  <a:pt x="101917" y="216001"/>
                </a:lnTo>
                <a:lnTo>
                  <a:pt x="102082" y="216052"/>
                </a:lnTo>
                <a:lnTo>
                  <a:pt x="102209" y="215925"/>
                </a:lnTo>
                <a:close/>
              </a:path>
              <a:path w="333375" h="379729">
                <a:moveTo>
                  <a:pt x="137248" y="255346"/>
                </a:moveTo>
                <a:lnTo>
                  <a:pt x="137198" y="254990"/>
                </a:lnTo>
                <a:lnTo>
                  <a:pt x="136969" y="254850"/>
                </a:lnTo>
                <a:lnTo>
                  <a:pt x="136779" y="254927"/>
                </a:lnTo>
                <a:lnTo>
                  <a:pt x="136652" y="255117"/>
                </a:lnTo>
                <a:lnTo>
                  <a:pt x="136550" y="255270"/>
                </a:lnTo>
                <a:lnTo>
                  <a:pt x="136652" y="255397"/>
                </a:lnTo>
                <a:lnTo>
                  <a:pt x="136969" y="255409"/>
                </a:lnTo>
                <a:lnTo>
                  <a:pt x="137109" y="255371"/>
                </a:lnTo>
                <a:lnTo>
                  <a:pt x="137248" y="255346"/>
                </a:lnTo>
                <a:close/>
              </a:path>
              <a:path w="333375" h="379729">
                <a:moveTo>
                  <a:pt x="139903" y="250431"/>
                </a:moveTo>
                <a:lnTo>
                  <a:pt x="139750" y="250342"/>
                </a:lnTo>
                <a:lnTo>
                  <a:pt x="139598" y="250444"/>
                </a:lnTo>
                <a:lnTo>
                  <a:pt x="139471" y="250634"/>
                </a:lnTo>
                <a:lnTo>
                  <a:pt x="139369" y="250786"/>
                </a:lnTo>
                <a:lnTo>
                  <a:pt x="139661" y="250850"/>
                </a:lnTo>
                <a:lnTo>
                  <a:pt x="139890" y="250748"/>
                </a:lnTo>
                <a:lnTo>
                  <a:pt x="139903" y="250431"/>
                </a:lnTo>
                <a:close/>
              </a:path>
              <a:path w="333375" h="379729">
                <a:moveTo>
                  <a:pt x="181317" y="109689"/>
                </a:moveTo>
                <a:lnTo>
                  <a:pt x="181254" y="109524"/>
                </a:lnTo>
                <a:lnTo>
                  <a:pt x="181076" y="109499"/>
                </a:lnTo>
                <a:lnTo>
                  <a:pt x="180936" y="109588"/>
                </a:lnTo>
                <a:lnTo>
                  <a:pt x="180898" y="109728"/>
                </a:lnTo>
                <a:lnTo>
                  <a:pt x="180898" y="110058"/>
                </a:lnTo>
                <a:lnTo>
                  <a:pt x="181165" y="109956"/>
                </a:lnTo>
                <a:lnTo>
                  <a:pt x="181317" y="109689"/>
                </a:lnTo>
                <a:close/>
              </a:path>
              <a:path w="333375" h="379729">
                <a:moveTo>
                  <a:pt x="223012" y="128549"/>
                </a:moveTo>
                <a:close/>
              </a:path>
              <a:path w="333375" h="379729">
                <a:moveTo>
                  <a:pt x="223659" y="128219"/>
                </a:moveTo>
                <a:lnTo>
                  <a:pt x="223469" y="128422"/>
                </a:lnTo>
                <a:lnTo>
                  <a:pt x="223227" y="128460"/>
                </a:lnTo>
                <a:lnTo>
                  <a:pt x="223012" y="128549"/>
                </a:lnTo>
                <a:lnTo>
                  <a:pt x="223342" y="129197"/>
                </a:lnTo>
                <a:lnTo>
                  <a:pt x="223481" y="128600"/>
                </a:lnTo>
                <a:lnTo>
                  <a:pt x="223659" y="128219"/>
                </a:lnTo>
                <a:close/>
              </a:path>
              <a:path w="333375" h="379729">
                <a:moveTo>
                  <a:pt x="223812" y="128003"/>
                </a:moveTo>
                <a:lnTo>
                  <a:pt x="223697" y="128130"/>
                </a:lnTo>
                <a:lnTo>
                  <a:pt x="223812" y="128003"/>
                </a:lnTo>
                <a:close/>
              </a:path>
              <a:path w="333375" h="379729">
                <a:moveTo>
                  <a:pt x="317665" y="1676"/>
                </a:moveTo>
                <a:lnTo>
                  <a:pt x="317588" y="1460"/>
                </a:lnTo>
                <a:lnTo>
                  <a:pt x="317449" y="1371"/>
                </a:lnTo>
                <a:lnTo>
                  <a:pt x="317284" y="1549"/>
                </a:lnTo>
                <a:lnTo>
                  <a:pt x="317360" y="1778"/>
                </a:lnTo>
                <a:lnTo>
                  <a:pt x="317500" y="1854"/>
                </a:lnTo>
                <a:lnTo>
                  <a:pt x="317665" y="1676"/>
                </a:lnTo>
                <a:close/>
              </a:path>
              <a:path w="333375" h="379729">
                <a:moveTo>
                  <a:pt x="328155" y="3276"/>
                </a:moveTo>
                <a:lnTo>
                  <a:pt x="328104" y="3124"/>
                </a:lnTo>
                <a:lnTo>
                  <a:pt x="327901" y="3009"/>
                </a:lnTo>
                <a:lnTo>
                  <a:pt x="327799" y="3213"/>
                </a:lnTo>
                <a:lnTo>
                  <a:pt x="327863" y="3365"/>
                </a:lnTo>
                <a:lnTo>
                  <a:pt x="328053" y="3467"/>
                </a:lnTo>
                <a:lnTo>
                  <a:pt x="328155" y="3276"/>
                </a:lnTo>
                <a:close/>
              </a:path>
              <a:path w="333375" h="379729">
                <a:moveTo>
                  <a:pt x="333375" y="9931"/>
                </a:moveTo>
                <a:lnTo>
                  <a:pt x="333336" y="9334"/>
                </a:lnTo>
                <a:lnTo>
                  <a:pt x="333133" y="9182"/>
                </a:lnTo>
                <a:lnTo>
                  <a:pt x="332828" y="9245"/>
                </a:lnTo>
                <a:lnTo>
                  <a:pt x="332308" y="9334"/>
                </a:lnTo>
                <a:lnTo>
                  <a:pt x="331724" y="9601"/>
                </a:lnTo>
                <a:lnTo>
                  <a:pt x="331812" y="10464"/>
                </a:lnTo>
                <a:lnTo>
                  <a:pt x="331558" y="10629"/>
                </a:lnTo>
                <a:lnTo>
                  <a:pt x="330161" y="10896"/>
                </a:lnTo>
                <a:lnTo>
                  <a:pt x="329793" y="11163"/>
                </a:lnTo>
                <a:lnTo>
                  <a:pt x="329704" y="11430"/>
                </a:lnTo>
                <a:lnTo>
                  <a:pt x="328396" y="11430"/>
                </a:lnTo>
                <a:lnTo>
                  <a:pt x="328955" y="10160"/>
                </a:lnTo>
                <a:lnTo>
                  <a:pt x="326402" y="10160"/>
                </a:lnTo>
                <a:lnTo>
                  <a:pt x="327418" y="8890"/>
                </a:lnTo>
                <a:lnTo>
                  <a:pt x="328993" y="7708"/>
                </a:lnTo>
                <a:lnTo>
                  <a:pt x="329247" y="8039"/>
                </a:lnTo>
                <a:lnTo>
                  <a:pt x="329349" y="8318"/>
                </a:lnTo>
                <a:lnTo>
                  <a:pt x="330060" y="7835"/>
                </a:lnTo>
                <a:lnTo>
                  <a:pt x="329971" y="7632"/>
                </a:lnTo>
                <a:lnTo>
                  <a:pt x="329704" y="7340"/>
                </a:lnTo>
                <a:lnTo>
                  <a:pt x="329501" y="7251"/>
                </a:lnTo>
                <a:lnTo>
                  <a:pt x="329171" y="7340"/>
                </a:lnTo>
                <a:lnTo>
                  <a:pt x="328968" y="7493"/>
                </a:lnTo>
                <a:lnTo>
                  <a:pt x="327774" y="6350"/>
                </a:lnTo>
                <a:lnTo>
                  <a:pt x="328993" y="6350"/>
                </a:lnTo>
                <a:lnTo>
                  <a:pt x="328536" y="5080"/>
                </a:lnTo>
                <a:lnTo>
                  <a:pt x="329044" y="3810"/>
                </a:lnTo>
                <a:lnTo>
                  <a:pt x="330758" y="3810"/>
                </a:lnTo>
                <a:lnTo>
                  <a:pt x="330454" y="2540"/>
                </a:lnTo>
                <a:lnTo>
                  <a:pt x="328726" y="3810"/>
                </a:lnTo>
                <a:lnTo>
                  <a:pt x="325678" y="3810"/>
                </a:lnTo>
                <a:lnTo>
                  <a:pt x="325005" y="2540"/>
                </a:lnTo>
                <a:lnTo>
                  <a:pt x="324726" y="2540"/>
                </a:lnTo>
                <a:lnTo>
                  <a:pt x="324726" y="15240"/>
                </a:lnTo>
                <a:lnTo>
                  <a:pt x="322986" y="15240"/>
                </a:lnTo>
                <a:lnTo>
                  <a:pt x="322897" y="16510"/>
                </a:lnTo>
                <a:lnTo>
                  <a:pt x="322491" y="16510"/>
                </a:lnTo>
                <a:lnTo>
                  <a:pt x="322643" y="15240"/>
                </a:lnTo>
                <a:lnTo>
                  <a:pt x="323329" y="13970"/>
                </a:lnTo>
                <a:lnTo>
                  <a:pt x="324205" y="13970"/>
                </a:lnTo>
                <a:lnTo>
                  <a:pt x="324726" y="15240"/>
                </a:lnTo>
                <a:lnTo>
                  <a:pt x="324726" y="2540"/>
                </a:lnTo>
                <a:lnTo>
                  <a:pt x="323303" y="2540"/>
                </a:lnTo>
                <a:lnTo>
                  <a:pt x="323303" y="5080"/>
                </a:lnTo>
                <a:lnTo>
                  <a:pt x="322872" y="5080"/>
                </a:lnTo>
                <a:lnTo>
                  <a:pt x="323011" y="3810"/>
                </a:lnTo>
                <a:lnTo>
                  <a:pt x="323253"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78" y="3810"/>
                </a:lnTo>
                <a:lnTo>
                  <a:pt x="296887" y="3810"/>
                </a:lnTo>
                <a:lnTo>
                  <a:pt x="294233" y="5080"/>
                </a:lnTo>
                <a:lnTo>
                  <a:pt x="292887" y="6350"/>
                </a:lnTo>
                <a:lnTo>
                  <a:pt x="291528"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75" y="29210"/>
                </a:lnTo>
                <a:lnTo>
                  <a:pt x="258876" y="31750"/>
                </a:lnTo>
                <a:lnTo>
                  <a:pt x="256552" y="31750"/>
                </a:lnTo>
                <a:lnTo>
                  <a:pt x="256120" y="34290"/>
                </a:lnTo>
                <a:lnTo>
                  <a:pt x="254292" y="35560"/>
                </a:lnTo>
                <a:lnTo>
                  <a:pt x="250215" y="39370"/>
                </a:lnTo>
                <a:lnTo>
                  <a:pt x="248462" y="39370"/>
                </a:lnTo>
                <a:lnTo>
                  <a:pt x="246354" y="43180"/>
                </a:lnTo>
                <a:lnTo>
                  <a:pt x="244881" y="44450"/>
                </a:lnTo>
                <a:lnTo>
                  <a:pt x="242341" y="45720"/>
                </a:lnTo>
                <a:lnTo>
                  <a:pt x="241503" y="45720"/>
                </a:lnTo>
                <a:lnTo>
                  <a:pt x="241922" y="48260"/>
                </a:lnTo>
                <a:lnTo>
                  <a:pt x="238975" y="48260"/>
                </a:lnTo>
                <a:lnTo>
                  <a:pt x="237312" y="52070"/>
                </a:lnTo>
                <a:lnTo>
                  <a:pt x="234772" y="53340"/>
                </a:lnTo>
                <a:lnTo>
                  <a:pt x="232397" y="55880"/>
                </a:lnTo>
                <a:lnTo>
                  <a:pt x="231381" y="57150"/>
                </a:lnTo>
                <a:lnTo>
                  <a:pt x="227761" y="58420"/>
                </a:lnTo>
                <a:lnTo>
                  <a:pt x="227533" y="60960"/>
                </a:lnTo>
                <a:lnTo>
                  <a:pt x="225412" y="62230"/>
                </a:lnTo>
                <a:lnTo>
                  <a:pt x="225425" y="63500"/>
                </a:lnTo>
                <a:lnTo>
                  <a:pt x="223367" y="63500"/>
                </a:lnTo>
                <a:lnTo>
                  <a:pt x="222910" y="64770"/>
                </a:lnTo>
                <a:lnTo>
                  <a:pt x="222681" y="66040"/>
                </a:lnTo>
                <a:lnTo>
                  <a:pt x="221957" y="67310"/>
                </a:lnTo>
                <a:lnTo>
                  <a:pt x="219989" y="68580"/>
                </a:lnTo>
                <a:lnTo>
                  <a:pt x="218490" y="68580"/>
                </a:lnTo>
                <a:lnTo>
                  <a:pt x="216928" y="71120"/>
                </a:lnTo>
                <a:lnTo>
                  <a:pt x="215734" y="72390"/>
                </a:lnTo>
                <a:lnTo>
                  <a:pt x="214960" y="74930"/>
                </a:lnTo>
                <a:lnTo>
                  <a:pt x="214058" y="74930"/>
                </a:lnTo>
                <a:lnTo>
                  <a:pt x="212229" y="76200"/>
                </a:lnTo>
                <a:lnTo>
                  <a:pt x="210172" y="78740"/>
                </a:lnTo>
                <a:lnTo>
                  <a:pt x="208470" y="80010"/>
                </a:lnTo>
                <a:lnTo>
                  <a:pt x="207327" y="81280"/>
                </a:lnTo>
                <a:lnTo>
                  <a:pt x="205409" y="83820"/>
                </a:lnTo>
                <a:lnTo>
                  <a:pt x="204876" y="85090"/>
                </a:lnTo>
                <a:lnTo>
                  <a:pt x="203962" y="86360"/>
                </a:lnTo>
                <a:lnTo>
                  <a:pt x="201498" y="87630"/>
                </a:lnTo>
                <a:lnTo>
                  <a:pt x="200304" y="88900"/>
                </a:lnTo>
                <a:lnTo>
                  <a:pt x="199796" y="90170"/>
                </a:lnTo>
                <a:lnTo>
                  <a:pt x="197345" y="90170"/>
                </a:lnTo>
                <a:lnTo>
                  <a:pt x="197993" y="91440"/>
                </a:lnTo>
                <a:lnTo>
                  <a:pt x="197904" y="93980"/>
                </a:lnTo>
                <a:lnTo>
                  <a:pt x="195478"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84"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29" y="149860"/>
                </a:lnTo>
                <a:lnTo>
                  <a:pt x="158394" y="148590"/>
                </a:lnTo>
                <a:lnTo>
                  <a:pt x="159270" y="148590"/>
                </a:lnTo>
                <a:lnTo>
                  <a:pt x="159270" y="137160"/>
                </a:lnTo>
                <a:lnTo>
                  <a:pt x="158851" y="137160"/>
                </a:lnTo>
                <a:lnTo>
                  <a:pt x="159092" y="140970"/>
                </a:lnTo>
                <a:lnTo>
                  <a:pt x="156210" y="140970"/>
                </a:lnTo>
                <a:lnTo>
                  <a:pt x="156032" y="144780"/>
                </a:lnTo>
                <a:lnTo>
                  <a:pt x="154787" y="146050"/>
                </a:lnTo>
                <a:lnTo>
                  <a:pt x="152057"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42"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56"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66" y="170180"/>
                </a:lnTo>
                <a:lnTo>
                  <a:pt x="134264" y="171450"/>
                </a:lnTo>
                <a:lnTo>
                  <a:pt x="133248" y="171450"/>
                </a:lnTo>
                <a:lnTo>
                  <a:pt x="134239" y="173990"/>
                </a:lnTo>
                <a:lnTo>
                  <a:pt x="133273" y="175260"/>
                </a:lnTo>
                <a:lnTo>
                  <a:pt x="130822" y="176530"/>
                </a:lnTo>
                <a:lnTo>
                  <a:pt x="129857" y="179070"/>
                </a:lnTo>
                <a:lnTo>
                  <a:pt x="127177" y="180340"/>
                </a:lnTo>
                <a:lnTo>
                  <a:pt x="126936" y="180340"/>
                </a:lnTo>
                <a:lnTo>
                  <a:pt x="126860" y="182880"/>
                </a:lnTo>
                <a:lnTo>
                  <a:pt x="125831" y="185420"/>
                </a:lnTo>
                <a:lnTo>
                  <a:pt x="126009" y="187960"/>
                </a:lnTo>
                <a:lnTo>
                  <a:pt x="124574" y="187960"/>
                </a:lnTo>
                <a:lnTo>
                  <a:pt x="124002" y="189230"/>
                </a:lnTo>
                <a:lnTo>
                  <a:pt x="123228" y="187960"/>
                </a:lnTo>
                <a:lnTo>
                  <a:pt x="123037" y="189865"/>
                </a:lnTo>
                <a:lnTo>
                  <a:pt x="123037" y="269240"/>
                </a:lnTo>
                <a:lnTo>
                  <a:pt x="122656" y="269240"/>
                </a:lnTo>
                <a:lnTo>
                  <a:pt x="122872" y="267970"/>
                </a:lnTo>
                <a:lnTo>
                  <a:pt x="123037" y="269240"/>
                </a:lnTo>
                <a:lnTo>
                  <a:pt x="123037" y="189865"/>
                </a:lnTo>
                <a:lnTo>
                  <a:pt x="122974" y="190500"/>
                </a:lnTo>
                <a:lnTo>
                  <a:pt x="121780" y="190500"/>
                </a:lnTo>
                <a:lnTo>
                  <a:pt x="120357" y="191770"/>
                </a:lnTo>
                <a:lnTo>
                  <a:pt x="119684" y="191770"/>
                </a:lnTo>
                <a:lnTo>
                  <a:pt x="118198" y="193040"/>
                </a:lnTo>
                <a:lnTo>
                  <a:pt x="119761" y="193040"/>
                </a:lnTo>
                <a:lnTo>
                  <a:pt x="119176" y="194310"/>
                </a:lnTo>
                <a:lnTo>
                  <a:pt x="118033" y="195580"/>
                </a:lnTo>
                <a:lnTo>
                  <a:pt x="117906" y="198120"/>
                </a:lnTo>
                <a:lnTo>
                  <a:pt x="115493" y="198120"/>
                </a:lnTo>
                <a:lnTo>
                  <a:pt x="116395" y="200660"/>
                </a:lnTo>
                <a:lnTo>
                  <a:pt x="115404" y="200660"/>
                </a:lnTo>
                <a:lnTo>
                  <a:pt x="113461" y="201930"/>
                </a:lnTo>
                <a:lnTo>
                  <a:pt x="113017" y="203200"/>
                </a:lnTo>
                <a:lnTo>
                  <a:pt x="111658" y="204470"/>
                </a:lnTo>
                <a:lnTo>
                  <a:pt x="110871" y="205740"/>
                </a:lnTo>
                <a:lnTo>
                  <a:pt x="110629" y="207010"/>
                </a:lnTo>
                <a:lnTo>
                  <a:pt x="108140" y="207010"/>
                </a:lnTo>
                <a:lnTo>
                  <a:pt x="108800" y="208280"/>
                </a:lnTo>
                <a:lnTo>
                  <a:pt x="107721" y="210820"/>
                </a:lnTo>
                <a:lnTo>
                  <a:pt x="107391" y="212090"/>
                </a:lnTo>
                <a:lnTo>
                  <a:pt x="105460" y="212090"/>
                </a:lnTo>
                <a:lnTo>
                  <a:pt x="105956" y="214630"/>
                </a:lnTo>
                <a:lnTo>
                  <a:pt x="104559" y="215900"/>
                </a:lnTo>
                <a:lnTo>
                  <a:pt x="104787" y="217170"/>
                </a:lnTo>
                <a:lnTo>
                  <a:pt x="100672" y="217170"/>
                </a:lnTo>
                <a:lnTo>
                  <a:pt x="100291" y="218440"/>
                </a:lnTo>
                <a:lnTo>
                  <a:pt x="101041" y="222250"/>
                </a:lnTo>
                <a:lnTo>
                  <a:pt x="99339" y="222250"/>
                </a:lnTo>
                <a:lnTo>
                  <a:pt x="99415" y="226060"/>
                </a:lnTo>
                <a:lnTo>
                  <a:pt x="94805" y="226060"/>
                </a:lnTo>
                <a:lnTo>
                  <a:pt x="96177" y="228600"/>
                </a:lnTo>
                <a:lnTo>
                  <a:pt x="96139" y="229870"/>
                </a:lnTo>
                <a:lnTo>
                  <a:pt x="95402" y="229870"/>
                </a:lnTo>
                <a:lnTo>
                  <a:pt x="95694" y="231140"/>
                </a:lnTo>
                <a:lnTo>
                  <a:pt x="93281" y="230022"/>
                </a:lnTo>
                <a:lnTo>
                  <a:pt x="93294" y="230212"/>
                </a:lnTo>
                <a:lnTo>
                  <a:pt x="94170" y="231140"/>
                </a:lnTo>
                <a:lnTo>
                  <a:pt x="93535" y="233680"/>
                </a:lnTo>
                <a:lnTo>
                  <a:pt x="93294" y="230212"/>
                </a:lnTo>
                <a:lnTo>
                  <a:pt x="92697" y="232410"/>
                </a:lnTo>
                <a:lnTo>
                  <a:pt x="92824" y="232410"/>
                </a:lnTo>
                <a:lnTo>
                  <a:pt x="93472"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92" y="248920"/>
                </a:lnTo>
                <a:lnTo>
                  <a:pt x="82804" y="251460"/>
                </a:lnTo>
                <a:lnTo>
                  <a:pt x="81267" y="251460"/>
                </a:lnTo>
                <a:lnTo>
                  <a:pt x="81241" y="251193"/>
                </a:lnTo>
                <a:lnTo>
                  <a:pt x="80848" y="251028"/>
                </a:lnTo>
                <a:lnTo>
                  <a:pt x="80835" y="251155"/>
                </a:lnTo>
                <a:lnTo>
                  <a:pt x="80797" y="251320"/>
                </a:lnTo>
                <a:lnTo>
                  <a:pt x="80962" y="251650"/>
                </a:lnTo>
                <a:lnTo>
                  <a:pt x="81153" y="251637"/>
                </a:lnTo>
                <a:lnTo>
                  <a:pt x="80645" y="254000"/>
                </a:lnTo>
                <a:lnTo>
                  <a:pt x="79502" y="252730"/>
                </a:lnTo>
                <a:lnTo>
                  <a:pt x="79489" y="254000"/>
                </a:lnTo>
                <a:lnTo>
                  <a:pt x="77330" y="255270"/>
                </a:lnTo>
                <a:lnTo>
                  <a:pt x="79019" y="256540"/>
                </a:lnTo>
                <a:lnTo>
                  <a:pt x="78879" y="256540"/>
                </a:lnTo>
                <a:lnTo>
                  <a:pt x="77470" y="257810"/>
                </a:lnTo>
                <a:lnTo>
                  <a:pt x="76771" y="259080"/>
                </a:lnTo>
                <a:lnTo>
                  <a:pt x="76288" y="261620"/>
                </a:lnTo>
                <a:lnTo>
                  <a:pt x="74790" y="261620"/>
                </a:lnTo>
                <a:lnTo>
                  <a:pt x="74523" y="262890"/>
                </a:lnTo>
                <a:lnTo>
                  <a:pt x="72936" y="265430"/>
                </a:lnTo>
                <a:lnTo>
                  <a:pt x="72453" y="266700"/>
                </a:lnTo>
                <a:lnTo>
                  <a:pt x="69494" y="269240"/>
                </a:lnTo>
                <a:lnTo>
                  <a:pt x="69532" y="271780"/>
                </a:lnTo>
                <a:lnTo>
                  <a:pt x="69151" y="270510"/>
                </a:lnTo>
                <a:lnTo>
                  <a:pt x="67894" y="273050"/>
                </a:lnTo>
                <a:lnTo>
                  <a:pt x="67398"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303" y="276860"/>
                </a:lnTo>
                <a:lnTo>
                  <a:pt x="65443" y="278130"/>
                </a:lnTo>
                <a:lnTo>
                  <a:pt x="64033" y="279400"/>
                </a:lnTo>
                <a:lnTo>
                  <a:pt x="64617" y="281940"/>
                </a:lnTo>
                <a:lnTo>
                  <a:pt x="64312" y="281940"/>
                </a:lnTo>
                <a:lnTo>
                  <a:pt x="62115" y="280670"/>
                </a:lnTo>
                <a:lnTo>
                  <a:pt x="60325" y="283210"/>
                </a:lnTo>
                <a:lnTo>
                  <a:pt x="61810" y="285750"/>
                </a:lnTo>
                <a:lnTo>
                  <a:pt x="60210" y="287020"/>
                </a:lnTo>
                <a:lnTo>
                  <a:pt x="60223" y="288290"/>
                </a:lnTo>
                <a:lnTo>
                  <a:pt x="59550" y="288290"/>
                </a:lnTo>
                <a:lnTo>
                  <a:pt x="58166" y="289560"/>
                </a:lnTo>
                <a:lnTo>
                  <a:pt x="57950" y="289560"/>
                </a:lnTo>
                <a:lnTo>
                  <a:pt x="58229" y="290830"/>
                </a:lnTo>
                <a:lnTo>
                  <a:pt x="58635" y="292100"/>
                </a:lnTo>
                <a:lnTo>
                  <a:pt x="56972" y="292100"/>
                </a:lnTo>
                <a:lnTo>
                  <a:pt x="56845" y="292544"/>
                </a:lnTo>
                <a:lnTo>
                  <a:pt x="56845" y="370840"/>
                </a:lnTo>
                <a:lnTo>
                  <a:pt x="56781" y="372110"/>
                </a:lnTo>
                <a:lnTo>
                  <a:pt x="55638" y="372110"/>
                </a:lnTo>
                <a:lnTo>
                  <a:pt x="54889" y="373380"/>
                </a:lnTo>
                <a:lnTo>
                  <a:pt x="53924" y="374650"/>
                </a:lnTo>
                <a:lnTo>
                  <a:pt x="52730" y="374650"/>
                </a:lnTo>
                <a:lnTo>
                  <a:pt x="52400" y="375920"/>
                </a:lnTo>
                <a:lnTo>
                  <a:pt x="51269" y="375920"/>
                </a:lnTo>
                <a:lnTo>
                  <a:pt x="51523" y="374650"/>
                </a:lnTo>
                <a:lnTo>
                  <a:pt x="50723" y="374650"/>
                </a:lnTo>
                <a:lnTo>
                  <a:pt x="51358" y="373380"/>
                </a:lnTo>
                <a:lnTo>
                  <a:pt x="51790" y="372110"/>
                </a:lnTo>
                <a:lnTo>
                  <a:pt x="52070" y="373380"/>
                </a:lnTo>
                <a:lnTo>
                  <a:pt x="53251" y="373380"/>
                </a:lnTo>
                <a:lnTo>
                  <a:pt x="53543" y="372110"/>
                </a:lnTo>
                <a:lnTo>
                  <a:pt x="53403" y="372110"/>
                </a:lnTo>
                <a:lnTo>
                  <a:pt x="53454" y="370840"/>
                </a:lnTo>
                <a:lnTo>
                  <a:pt x="53644" y="370840"/>
                </a:lnTo>
                <a:lnTo>
                  <a:pt x="53682" y="372084"/>
                </a:lnTo>
                <a:lnTo>
                  <a:pt x="54851" y="370840"/>
                </a:lnTo>
                <a:lnTo>
                  <a:pt x="56845" y="370840"/>
                </a:lnTo>
                <a:lnTo>
                  <a:pt x="56845" y="292544"/>
                </a:lnTo>
                <a:lnTo>
                  <a:pt x="56603" y="293370"/>
                </a:lnTo>
                <a:lnTo>
                  <a:pt x="56807" y="294640"/>
                </a:lnTo>
                <a:lnTo>
                  <a:pt x="55499" y="294640"/>
                </a:lnTo>
                <a:lnTo>
                  <a:pt x="55600" y="295440"/>
                </a:lnTo>
                <a:lnTo>
                  <a:pt x="55791" y="295910"/>
                </a:lnTo>
                <a:lnTo>
                  <a:pt x="55651" y="295910"/>
                </a:lnTo>
                <a:lnTo>
                  <a:pt x="55562" y="295376"/>
                </a:lnTo>
                <a:lnTo>
                  <a:pt x="55257" y="294640"/>
                </a:lnTo>
                <a:lnTo>
                  <a:pt x="55587" y="295910"/>
                </a:lnTo>
                <a:lnTo>
                  <a:pt x="55245" y="295440"/>
                </a:lnTo>
                <a:lnTo>
                  <a:pt x="55118" y="295224"/>
                </a:lnTo>
                <a:lnTo>
                  <a:pt x="54940" y="294982"/>
                </a:lnTo>
                <a:lnTo>
                  <a:pt x="55143" y="295910"/>
                </a:lnTo>
                <a:lnTo>
                  <a:pt x="55587" y="298450"/>
                </a:lnTo>
                <a:lnTo>
                  <a:pt x="54051" y="294703"/>
                </a:lnTo>
                <a:lnTo>
                  <a:pt x="54140" y="295262"/>
                </a:lnTo>
                <a:lnTo>
                  <a:pt x="54076" y="295109"/>
                </a:lnTo>
                <a:lnTo>
                  <a:pt x="53886" y="294767"/>
                </a:lnTo>
                <a:lnTo>
                  <a:pt x="53975" y="295033"/>
                </a:lnTo>
                <a:lnTo>
                  <a:pt x="54076" y="295224"/>
                </a:lnTo>
                <a:lnTo>
                  <a:pt x="54457" y="297180"/>
                </a:lnTo>
                <a:lnTo>
                  <a:pt x="53911" y="295910"/>
                </a:lnTo>
                <a:lnTo>
                  <a:pt x="54025" y="297180"/>
                </a:lnTo>
                <a:lnTo>
                  <a:pt x="53530" y="295910"/>
                </a:lnTo>
                <a:lnTo>
                  <a:pt x="53860" y="297180"/>
                </a:lnTo>
                <a:lnTo>
                  <a:pt x="53594" y="297180"/>
                </a:lnTo>
                <a:lnTo>
                  <a:pt x="53886" y="298450"/>
                </a:lnTo>
                <a:lnTo>
                  <a:pt x="53873" y="299720"/>
                </a:lnTo>
                <a:lnTo>
                  <a:pt x="53530" y="297700"/>
                </a:lnTo>
                <a:lnTo>
                  <a:pt x="53606" y="300990"/>
                </a:lnTo>
                <a:lnTo>
                  <a:pt x="53467" y="299720"/>
                </a:lnTo>
                <a:lnTo>
                  <a:pt x="53213" y="297459"/>
                </a:lnTo>
                <a:lnTo>
                  <a:pt x="53238" y="299720"/>
                </a:lnTo>
                <a:lnTo>
                  <a:pt x="53035" y="295376"/>
                </a:lnTo>
                <a:lnTo>
                  <a:pt x="52844" y="299720"/>
                </a:lnTo>
                <a:lnTo>
                  <a:pt x="52844" y="297180"/>
                </a:lnTo>
                <a:lnTo>
                  <a:pt x="52793" y="298450"/>
                </a:lnTo>
                <a:lnTo>
                  <a:pt x="52692" y="299720"/>
                </a:lnTo>
                <a:lnTo>
                  <a:pt x="52539" y="299720"/>
                </a:lnTo>
                <a:lnTo>
                  <a:pt x="52679" y="297180"/>
                </a:lnTo>
                <a:lnTo>
                  <a:pt x="52336" y="299720"/>
                </a:lnTo>
                <a:lnTo>
                  <a:pt x="52006" y="298450"/>
                </a:lnTo>
                <a:lnTo>
                  <a:pt x="51638" y="298450"/>
                </a:lnTo>
                <a:lnTo>
                  <a:pt x="51422" y="297180"/>
                </a:lnTo>
                <a:lnTo>
                  <a:pt x="51714" y="297180"/>
                </a:lnTo>
                <a:lnTo>
                  <a:pt x="52717" y="295910"/>
                </a:lnTo>
                <a:lnTo>
                  <a:pt x="52514" y="295910"/>
                </a:lnTo>
                <a:lnTo>
                  <a:pt x="51879" y="294640"/>
                </a:lnTo>
                <a:lnTo>
                  <a:pt x="51460" y="294640"/>
                </a:lnTo>
                <a:lnTo>
                  <a:pt x="50990"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46"/>
                </a:lnTo>
                <a:lnTo>
                  <a:pt x="50393" y="299720"/>
                </a:lnTo>
                <a:lnTo>
                  <a:pt x="50038" y="299720"/>
                </a:lnTo>
                <a:lnTo>
                  <a:pt x="50279" y="298450"/>
                </a:lnTo>
                <a:lnTo>
                  <a:pt x="50393" y="299720"/>
                </a:lnTo>
                <a:lnTo>
                  <a:pt x="50393" y="291846"/>
                </a:lnTo>
                <a:lnTo>
                  <a:pt x="50101" y="290830"/>
                </a:lnTo>
                <a:lnTo>
                  <a:pt x="51015" y="289560"/>
                </a:lnTo>
                <a:lnTo>
                  <a:pt x="50063" y="287020"/>
                </a:lnTo>
                <a:lnTo>
                  <a:pt x="51320" y="287020"/>
                </a:lnTo>
                <a:lnTo>
                  <a:pt x="51155" y="285750"/>
                </a:lnTo>
                <a:lnTo>
                  <a:pt x="51422" y="285750"/>
                </a:lnTo>
                <a:lnTo>
                  <a:pt x="50444" y="284480"/>
                </a:lnTo>
                <a:lnTo>
                  <a:pt x="49784" y="283210"/>
                </a:lnTo>
                <a:lnTo>
                  <a:pt x="49288" y="283210"/>
                </a:lnTo>
                <a:lnTo>
                  <a:pt x="50342" y="281940"/>
                </a:lnTo>
                <a:lnTo>
                  <a:pt x="50203" y="280670"/>
                </a:lnTo>
                <a:lnTo>
                  <a:pt x="48869" y="279400"/>
                </a:lnTo>
                <a:lnTo>
                  <a:pt x="48590" y="278130"/>
                </a:lnTo>
                <a:lnTo>
                  <a:pt x="49885" y="276860"/>
                </a:lnTo>
                <a:lnTo>
                  <a:pt x="49085" y="275590"/>
                </a:lnTo>
                <a:lnTo>
                  <a:pt x="48856" y="273050"/>
                </a:lnTo>
                <a:lnTo>
                  <a:pt x="48552" y="273050"/>
                </a:lnTo>
                <a:lnTo>
                  <a:pt x="47307" y="270510"/>
                </a:lnTo>
                <a:lnTo>
                  <a:pt x="47231" y="269240"/>
                </a:lnTo>
                <a:lnTo>
                  <a:pt x="49047" y="269240"/>
                </a:lnTo>
                <a:lnTo>
                  <a:pt x="48653" y="267970"/>
                </a:lnTo>
                <a:lnTo>
                  <a:pt x="47929" y="265430"/>
                </a:lnTo>
                <a:lnTo>
                  <a:pt x="45885" y="264160"/>
                </a:lnTo>
                <a:lnTo>
                  <a:pt x="47752" y="264160"/>
                </a:lnTo>
                <a:lnTo>
                  <a:pt x="48044" y="262890"/>
                </a:lnTo>
                <a:lnTo>
                  <a:pt x="48348" y="261620"/>
                </a:lnTo>
                <a:lnTo>
                  <a:pt x="47028" y="261620"/>
                </a:lnTo>
                <a:lnTo>
                  <a:pt x="47891" y="260350"/>
                </a:lnTo>
                <a:lnTo>
                  <a:pt x="46634" y="257810"/>
                </a:lnTo>
                <a:lnTo>
                  <a:pt x="45656" y="256654"/>
                </a:lnTo>
                <a:lnTo>
                  <a:pt x="45656" y="264160"/>
                </a:lnTo>
                <a:lnTo>
                  <a:pt x="45059" y="264160"/>
                </a:lnTo>
                <a:lnTo>
                  <a:pt x="44627" y="262991"/>
                </a:lnTo>
                <a:lnTo>
                  <a:pt x="44615" y="265430"/>
                </a:lnTo>
                <a:lnTo>
                  <a:pt x="44157" y="265430"/>
                </a:lnTo>
                <a:lnTo>
                  <a:pt x="43662" y="264160"/>
                </a:lnTo>
                <a:lnTo>
                  <a:pt x="43116" y="264160"/>
                </a:lnTo>
                <a:lnTo>
                  <a:pt x="44589" y="263029"/>
                </a:lnTo>
                <a:lnTo>
                  <a:pt x="44589" y="262890"/>
                </a:lnTo>
                <a:lnTo>
                  <a:pt x="44754" y="262890"/>
                </a:lnTo>
                <a:lnTo>
                  <a:pt x="45529" y="262890"/>
                </a:lnTo>
                <a:lnTo>
                  <a:pt x="45656" y="264160"/>
                </a:lnTo>
                <a:lnTo>
                  <a:pt x="45656" y="256654"/>
                </a:lnTo>
                <a:lnTo>
                  <a:pt x="46761" y="255270"/>
                </a:lnTo>
                <a:lnTo>
                  <a:pt x="46520" y="254000"/>
                </a:lnTo>
                <a:lnTo>
                  <a:pt x="46926" y="254000"/>
                </a:lnTo>
                <a:lnTo>
                  <a:pt x="46050" y="251460"/>
                </a:lnTo>
                <a:lnTo>
                  <a:pt x="44970" y="250190"/>
                </a:lnTo>
                <a:lnTo>
                  <a:pt x="44970" y="248920"/>
                </a:lnTo>
                <a:lnTo>
                  <a:pt x="46037" y="248920"/>
                </a:lnTo>
                <a:lnTo>
                  <a:pt x="46596"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43" y="351790"/>
                </a:lnTo>
                <a:lnTo>
                  <a:pt x="13512" y="353060"/>
                </a:lnTo>
                <a:lnTo>
                  <a:pt x="13436"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40" y="246380"/>
                </a:lnTo>
                <a:lnTo>
                  <a:pt x="5740" y="247650"/>
                </a:lnTo>
                <a:lnTo>
                  <a:pt x="5664" y="248348"/>
                </a:lnTo>
                <a:lnTo>
                  <a:pt x="5664" y="283210"/>
                </a:lnTo>
                <a:lnTo>
                  <a:pt x="5499" y="284480"/>
                </a:lnTo>
                <a:lnTo>
                  <a:pt x="5207" y="284480"/>
                </a:lnTo>
                <a:lnTo>
                  <a:pt x="5118" y="283210"/>
                </a:lnTo>
                <a:lnTo>
                  <a:pt x="5664" y="283210"/>
                </a:lnTo>
                <a:lnTo>
                  <a:pt x="5664" y="248348"/>
                </a:lnTo>
                <a:lnTo>
                  <a:pt x="5600" y="248920"/>
                </a:lnTo>
                <a:lnTo>
                  <a:pt x="4203" y="248920"/>
                </a:lnTo>
                <a:lnTo>
                  <a:pt x="4114" y="247650"/>
                </a:lnTo>
                <a:lnTo>
                  <a:pt x="5740" y="247650"/>
                </a:lnTo>
                <a:lnTo>
                  <a:pt x="5740" y="246380"/>
                </a:lnTo>
                <a:lnTo>
                  <a:pt x="3048" y="246380"/>
                </a:lnTo>
                <a:lnTo>
                  <a:pt x="3225" y="247650"/>
                </a:lnTo>
                <a:lnTo>
                  <a:pt x="2755" y="247650"/>
                </a:lnTo>
                <a:lnTo>
                  <a:pt x="2273" y="247650"/>
                </a:lnTo>
                <a:lnTo>
                  <a:pt x="1333" y="248920"/>
                </a:lnTo>
                <a:lnTo>
                  <a:pt x="2743" y="252730"/>
                </a:lnTo>
                <a:lnTo>
                  <a:pt x="2019" y="254000"/>
                </a:lnTo>
                <a:lnTo>
                  <a:pt x="2578" y="256540"/>
                </a:lnTo>
                <a:lnTo>
                  <a:pt x="1549" y="256540"/>
                </a:lnTo>
                <a:lnTo>
                  <a:pt x="2362" y="257810"/>
                </a:lnTo>
                <a:lnTo>
                  <a:pt x="3263" y="257810"/>
                </a:lnTo>
                <a:lnTo>
                  <a:pt x="3365" y="259080"/>
                </a:lnTo>
                <a:lnTo>
                  <a:pt x="2438" y="259080"/>
                </a:lnTo>
                <a:lnTo>
                  <a:pt x="2997" y="262890"/>
                </a:lnTo>
                <a:lnTo>
                  <a:pt x="0" y="264160"/>
                </a:lnTo>
                <a:lnTo>
                  <a:pt x="88" y="265430"/>
                </a:lnTo>
                <a:lnTo>
                  <a:pt x="1028" y="265430"/>
                </a:lnTo>
                <a:lnTo>
                  <a:pt x="1587" y="266700"/>
                </a:lnTo>
                <a:lnTo>
                  <a:pt x="2565" y="265430"/>
                </a:lnTo>
                <a:lnTo>
                  <a:pt x="2870" y="265430"/>
                </a:lnTo>
                <a:lnTo>
                  <a:pt x="3225" y="266700"/>
                </a:lnTo>
                <a:lnTo>
                  <a:pt x="1587" y="266700"/>
                </a:lnTo>
                <a:lnTo>
                  <a:pt x="1295" y="266700"/>
                </a:lnTo>
                <a:lnTo>
                  <a:pt x="2667" y="269240"/>
                </a:lnTo>
                <a:lnTo>
                  <a:pt x="2019"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54" y="283210"/>
                </a:lnTo>
                <a:lnTo>
                  <a:pt x="1168" y="287020"/>
                </a:lnTo>
                <a:lnTo>
                  <a:pt x="1638" y="288290"/>
                </a:lnTo>
                <a:lnTo>
                  <a:pt x="3263" y="289560"/>
                </a:lnTo>
                <a:lnTo>
                  <a:pt x="3505" y="290830"/>
                </a:lnTo>
                <a:lnTo>
                  <a:pt x="2095" y="292100"/>
                </a:lnTo>
                <a:lnTo>
                  <a:pt x="3175" y="293370"/>
                </a:lnTo>
                <a:lnTo>
                  <a:pt x="2095" y="295910"/>
                </a:lnTo>
                <a:lnTo>
                  <a:pt x="2222" y="297180"/>
                </a:lnTo>
                <a:lnTo>
                  <a:pt x="3327" y="300990"/>
                </a:lnTo>
                <a:lnTo>
                  <a:pt x="4165" y="306070"/>
                </a:lnTo>
                <a:lnTo>
                  <a:pt x="3987" y="309880"/>
                </a:lnTo>
                <a:lnTo>
                  <a:pt x="4559" y="312420"/>
                </a:lnTo>
                <a:lnTo>
                  <a:pt x="5245" y="314960"/>
                </a:lnTo>
                <a:lnTo>
                  <a:pt x="5130" y="318770"/>
                </a:lnTo>
                <a:lnTo>
                  <a:pt x="6629" y="321310"/>
                </a:lnTo>
                <a:lnTo>
                  <a:pt x="6667" y="322580"/>
                </a:lnTo>
                <a:lnTo>
                  <a:pt x="6540" y="325120"/>
                </a:lnTo>
                <a:lnTo>
                  <a:pt x="6477" y="328930"/>
                </a:lnTo>
                <a:lnTo>
                  <a:pt x="7239" y="330200"/>
                </a:lnTo>
                <a:lnTo>
                  <a:pt x="6794" y="331470"/>
                </a:lnTo>
                <a:lnTo>
                  <a:pt x="7010" y="332740"/>
                </a:lnTo>
                <a:lnTo>
                  <a:pt x="7823" y="334010"/>
                </a:lnTo>
                <a:lnTo>
                  <a:pt x="10147" y="339090"/>
                </a:lnTo>
                <a:lnTo>
                  <a:pt x="10337" y="340360"/>
                </a:lnTo>
                <a:lnTo>
                  <a:pt x="9398" y="344170"/>
                </a:lnTo>
                <a:lnTo>
                  <a:pt x="9144" y="345440"/>
                </a:lnTo>
                <a:lnTo>
                  <a:pt x="8851" y="345440"/>
                </a:lnTo>
                <a:lnTo>
                  <a:pt x="8801" y="346710"/>
                </a:lnTo>
                <a:lnTo>
                  <a:pt x="9563" y="347980"/>
                </a:lnTo>
                <a:lnTo>
                  <a:pt x="10248" y="347980"/>
                </a:lnTo>
                <a:lnTo>
                  <a:pt x="11747" y="346710"/>
                </a:lnTo>
                <a:lnTo>
                  <a:pt x="11747" y="347980"/>
                </a:lnTo>
                <a:lnTo>
                  <a:pt x="11404" y="350520"/>
                </a:lnTo>
                <a:lnTo>
                  <a:pt x="10960" y="351790"/>
                </a:lnTo>
                <a:lnTo>
                  <a:pt x="12712" y="354330"/>
                </a:lnTo>
                <a:lnTo>
                  <a:pt x="12954" y="355600"/>
                </a:lnTo>
                <a:lnTo>
                  <a:pt x="13449" y="356870"/>
                </a:lnTo>
                <a:lnTo>
                  <a:pt x="13639" y="358140"/>
                </a:lnTo>
                <a:lnTo>
                  <a:pt x="14986" y="358140"/>
                </a:lnTo>
                <a:lnTo>
                  <a:pt x="14986" y="359410"/>
                </a:lnTo>
                <a:lnTo>
                  <a:pt x="15760" y="360680"/>
                </a:lnTo>
                <a:lnTo>
                  <a:pt x="16802" y="361950"/>
                </a:lnTo>
                <a:lnTo>
                  <a:pt x="18415"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58" y="373380"/>
                </a:lnTo>
                <a:lnTo>
                  <a:pt x="25260" y="374650"/>
                </a:lnTo>
                <a:lnTo>
                  <a:pt x="27178" y="374650"/>
                </a:lnTo>
                <a:lnTo>
                  <a:pt x="28409" y="375920"/>
                </a:lnTo>
                <a:lnTo>
                  <a:pt x="29603" y="373380"/>
                </a:lnTo>
                <a:lnTo>
                  <a:pt x="29921" y="373380"/>
                </a:lnTo>
                <a:lnTo>
                  <a:pt x="30594" y="374650"/>
                </a:lnTo>
                <a:lnTo>
                  <a:pt x="30149" y="375920"/>
                </a:lnTo>
                <a:lnTo>
                  <a:pt x="31013" y="377190"/>
                </a:lnTo>
                <a:lnTo>
                  <a:pt x="33909" y="377190"/>
                </a:lnTo>
                <a:lnTo>
                  <a:pt x="34937" y="378460"/>
                </a:lnTo>
                <a:lnTo>
                  <a:pt x="35560" y="378460"/>
                </a:lnTo>
                <a:lnTo>
                  <a:pt x="36360" y="379730"/>
                </a:lnTo>
                <a:lnTo>
                  <a:pt x="40640" y="379730"/>
                </a:lnTo>
                <a:lnTo>
                  <a:pt x="40474" y="378460"/>
                </a:lnTo>
                <a:lnTo>
                  <a:pt x="41211" y="377266"/>
                </a:lnTo>
                <a:lnTo>
                  <a:pt x="42468"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29" y="370840"/>
                </a:lnTo>
                <a:lnTo>
                  <a:pt x="62268" y="369570"/>
                </a:lnTo>
                <a:lnTo>
                  <a:pt x="62750"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92" y="356870"/>
                </a:lnTo>
                <a:lnTo>
                  <a:pt x="76212" y="355600"/>
                </a:lnTo>
                <a:lnTo>
                  <a:pt x="76492" y="355600"/>
                </a:lnTo>
                <a:lnTo>
                  <a:pt x="76987" y="354330"/>
                </a:lnTo>
                <a:lnTo>
                  <a:pt x="77647" y="353060"/>
                </a:lnTo>
                <a:lnTo>
                  <a:pt x="78955" y="350520"/>
                </a:lnTo>
                <a:lnTo>
                  <a:pt x="79908" y="349250"/>
                </a:lnTo>
                <a:lnTo>
                  <a:pt x="80302" y="346710"/>
                </a:lnTo>
                <a:lnTo>
                  <a:pt x="81165" y="346710"/>
                </a:lnTo>
                <a:lnTo>
                  <a:pt x="81457" y="347980"/>
                </a:lnTo>
                <a:lnTo>
                  <a:pt x="81991" y="346710"/>
                </a:lnTo>
                <a:lnTo>
                  <a:pt x="82511" y="345440"/>
                </a:lnTo>
                <a:lnTo>
                  <a:pt x="82791" y="344170"/>
                </a:lnTo>
                <a:lnTo>
                  <a:pt x="84340" y="345440"/>
                </a:lnTo>
                <a:lnTo>
                  <a:pt x="84391" y="344170"/>
                </a:lnTo>
                <a:lnTo>
                  <a:pt x="84467" y="341630"/>
                </a:lnTo>
                <a:lnTo>
                  <a:pt x="85026" y="339090"/>
                </a:lnTo>
                <a:lnTo>
                  <a:pt x="87172" y="339090"/>
                </a:lnTo>
                <a:lnTo>
                  <a:pt x="88506" y="335280"/>
                </a:lnTo>
                <a:lnTo>
                  <a:pt x="90208" y="335280"/>
                </a:lnTo>
                <a:lnTo>
                  <a:pt x="90208" y="332740"/>
                </a:lnTo>
                <a:lnTo>
                  <a:pt x="90881" y="331470"/>
                </a:lnTo>
                <a:lnTo>
                  <a:pt x="92760" y="328930"/>
                </a:lnTo>
                <a:lnTo>
                  <a:pt x="93395" y="327660"/>
                </a:lnTo>
                <a:lnTo>
                  <a:pt x="93624" y="327660"/>
                </a:lnTo>
                <a:lnTo>
                  <a:pt x="93675" y="326390"/>
                </a:lnTo>
                <a:lnTo>
                  <a:pt x="94259" y="326390"/>
                </a:lnTo>
                <a:lnTo>
                  <a:pt x="94818" y="325120"/>
                </a:lnTo>
                <a:lnTo>
                  <a:pt x="95351" y="323850"/>
                </a:lnTo>
                <a:lnTo>
                  <a:pt x="96253" y="322580"/>
                </a:lnTo>
                <a:lnTo>
                  <a:pt x="97015" y="322580"/>
                </a:lnTo>
                <a:lnTo>
                  <a:pt x="96761" y="321310"/>
                </a:lnTo>
                <a:lnTo>
                  <a:pt x="97116" y="320040"/>
                </a:lnTo>
                <a:lnTo>
                  <a:pt x="99250" y="317500"/>
                </a:lnTo>
                <a:lnTo>
                  <a:pt x="99796" y="316230"/>
                </a:lnTo>
                <a:lnTo>
                  <a:pt x="100342" y="314960"/>
                </a:lnTo>
                <a:lnTo>
                  <a:pt x="100888"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91" y="304800"/>
                </a:lnTo>
                <a:lnTo>
                  <a:pt x="107137" y="303530"/>
                </a:lnTo>
                <a:lnTo>
                  <a:pt x="107022" y="302260"/>
                </a:lnTo>
                <a:lnTo>
                  <a:pt x="107454"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64" y="294640"/>
                </a:lnTo>
                <a:lnTo>
                  <a:pt x="113004" y="294640"/>
                </a:lnTo>
                <a:lnTo>
                  <a:pt x="112864" y="293370"/>
                </a:lnTo>
                <a:lnTo>
                  <a:pt x="113169" y="293370"/>
                </a:lnTo>
                <a:lnTo>
                  <a:pt x="113093" y="292887"/>
                </a:lnTo>
                <a:lnTo>
                  <a:pt x="113042" y="290830"/>
                </a:lnTo>
                <a:lnTo>
                  <a:pt x="114160" y="290830"/>
                </a:lnTo>
                <a:lnTo>
                  <a:pt x="115874" y="289560"/>
                </a:lnTo>
                <a:lnTo>
                  <a:pt x="115404" y="289560"/>
                </a:lnTo>
                <a:lnTo>
                  <a:pt x="115062" y="288290"/>
                </a:lnTo>
                <a:lnTo>
                  <a:pt x="115023" y="287020"/>
                </a:lnTo>
                <a:lnTo>
                  <a:pt x="115201" y="287020"/>
                </a:lnTo>
                <a:lnTo>
                  <a:pt x="115379" y="288290"/>
                </a:lnTo>
                <a:lnTo>
                  <a:pt x="116370" y="288290"/>
                </a:lnTo>
                <a:lnTo>
                  <a:pt x="116217" y="287020"/>
                </a:lnTo>
                <a:lnTo>
                  <a:pt x="116916" y="287020"/>
                </a:lnTo>
                <a:lnTo>
                  <a:pt x="116547" y="285750"/>
                </a:lnTo>
                <a:lnTo>
                  <a:pt x="117906" y="285750"/>
                </a:lnTo>
                <a:lnTo>
                  <a:pt x="118681" y="284480"/>
                </a:lnTo>
                <a:lnTo>
                  <a:pt x="118211" y="284480"/>
                </a:lnTo>
                <a:lnTo>
                  <a:pt x="118148" y="284314"/>
                </a:lnTo>
                <a:lnTo>
                  <a:pt x="117754" y="283210"/>
                </a:lnTo>
                <a:lnTo>
                  <a:pt x="118313" y="283210"/>
                </a:lnTo>
                <a:lnTo>
                  <a:pt x="118148" y="284314"/>
                </a:lnTo>
                <a:lnTo>
                  <a:pt x="118948" y="283210"/>
                </a:lnTo>
                <a:lnTo>
                  <a:pt x="119113" y="283210"/>
                </a:lnTo>
                <a:lnTo>
                  <a:pt x="119075" y="281940"/>
                </a:lnTo>
                <a:lnTo>
                  <a:pt x="120611" y="281940"/>
                </a:lnTo>
                <a:lnTo>
                  <a:pt x="120980" y="280670"/>
                </a:lnTo>
                <a:lnTo>
                  <a:pt x="122174" y="280670"/>
                </a:lnTo>
                <a:lnTo>
                  <a:pt x="122034" y="279400"/>
                </a:lnTo>
                <a:lnTo>
                  <a:pt x="121488" y="278130"/>
                </a:lnTo>
                <a:lnTo>
                  <a:pt x="121843"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92" y="269240"/>
                </a:lnTo>
                <a:lnTo>
                  <a:pt x="126606" y="267970"/>
                </a:lnTo>
                <a:lnTo>
                  <a:pt x="126568" y="269240"/>
                </a:lnTo>
                <a:lnTo>
                  <a:pt x="127050" y="269240"/>
                </a:lnTo>
                <a:lnTo>
                  <a:pt x="126873" y="270510"/>
                </a:lnTo>
                <a:lnTo>
                  <a:pt x="127228" y="270510"/>
                </a:lnTo>
                <a:lnTo>
                  <a:pt x="127330" y="269240"/>
                </a:lnTo>
                <a:lnTo>
                  <a:pt x="127393" y="267970"/>
                </a:lnTo>
                <a:lnTo>
                  <a:pt x="128231" y="267970"/>
                </a:lnTo>
                <a:lnTo>
                  <a:pt x="128790"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73"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71" y="241300"/>
                </a:lnTo>
                <a:lnTo>
                  <a:pt x="144932" y="241300"/>
                </a:lnTo>
                <a:lnTo>
                  <a:pt x="145288" y="240030"/>
                </a:lnTo>
                <a:lnTo>
                  <a:pt x="146659" y="240030"/>
                </a:lnTo>
                <a:lnTo>
                  <a:pt x="146850" y="238760"/>
                </a:lnTo>
                <a:lnTo>
                  <a:pt x="146240" y="238760"/>
                </a:lnTo>
                <a:lnTo>
                  <a:pt x="146469" y="237490"/>
                </a:lnTo>
                <a:lnTo>
                  <a:pt x="146824" y="236220"/>
                </a:lnTo>
                <a:lnTo>
                  <a:pt x="147421" y="234950"/>
                </a:lnTo>
                <a:lnTo>
                  <a:pt x="149606" y="234950"/>
                </a:lnTo>
                <a:lnTo>
                  <a:pt x="149072" y="233680"/>
                </a:lnTo>
                <a:lnTo>
                  <a:pt x="149136" y="232410"/>
                </a:lnTo>
                <a:lnTo>
                  <a:pt x="150215" y="232410"/>
                </a:lnTo>
                <a:lnTo>
                  <a:pt x="152006" y="231140"/>
                </a:lnTo>
                <a:lnTo>
                  <a:pt x="152196" y="231140"/>
                </a:lnTo>
                <a:lnTo>
                  <a:pt x="151663" y="229870"/>
                </a:lnTo>
                <a:lnTo>
                  <a:pt x="151498" y="228600"/>
                </a:lnTo>
                <a:lnTo>
                  <a:pt x="152514" y="228600"/>
                </a:lnTo>
                <a:lnTo>
                  <a:pt x="153009" y="227330"/>
                </a:lnTo>
                <a:lnTo>
                  <a:pt x="154724" y="227330"/>
                </a:lnTo>
                <a:lnTo>
                  <a:pt x="154914" y="226060"/>
                </a:lnTo>
                <a:lnTo>
                  <a:pt x="154813" y="224790"/>
                </a:lnTo>
                <a:lnTo>
                  <a:pt x="155244" y="224790"/>
                </a:lnTo>
                <a:lnTo>
                  <a:pt x="155651" y="223520"/>
                </a:lnTo>
                <a:lnTo>
                  <a:pt x="156629" y="223520"/>
                </a:lnTo>
                <a:lnTo>
                  <a:pt x="156933" y="222250"/>
                </a:lnTo>
                <a:lnTo>
                  <a:pt x="157518" y="220980"/>
                </a:lnTo>
                <a:lnTo>
                  <a:pt x="158051" y="219710"/>
                </a:lnTo>
                <a:lnTo>
                  <a:pt x="158940" y="219710"/>
                </a:lnTo>
                <a:lnTo>
                  <a:pt x="160007" y="217170"/>
                </a:lnTo>
                <a:lnTo>
                  <a:pt x="160502" y="215900"/>
                </a:lnTo>
                <a:lnTo>
                  <a:pt x="161785" y="215900"/>
                </a:lnTo>
                <a:lnTo>
                  <a:pt x="162941" y="212090"/>
                </a:lnTo>
                <a:lnTo>
                  <a:pt x="164287" y="210820"/>
                </a:lnTo>
                <a:lnTo>
                  <a:pt x="165328" y="208280"/>
                </a:lnTo>
                <a:lnTo>
                  <a:pt x="167271" y="207010"/>
                </a:lnTo>
                <a:lnTo>
                  <a:pt x="166852" y="205740"/>
                </a:lnTo>
                <a:lnTo>
                  <a:pt x="167132" y="205740"/>
                </a:lnTo>
                <a:lnTo>
                  <a:pt x="167601" y="204470"/>
                </a:lnTo>
                <a:lnTo>
                  <a:pt x="169684" y="203200"/>
                </a:lnTo>
                <a:lnTo>
                  <a:pt x="170738" y="200660"/>
                </a:lnTo>
                <a:lnTo>
                  <a:pt x="171970" y="198120"/>
                </a:lnTo>
                <a:lnTo>
                  <a:pt x="172593" y="198120"/>
                </a:lnTo>
                <a:lnTo>
                  <a:pt x="173050" y="196850"/>
                </a:lnTo>
                <a:lnTo>
                  <a:pt x="172923" y="194310"/>
                </a:lnTo>
                <a:lnTo>
                  <a:pt x="173977" y="195580"/>
                </a:lnTo>
                <a:lnTo>
                  <a:pt x="175323" y="194310"/>
                </a:lnTo>
                <a:lnTo>
                  <a:pt x="176022" y="194310"/>
                </a:lnTo>
                <a:lnTo>
                  <a:pt x="175742" y="193040"/>
                </a:lnTo>
                <a:lnTo>
                  <a:pt x="177101"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26" y="182880"/>
                </a:lnTo>
                <a:lnTo>
                  <a:pt x="183400" y="181610"/>
                </a:lnTo>
                <a:lnTo>
                  <a:pt x="184861" y="181610"/>
                </a:lnTo>
                <a:lnTo>
                  <a:pt x="184899" y="180340"/>
                </a:lnTo>
                <a:lnTo>
                  <a:pt x="185140" y="179070"/>
                </a:lnTo>
                <a:lnTo>
                  <a:pt x="186855" y="179070"/>
                </a:lnTo>
                <a:lnTo>
                  <a:pt x="186905"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08" y="167640"/>
                </a:lnTo>
                <a:lnTo>
                  <a:pt x="194716" y="166370"/>
                </a:lnTo>
                <a:lnTo>
                  <a:pt x="193916" y="166370"/>
                </a:lnTo>
                <a:lnTo>
                  <a:pt x="194652" y="165100"/>
                </a:lnTo>
                <a:lnTo>
                  <a:pt x="194741" y="166370"/>
                </a:lnTo>
                <a:lnTo>
                  <a:pt x="195211" y="166370"/>
                </a:lnTo>
                <a:lnTo>
                  <a:pt x="196062" y="165100"/>
                </a:lnTo>
                <a:lnTo>
                  <a:pt x="195846" y="165100"/>
                </a:lnTo>
                <a:lnTo>
                  <a:pt x="196049" y="163830"/>
                </a:lnTo>
                <a:lnTo>
                  <a:pt x="196430" y="163830"/>
                </a:lnTo>
                <a:lnTo>
                  <a:pt x="196811" y="162560"/>
                </a:lnTo>
                <a:lnTo>
                  <a:pt x="197154" y="162560"/>
                </a:lnTo>
                <a:lnTo>
                  <a:pt x="197396" y="161290"/>
                </a:lnTo>
                <a:lnTo>
                  <a:pt x="198678" y="160020"/>
                </a:lnTo>
                <a:lnTo>
                  <a:pt x="199694" y="160020"/>
                </a:lnTo>
                <a:lnTo>
                  <a:pt x="199910" y="158750"/>
                </a:lnTo>
                <a:lnTo>
                  <a:pt x="200596" y="157480"/>
                </a:lnTo>
                <a:lnTo>
                  <a:pt x="201269" y="157480"/>
                </a:lnTo>
                <a:lnTo>
                  <a:pt x="201739" y="154940"/>
                </a:lnTo>
                <a:lnTo>
                  <a:pt x="203530" y="154940"/>
                </a:lnTo>
                <a:lnTo>
                  <a:pt x="203466" y="153670"/>
                </a:lnTo>
                <a:lnTo>
                  <a:pt x="204139" y="153670"/>
                </a:lnTo>
                <a:lnTo>
                  <a:pt x="204203" y="152400"/>
                </a:lnTo>
                <a:lnTo>
                  <a:pt x="205486" y="152400"/>
                </a:lnTo>
                <a:lnTo>
                  <a:pt x="205003"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69" y="139700"/>
                </a:lnTo>
                <a:lnTo>
                  <a:pt x="213271" y="139700"/>
                </a:lnTo>
                <a:lnTo>
                  <a:pt x="213779" y="138430"/>
                </a:lnTo>
                <a:lnTo>
                  <a:pt x="215798" y="138430"/>
                </a:lnTo>
                <a:lnTo>
                  <a:pt x="216166" y="137160"/>
                </a:lnTo>
                <a:lnTo>
                  <a:pt x="216662" y="135890"/>
                </a:lnTo>
                <a:lnTo>
                  <a:pt x="217093" y="134620"/>
                </a:lnTo>
                <a:lnTo>
                  <a:pt x="217678" y="133350"/>
                </a:lnTo>
                <a:lnTo>
                  <a:pt x="219760" y="133350"/>
                </a:lnTo>
                <a:lnTo>
                  <a:pt x="220319" y="132080"/>
                </a:lnTo>
                <a:lnTo>
                  <a:pt x="221767" y="129540"/>
                </a:lnTo>
                <a:lnTo>
                  <a:pt x="222148" y="128270"/>
                </a:lnTo>
                <a:lnTo>
                  <a:pt x="222885" y="128270"/>
                </a:lnTo>
                <a:lnTo>
                  <a:pt x="222885" y="127000"/>
                </a:lnTo>
                <a:lnTo>
                  <a:pt x="224688" y="127000"/>
                </a:lnTo>
                <a:lnTo>
                  <a:pt x="224828" y="125730"/>
                </a:lnTo>
                <a:lnTo>
                  <a:pt x="225056" y="125730"/>
                </a:lnTo>
                <a:lnTo>
                  <a:pt x="225348" y="124460"/>
                </a:lnTo>
                <a:lnTo>
                  <a:pt x="225590" y="124460"/>
                </a:lnTo>
                <a:lnTo>
                  <a:pt x="226504" y="123190"/>
                </a:lnTo>
                <a:lnTo>
                  <a:pt x="227863" y="121920"/>
                </a:lnTo>
                <a:lnTo>
                  <a:pt x="228422" y="120650"/>
                </a:lnTo>
                <a:lnTo>
                  <a:pt x="229590" y="120650"/>
                </a:lnTo>
                <a:lnTo>
                  <a:pt x="229793" y="119380"/>
                </a:lnTo>
                <a:lnTo>
                  <a:pt x="230174" y="118110"/>
                </a:lnTo>
                <a:lnTo>
                  <a:pt x="230809" y="118110"/>
                </a:lnTo>
                <a:lnTo>
                  <a:pt x="231063" y="116840"/>
                </a:lnTo>
                <a:lnTo>
                  <a:pt x="231597"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20" y="91440"/>
                </a:lnTo>
                <a:lnTo>
                  <a:pt x="253098" y="90170"/>
                </a:lnTo>
                <a:lnTo>
                  <a:pt x="254063" y="88900"/>
                </a:lnTo>
                <a:lnTo>
                  <a:pt x="254901" y="87630"/>
                </a:lnTo>
                <a:lnTo>
                  <a:pt x="255524" y="88900"/>
                </a:lnTo>
                <a:lnTo>
                  <a:pt x="255638" y="87630"/>
                </a:lnTo>
                <a:lnTo>
                  <a:pt x="255854" y="86360"/>
                </a:lnTo>
                <a:lnTo>
                  <a:pt x="256616" y="86360"/>
                </a:lnTo>
                <a:lnTo>
                  <a:pt x="257670" y="85090"/>
                </a:lnTo>
                <a:lnTo>
                  <a:pt x="258343" y="85090"/>
                </a:lnTo>
                <a:lnTo>
                  <a:pt x="258445" y="83820"/>
                </a:lnTo>
                <a:lnTo>
                  <a:pt x="260108" y="83820"/>
                </a:lnTo>
                <a:lnTo>
                  <a:pt x="260286" y="82550"/>
                </a:lnTo>
                <a:lnTo>
                  <a:pt x="261264" y="81280"/>
                </a:lnTo>
                <a:lnTo>
                  <a:pt x="261327" y="80010"/>
                </a:lnTo>
                <a:lnTo>
                  <a:pt x="263588" y="78740"/>
                </a:lnTo>
                <a:lnTo>
                  <a:pt x="263829" y="78740"/>
                </a:lnTo>
                <a:lnTo>
                  <a:pt x="263664" y="77470"/>
                </a:lnTo>
                <a:lnTo>
                  <a:pt x="264985" y="77470"/>
                </a:lnTo>
                <a:lnTo>
                  <a:pt x="265353" y="76200"/>
                </a:lnTo>
                <a:lnTo>
                  <a:pt x="265480" y="76200"/>
                </a:lnTo>
                <a:lnTo>
                  <a:pt x="266014" y="74930"/>
                </a:lnTo>
                <a:lnTo>
                  <a:pt x="268185" y="74930"/>
                </a:lnTo>
                <a:lnTo>
                  <a:pt x="267639" y="73660"/>
                </a:lnTo>
                <a:lnTo>
                  <a:pt x="268173" y="72390"/>
                </a:lnTo>
                <a:lnTo>
                  <a:pt x="270167" y="72390"/>
                </a:lnTo>
                <a:lnTo>
                  <a:pt x="271335" y="69850"/>
                </a:lnTo>
                <a:lnTo>
                  <a:pt x="273329" y="68580"/>
                </a:lnTo>
                <a:lnTo>
                  <a:pt x="274980" y="66040"/>
                </a:lnTo>
                <a:lnTo>
                  <a:pt x="275475" y="66040"/>
                </a:lnTo>
                <a:lnTo>
                  <a:pt x="276263" y="64770"/>
                </a:lnTo>
                <a:lnTo>
                  <a:pt x="276529" y="64770"/>
                </a:lnTo>
                <a:lnTo>
                  <a:pt x="276402"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388" y="52070"/>
                </a:lnTo>
                <a:lnTo>
                  <a:pt x="287782" y="50800"/>
                </a:lnTo>
                <a:lnTo>
                  <a:pt x="288607" y="50800"/>
                </a:lnTo>
                <a:lnTo>
                  <a:pt x="289826" y="49530"/>
                </a:lnTo>
                <a:lnTo>
                  <a:pt x="288912" y="52070"/>
                </a:lnTo>
                <a:lnTo>
                  <a:pt x="290220" y="49530"/>
                </a:lnTo>
                <a:lnTo>
                  <a:pt x="292862" y="45720"/>
                </a:lnTo>
                <a:lnTo>
                  <a:pt x="293446" y="44450"/>
                </a:lnTo>
                <a:lnTo>
                  <a:pt x="293649" y="45720"/>
                </a:lnTo>
                <a:lnTo>
                  <a:pt x="294462" y="45720"/>
                </a:lnTo>
                <a:lnTo>
                  <a:pt x="294462" y="44450"/>
                </a:lnTo>
                <a:lnTo>
                  <a:pt x="294741" y="44450"/>
                </a:lnTo>
                <a:lnTo>
                  <a:pt x="295871" y="43180"/>
                </a:lnTo>
                <a:lnTo>
                  <a:pt x="296062" y="43180"/>
                </a:lnTo>
                <a:lnTo>
                  <a:pt x="295059" y="41910"/>
                </a:lnTo>
                <a:lnTo>
                  <a:pt x="297916" y="41910"/>
                </a:lnTo>
                <a:lnTo>
                  <a:pt x="297484" y="40640"/>
                </a:lnTo>
                <a:lnTo>
                  <a:pt x="296481" y="40640"/>
                </a:lnTo>
                <a:lnTo>
                  <a:pt x="297307" y="39370"/>
                </a:lnTo>
                <a:lnTo>
                  <a:pt x="297434"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21" y="27940"/>
                </a:lnTo>
                <a:lnTo>
                  <a:pt x="317385" y="22860"/>
                </a:lnTo>
                <a:lnTo>
                  <a:pt x="318757" y="22860"/>
                </a:lnTo>
                <a:lnTo>
                  <a:pt x="317474" y="21590"/>
                </a:lnTo>
                <a:lnTo>
                  <a:pt x="318731" y="21590"/>
                </a:lnTo>
                <a:lnTo>
                  <a:pt x="319176" y="22860"/>
                </a:lnTo>
                <a:lnTo>
                  <a:pt x="319671" y="21590"/>
                </a:lnTo>
                <a:lnTo>
                  <a:pt x="320179" y="20320"/>
                </a:lnTo>
                <a:lnTo>
                  <a:pt x="321970" y="19050"/>
                </a:lnTo>
                <a:lnTo>
                  <a:pt x="324878" y="17780"/>
                </a:lnTo>
                <a:lnTo>
                  <a:pt x="325742" y="17780"/>
                </a:lnTo>
                <a:lnTo>
                  <a:pt x="326644" y="16510"/>
                </a:lnTo>
                <a:lnTo>
                  <a:pt x="327545" y="15240"/>
                </a:lnTo>
                <a:lnTo>
                  <a:pt x="328434" y="15240"/>
                </a:lnTo>
                <a:lnTo>
                  <a:pt x="329704" y="13970"/>
                </a:lnTo>
                <a:lnTo>
                  <a:pt x="328244" y="13970"/>
                </a:lnTo>
                <a:lnTo>
                  <a:pt x="327850" y="14033"/>
                </a:lnTo>
                <a:lnTo>
                  <a:pt x="327507" y="14185"/>
                </a:lnTo>
                <a:lnTo>
                  <a:pt x="327660" y="14274"/>
                </a:lnTo>
                <a:lnTo>
                  <a:pt x="326110" y="15240"/>
                </a:lnTo>
                <a:lnTo>
                  <a:pt x="326326" y="13970"/>
                </a:lnTo>
                <a:lnTo>
                  <a:pt x="327469" y="13970"/>
                </a:lnTo>
                <a:lnTo>
                  <a:pt x="327977" y="12700"/>
                </a:lnTo>
                <a:lnTo>
                  <a:pt x="329996" y="12700"/>
                </a:lnTo>
                <a:lnTo>
                  <a:pt x="330377" y="13970"/>
                </a:lnTo>
                <a:lnTo>
                  <a:pt x="331533" y="12700"/>
                </a:lnTo>
                <a:lnTo>
                  <a:pt x="330441" y="12700"/>
                </a:lnTo>
                <a:lnTo>
                  <a:pt x="330352" y="12319"/>
                </a:lnTo>
                <a:lnTo>
                  <a:pt x="332041" y="11785"/>
                </a:lnTo>
                <a:lnTo>
                  <a:pt x="332587" y="9994"/>
                </a:lnTo>
                <a:lnTo>
                  <a:pt x="332994" y="9702"/>
                </a:lnTo>
                <a:lnTo>
                  <a:pt x="333375" y="9931"/>
                </a:lnTo>
                <a:close/>
              </a:path>
            </a:pathLst>
          </a:custGeom>
          <a:solidFill>
            <a:srgbClr val="D02929"/>
          </a:solidFill>
        </p:spPr>
        <p:txBody>
          <a:bodyPr wrap="square" lIns="0" tIns="0" rIns="0" bIns="0" rtlCol="0"/>
          <a:lstStyle/>
          <a:p>
            <a:endParaRPr/>
          </a:p>
        </p:txBody>
      </p:sp>
      <p:sp>
        <p:nvSpPr>
          <p:cNvPr id="52" name="object 52"/>
          <p:cNvSpPr/>
          <p:nvPr/>
        </p:nvSpPr>
        <p:spPr>
          <a:xfrm>
            <a:off x="5565127" y="4861495"/>
            <a:ext cx="333375" cy="379730"/>
          </a:xfrm>
          <a:custGeom>
            <a:avLst/>
            <a:gdLst/>
            <a:ahLst/>
            <a:cxnLst/>
            <a:rect l="l" t="t" r="r" b="b"/>
            <a:pathLst>
              <a:path w="333375" h="379729">
                <a:moveTo>
                  <a:pt x="4483" y="313664"/>
                </a:moveTo>
                <a:lnTo>
                  <a:pt x="4279" y="313880"/>
                </a:lnTo>
                <a:lnTo>
                  <a:pt x="3886" y="314337"/>
                </a:lnTo>
                <a:lnTo>
                  <a:pt x="4013" y="314579"/>
                </a:lnTo>
                <a:lnTo>
                  <a:pt x="4381" y="314566"/>
                </a:lnTo>
                <a:lnTo>
                  <a:pt x="4457" y="314147"/>
                </a:lnTo>
                <a:lnTo>
                  <a:pt x="4483" y="313664"/>
                </a:lnTo>
                <a:close/>
              </a:path>
              <a:path w="333375" h="379729">
                <a:moveTo>
                  <a:pt x="9690" y="230314"/>
                </a:moveTo>
                <a:lnTo>
                  <a:pt x="9652" y="230124"/>
                </a:lnTo>
                <a:lnTo>
                  <a:pt x="9436" y="229933"/>
                </a:lnTo>
                <a:lnTo>
                  <a:pt x="9309" y="230022"/>
                </a:lnTo>
                <a:lnTo>
                  <a:pt x="9245" y="230200"/>
                </a:lnTo>
                <a:lnTo>
                  <a:pt x="9296" y="230327"/>
                </a:lnTo>
                <a:lnTo>
                  <a:pt x="9321" y="230492"/>
                </a:lnTo>
                <a:lnTo>
                  <a:pt x="9550" y="230746"/>
                </a:lnTo>
                <a:lnTo>
                  <a:pt x="9690" y="230670"/>
                </a:lnTo>
                <a:lnTo>
                  <a:pt x="9690" y="230454"/>
                </a:lnTo>
                <a:lnTo>
                  <a:pt x="9690" y="230314"/>
                </a:lnTo>
                <a:close/>
              </a:path>
              <a:path w="333375" h="379729">
                <a:moveTo>
                  <a:pt x="23914" y="371017"/>
                </a:moveTo>
                <a:lnTo>
                  <a:pt x="23812" y="370624"/>
                </a:lnTo>
                <a:lnTo>
                  <a:pt x="23685" y="370700"/>
                </a:lnTo>
                <a:lnTo>
                  <a:pt x="23774" y="371094"/>
                </a:lnTo>
                <a:lnTo>
                  <a:pt x="23914" y="371017"/>
                </a:lnTo>
                <a:close/>
              </a:path>
              <a:path w="333375" h="379729">
                <a:moveTo>
                  <a:pt x="38735" y="223291"/>
                </a:moveTo>
                <a:lnTo>
                  <a:pt x="38696" y="222961"/>
                </a:lnTo>
                <a:lnTo>
                  <a:pt x="38544" y="222885"/>
                </a:lnTo>
                <a:lnTo>
                  <a:pt x="38328" y="223062"/>
                </a:lnTo>
                <a:lnTo>
                  <a:pt x="38227" y="223266"/>
                </a:lnTo>
                <a:lnTo>
                  <a:pt x="38150" y="223685"/>
                </a:lnTo>
                <a:lnTo>
                  <a:pt x="38290" y="223951"/>
                </a:lnTo>
                <a:lnTo>
                  <a:pt x="38557" y="223774"/>
                </a:lnTo>
                <a:lnTo>
                  <a:pt x="38646" y="223469"/>
                </a:lnTo>
                <a:lnTo>
                  <a:pt x="38735" y="223291"/>
                </a:lnTo>
                <a:close/>
              </a:path>
              <a:path w="333375" h="379729">
                <a:moveTo>
                  <a:pt x="41998" y="222084"/>
                </a:moveTo>
                <a:lnTo>
                  <a:pt x="41884" y="221488"/>
                </a:lnTo>
                <a:lnTo>
                  <a:pt x="41783" y="221297"/>
                </a:lnTo>
                <a:lnTo>
                  <a:pt x="41567" y="220941"/>
                </a:lnTo>
                <a:lnTo>
                  <a:pt x="41427" y="220980"/>
                </a:lnTo>
                <a:lnTo>
                  <a:pt x="41122" y="222237"/>
                </a:lnTo>
                <a:lnTo>
                  <a:pt x="40805" y="223139"/>
                </a:lnTo>
                <a:lnTo>
                  <a:pt x="40322" y="224180"/>
                </a:lnTo>
                <a:lnTo>
                  <a:pt x="40297" y="224370"/>
                </a:lnTo>
                <a:lnTo>
                  <a:pt x="40500" y="224434"/>
                </a:lnTo>
                <a:lnTo>
                  <a:pt x="40741" y="224459"/>
                </a:lnTo>
                <a:lnTo>
                  <a:pt x="41998" y="222084"/>
                </a:lnTo>
                <a:close/>
              </a:path>
              <a:path w="333375" h="379729">
                <a:moveTo>
                  <a:pt x="44716" y="229870"/>
                </a:moveTo>
                <a:lnTo>
                  <a:pt x="43840" y="228600"/>
                </a:lnTo>
                <a:lnTo>
                  <a:pt x="42506" y="227330"/>
                </a:lnTo>
                <a:lnTo>
                  <a:pt x="41275" y="228600"/>
                </a:lnTo>
                <a:lnTo>
                  <a:pt x="40982" y="228600"/>
                </a:lnTo>
                <a:lnTo>
                  <a:pt x="40703" y="229870"/>
                </a:lnTo>
                <a:lnTo>
                  <a:pt x="40551" y="228600"/>
                </a:lnTo>
                <a:lnTo>
                  <a:pt x="40170" y="228600"/>
                </a:lnTo>
                <a:lnTo>
                  <a:pt x="40640" y="227330"/>
                </a:lnTo>
                <a:lnTo>
                  <a:pt x="40957" y="227330"/>
                </a:lnTo>
                <a:lnTo>
                  <a:pt x="40932" y="226060"/>
                </a:lnTo>
                <a:lnTo>
                  <a:pt x="41021" y="224790"/>
                </a:lnTo>
                <a:lnTo>
                  <a:pt x="39814" y="226060"/>
                </a:lnTo>
                <a:lnTo>
                  <a:pt x="39814" y="231140"/>
                </a:lnTo>
                <a:lnTo>
                  <a:pt x="39420" y="231140"/>
                </a:lnTo>
                <a:lnTo>
                  <a:pt x="39293" y="229870"/>
                </a:lnTo>
                <a:lnTo>
                  <a:pt x="39585"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80" y="220980"/>
                </a:lnTo>
                <a:lnTo>
                  <a:pt x="37325" y="219710"/>
                </a:lnTo>
                <a:lnTo>
                  <a:pt x="37592" y="219710"/>
                </a:lnTo>
                <a:lnTo>
                  <a:pt x="38163" y="220980"/>
                </a:lnTo>
                <a:lnTo>
                  <a:pt x="38849" y="220980"/>
                </a:lnTo>
                <a:lnTo>
                  <a:pt x="39776" y="222250"/>
                </a:lnTo>
                <a:lnTo>
                  <a:pt x="40271" y="222250"/>
                </a:lnTo>
                <a:lnTo>
                  <a:pt x="40944" y="220980"/>
                </a:lnTo>
                <a:lnTo>
                  <a:pt x="40220" y="220980"/>
                </a:lnTo>
                <a:lnTo>
                  <a:pt x="39700" y="219710"/>
                </a:lnTo>
                <a:lnTo>
                  <a:pt x="38176" y="219710"/>
                </a:lnTo>
                <a:lnTo>
                  <a:pt x="38265" y="218440"/>
                </a:lnTo>
                <a:lnTo>
                  <a:pt x="38633" y="217170"/>
                </a:lnTo>
                <a:lnTo>
                  <a:pt x="39001" y="215900"/>
                </a:lnTo>
                <a:lnTo>
                  <a:pt x="38735" y="214630"/>
                </a:lnTo>
                <a:lnTo>
                  <a:pt x="37223" y="214630"/>
                </a:lnTo>
                <a:lnTo>
                  <a:pt x="36715" y="213360"/>
                </a:lnTo>
                <a:lnTo>
                  <a:pt x="36309" y="212090"/>
                </a:lnTo>
                <a:lnTo>
                  <a:pt x="35458" y="213360"/>
                </a:lnTo>
                <a:lnTo>
                  <a:pt x="35242" y="213360"/>
                </a:lnTo>
                <a:lnTo>
                  <a:pt x="35407"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63" y="213360"/>
                </a:lnTo>
                <a:lnTo>
                  <a:pt x="33832" y="213360"/>
                </a:lnTo>
                <a:lnTo>
                  <a:pt x="33832" y="226060"/>
                </a:lnTo>
                <a:lnTo>
                  <a:pt x="33388" y="226060"/>
                </a:lnTo>
                <a:lnTo>
                  <a:pt x="33172" y="224790"/>
                </a:lnTo>
                <a:lnTo>
                  <a:pt x="31496" y="224790"/>
                </a:lnTo>
                <a:lnTo>
                  <a:pt x="31229" y="223520"/>
                </a:lnTo>
                <a:lnTo>
                  <a:pt x="32118" y="223520"/>
                </a:lnTo>
                <a:lnTo>
                  <a:pt x="32550" y="222250"/>
                </a:lnTo>
                <a:lnTo>
                  <a:pt x="32981" y="223520"/>
                </a:lnTo>
                <a:lnTo>
                  <a:pt x="33464" y="223520"/>
                </a:lnTo>
                <a:lnTo>
                  <a:pt x="33604" y="224790"/>
                </a:lnTo>
                <a:lnTo>
                  <a:pt x="33832" y="226060"/>
                </a:lnTo>
                <a:lnTo>
                  <a:pt x="33832" y="213360"/>
                </a:lnTo>
                <a:lnTo>
                  <a:pt x="32778" y="213360"/>
                </a:lnTo>
                <a:lnTo>
                  <a:pt x="32054" y="214630"/>
                </a:lnTo>
                <a:lnTo>
                  <a:pt x="30010" y="214630"/>
                </a:lnTo>
                <a:lnTo>
                  <a:pt x="29794" y="213360"/>
                </a:lnTo>
                <a:lnTo>
                  <a:pt x="29222" y="213360"/>
                </a:lnTo>
                <a:lnTo>
                  <a:pt x="28613" y="212090"/>
                </a:lnTo>
                <a:lnTo>
                  <a:pt x="27355" y="213360"/>
                </a:lnTo>
                <a:lnTo>
                  <a:pt x="27038" y="213360"/>
                </a:lnTo>
                <a:lnTo>
                  <a:pt x="27279" y="214630"/>
                </a:lnTo>
                <a:lnTo>
                  <a:pt x="27762" y="215900"/>
                </a:lnTo>
                <a:lnTo>
                  <a:pt x="27152" y="215900"/>
                </a:lnTo>
                <a:lnTo>
                  <a:pt x="27038" y="217170"/>
                </a:lnTo>
                <a:lnTo>
                  <a:pt x="26263" y="217170"/>
                </a:lnTo>
                <a:lnTo>
                  <a:pt x="26327" y="215900"/>
                </a:lnTo>
                <a:lnTo>
                  <a:pt x="26314" y="214630"/>
                </a:lnTo>
                <a:lnTo>
                  <a:pt x="25412" y="213360"/>
                </a:lnTo>
                <a:lnTo>
                  <a:pt x="24650" y="213360"/>
                </a:lnTo>
                <a:lnTo>
                  <a:pt x="24650" y="224790"/>
                </a:lnTo>
                <a:lnTo>
                  <a:pt x="24384" y="224790"/>
                </a:lnTo>
                <a:lnTo>
                  <a:pt x="24638" y="226060"/>
                </a:lnTo>
                <a:lnTo>
                  <a:pt x="23977" y="226060"/>
                </a:lnTo>
                <a:lnTo>
                  <a:pt x="24066" y="224790"/>
                </a:lnTo>
                <a:lnTo>
                  <a:pt x="22796" y="224790"/>
                </a:lnTo>
                <a:lnTo>
                  <a:pt x="22593" y="226060"/>
                </a:lnTo>
                <a:lnTo>
                  <a:pt x="21234" y="226060"/>
                </a:lnTo>
                <a:lnTo>
                  <a:pt x="20891" y="224790"/>
                </a:lnTo>
                <a:lnTo>
                  <a:pt x="20447" y="224790"/>
                </a:lnTo>
                <a:lnTo>
                  <a:pt x="20993" y="223520"/>
                </a:lnTo>
                <a:lnTo>
                  <a:pt x="22415" y="223520"/>
                </a:lnTo>
                <a:lnTo>
                  <a:pt x="23075" y="222250"/>
                </a:lnTo>
                <a:lnTo>
                  <a:pt x="23723" y="223520"/>
                </a:lnTo>
                <a:lnTo>
                  <a:pt x="24434" y="223520"/>
                </a:lnTo>
                <a:lnTo>
                  <a:pt x="24650" y="224790"/>
                </a:lnTo>
                <a:lnTo>
                  <a:pt x="24650" y="213360"/>
                </a:lnTo>
                <a:lnTo>
                  <a:pt x="23329" y="213360"/>
                </a:lnTo>
                <a:lnTo>
                  <a:pt x="21869" y="214630"/>
                </a:lnTo>
                <a:lnTo>
                  <a:pt x="20955" y="215900"/>
                </a:lnTo>
                <a:lnTo>
                  <a:pt x="19748" y="217170"/>
                </a:lnTo>
                <a:lnTo>
                  <a:pt x="19545" y="217170"/>
                </a:lnTo>
                <a:lnTo>
                  <a:pt x="17907" y="214630"/>
                </a:lnTo>
                <a:lnTo>
                  <a:pt x="16802" y="215900"/>
                </a:lnTo>
                <a:lnTo>
                  <a:pt x="16471" y="218440"/>
                </a:lnTo>
                <a:lnTo>
                  <a:pt x="16408"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50" y="232410"/>
                </a:lnTo>
                <a:lnTo>
                  <a:pt x="9144" y="233680"/>
                </a:lnTo>
                <a:lnTo>
                  <a:pt x="7480" y="234950"/>
                </a:lnTo>
                <a:lnTo>
                  <a:pt x="7696" y="236220"/>
                </a:lnTo>
                <a:lnTo>
                  <a:pt x="6769" y="237490"/>
                </a:lnTo>
                <a:lnTo>
                  <a:pt x="5207" y="237490"/>
                </a:lnTo>
                <a:lnTo>
                  <a:pt x="4686" y="238760"/>
                </a:lnTo>
                <a:lnTo>
                  <a:pt x="3937" y="241300"/>
                </a:lnTo>
                <a:lnTo>
                  <a:pt x="1701" y="243840"/>
                </a:lnTo>
                <a:lnTo>
                  <a:pt x="800" y="243840"/>
                </a:lnTo>
                <a:lnTo>
                  <a:pt x="1193" y="245110"/>
                </a:lnTo>
                <a:lnTo>
                  <a:pt x="4064" y="245110"/>
                </a:lnTo>
                <a:lnTo>
                  <a:pt x="44488" y="245110"/>
                </a:lnTo>
                <a:lnTo>
                  <a:pt x="44500" y="243840"/>
                </a:lnTo>
                <a:lnTo>
                  <a:pt x="43903" y="241300"/>
                </a:lnTo>
                <a:lnTo>
                  <a:pt x="43726" y="240030"/>
                </a:lnTo>
                <a:lnTo>
                  <a:pt x="42646" y="240030"/>
                </a:lnTo>
                <a:lnTo>
                  <a:pt x="43167" y="238760"/>
                </a:lnTo>
                <a:lnTo>
                  <a:pt x="43662" y="238760"/>
                </a:lnTo>
                <a:lnTo>
                  <a:pt x="44018" y="236220"/>
                </a:lnTo>
                <a:lnTo>
                  <a:pt x="44018" y="234950"/>
                </a:lnTo>
                <a:lnTo>
                  <a:pt x="44132" y="233680"/>
                </a:lnTo>
                <a:lnTo>
                  <a:pt x="44259" y="232410"/>
                </a:lnTo>
                <a:lnTo>
                  <a:pt x="43624" y="232410"/>
                </a:lnTo>
                <a:lnTo>
                  <a:pt x="41135" y="232410"/>
                </a:lnTo>
                <a:lnTo>
                  <a:pt x="41135" y="234950"/>
                </a:lnTo>
                <a:lnTo>
                  <a:pt x="40525" y="234950"/>
                </a:lnTo>
                <a:lnTo>
                  <a:pt x="40551" y="233680"/>
                </a:lnTo>
                <a:lnTo>
                  <a:pt x="41071" y="233680"/>
                </a:lnTo>
                <a:lnTo>
                  <a:pt x="41135" y="234950"/>
                </a:lnTo>
                <a:lnTo>
                  <a:pt x="41135" y="232410"/>
                </a:lnTo>
                <a:lnTo>
                  <a:pt x="40640" y="232410"/>
                </a:lnTo>
                <a:lnTo>
                  <a:pt x="40894" y="231140"/>
                </a:lnTo>
                <a:lnTo>
                  <a:pt x="41363" y="231140"/>
                </a:lnTo>
                <a:lnTo>
                  <a:pt x="42506" y="229870"/>
                </a:lnTo>
                <a:lnTo>
                  <a:pt x="43167" y="229870"/>
                </a:lnTo>
                <a:lnTo>
                  <a:pt x="43853" y="231140"/>
                </a:lnTo>
                <a:lnTo>
                  <a:pt x="43624" y="232410"/>
                </a:lnTo>
                <a:lnTo>
                  <a:pt x="44704" y="231140"/>
                </a:lnTo>
                <a:lnTo>
                  <a:pt x="44716" y="229870"/>
                </a:lnTo>
                <a:close/>
              </a:path>
              <a:path w="333375" h="379729">
                <a:moveTo>
                  <a:pt x="50495" y="279133"/>
                </a:moveTo>
                <a:lnTo>
                  <a:pt x="50355" y="278930"/>
                </a:lnTo>
                <a:lnTo>
                  <a:pt x="50152" y="278828"/>
                </a:lnTo>
                <a:lnTo>
                  <a:pt x="50139" y="279184"/>
                </a:lnTo>
                <a:lnTo>
                  <a:pt x="50266" y="279222"/>
                </a:lnTo>
                <a:lnTo>
                  <a:pt x="50482" y="279247"/>
                </a:lnTo>
                <a:close/>
              </a:path>
              <a:path w="333375" h="379729">
                <a:moveTo>
                  <a:pt x="52070" y="294398"/>
                </a:moveTo>
                <a:lnTo>
                  <a:pt x="51904" y="294500"/>
                </a:lnTo>
                <a:lnTo>
                  <a:pt x="51777" y="294589"/>
                </a:lnTo>
                <a:lnTo>
                  <a:pt x="52070" y="294398"/>
                </a:lnTo>
                <a:close/>
              </a:path>
              <a:path w="333375" h="379729">
                <a:moveTo>
                  <a:pt x="52870" y="294017"/>
                </a:moveTo>
                <a:lnTo>
                  <a:pt x="52781" y="294195"/>
                </a:lnTo>
                <a:lnTo>
                  <a:pt x="52870" y="294017"/>
                </a:lnTo>
                <a:close/>
              </a:path>
              <a:path w="333375" h="379729">
                <a:moveTo>
                  <a:pt x="52895" y="295757"/>
                </a:moveTo>
                <a:lnTo>
                  <a:pt x="52844" y="296506"/>
                </a:lnTo>
                <a:lnTo>
                  <a:pt x="52844" y="296760"/>
                </a:lnTo>
                <a:lnTo>
                  <a:pt x="52870" y="296468"/>
                </a:lnTo>
                <a:lnTo>
                  <a:pt x="52895" y="295948"/>
                </a:lnTo>
                <a:lnTo>
                  <a:pt x="52895" y="295757"/>
                </a:lnTo>
                <a:close/>
              </a:path>
              <a:path w="333375" h="379729">
                <a:moveTo>
                  <a:pt x="53060" y="294640"/>
                </a:moveTo>
                <a:lnTo>
                  <a:pt x="53035" y="295363"/>
                </a:lnTo>
                <a:lnTo>
                  <a:pt x="53060" y="294640"/>
                </a:lnTo>
                <a:close/>
              </a:path>
              <a:path w="333375" h="379729">
                <a:moveTo>
                  <a:pt x="53213" y="297459"/>
                </a:moveTo>
                <a:lnTo>
                  <a:pt x="53200" y="297180"/>
                </a:lnTo>
                <a:lnTo>
                  <a:pt x="53213" y="297459"/>
                </a:lnTo>
                <a:close/>
              </a:path>
              <a:path w="333375" h="379729">
                <a:moveTo>
                  <a:pt x="53263" y="296799"/>
                </a:moveTo>
                <a:lnTo>
                  <a:pt x="53200" y="295998"/>
                </a:lnTo>
                <a:lnTo>
                  <a:pt x="53174" y="295694"/>
                </a:lnTo>
                <a:lnTo>
                  <a:pt x="53136" y="295198"/>
                </a:lnTo>
                <a:lnTo>
                  <a:pt x="53174" y="295922"/>
                </a:lnTo>
                <a:lnTo>
                  <a:pt x="53200" y="296367"/>
                </a:lnTo>
                <a:lnTo>
                  <a:pt x="53225" y="296633"/>
                </a:lnTo>
                <a:lnTo>
                  <a:pt x="53263" y="296799"/>
                </a:lnTo>
                <a:close/>
              </a:path>
              <a:path w="333375" h="379729">
                <a:moveTo>
                  <a:pt x="53530" y="297688"/>
                </a:moveTo>
                <a:lnTo>
                  <a:pt x="53517" y="297180"/>
                </a:lnTo>
                <a:lnTo>
                  <a:pt x="53530" y="297688"/>
                </a:lnTo>
                <a:close/>
              </a:path>
              <a:path w="333375" h="379729">
                <a:moveTo>
                  <a:pt x="53632" y="295490"/>
                </a:moveTo>
                <a:lnTo>
                  <a:pt x="53581" y="295338"/>
                </a:lnTo>
                <a:lnTo>
                  <a:pt x="53467" y="295046"/>
                </a:lnTo>
                <a:lnTo>
                  <a:pt x="53555" y="295313"/>
                </a:lnTo>
                <a:lnTo>
                  <a:pt x="53606" y="295478"/>
                </a:lnTo>
                <a:close/>
              </a:path>
              <a:path w="333375" h="379729">
                <a:moveTo>
                  <a:pt x="53682" y="372084"/>
                </a:moveTo>
                <a:close/>
              </a:path>
              <a:path w="333375" h="379729">
                <a:moveTo>
                  <a:pt x="54051" y="294703"/>
                </a:moveTo>
                <a:close/>
              </a:path>
              <a:path w="333375" h="379729">
                <a:moveTo>
                  <a:pt x="54838" y="294868"/>
                </a:moveTo>
                <a:lnTo>
                  <a:pt x="54775" y="294640"/>
                </a:lnTo>
                <a:lnTo>
                  <a:pt x="54838" y="294868"/>
                </a:lnTo>
                <a:close/>
              </a:path>
              <a:path w="333375" h="379729">
                <a:moveTo>
                  <a:pt x="54965" y="294170"/>
                </a:moveTo>
                <a:lnTo>
                  <a:pt x="54825" y="294030"/>
                </a:lnTo>
                <a:lnTo>
                  <a:pt x="54914" y="294208"/>
                </a:lnTo>
                <a:close/>
              </a:path>
              <a:path w="333375" h="379729">
                <a:moveTo>
                  <a:pt x="55295" y="295440"/>
                </a:moveTo>
                <a:close/>
              </a:path>
              <a:path w="333375" h="379729">
                <a:moveTo>
                  <a:pt x="55880" y="292874"/>
                </a:moveTo>
                <a:lnTo>
                  <a:pt x="55346" y="292100"/>
                </a:lnTo>
                <a:lnTo>
                  <a:pt x="55880" y="292874"/>
                </a:lnTo>
                <a:close/>
              </a:path>
              <a:path w="333375" h="379729">
                <a:moveTo>
                  <a:pt x="56261" y="293370"/>
                </a:moveTo>
                <a:lnTo>
                  <a:pt x="55880" y="292874"/>
                </a:lnTo>
                <a:lnTo>
                  <a:pt x="56222" y="293370"/>
                </a:lnTo>
                <a:close/>
              </a:path>
              <a:path w="333375" h="379729">
                <a:moveTo>
                  <a:pt x="61607" y="280873"/>
                </a:moveTo>
                <a:lnTo>
                  <a:pt x="61252" y="280847"/>
                </a:lnTo>
                <a:lnTo>
                  <a:pt x="61226" y="280987"/>
                </a:lnTo>
                <a:lnTo>
                  <a:pt x="61163" y="281139"/>
                </a:lnTo>
                <a:lnTo>
                  <a:pt x="61239" y="281432"/>
                </a:lnTo>
                <a:lnTo>
                  <a:pt x="61391" y="281432"/>
                </a:lnTo>
                <a:lnTo>
                  <a:pt x="61493" y="281266"/>
                </a:lnTo>
                <a:lnTo>
                  <a:pt x="61569" y="281000"/>
                </a:lnTo>
                <a:lnTo>
                  <a:pt x="61607" y="280873"/>
                </a:lnTo>
                <a:close/>
              </a:path>
              <a:path w="333375" h="379729">
                <a:moveTo>
                  <a:pt x="70370" y="266623"/>
                </a:moveTo>
                <a:lnTo>
                  <a:pt x="70281" y="266458"/>
                </a:lnTo>
                <a:lnTo>
                  <a:pt x="70142" y="266344"/>
                </a:lnTo>
                <a:lnTo>
                  <a:pt x="69964" y="266319"/>
                </a:lnTo>
                <a:lnTo>
                  <a:pt x="69850" y="266471"/>
                </a:lnTo>
                <a:lnTo>
                  <a:pt x="69799" y="266687"/>
                </a:lnTo>
                <a:lnTo>
                  <a:pt x="70002" y="266979"/>
                </a:lnTo>
                <a:lnTo>
                  <a:pt x="70205" y="266890"/>
                </a:lnTo>
                <a:lnTo>
                  <a:pt x="70332" y="266687"/>
                </a:lnTo>
                <a:close/>
              </a:path>
              <a:path w="333375" h="379729">
                <a:moveTo>
                  <a:pt x="75057" y="260692"/>
                </a:moveTo>
                <a:lnTo>
                  <a:pt x="74942" y="260527"/>
                </a:lnTo>
                <a:lnTo>
                  <a:pt x="74752" y="260553"/>
                </a:lnTo>
                <a:lnTo>
                  <a:pt x="74625" y="260527"/>
                </a:lnTo>
                <a:lnTo>
                  <a:pt x="74599" y="260667"/>
                </a:lnTo>
                <a:lnTo>
                  <a:pt x="74536" y="260845"/>
                </a:lnTo>
                <a:lnTo>
                  <a:pt x="74625" y="261010"/>
                </a:lnTo>
                <a:lnTo>
                  <a:pt x="74828" y="260985"/>
                </a:lnTo>
                <a:lnTo>
                  <a:pt x="74955" y="261010"/>
                </a:lnTo>
                <a:lnTo>
                  <a:pt x="74968" y="260870"/>
                </a:lnTo>
                <a:lnTo>
                  <a:pt x="75057" y="260692"/>
                </a:lnTo>
                <a:close/>
              </a:path>
              <a:path w="333375" h="379729">
                <a:moveTo>
                  <a:pt x="87096" y="240080"/>
                </a:moveTo>
                <a:lnTo>
                  <a:pt x="87007" y="239941"/>
                </a:lnTo>
                <a:lnTo>
                  <a:pt x="86702" y="239979"/>
                </a:lnTo>
                <a:lnTo>
                  <a:pt x="86461" y="240169"/>
                </a:lnTo>
                <a:lnTo>
                  <a:pt x="86601" y="240436"/>
                </a:lnTo>
                <a:lnTo>
                  <a:pt x="86868" y="240550"/>
                </a:lnTo>
                <a:lnTo>
                  <a:pt x="87020" y="240449"/>
                </a:lnTo>
                <a:lnTo>
                  <a:pt x="87096" y="240080"/>
                </a:lnTo>
                <a:close/>
              </a:path>
              <a:path w="333375" h="379729">
                <a:moveTo>
                  <a:pt x="93243" y="229997"/>
                </a:moveTo>
                <a:lnTo>
                  <a:pt x="92976" y="229870"/>
                </a:lnTo>
                <a:lnTo>
                  <a:pt x="93218" y="230124"/>
                </a:lnTo>
                <a:lnTo>
                  <a:pt x="93243" y="229997"/>
                </a:lnTo>
                <a:close/>
              </a:path>
              <a:path w="333375" h="379729">
                <a:moveTo>
                  <a:pt x="102323" y="215861"/>
                </a:moveTo>
                <a:lnTo>
                  <a:pt x="102184" y="215633"/>
                </a:lnTo>
                <a:lnTo>
                  <a:pt x="101930" y="215468"/>
                </a:lnTo>
                <a:lnTo>
                  <a:pt x="101803" y="215734"/>
                </a:lnTo>
                <a:lnTo>
                  <a:pt x="101917" y="216001"/>
                </a:lnTo>
                <a:lnTo>
                  <a:pt x="102082" y="216052"/>
                </a:lnTo>
                <a:lnTo>
                  <a:pt x="102209" y="215925"/>
                </a:lnTo>
                <a:close/>
              </a:path>
              <a:path w="333375" h="379729">
                <a:moveTo>
                  <a:pt x="137248" y="255346"/>
                </a:moveTo>
                <a:lnTo>
                  <a:pt x="137198" y="254990"/>
                </a:lnTo>
                <a:lnTo>
                  <a:pt x="136969" y="254850"/>
                </a:lnTo>
                <a:lnTo>
                  <a:pt x="136779" y="254927"/>
                </a:lnTo>
                <a:lnTo>
                  <a:pt x="136652" y="255117"/>
                </a:lnTo>
                <a:lnTo>
                  <a:pt x="136550" y="255270"/>
                </a:lnTo>
                <a:lnTo>
                  <a:pt x="136652" y="255397"/>
                </a:lnTo>
                <a:lnTo>
                  <a:pt x="136969" y="255409"/>
                </a:lnTo>
                <a:lnTo>
                  <a:pt x="137109" y="255371"/>
                </a:lnTo>
                <a:lnTo>
                  <a:pt x="137248" y="255346"/>
                </a:lnTo>
                <a:close/>
              </a:path>
              <a:path w="333375" h="379729">
                <a:moveTo>
                  <a:pt x="139903" y="250431"/>
                </a:moveTo>
                <a:lnTo>
                  <a:pt x="139750" y="250342"/>
                </a:lnTo>
                <a:lnTo>
                  <a:pt x="139598" y="250444"/>
                </a:lnTo>
                <a:lnTo>
                  <a:pt x="139471" y="250634"/>
                </a:lnTo>
                <a:lnTo>
                  <a:pt x="139369" y="250786"/>
                </a:lnTo>
                <a:lnTo>
                  <a:pt x="139661" y="250850"/>
                </a:lnTo>
                <a:lnTo>
                  <a:pt x="139890" y="250748"/>
                </a:lnTo>
                <a:lnTo>
                  <a:pt x="139903" y="250431"/>
                </a:lnTo>
                <a:close/>
              </a:path>
              <a:path w="333375" h="379729">
                <a:moveTo>
                  <a:pt x="181317" y="109689"/>
                </a:moveTo>
                <a:lnTo>
                  <a:pt x="181254" y="109524"/>
                </a:lnTo>
                <a:lnTo>
                  <a:pt x="181076" y="109499"/>
                </a:lnTo>
                <a:lnTo>
                  <a:pt x="180936" y="109588"/>
                </a:lnTo>
                <a:lnTo>
                  <a:pt x="180898" y="109728"/>
                </a:lnTo>
                <a:lnTo>
                  <a:pt x="180898" y="110058"/>
                </a:lnTo>
                <a:lnTo>
                  <a:pt x="181165" y="109956"/>
                </a:lnTo>
                <a:lnTo>
                  <a:pt x="181317" y="109689"/>
                </a:lnTo>
                <a:close/>
              </a:path>
              <a:path w="333375" h="379729">
                <a:moveTo>
                  <a:pt x="223012" y="128549"/>
                </a:moveTo>
                <a:close/>
              </a:path>
              <a:path w="333375" h="379729">
                <a:moveTo>
                  <a:pt x="223659" y="128219"/>
                </a:moveTo>
                <a:lnTo>
                  <a:pt x="223469" y="128422"/>
                </a:lnTo>
                <a:lnTo>
                  <a:pt x="223227" y="128460"/>
                </a:lnTo>
                <a:lnTo>
                  <a:pt x="223012" y="128549"/>
                </a:lnTo>
                <a:lnTo>
                  <a:pt x="223342" y="129184"/>
                </a:lnTo>
                <a:lnTo>
                  <a:pt x="223481" y="128600"/>
                </a:lnTo>
                <a:lnTo>
                  <a:pt x="223659" y="128219"/>
                </a:lnTo>
                <a:close/>
              </a:path>
              <a:path w="333375" h="379729">
                <a:moveTo>
                  <a:pt x="223812" y="128003"/>
                </a:moveTo>
                <a:lnTo>
                  <a:pt x="223697" y="128130"/>
                </a:lnTo>
                <a:lnTo>
                  <a:pt x="223812" y="128003"/>
                </a:lnTo>
                <a:close/>
              </a:path>
              <a:path w="333375" h="379729">
                <a:moveTo>
                  <a:pt x="317665" y="1676"/>
                </a:moveTo>
                <a:lnTo>
                  <a:pt x="317588" y="1460"/>
                </a:lnTo>
                <a:lnTo>
                  <a:pt x="317449" y="1371"/>
                </a:lnTo>
                <a:lnTo>
                  <a:pt x="317284" y="1549"/>
                </a:lnTo>
                <a:lnTo>
                  <a:pt x="317360" y="1765"/>
                </a:lnTo>
                <a:lnTo>
                  <a:pt x="317500" y="1854"/>
                </a:lnTo>
                <a:lnTo>
                  <a:pt x="317665" y="1676"/>
                </a:lnTo>
                <a:close/>
              </a:path>
              <a:path w="333375" h="379729">
                <a:moveTo>
                  <a:pt x="328155" y="3263"/>
                </a:moveTo>
                <a:lnTo>
                  <a:pt x="328104" y="3124"/>
                </a:lnTo>
                <a:lnTo>
                  <a:pt x="327901" y="3009"/>
                </a:lnTo>
                <a:lnTo>
                  <a:pt x="327799" y="3213"/>
                </a:lnTo>
                <a:lnTo>
                  <a:pt x="327863" y="3365"/>
                </a:lnTo>
                <a:lnTo>
                  <a:pt x="328053" y="3467"/>
                </a:lnTo>
                <a:lnTo>
                  <a:pt x="328155" y="3263"/>
                </a:lnTo>
                <a:close/>
              </a:path>
              <a:path w="333375" h="379729">
                <a:moveTo>
                  <a:pt x="333375" y="9931"/>
                </a:moveTo>
                <a:lnTo>
                  <a:pt x="333336" y="9334"/>
                </a:lnTo>
                <a:lnTo>
                  <a:pt x="333133" y="9182"/>
                </a:lnTo>
                <a:lnTo>
                  <a:pt x="332828" y="9245"/>
                </a:lnTo>
                <a:lnTo>
                  <a:pt x="332308" y="9334"/>
                </a:lnTo>
                <a:lnTo>
                  <a:pt x="331724" y="9588"/>
                </a:lnTo>
                <a:lnTo>
                  <a:pt x="331812" y="10464"/>
                </a:lnTo>
                <a:lnTo>
                  <a:pt x="331558" y="10629"/>
                </a:lnTo>
                <a:lnTo>
                  <a:pt x="330161" y="10896"/>
                </a:lnTo>
                <a:lnTo>
                  <a:pt x="329793" y="11163"/>
                </a:lnTo>
                <a:lnTo>
                  <a:pt x="329704" y="11430"/>
                </a:lnTo>
                <a:lnTo>
                  <a:pt x="328396" y="11430"/>
                </a:lnTo>
                <a:lnTo>
                  <a:pt x="328955" y="10160"/>
                </a:lnTo>
                <a:lnTo>
                  <a:pt x="326402" y="10160"/>
                </a:lnTo>
                <a:lnTo>
                  <a:pt x="327418" y="8890"/>
                </a:lnTo>
                <a:lnTo>
                  <a:pt x="328993" y="7708"/>
                </a:lnTo>
                <a:lnTo>
                  <a:pt x="329247" y="8039"/>
                </a:lnTo>
                <a:lnTo>
                  <a:pt x="329349" y="8318"/>
                </a:lnTo>
                <a:lnTo>
                  <a:pt x="330060" y="7835"/>
                </a:lnTo>
                <a:lnTo>
                  <a:pt x="329971" y="7620"/>
                </a:lnTo>
                <a:lnTo>
                  <a:pt x="329704" y="7340"/>
                </a:lnTo>
                <a:lnTo>
                  <a:pt x="329501" y="7251"/>
                </a:lnTo>
                <a:lnTo>
                  <a:pt x="329171" y="7340"/>
                </a:lnTo>
                <a:lnTo>
                  <a:pt x="328968" y="7493"/>
                </a:lnTo>
                <a:lnTo>
                  <a:pt x="327774" y="6350"/>
                </a:lnTo>
                <a:lnTo>
                  <a:pt x="328993" y="6350"/>
                </a:lnTo>
                <a:lnTo>
                  <a:pt x="328536" y="5080"/>
                </a:lnTo>
                <a:lnTo>
                  <a:pt x="329044" y="3810"/>
                </a:lnTo>
                <a:lnTo>
                  <a:pt x="330758" y="3810"/>
                </a:lnTo>
                <a:lnTo>
                  <a:pt x="330454" y="2540"/>
                </a:lnTo>
                <a:lnTo>
                  <a:pt x="328726" y="3810"/>
                </a:lnTo>
                <a:lnTo>
                  <a:pt x="325678" y="3810"/>
                </a:lnTo>
                <a:lnTo>
                  <a:pt x="325005" y="2540"/>
                </a:lnTo>
                <a:lnTo>
                  <a:pt x="324726" y="2540"/>
                </a:lnTo>
                <a:lnTo>
                  <a:pt x="324726" y="15240"/>
                </a:lnTo>
                <a:lnTo>
                  <a:pt x="322986" y="15240"/>
                </a:lnTo>
                <a:lnTo>
                  <a:pt x="322897" y="16510"/>
                </a:lnTo>
                <a:lnTo>
                  <a:pt x="322491" y="16510"/>
                </a:lnTo>
                <a:lnTo>
                  <a:pt x="322643" y="15240"/>
                </a:lnTo>
                <a:lnTo>
                  <a:pt x="323329" y="13970"/>
                </a:lnTo>
                <a:lnTo>
                  <a:pt x="324205" y="13970"/>
                </a:lnTo>
                <a:lnTo>
                  <a:pt x="324726" y="15240"/>
                </a:lnTo>
                <a:lnTo>
                  <a:pt x="324726" y="2540"/>
                </a:lnTo>
                <a:lnTo>
                  <a:pt x="323303" y="2540"/>
                </a:lnTo>
                <a:lnTo>
                  <a:pt x="323303" y="5080"/>
                </a:lnTo>
                <a:lnTo>
                  <a:pt x="322872" y="5080"/>
                </a:lnTo>
                <a:lnTo>
                  <a:pt x="323011" y="3810"/>
                </a:lnTo>
                <a:lnTo>
                  <a:pt x="323253"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78" y="3810"/>
                </a:lnTo>
                <a:lnTo>
                  <a:pt x="296887" y="3810"/>
                </a:lnTo>
                <a:lnTo>
                  <a:pt x="294233" y="5080"/>
                </a:lnTo>
                <a:lnTo>
                  <a:pt x="292887" y="6350"/>
                </a:lnTo>
                <a:lnTo>
                  <a:pt x="291528"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75" y="29210"/>
                </a:lnTo>
                <a:lnTo>
                  <a:pt x="258876" y="31750"/>
                </a:lnTo>
                <a:lnTo>
                  <a:pt x="256552" y="31750"/>
                </a:lnTo>
                <a:lnTo>
                  <a:pt x="256120" y="34290"/>
                </a:lnTo>
                <a:lnTo>
                  <a:pt x="254292" y="35560"/>
                </a:lnTo>
                <a:lnTo>
                  <a:pt x="250215" y="39370"/>
                </a:lnTo>
                <a:lnTo>
                  <a:pt x="248462" y="39370"/>
                </a:lnTo>
                <a:lnTo>
                  <a:pt x="246354" y="43180"/>
                </a:lnTo>
                <a:lnTo>
                  <a:pt x="244881" y="44450"/>
                </a:lnTo>
                <a:lnTo>
                  <a:pt x="242341" y="45720"/>
                </a:lnTo>
                <a:lnTo>
                  <a:pt x="241503" y="45720"/>
                </a:lnTo>
                <a:lnTo>
                  <a:pt x="241922" y="48260"/>
                </a:lnTo>
                <a:lnTo>
                  <a:pt x="238975" y="48260"/>
                </a:lnTo>
                <a:lnTo>
                  <a:pt x="237312" y="52070"/>
                </a:lnTo>
                <a:lnTo>
                  <a:pt x="234772" y="53340"/>
                </a:lnTo>
                <a:lnTo>
                  <a:pt x="232397" y="55880"/>
                </a:lnTo>
                <a:lnTo>
                  <a:pt x="231381" y="57150"/>
                </a:lnTo>
                <a:lnTo>
                  <a:pt x="227761" y="58420"/>
                </a:lnTo>
                <a:lnTo>
                  <a:pt x="227533" y="60960"/>
                </a:lnTo>
                <a:lnTo>
                  <a:pt x="225412" y="62230"/>
                </a:lnTo>
                <a:lnTo>
                  <a:pt x="225425" y="63500"/>
                </a:lnTo>
                <a:lnTo>
                  <a:pt x="223367" y="63500"/>
                </a:lnTo>
                <a:lnTo>
                  <a:pt x="222910" y="64770"/>
                </a:lnTo>
                <a:lnTo>
                  <a:pt x="222681" y="66040"/>
                </a:lnTo>
                <a:lnTo>
                  <a:pt x="221957" y="67310"/>
                </a:lnTo>
                <a:lnTo>
                  <a:pt x="219989" y="68580"/>
                </a:lnTo>
                <a:lnTo>
                  <a:pt x="218490" y="68580"/>
                </a:lnTo>
                <a:lnTo>
                  <a:pt x="216928" y="71120"/>
                </a:lnTo>
                <a:lnTo>
                  <a:pt x="215734" y="72390"/>
                </a:lnTo>
                <a:lnTo>
                  <a:pt x="214960" y="74930"/>
                </a:lnTo>
                <a:lnTo>
                  <a:pt x="214058" y="74930"/>
                </a:lnTo>
                <a:lnTo>
                  <a:pt x="212229" y="76200"/>
                </a:lnTo>
                <a:lnTo>
                  <a:pt x="210172" y="78740"/>
                </a:lnTo>
                <a:lnTo>
                  <a:pt x="208470" y="80010"/>
                </a:lnTo>
                <a:lnTo>
                  <a:pt x="207327" y="81280"/>
                </a:lnTo>
                <a:lnTo>
                  <a:pt x="205409" y="83820"/>
                </a:lnTo>
                <a:lnTo>
                  <a:pt x="204876" y="85090"/>
                </a:lnTo>
                <a:lnTo>
                  <a:pt x="203962" y="86360"/>
                </a:lnTo>
                <a:lnTo>
                  <a:pt x="201498" y="87630"/>
                </a:lnTo>
                <a:lnTo>
                  <a:pt x="200304" y="88900"/>
                </a:lnTo>
                <a:lnTo>
                  <a:pt x="199796" y="90170"/>
                </a:lnTo>
                <a:lnTo>
                  <a:pt x="197345" y="90170"/>
                </a:lnTo>
                <a:lnTo>
                  <a:pt x="197993" y="91440"/>
                </a:lnTo>
                <a:lnTo>
                  <a:pt x="197904" y="93980"/>
                </a:lnTo>
                <a:lnTo>
                  <a:pt x="195478"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84"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29" y="149860"/>
                </a:lnTo>
                <a:lnTo>
                  <a:pt x="158394" y="148590"/>
                </a:lnTo>
                <a:lnTo>
                  <a:pt x="159270" y="148590"/>
                </a:lnTo>
                <a:lnTo>
                  <a:pt x="159270" y="137160"/>
                </a:lnTo>
                <a:lnTo>
                  <a:pt x="158851" y="137160"/>
                </a:lnTo>
                <a:lnTo>
                  <a:pt x="159092" y="140970"/>
                </a:lnTo>
                <a:lnTo>
                  <a:pt x="156210" y="140970"/>
                </a:lnTo>
                <a:lnTo>
                  <a:pt x="156032" y="144780"/>
                </a:lnTo>
                <a:lnTo>
                  <a:pt x="154787" y="146050"/>
                </a:lnTo>
                <a:lnTo>
                  <a:pt x="152057"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42"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56"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66" y="170180"/>
                </a:lnTo>
                <a:lnTo>
                  <a:pt x="134264" y="171450"/>
                </a:lnTo>
                <a:lnTo>
                  <a:pt x="133248" y="171450"/>
                </a:lnTo>
                <a:lnTo>
                  <a:pt x="134239" y="173990"/>
                </a:lnTo>
                <a:lnTo>
                  <a:pt x="133273" y="175260"/>
                </a:lnTo>
                <a:lnTo>
                  <a:pt x="130822" y="176530"/>
                </a:lnTo>
                <a:lnTo>
                  <a:pt x="129857" y="179070"/>
                </a:lnTo>
                <a:lnTo>
                  <a:pt x="127177" y="180340"/>
                </a:lnTo>
                <a:lnTo>
                  <a:pt x="126936" y="180340"/>
                </a:lnTo>
                <a:lnTo>
                  <a:pt x="126860" y="182880"/>
                </a:lnTo>
                <a:lnTo>
                  <a:pt x="125831" y="185420"/>
                </a:lnTo>
                <a:lnTo>
                  <a:pt x="126009" y="187960"/>
                </a:lnTo>
                <a:lnTo>
                  <a:pt x="124574" y="187960"/>
                </a:lnTo>
                <a:lnTo>
                  <a:pt x="124002" y="189230"/>
                </a:lnTo>
                <a:lnTo>
                  <a:pt x="123228" y="187960"/>
                </a:lnTo>
                <a:lnTo>
                  <a:pt x="123037" y="189865"/>
                </a:lnTo>
                <a:lnTo>
                  <a:pt x="123037" y="269240"/>
                </a:lnTo>
                <a:lnTo>
                  <a:pt x="122656" y="269240"/>
                </a:lnTo>
                <a:lnTo>
                  <a:pt x="122872" y="267970"/>
                </a:lnTo>
                <a:lnTo>
                  <a:pt x="123037" y="269240"/>
                </a:lnTo>
                <a:lnTo>
                  <a:pt x="123037" y="189865"/>
                </a:lnTo>
                <a:lnTo>
                  <a:pt x="122974" y="190500"/>
                </a:lnTo>
                <a:lnTo>
                  <a:pt x="121780" y="190500"/>
                </a:lnTo>
                <a:lnTo>
                  <a:pt x="120357" y="191770"/>
                </a:lnTo>
                <a:lnTo>
                  <a:pt x="119684" y="191770"/>
                </a:lnTo>
                <a:lnTo>
                  <a:pt x="118198" y="193040"/>
                </a:lnTo>
                <a:lnTo>
                  <a:pt x="119761" y="193040"/>
                </a:lnTo>
                <a:lnTo>
                  <a:pt x="119176" y="194310"/>
                </a:lnTo>
                <a:lnTo>
                  <a:pt x="118033" y="195580"/>
                </a:lnTo>
                <a:lnTo>
                  <a:pt x="117906" y="198120"/>
                </a:lnTo>
                <a:lnTo>
                  <a:pt x="115493" y="198120"/>
                </a:lnTo>
                <a:lnTo>
                  <a:pt x="116395" y="200660"/>
                </a:lnTo>
                <a:lnTo>
                  <a:pt x="115404" y="200660"/>
                </a:lnTo>
                <a:lnTo>
                  <a:pt x="113461" y="201930"/>
                </a:lnTo>
                <a:lnTo>
                  <a:pt x="113017" y="203200"/>
                </a:lnTo>
                <a:lnTo>
                  <a:pt x="111658" y="204470"/>
                </a:lnTo>
                <a:lnTo>
                  <a:pt x="110871" y="205740"/>
                </a:lnTo>
                <a:lnTo>
                  <a:pt x="110629" y="207010"/>
                </a:lnTo>
                <a:lnTo>
                  <a:pt x="108140" y="207010"/>
                </a:lnTo>
                <a:lnTo>
                  <a:pt x="108800" y="208280"/>
                </a:lnTo>
                <a:lnTo>
                  <a:pt x="107721" y="210820"/>
                </a:lnTo>
                <a:lnTo>
                  <a:pt x="107391" y="212090"/>
                </a:lnTo>
                <a:lnTo>
                  <a:pt x="105460" y="212090"/>
                </a:lnTo>
                <a:lnTo>
                  <a:pt x="105956" y="214630"/>
                </a:lnTo>
                <a:lnTo>
                  <a:pt x="104559" y="215900"/>
                </a:lnTo>
                <a:lnTo>
                  <a:pt x="104787" y="217170"/>
                </a:lnTo>
                <a:lnTo>
                  <a:pt x="100672" y="217170"/>
                </a:lnTo>
                <a:lnTo>
                  <a:pt x="100291" y="218440"/>
                </a:lnTo>
                <a:lnTo>
                  <a:pt x="101041" y="222250"/>
                </a:lnTo>
                <a:lnTo>
                  <a:pt x="99339" y="222250"/>
                </a:lnTo>
                <a:lnTo>
                  <a:pt x="99415" y="226060"/>
                </a:lnTo>
                <a:lnTo>
                  <a:pt x="94805" y="226060"/>
                </a:lnTo>
                <a:lnTo>
                  <a:pt x="96177" y="228600"/>
                </a:lnTo>
                <a:lnTo>
                  <a:pt x="96139" y="229870"/>
                </a:lnTo>
                <a:lnTo>
                  <a:pt x="95402" y="229870"/>
                </a:lnTo>
                <a:lnTo>
                  <a:pt x="95694" y="231140"/>
                </a:lnTo>
                <a:lnTo>
                  <a:pt x="93281" y="230022"/>
                </a:lnTo>
                <a:lnTo>
                  <a:pt x="93294" y="230212"/>
                </a:lnTo>
                <a:lnTo>
                  <a:pt x="94170" y="231140"/>
                </a:lnTo>
                <a:lnTo>
                  <a:pt x="93535" y="233680"/>
                </a:lnTo>
                <a:lnTo>
                  <a:pt x="93294" y="230212"/>
                </a:lnTo>
                <a:lnTo>
                  <a:pt x="92697" y="232410"/>
                </a:lnTo>
                <a:lnTo>
                  <a:pt x="92824" y="232410"/>
                </a:lnTo>
                <a:lnTo>
                  <a:pt x="93472"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92" y="248920"/>
                </a:lnTo>
                <a:lnTo>
                  <a:pt x="82804" y="251460"/>
                </a:lnTo>
                <a:lnTo>
                  <a:pt x="81267" y="251460"/>
                </a:lnTo>
                <a:lnTo>
                  <a:pt x="81241" y="251193"/>
                </a:lnTo>
                <a:lnTo>
                  <a:pt x="80848" y="251028"/>
                </a:lnTo>
                <a:lnTo>
                  <a:pt x="80835" y="251155"/>
                </a:lnTo>
                <a:lnTo>
                  <a:pt x="80797" y="251307"/>
                </a:lnTo>
                <a:lnTo>
                  <a:pt x="80962" y="251650"/>
                </a:lnTo>
                <a:lnTo>
                  <a:pt x="81153" y="251637"/>
                </a:lnTo>
                <a:lnTo>
                  <a:pt x="80645" y="254000"/>
                </a:lnTo>
                <a:lnTo>
                  <a:pt x="79502" y="252730"/>
                </a:lnTo>
                <a:lnTo>
                  <a:pt x="79489" y="254000"/>
                </a:lnTo>
                <a:lnTo>
                  <a:pt x="77330" y="255270"/>
                </a:lnTo>
                <a:lnTo>
                  <a:pt x="79019" y="256540"/>
                </a:lnTo>
                <a:lnTo>
                  <a:pt x="78879" y="256540"/>
                </a:lnTo>
                <a:lnTo>
                  <a:pt x="77470" y="257810"/>
                </a:lnTo>
                <a:lnTo>
                  <a:pt x="76771" y="259080"/>
                </a:lnTo>
                <a:lnTo>
                  <a:pt x="76288" y="261620"/>
                </a:lnTo>
                <a:lnTo>
                  <a:pt x="74790" y="261620"/>
                </a:lnTo>
                <a:lnTo>
                  <a:pt x="74523" y="262890"/>
                </a:lnTo>
                <a:lnTo>
                  <a:pt x="72936" y="265430"/>
                </a:lnTo>
                <a:lnTo>
                  <a:pt x="72453" y="266700"/>
                </a:lnTo>
                <a:lnTo>
                  <a:pt x="69494" y="269240"/>
                </a:lnTo>
                <a:lnTo>
                  <a:pt x="69532" y="271780"/>
                </a:lnTo>
                <a:lnTo>
                  <a:pt x="69151" y="270510"/>
                </a:lnTo>
                <a:lnTo>
                  <a:pt x="67894" y="273050"/>
                </a:lnTo>
                <a:lnTo>
                  <a:pt x="67398"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303" y="276860"/>
                </a:lnTo>
                <a:lnTo>
                  <a:pt x="65443" y="278130"/>
                </a:lnTo>
                <a:lnTo>
                  <a:pt x="64033" y="279400"/>
                </a:lnTo>
                <a:lnTo>
                  <a:pt x="64617" y="281940"/>
                </a:lnTo>
                <a:lnTo>
                  <a:pt x="64312" y="281940"/>
                </a:lnTo>
                <a:lnTo>
                  <a:pt x="62115" y="280670"/>
                </a:lnTo>
                <a:lnTo>
                  <a:pt x="60325" y="283210"/>
                </a:lnTo>
                <a:lnTo>
                  <a:pt x="61810" y="285750"/>
                </a:lnTo>
                <a:lnTo>
                  <a:pt x="60210" y="287020"/>
                </a:lnTo>
                <a:lnTo>
                  <a:pt x="60223" y="288290"/>
                </a:lnTo>
                <a:lnTo>
                  <a:pt x="59550" y="288290"/>
                </a:lnTo>
                <a:lnTo>
                  <a:pt x="58166" y="289560"/>
                </a:lnTo>
                <a:lnTo>
                  <a:pt x="57950" y="289560"/>
                </a:lnTo>
                <a:lnTo>
                  <a:pt x="58229" y="290830"/>
                </a:lnTo>
                <a:lnTo>
                  <a:pt x="58635" y="292100"/>
                </a:lnTo>
                <a:lnTo>
                  <a:pt x="56972" y="292100"/>
                </a:lnTo>
                <a:lnTo>
                  <a:pt x="56845" y="292544"/>
                </a:lnTo>
                <a:lnTo>
                  <a:pt x="56845" y="370840"/>
                </a:lnTo>
                <a:lnTo>
                  <a:pt x="56781" y="372110"/>
                </a:lnTo>
                <a:lnTo>
                  <a:pt x="55638" y="372110"/>
                </a:lnTo>
                <a:lnTo>
                  <a:pt x="54889" y="373380"/>
                </a:lnTo>
                <a:lnTo>
                  <a:pt x="53924" y="374650"/>
                </a:lnTo>
                <a:lnTo>
                  <a:pt x="52730" y="374650"/>
                </a:lnTo>
                <a:lnTo>
                  <a:pt x="52400" y="375920"/>
                </a:lnTo>
                <a:lnTo>
                  <a:pt x="51269" y="375920"/>
                </a:lnTo>
                <a:lnTo>
                  <a:pt x="51523" y="374650"/>
                </a:lnTo>
                <a:lnTo>
                  <a:pt x="50723" y="374650"/>
                </a:lnTo>
                <a:lnTo>
                  <a:pt x="51358" y="373380"/>
                </a:lnTo>
                <a:lnTo>
                  <a:pt x="51790" y="372110"/>
                </a:lnTo>
                <a:lnTo>
                  <a:pt x="52070" y="373380"/>
                </a:lnTo>
                <a:lnTo>
                  <a:pt x="53251" y="373380"/>
                </a:lnTo>
                <a:lnTo>
                  <a:pt x="53543" y="372110"/>
                </a:lnTo>
                <a:lnTo>
                  <a:pt x="53403" y="372110"/>
                </a:lnTo>
                <a:lnTo>
                  <a:pt x="53454" y="370840"/>
                </a:lnTo>
                <a:lnTo>
                  <a:pt x="53644" y="370840"/>
                </a:lnTo>
                <a:lnTo>
                  <a:pt x="53682" y="372084"/>
                </a:lnTo>
                <a:lnTo>
                  <a:pt x="54851" y="370840"/>
                </a:lnTo>
                <a:lnTo>
                  <a:pt x="56845" y="370840"/>
                </a:lnTo>
                <a:lnTo>
                  <a:pt x="56845" y="292544"/>
                </a:lnTo>
                <a:lnTo>
                  <a:pt x="56603" y="293370"/>
                </a:lnTo>
                <a:lnTo>
                  <a:pt x="56807" y="294640"/>
                </a:lnTo>
                <a:lnTo>
                  <a:pt x="55499" y="294640"/>
                </a:lnTo>
                <a:lnTo>
                  <a:pt x="55600" y="295440"/>
                </a:lnTo>
                <a:lnTo>
                  <a:pt x="55791" y="295910"/>
                </a:lnTo>
                <a:lnTo>
                  <a:pt x="55651" y="295910"/>
                </a:lnTo>
                <a:lnTo>
                  <a:pt x="55562" y="295363"/>
                </a:lnTo>
                <a:lnTo>
                  <a:pt x="55257" y="294640"/>
                </a:lnTo>
                <a:lnTo>
                  <a:pt x="55587" y="295910"/>
                </a:lnTo>
                <a:lnTo>
                  <a:pt x="55245" y="295440"/>
                </a:lnTo>
                <a:lnTo>
                  <a:pt x="55118" y="295224"/>
                </a:lnTo>
                <a:lnTo>
                  <a:pt x="54940" y="294982"/>
                </a:lnTo>
                <a:lnTo>
                  <a:pt x="55143" y="295910"/>
                </a:lnTo>
                <a:lnTo>
                  <a:pt x="55587" y="298450"/>
                </a:lnTo>
                <a:lnTo>
                  <a:pt x="54051" y="294703"/>
                </a:lnTo>
                <a:lnTo>
                  <a:pt x="54140" y="295262"/>
                </a:lnTo>
                <a:lnTo>
                  <a:pt x="54076" y="295109"/>
                </a:lnTo>
                <a:lnTo>
                  <a:pt x="53886" y="294767"/>
                </a:lnTo>
                <a:lnTo>
                  <a:pt x="53975" y="295033"/>
                </a:lnTo>
                <a:lnTo>
                  <a:pt x="54076" y="295224"/>
                </a:lnTo>
                <a:lnTo>
                  <a:pt x="54457" y="297180"/>
                </a:lnTo>
                <a:lnTo>
                  <a:pt x="53911" y="295910"/>
                </a:lnTo>
                <a:lnTo>
                  <a:pt x="54025" y="297180"/>
                </a:lnTo>
                <a:lnTo>
                  <a:pt x="53530" y="295910"/>
                </a:lnTo>
                <a:lnTo>
                  <a:pt x="53860" y="297180"/>
                </a:lnTo>
                <a:lnTo>
                  <a:pt x="53594" y="297180"/>
                </a:lnTo>
                <a:lnTo>
                  <a:pt x="53886" y="298450"/>
                </a:lnTo>
                <a:lnTo>
                  <a:pt x="53873" y="299720"/>
                </a:lnTo>
                <a:lnTo>
                  <a:pt x="53530" y="297688"/>
                </a:lnTo>
                <a:lnTo>
                  <a:pt x="53606" y="300990"/>
                </a:lnTo>
                <a:lnTo>
                  <a:pt x="53467" y="299720"/>
                </a:lnTo>
                <a:lnTo>
                  <a:pt x="53213" y="297459"/>
                </a:lnTo>
                <a:lnTo>
                  <a:pt x="53238" y="299720"/>
                </a:lnTo>
                <a:lnTo>
                  <a:pt x="53035" y="295363"/>
                </a:lnTo>
                <a:lnTo>
                  <a:pt x="52844" y="299720"/>
                </a:lnTo>
                <a:lnTo>
                  <a:pt x="52844" y="297180"/>
                </a:lnTo>
                <a:lnTo>
                  <a:pt x="52793" y="298450"/>
                </a:lnTo>
                <a:lnTo>
                  <a:pt x="52692" y="299720"/>
                </a:lnTo>
                <a:lnTo>
                  <a:pt x="52539" y="299720"/>
                </a:lnTo>
                <a:lnTo>
                  <a:pt x="52679" y="297180"/>
                </a:lnTo>
                <a:lnTo>
                  <a:pt x="52336" y="299720"/>
                </a:lnTo>
                <a:lnTo>
                  <a:pt x="52006" y="298450"/>
                </a:lnTo>
                <a:lnTo>
                  <a:pt x="51638" y="298450"/>
                </a:lnTo>
                <a:lnTo>
                  <a:pt x="51422" y="297180"/>
                </a:lnTo>
                <a:lnTo>
                  <a:pt x="51714" y="297180"/>
                </a:lnTo>
                <a:lnTo>
                  <a:pt x="52717" y="295910"/>
                </a:lnTo>
                <a:lnTo>
                  <a:pt x="52514" y="295910"/>
                </a:lnTo>
                <a:lnTo>
                  <a:pt x="51879" y="294640"/>
                </a:lnTo>
                <a:lnTo>
                  <a:pt x="51460" y="294640"/>
                </a:lnTo>
                <a:lnTo>
                  <a:pt x="50990"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46"/>
                </a:lnTo>
                <a:lnTo>
                  <a:pt x="50393" y="299720"/>
                </a:lnTo>
                <a:lnTo>
                  <a:pt x="50038" y="299720"/>
                </a:lnTo>
                <a:lnTo>
                  <a:pt x="50279" y="298450"/>
                </a:lnTo>
                <a:lnTo>
                  <a:pt x="50393" y="299720"/>
                </a:lnTo>
                <a:lnTo>
                  <a:pt x="50393" y="291846"/>
                </a:lnTo>
                <a:lnTo>
                  <a:pt x="50101" y="290830"/>
                </a:lnTo>
                <a:lnTo>
                  <a:pt x="51015" y="289560"/>
                </a:lnTo>
                <a:lnTo>
                  <a:pt x="50063" y="287020"/>
                </a:lnTo>
                <a:lnTo>
                  <a:pt x="51320" y="287020"/>
                </a:lnTo>
                <a:lnTo>
                  <a:pt x="51155" y="285750"/>
                </a:lnTo>
                <a:lnTo>
                  <a:pt x="51422" y="285750"/>
                </a:lnTo>
                <a:lnTo>
                  <a:pt x="50444" y="284480"/>
                </a:lnTo>
                <a:lnTo>
                  <a:pt x="49784" y="283210"/>
                </a:lnTo>
                <a:lnTo>
                  <a:pt x="49288" y="283210"/>
                </a:lnTo>
                <a:lnTo>
                  <a:pt x="50342" y="281940"/>
                </a:lnTo>
                <a:lnTo>
                  <a:pt x="50203" y="280670"/>
                </a:lnTo>
                <a:lnTo>
                  <a:pt x="48869" y="279400"/>
                </a:lnTo>
                <a:lnTo>
                  <a:pt x="48590" y="278130"/>
                </a:lnTo>
                <a:lnTo>
                  <a:pt x="49885" y="276860"/>
                </a:lnTo>
                <a:lnTo>
                  <a:pt x="49085" y="275590"/>
                </a:lnTo>
                <a:lnTo>
                  <a:pt x="48856" y="273050"/>
                </a:lnTo>
                <a:lnTo>
                  <a:pt x="48552" y="273050"/>
                </a:lnTo>
                <a:lnTo>
                  <a:pt x="47307" y="270510"/>
                </a:lnTo>
                <a:lnTo>
                  <a:pt x="47231" y="269240"/>
                </a:lnTo>
                <a:lnTo>
                  <a:pt x="49047" y="269240"/>
                </a:lnTo>
                <a:lnTo>
                  <a:pt x="48653" y="267970"/>
                </a:lnTo>
                <a:lnTo>
                  <a:pt x="47929" y="265430"/>
                </a:lnTo>
                <a:lnTo>
                  <a:pt x="45885" y="264160"/>
                </a:lnTo>
                <a:lnTo>
                  <a:pt x="47752" y="264160"/>
                </a:lnTo>
                <a:lnTo>
                  <a:pt x="48044" y="262890"/>
                </a:lnTo>
                <a:lnTo>
                  <a:pt x="48348" y="261620"/>
                </a:lnTo>
                <a:lnTo>
                  <a:pt x="47028" y="261620"/>
                </a:lnTo>
                <a:lnTo>
                  <a:pt x="47891" y="260350"/>
                </a:lnTo>
                <a:lnTo>
                  <a:pt x="46634" y="257810"/>
                </a:lnTo>
                <a:lnTo>
                  <a:pt x="45656" y="256654"/>
                </a:lnTo>
                <a:lnTo>
                  <a:pt x="45656" y="264160"/>
                </a:lnTo>
                <a:lnTo>
                  <a:pt x="45059" y="264160"/>
                </a:lnTo>
                <a:lnTo>
                  <a:pt x="44627" y="262991"/>
                </a:lnTo>
                <a:lnTo>
                  <a:pt x="44615" y="265430"/>
                </a:lnTo>
                <a:lnTo>
                  <a:pt x="44157" y="265430"/>
                </a:lnTo>
                <a:lnTo>
                  <a:pt x="43662" y="264160"/>
                </a:lnTo>
                <a:lnTo>
                  <a:pt x="43116" y="264160"/>
                </a:lnTo>
                <a:lnTo>
                  <a:pt x="44589" y="263029"/>
                </a:lnTo>
                <a:lnTo>
                  <a:pt x="44589" y="262890"/>
                </a:lnTo>
                <a:lnTo>
                  <a:pt x="44754" y="262890"/>
                </a:lnTo>
                <a:lnTo>
                  <a:pt x="45529" y="262890"/>
                </a:lnTo>
                <a:lnTo>
                  <a:pt x="45656" y="264160"/>
                </a:lnTo>
                <a:lnTo>
                  <a:pt x="45656" y="256654"/>
                </a:lnTo>
                <a:lnTo>
                  <a:pt x="46761" y="255270"/>
                </a:lnTo>
                <a:lnTo>
                  <a:pt x="46520" y="254000"/>
                </a:lnTo>
                <a:lnTo>
                  <a:pt x="46926" y="254000"/>
                </a:lnTo>
                <a:lnTo>
                  <a:pt x="46050" y="251460"/>
                </a:lnTo>
                <a:lnTo>
                  <a:pt x="44970" y="250190"/>
                </a:lnTo>
                <a:lnTo>
                  <a:pt x="44970" y="248920"/>
                </a:lnTo>
                <a:lnTo>
                  <a:pt x="46037" y="248920"/>
                </a:lnTo>
                <a:lnTo>
                  <a:pt x="46596"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43" y="351790"/>
                </a:lnTo>
                <a:lnTo>
                  <a:pt x="13512" y="353060"/>
                </a:lnTo>
                <a:lnTo>
                  <a:pt x="13436"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40" y="246380"/>
                </a:lnTo>
                <a:lnTo>
                  <a:pt x="5740" y="247650"/>
                </a:lnTo>
                <a:lnTo>
                  <a:pt x="5664" y="248348"/>
                </a:lnTo>
                <a:lnTo>
                  <a:pt x="5664" y="283210"/>
                </a:lnTo>
                <a:lnTo>
                  <a:pt x="5499" y="284480"/>
                </a:lnTo>
                <a:lnTo>
                  <a:pt x="5207" y="284480"/>
                </a:lnTo>
                <a:lnTo>
                  <a:pt x="5118" y="283210"/>
                </a:lnTo>
                <a:lnTo>
                  <a:pt x="5664" y="283210"/>
                </a:lnTo>
                <a:lnTo>
                  <a:pt x="5664" y="248348"/>
                </a:lnTo>
                <a:lnTo>
                  <a:pt x="5600" y="248920"/>
                </a:lnTo>
                <a:lnTo>
                  <a:pt x="4203" y="248920"/>
                </a:lnTo>
                <a:lnTo>
                  <a:pt x="4114" y="247650"/>
                </a:lnTo>
                <a:lnTo>
                  <a:pt x="5740" y="247650"/>
                </a:lnTo>
                <a:lnTo>
                  <a:pt x="5740" y="246380"/>
                </a:lnTo>
                <a:lnTo>
                  <a:pt x="3048" y="246380"/>
                </a:lnTo>
                <a:lnTo>
                  <a:pt x="3225" y="247650"/>
                </a:lnTo>
                <a:lnTo>
                  <a:pt x="2755" y="247650"/>
                </a:lnTo>
                <a:lnTo>
                  <a:pt x="2273" y="247650"/>
                </a:lnTo>
                <a:lnTo>
                  <a:pt x="1333" y="248920"/>
                </a:lnTo>
                <a:lnTo>
                  <a:pt x="2743" y="252730"/>
                </a:lnTo>
                <a:lnTo>
                  <a:pt x="2019" y="254000"/>
                </a:lnTo>
                <a:lnTo>
                  <a:pt x="2578" y="256540"/>
                </a:lnTo>
                <a:lnTo>
                  <a:pt x="1549" y="256540"/>
                </a:lnTo>
                <a:lnTo>
                  <a:pt x="2362" y="257810"/>
                </a:lnTo>
                <a:lnTo>
                  <a:pt x="3263" y="257810"/>
                </a:lnTo>
                <a:lnTo>
                  <a:pt x="3365" y="259080"/>
                </a:lnTo>
                <a:lnTo>
                  <a:pt x="2438" y="259080"/>
                </a:lnTo>
                <a:lnTo>
                  <a:pt x="2997" y="262890"/>
                </a:lnTo>
                <a:lnTo>
                  <a:pt x="0" y="264160"/>
                </a:lnTo>
                <a:lnTo>
                  <a:pt x="88" y="265430"/>
                </a:lnTo>
                <a:lnTo>
                  <a:pt x="1028" y="265430"/>
                </a:lnTo>
                <a:lnTo>
                  <a:pt x="1587" y="266700"/>
                </a:lnTo>
                <a:lnTo>
                  <a:pt x="2565" y="265430"/>
                </a:lnTo>
                <a:lnTo>
                  <a:pt x="2870" y="265430"/>
                </a:lnTo>
                <a:lnTo>
                  <a:pt x="3225" y="266700"/>
                </a:lnTo>
                <a:lnTo>
                  <a:pt x="1587" y="266700"/>
                </a:lnTo>
                <a:lnTo>
                  <a:pt x="1295" y="266700"/>
                </a:lnTo>
                <a:lnTo>
                  <a:pt x="2667" y="269240"/>
                </a:lnTo>
                <a:lnTo>
                  <a:pt x="2019"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54" y="283210"/>
                </a:lnTo>
                <a:lnTo>
                  <a:pt x="1168" y="287020"/>
                </a:lnTo>
                <a:lnTo>
                  <a:pt x="1638" y="288290"/>
                </a:lnTo>
                <a:lnTo>
                  <a:pt x="3263" y="289560"/>
                </a:lnTo>
                <a:lnTo>
                  <a:pt x="3505" y="290830"/>
                </a:lnTo>
                <a:lnTo>
                  <a:pt x="2095" y="292100"/>
                </a:lnTo>
                <a:lnTo>
                  <a:pt x="3175" y="293370"/>
                </a:lnTo>
                <a:lnTo>
                  <a:pt x="2095" y="295910"/>
                </a:lnTo>
                <a:lnTo>
                  <a:pt x="2222" y="297180"/>
                </a:lnTo>
                <a:lnTo>
                  <a:pt x="3327" y="300990"/>
                </a:lnTo>
                <a:lnTo>
                  <a:pt x="4165" y="306070"/>
                </a:lnTo>
                <a:lnTo>
                  <a:pt x="3987" y="309880"/>
                </a:lnTo>
                <a:lnTo>
                  <a:pt x="4559" y="312420"/>
                </a:lnTo>
                <a:lnTo>
                  <a:pt x="5245" y="314960"/>
                </a:lnTo>
                <a:lnTo>
                  <a:pt x="5130" y="318770"/>
                </a:lnTo>
                <a:lnTo>
                  <a:pt x="6629" y="321310"/>
                </a:lnTo>
                <a:lnTo>
                  <a:pt x="6667" y="322580"/>
                </a:lnTo>
                <a:lnTo>
                  <a:pt x="6540" y="325120"/>
                </a:lnTo>
                <a:lnTo>
                  <a:pt x="6477" y="328930"/>
                </a:lnTo>
                <a:lnTo>
                  <a:pt x="7239" y="330200"/>
                </a:lnTo>
                <a:lnTo>
                  <a:pt x="6794" y="331470"/>
                </a:lnTo>
                <a:lnTo>
                  <a:pt x="7010" y="332740"/>
                </a:lnTo>
                <a:lnTo>
                  <a:pt x="7823" y="334010"/>
                </a:lnTo>
                <a:lnTo>
                  <a:pt x="10147" y="339090"/>
                </a:lnTo>
                <a:lnTo>
                  <a:pt x="10337" y="340360"/>
                </a:lnTo>
                <a:lnTo>
                  <a:pt x="9398" y="344170"/>
                </a:lnTo>
                <a:lnTo>
                  <a:pt x="9144" y="345440"/>
                </a:lnTo>
                <a:lnTo>
                  <a:pt x="8851" y="345440"/>
                </a:lnTo>
                <a:lnTo>
                  <a:pt x="8801" y="346710"/>
                </a:lnTo>
                <a:lnTo>
                  <a:pt x="9563" y="347980"/>
                </a:lnTo>
                <a:lnTo>
                  <a:pt x="10248" y="347980"/>
                </a:lnTo>
                <a:lnTo>
                  <a:pt x="11747" y="346710"/>
                </a:lnTo>
                <a:lnTo>
                  <a:pt x="11747" y="347980"/>
                </a:lnTo>
                <a:lnTo>
                  <a:pt x="11404" y="350520"/>
                </a:lnTo>
                <a:lnTo>
                  <a:pt x="10960" y="351790"/>
                </a:lnTo>
                <a:lnTo>
                  <a:pt x="12712" y="354330"/>
                </a:lnTo>
                <a:lnTo>
                  <a:pt x="12954" y="355600"/>
                </a:lnTo>
                <a:lnTo>
                  <a:pt x="13449" y="356870"/>
                </a:lnTo>
                <a:lnTo>
                  <a:pt x="13639" y="358140"/>
                </a:lnTo>
                <a:lnTo>
                  <a:pt x="14986" y="358140"/>
                </a:lnTo>
                <a:lnTo>
                  <a:pt x="14986" y="359410"/>
                </a:lnTo>
                <a:lnTo>
                  <a:pt x="15760" y="360680"/>
                </a:lnTo>
                <a:lnTo>
                  <a:pt x="16802" y="361950"/>
                </a:lnTo>
                <a:lnTo>
                  <a:pt x="18415"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58" y="373380"/>
                </a:lnTo>
                <a:lnTo>
                  <a:pt x="25260" y="374650"/>
                </a:lnTo>
                <a:lnTo>
                  <a:pt x="27178" y="374650"/>
                </a:lnTo>
                <a:lnTo>
                  <a:pt x="28409" y="375920"/>
                </a:lnTo>
                <a:lnTo>
                  <a:pt x="29603" y="373380"/>
                </a:lnTo>
                <a:lnTo>
                  <a:pt x="29921" y="373380"/>
                </a:lnTo>
                <a:lnTo>
                  <a:pt x="30594" y="374650"/>
                </a:lnTo>
                <a:lnTo>
                  <a:pt x="30149" y="375920"/>
                </a:lnTo>
                <a:lnTo>
                  <a:pt x="31013" y="377190"/>
                </a:lnTo>
                <a:lnTo>
                  <a:pt x="33909" y="377190"/>
                </a:lnTo>
                <a:lnTo>
                  <a:pt x="34937" y="378460"/>
                </a:lnTo>
                <a:lnTo>
                  <a:pt x="35560" y="378460"/>
                </a:lnTo>
                <a:lnTo>
                  <a:pt x="36360" y="379730"/>
                </a:lnTo>
                <a:lnTo>
                  <a:pt x="40640" y="379730"/>
                </a:lnTo>
                <a:lnTo>
                  <a:pt x="40474" y="378460"/>
                </a:lnTo>
                <a:lnTo>
                  <a:pt x="41211" y="377266"/>
                </a:lnTo>
                <a:lnTo>
                  <a:pt x="42468"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29" y="370840"/>
                </a:lnTo>
                <a:lnTo>
                  <a:pt x="62268" y="369570"/>
                </a:lnTo>
                <a:lnTo>
                  <a:pt x="62750"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92" y="356870"/>
                </a:lnTo>
                <a:lnTo>
                  <a:pt x="76212" y="355600"/>
                </a:lnTo>
                <a:lnTo>
                  <a:pt x="76492" y="355600"/>
                </a:lnTo>
                <a:lnTo>
                  <a:pt x="76987" y="354330"/>
                </a:lnTo>
                <a:lnTo>
                  <a:pt x="77647" y="353060"/>
                </a:lnTo>
                <a:lnTo>
                  <a:pt x="78955" y="350520"/>
                </a:lnTo>
                <a:lnTo>
                  <a:pt x="79908" y="349250"/>
                </a:lnTo>
                <a:lnTo>
                  <a:pt x="80302" y="346710"/>
                </a:lnTo>
                <a:lnTo>
                  <a:pt x="81165" y="346710"/>
                </a:lnTo>
                <a:lnTo>
                  <a:pt x="81457" y="347980"/>
                </a:lnTo>
                <a:lnTo>
                  <a:pt x="81991" y="346710"/>
                </a:lnTo>
                <a:lnTo>
                  <a:pt x="82511" y="345440"/>
                </a:lnTo>
                <a:lnTo>
                  <a:pt x="82791" y="344170"/>
                </a:lnTo>
                <a:lnTo>
                  <a:pt x="84340" y="345440"/>
                </a:lnTo>
                <a:lnTo>
                  <a:pt x="84391" y="344170"/>
                </a:lnTo>
                <a:lnTo>
                  <a:pt x="84467" y="341630"/>
                </a:lnTo>
                <a:lnTo>
                  <a:pt x="85026" y="339090"/>
                </a:lnTo>
                <a:lnTo>
                  <a:pt x="87172" y="339090"/>
                </a:lnTo>
                <a:lnTo>
                  <a:pt x="88506" y="335280"/>
                </a:lnTo>
                <a:lnTo>
                  <a:pt x="90208" y="335280"/>
                </a:lnTo>
                <a:lnTo>
                  <a:pt x="90208" y="332740"/>
                </a:lnTo>
                <a:lnTo>
                  <a:pt x="90881" y="331470"/>
                </a:lnTo>
                <a:lnTo>
                  <a:pt x="92760" y="328930"/>
                </a:lnTo>
                <a:lnTo>
                  <a:pt x="93395" y="327660"/>
                </a:lnTo>
                <a:lnTo>
                  <a:pt x="93624" y="327660"/>
                </a:lnTo>
                <a:lnTo>
                  <a:pt x="93675" y="326390"/>
                </a:lnTo>
                <a:lnTo>
                  <a:pt x="94259" y="326390"/>
                </a:lnTo>
                <a:lnTo>
                  <a:pt x="94818" y="325120"/>
                </a:lnTo>
                <a:lnTo>
                  <a:pt x="95351" y="323850"/>
                </a:lnTo>
                <a:lnTo>
                  <a:pt x="96253" y="322580"/>
                </a:lnTo>
                <a:lnTo>
                  <a:pt x="97015" y="322580"/>
                </a:lnTo>
                <a:lnTo>
                  <a:pt x="96761" y="321310"/>
                </a:lnTo>
                <a:lnTo>
                  <a:pt x="97116" y="320040"/>
                </a:lnTo>
                <a:lnTo>
                  <a:pt x="99250" y="317500"/>
                </a:lnTo>
                <a:lnTo>
                  <a:pt x="99796" y="316230"/>
                </a:lnTo>
                <a:lnTo>
                  <a:pt x="100342" y="314960"/>
                </a:lnTo>
                <a:lnTo>
                  <a:pt x="100888"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91" y="304800"/>
                </a:lnTo>
                <a:lnTo>
                  <a:pt x="107137" y="303530"/>
                </a:lnTo>
                <a:lnTo>
                  <a:pt x="107022" y="302260"/>
                </a:lnTo>
                <a:lnTo>
                  <a:pt x="107454"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64" y="294640"/>
                </a:lnTo>
                <a:lnTo>
                  <a:pt x="113004" y="294640"/>
                </a:lnTo>
                <a:lnTo>
                  <a:pt x="112864" y="293370"/>
                </a:lnTo>
                <a:lnTo>
                  <a:pt x="113169" y="293370"/>
                </a:lnTo>
                <a:lnTo>
                  <a:pt x="113093" y="292874"/>
                </a:lnTo>
                <a:lnTo>
                  <a:pt x="113042" y="290830"/>
                </a:lnTo>
                <a:lnTo>
                  <a:pt x="114160" y="290830"/>
                </a:lnTo>
                <a:lnTo>
                  <a:pt x="115874" y="289560"/>
                </a:lnTo>
                <a:lnTo>
                  <a:pt x="115404" y="289560"/>
                </a:lnTo>
                <a:lnTo>
                  <a:pt x="115062" y="288290"/>
                </a:lnTo>
                <a:lnTo>
                  <a:pt x="115023" y="287020"/>
                </a:lnTo>
                <a:lnTo>
                  <a:pt x="115201" y="287020"/>
                </a:lnTo>
                <a:lnTo>
                  <a:pt x="115379" y="288290"/>
                </a:lnTo>
                <a:lnTo>
                  <a:pt x="116370" y="288290"/>
                </a:lnTo>
                <a:lnTo>
                  <a:pt x="116217" y="287020"/>
                </a:lnTo>
                <a:lnTo>
                  <a:pt x="116916" y="287020"/>
                </a:lnTo>
                <a:lnTo>
                  <a:pt x="116547" y="285750"/>
                </a:lnTo>
                <a:lnTo>
                  <a:pt x="117906" y="285750"/>
                </a:lnTo>
                <a:lnTo>
                  <a:pt x="118681" y="284480"/>
                </a:lnTo>
                <a:lnTo>
                  <a:pt x="118211" y="284480"/>
                </a:lnTo>
                <a:lnTo>
                  <a:pt x="118148" y="284314"/>
                </a:lnTo>
                <a:lnTo>
                  <a:pt x="117754" y="283210"/>
                </a:lnTo>
                <a:lnTo>
                  <a:pt x="118313" y="283210"/>
                </a:lnTo>
                <a:lnTo>
                  <a:pt x="118148" y="284314"/>
                </a:lnTo>
                <a:lnTo>
                  <a:pt x="118948" y="283210"/>
                </a:lnTo>
                <a:lnTo>
                  <a:pt x="119113" y="283210"/>
                </a:lnTo>
                <a:lnTo>
                  <a:pt x="119075" y="281940"/>
                </a:lnTo>
                <a:lnTo>
                  <a:pt x="120611" y="281940"/>
                </a:lnTo>
                <a:lnTo>
                  <a:pt x="120980" y="280670"/>
                </a:lnTo>
                <a:lnTo>
                  <a:pt x="122174" y="280670"/>
                </a:lnTo>
                <a:lnTo>
                  <a:pt x="122034" y="279400"/>
                </a:lnTo>
                <a:lnTo>
                  <a:pt x="121488" y="278130"/>
                </a:lnTo>
                <a:lnTo>
                  <a:pt x="121843"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92" y="269240"/>
                </a:lnTo>
                <a:lnTo>
                  <a:pt x="126606" y="267970"/>
                </a:lnTo>
                <a:lnTo>
                  <a:pt x="126568" y="269240"/>
                </a:lnTo>
                <a:lnTo>
                  <a:pt x="127050" y="269240"/>
                </a:lnTo>
                <a:lnTo>
                  <a:pt x="126873" y="270510"/>
                </a:lnTo>
                <a:lnTo>
                  <a:pt x="127228" y="270510"/>
                </a:lnTo>
                <a:lnTo>
                  <a:pt x="127330" y="269240"/>
                </a:lnTo>
                <a:lnTo>
                  <a:pt x="127393" y="267970"/>
                </a:lnTo>
                <a:lnTo>
                  <a:pt x="128231" y="267970"/>
                </a:lnTo>
                <a:lnTo>
                  <a:pt x="128790"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73"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71" y="241300"/>
                </a:lnTo>
                <a:lnTo>
                  <a:pt x="144932" y="241300"/>
                </a:lnTo>
                <a:lnTo>
                  <a:pt x="145288" y="240030"/>
                </a:lnTo>
                <a:lnTo>
                  <a:pt x="146659" y="240030"/>
                </a:lnTo>
                <a:lnTo>
                  <a:pt x="146850" y="238760"/>
                </a:lnTo>
                <a:lnTo>
                  <a:pt x="146240" y="238760"/>
                </a:lnTo>
                <a:lnTo>
                  <a:pt x="146469" y="237490"/>
                </a:lnTo>
                <a:lnTo>
                  <a:pt x="146824" y="236220"/>
                </a:lnTo>
                <a:lnTo>
                  <a:pt x="147421" y="234950"/>
                </a:lnTo>
                <a:lnTo>
                  <a:pt x="149606" y="234950"/>
                </a:lnTo>
                <a:lnTo>
                  <a:pt x="149072" y="233680"/>
                </a:lnTo>
                <a:lnTo>
                  <a:pt x="149136" y="232410"/>
                </a:lnTo>
                <a:lnTo>
                  <a:pt x="150215" y="232410"/>
                </a:lnTo>
                <a:lnTo>
                  <a:pt x="152006" y="231140"/>
                </a:lnTo>
                <a:lnTo>
                  <a:pt x="152196" y="231140"/>
                </a:lnTo>
                <a:lnTo>
                  <a:pt x="151663" y="229870"/>
                </a:lnTo>
                <a:lnTo>
                  <a:pt x="151498" y="228600"/>
                </a:lnTo>
                <a:lnTo>
                  <a:pt x="152514" y="228600"/>
                </a:lnTo>
                <a:lnTo>
                  <a:pt x="153009" y="227330"/>
                </a:lnTo>
                <a:lnTo>
                  <a:pt x="154724" y="227330"/>
                </a:lnTo>
                <a:lnTo>
                  <a:pt x="154914" y="226060"/>
                </a:lnTo>
                <a:lnTo>
                  <a:pt x="154813" y="224790"/>
                </a:lnTo>
                <a:lnTo>
                  <a:pt x="155244" y="224790"/>
                </a:lnTo>
                <a:lnTo>
                  <a:pt x="155651" y="223520"/>
                </a:lnTo>
                <a:lnTo>
                  <a:pt x="156629" y="223520"/>
                </a:lnTo>
                <a:lnTo>
                  <a:pt x="156933" y="222250"/>
                </a:lnTo>
                <a:lnTo>
                  <a:pt x="157518" y="220980"/>
                </a:lnTo>
                <a:lnTo>
                  <a:pt x="158051" y="219710"/>
                </a:lnTo>
                <a:lnTo>
                  <a:pt x="158940" y="219710"/>
                </a:lnTo>
                <a:lnTo>
                  <a:pt x="160007" y="217170"/>
                </a:lnTo>
                <a:lnTo>
                  <a:pt x="160502" y="215900"/>
                </a:lnTo>
                <a:lnTo>
                  <a:pt x="161785" y="215900"/>
                </a:lnTo>
                <a:lnTo>
                  <a:pt x="162941" y="212090"/>
                </a:lnTo>
                <a:lnTo>
                  <a:pt x="164287" y="210820"/>
                </a:lnTo>
                <a:lnTo>
                  <a:pt x="165328" y="208280"/>
                </a:lnTo>
                <a:lnTo>
                  <a:pt x="167271" y="207010"/>
                </a:lnTo>
                <a:lnTo>
                  <a:pt x="166852" y="205740"/>
                </a:lnTo>
                <a:lnTo>
                  <a:pt x="167132" y="205740"/>
                </a:lnTo>
                <a:lnTo>
                  <a:pt x="167601" y="204470"/>
                </a:lnTo>
                <a:lnTo>
                  <a:pt x="169684" y="203200"/>
                </a:lnTo>
                <a:lnTo>
                  <a:pt x="170738" y="200660"/>
                </a:lnTo>
                <a:lnTo>
                  <a:pt x="171970" y="198120"/>
                </a:lnTo>
                <a:lnTo>
                  <a:pt x="172593" y="198120"/>
                </a:lnTo>
                <a:lnTo>
                  <a:pt x="173050" y="196850"/>
                </a:lnTo>
                <a:lnTo>
                  <a:pt x="172923" y="194310"/>
                </a:lnTo>
                <a:lnTo>
                  <a:pt x="173977" y="195580"/>
                </a:lnTo>
                <a:lnTo>
                  <a:pt x="175323" y="194310"/>
                </a:lnTo>
                <a:lnTo>
                  <a:pt x="176022" y="194310"/>
                </a:lnTo>
                <a:lnTo>
                  <a:pt x="175742" y="193040"/>
                </a:lnTo>
                <a:lnTo>
                  <a:pt x="177101"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26" y="182880"/>
                </a:lnTo>
                <a:lnTo>
                  <a:pt x="183400" y="181610"/>
                </a:lnTo>
                <a:lnTo>
                  <a:pt x="184861" y="181610"/>
                </a:lnTo>
                <a:lnTo>
                  <a:pt x="184899" y="180340"/>
                </a:lnTo>
                <a:lnTo>
                  <a:pt x="185140" y="179070"/>
                </a:lnTo>
                <a:lnTo>
                  <a:pt x="186855" y="179070"/>
                </a:lnTo>
                <a:lnTo>
                  <a:pt x="186905"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08" y="167640"/>
                </a:lnTo>
                <a:lnTo>
                  <a:pt x="194716" y="166370"/>
                </a:lnTo>
                <a:lnTo>
                  <a:pt x="193916" y="166370"/>
                </a:lnTo>
                <a:lnTo>
                  <a:pt x="194652" y="165100"/>
                </a:lnTo>
                <a:lnTo>
                  <a:pt x="194741" y="166370"/>
                </a:lnTo>
                <a:lnTo>
                  <a:pt x="195211" y="166370"/>
                </a:lnTo>
                <a:lnTo>
                  <a:pt x="196062" y="165100"/>
                </a:lnTo>
                <a:lnTo>
                  <a:pt x="195846" y="165100"/>
                </a:lnTo>
                <a:lnTo>
                  <a:pt x="196049" y="163830"/>
                </a:lnTo>
                <a:lnTo>
                  <a:pt x="196430" y="163830"/>
                </a:lnTo>
                <a:lnTo>
                  <a:pt x="196811" y="162560"/>
                </a:lnTo>
                <a:lnTo>
                  <a:pt x="197154" y="162560"/>
                </a:lnTo>
                <a:lnTo>
                  <a:pt x="197396" y="161290"/>
                </a:lnTo>
                <a:lnTo>
                  <a:pt x="198678" y="160020"/>
                </a:lnTo>
                <a:lnTo>
                  <a:pt x="199694" y="160020"/>
                </a:lnTo>
                <a:lnTo>
                  <a:pt x="199910" y="158750"/>
                </a:lnTo>
                <a:lnTo>
                  <a:pt x="200596" y="157480"/>
                </a:lnTo>
                <a:lnTo>
                  <a:pt x="201269" y="157480"/>
                </a:lnTo>
                <a:lnTo>
                  <a:pt x="201739" y="154940"/>
                </a:lnTo>
                <a:lnTo>
                  <a:pt x="203530" y="154940"/>
                </a:lnTo>
                <a:lnTo>
                  <a:pt x="203466" y="153670"/>
                </a:lnTo>
                <a:lnTo>
                  <a:pt x="204139" y="153670"/>
                </a:lnTo>
                <a:lnTo>
                  <a:pt x="204203" y="152400"/>
                </a:lnTo>
                <a:lnTo>
                  <a:pt x="205486" y="152400"/>
                </a:lnTo>
                <a:lnTo>
                  <a:pt x="205003"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69" y="139700"/>
                </a:lnTo>
                <a:lnTo>
                  <a:pt x="213271" y="139700"/>
                </a:lnTo>
                <a:lnTo>
                  <a:pt x="213779" y="138430"/>
                </a:lnTo>
                <a:lnTo>
                  <a:pt x="215798" y="138430"/>
                </a:lnTo>
                <a:lnTo>
                  <a:pt x="216166" y="137160"/>
                </a:lnTo>
                <a:lnTo>
                  <a:pt x="216662" y="135890"/>
                </a:lnTo>
                <a:lnTo>
                  <a:pt x="217093" y="134620"/>
                </a:lnTo>
                <a:lnTo>
                  <a:pt x="217678" y="133350"/>
                </a:lnTo>
                <a:lnTo>
                  <a:pt x="219760" y="133350"/>
                </a:lnTo>
                <a:lnTo>
                  <a:pt x="220319" y="132080"/>
                </a:lnTo>
                <a:lnTo>
                  <a:pt x="221767" y="129540"/>
                </a:lnTo>
                <a:lnTo>
                  <a:pt x="222148" y="128270"/>
                </a:lnTo>
                <a:lnTo>
                  <a:pt x="222885" y="128270"/>
                </a:lnTo>
                <a:lnTo>
                  <a:pt x="222885" y="127000"/>
                </a:lnTo>
                <a:lnTo>
                  <a:pt x="224688" y="127000"/>
                </a:lnTo>
                <a:lnTo>
                  <a:pt x="224828" y="125730"/>
                </a:lnTo>
                <a:lnTo>
                  <a:pt x="225056" y="125730"/>
                </a:lnTo>
                <a:lnTo>
                  <a:pt x="225348" y="124460"/>
                </a:lnTo>
                <a:lnTo>
                  <a:pt x="225590" y="124460"/>
                </a:lnTo>
                <a:lnTo>
                  <a:pt x="226504" y="123190"/>
                </a:lnTo>
                <a:lnTo>
                  <a:pt x="227863" y="121920"/>
                </a:lnTo>
                <a:lnTo>
                  <a:pt x="228422" y="120650"/>
                </a:lnTo>
                <a:lnTo>
                  <a:pt x="229590" y="120650"/>
                </a:lnTo>
                <a:lnTo>
                  <a:pt x="229793" y="119380"/>
                </a:lnTo>
                <a:lnTo>
                  <a:pt x="230174" y="118110"/>
                </a:lnTo>
                <a:lnTo>
                  <a:pt x="230809" y="118110"/>
                </a:lnTo>
                <a:lnTo>
                  <a:pt x="231063" y="116840"/>
                </a:lnTo>
                <a:lnTo>
                  <a:pt x="231597"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20" y="91440"/>
                </a:lnTo>
                <a:lnTo>
                  <a:pt x="253098" y="90170"/>
                </a:lnTo>
                <a:lnTo>
                  <a:pt x="254063" y="88900"/>
                </a:lnTo>
                <a:lnTo>
                  <a:pt x="254901" y="87630"/>
                </a:lnTo>
                <a:lnTo>
                  <a:pt x="255524" y="88900"/>
                </a:lnTo>
                <a:lnTo>
                  <a:pt x="255638" y="87630"/>
                </a:lnTo>
                <a:lnTo>
                  <a:pt x="255854" y="86360"/>
                </a:lnTo>
                <a:lnTo>
                  <a:pt x="256616" y="86360"/>
                </a:lnTo>
                <a:lnTo>
                  <a:pt x="257670" y="85090"/>
                </a:lnTo>
                <a:lnTo>
                  <a:pt x="258343" y="85090"/>
                </a:lnTo>
                <a:lnTo>
                  <a:pt x="258445" y="83820"/>
                </a:lnTo>
                <a:lnTo>
                  <a:pt x="260108" y="83820"/>
                </a:lnTo>
                <a:lnTo>
                  <a:pt x="260286" y="82550"/>
                </a:lnTo>
                <a:lnTo>
                  <a:pt x="261264" y="81280"/>
                </a:lnTo>
                <a:lnTo>
                  <a:pt x="261327" y="80010"/>
                </a:lnTo>
                <a:lnTo>
                  <a:pt x="263588" y="78740"/>
                </a:lnTo>
                <a:lnTo>
                  <a:pt x="263829" y="78740"/>
                </a:lnTo>
                <a:lnTo>
                  <a:pt x="263664" y="77470"/>
                </a:lnTo>
                <a:lnTo>
                  <a:pt x="264985" y="77470"/>
                </a:lnTo>
                <a:lnTo>
                  <a:pt x="265353" y="76200"/>
                </a:lnTo>
                <a:lnTo>
                  <a:pt x="265480" y="76200"/>
                </a:lnTo>
                <a:lnTo>
                  <a:pt x="266014" y="74930"/>
                </a:lnTo>
                <a:lnTo>
                  <a:pt x="268185" y="74930"/>
                </a:lnTo>
                <a:lnTo>
                  <a:pt x="267639" y="73660"/>
                </a:lnTo>
                <a:lnTo>
                  <a:pt x="268173" y="72390"/>
                </a:lnTo>
                <a:lnTo>
                  <a:pt x="270167" y="72390"/>
                </a:lnTo>
                <a:lnTo>
                  <a:pt x="271335" y="69850"/>
                </a:lnTo>
                <a:lnTo>
                  <a:pt x="273329" y="68580"/>
                </a:lnTo>
                <a:lnTo>
                  <a:pt x="274980" y="66040"/>
                </a:lnTo>
                <a:lnTo>
                  <a:pt x="275475" y="66040"/>
                </a:lnTo>
                <a:lnTo>
                  <a:pt x="276263" y="64770"/>
                </a:lnTo>
                <a:lnTo>
                  <a:pt x="276529" y="64770"/>
                </a:lnTo>
                <a:lnTo>
                  <a:pt x="276402"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388" y="52070"/>
                </a:lnTo>
                <a:lnTo>
                  <a:pt x="287782" y="50800"/>
                </a:lnTo>
                <a:lnTo>
                  <a:pt x="288607" y="50800"/>
                </a:lnTo>
                <a:lnTo>
                  <a:pt x="289826" y="49530"/>
                </a:lnTo>
                <a:lnTo>
                  <a:pt x="288912" y="52070"/>
                </a:lnTo>
                <a:lnTo>
                  <a:pt x="290220" y="49530"/>
                </a:lnTo>
                <a:lnTo>
                  <a:pt x="292862" y="45720"/>
                </a:lnTo>
                <a:lnTo>
                  <a:pt x="293446" y="44450"/>
                </a:lnTo>
                <a:lnTo>
                  <a:pt x="293649" y="45720"/>
                </a:lnTo>
                <a:lnTo>
                  <a:pt x="294462" y="45720"/>
                </a:lnTo>
                <a:lnTo>
                  <a:pt x="294462" y="44450"/>
                </a:lnTo>
                <a:lnTo>
                  <a:pt x="294741" y="44450"/>
                </a:lnTo>
                <a:lnTo>
                  <a:pt x="295871" y="43180"/>
                </a:lnTo>
                <a:lnTo>
                  <a:pt x="296062" y="43180"/>
                </a:lnTo>
                <a:lnTo>
                  <a:pt x="295059" y="41910"/>
                </a:lnTo>
                <a:lnTo>
                  <a:pt x="297916" y="41910"/>
                </a:lnTo>
                <a:lnTo>
                  <a:pt x="297484" y="40640"/>
                </a:lnTo>
                <a:lnTo>
                  <a:pt x="296481" y="40640"/>
                </a:lnTo>
                <a:lnTo>
                  <a:pt x="297307" y="39370"/>
                </a:lnTo>
                <a:lnTo>
                  <a:pt x="297434"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21" y="27940"/>
                </a:lnTo>
                <a:lnTo>
                  <a:pt x="317385" y="22860"/>
                </a:lnTo>
                <a:lnTo>
                  <a:pt x="318757" y="22860"/>
                </a:lnTo>
                <a:lnTo>
                  <a:pt x="317474" y="21590"/>
                </a:lnTo>
                <a:lnTo>
                  <a:pt x="318731" y="21590"/>
                </a:lnTo>
                <a:lnTo>
                  <a:pt x="319176" y="22860"/>
                </a:lnTo>
                <a:lnTo>
                  <a:pt x="319671" y="21590"/>
                </a:lnTo>
                <a:lnTo>
                  <a:pt x="320179" y="20320"/>
                </a:lnTo>
                <a:lnTo>
                  <a:pt x="321970" y="19050"/>
                </a:lnTo>
                <a:lnTo>
                  <a:pt x="324878" y="17780"/>
                </a:lnTo>
                <a:lnTo>
                  <a:pt x="325742" y="17780"/>
                </a:lnTo>
                <a:lnTo>
                  <a:pt x="326644" y="16510"/>
                </a:lnTo>
                <a:lnTo>
                  <a:pt x="327545" y="15240"/>
                </a:lnTo>
                <a:lnTo>
                  <a:pt x="328434" y="15240"/>
                </a:lnTo>
                <a:lnTo>
                  <a:pt x="329704" y="13970"/>
                </a:lnTo>
                <a:lnTo>
                  <a:pt x="328244" y="13970"/>
                </a:lnTo>
                <a:lnTo>
                  <a:pt x="327850" y="14033"/>
                </a:lnTo>
                <a:lnTo>
                  <a:pt x="327507" y="14185"/>
                </a:lnTo>
                <a:lnTo>
                  <a:pt x="327660" y="14274"/>
                </a:lnTo>
                <a:lnTo>
                  <a:pt x="326110" y="15240"/>
                </a:lnTo>
                <a:lnTo>
                  <a:pt x="326326" y="13970"/>
                </a:lnTo>
                <a:lnTo>
                  <a:pt x="327469" y="13970"/>
                </a:lnTo>
                <a:lnTo>
                  <a:pt x="327977" y="12700"/>
                </a:lnTo>
                <a:lnTo>
                  <a:pt x="329996" y="12700"/>
                </a:lnTo>
                <a:lnTo>
                  <a:pt x="330377" y="13970"/>
                </a:lnTo>
                <a:lnTo>
                  <a:pt x="331533" y="12700"/>
                </a:lnTo>
                <a:lnTo>
                  <a:pt x="330441" y="12700"/>
                </a:lnTo>
                <a:lnTo>
                  <a:pt x="330352" y="12319"/>
                </a:lnTo>
                <a:lnTo>
                  <a:pt x="332041" y="11785"/>
                </a:lnTo>
                <a:lnTo>
                  <a:pt x="332587" y="9982"/>
                </a:lnTo>
                <a:lnTo>
                  <a:pt x="332994" y="9690"/>
                </a:lnTo>
                <a:lnTo>
                  <a:pt x="333375" y="9931"/>
                </a:lnTo>
                <a:close/>
              </a:path>
            </a:pathLst>
          </a:custGeom>
          <a:solidFill>
            <a:srgbClr val="D02929"/>
          </a:solidFill>
        </p:spPr>
        <p:txBody>
          <a:bodyPr wrap="square" lIns="0" tIns="0" rIns="0" bIns="0" rtlCol="0"/>
          <a:lstStyle/>
          <a:p>
            <a:endParaRPr/>
          </a:p>
        </p:txBody>
      </p:sp>
      <p:sp>
        <p:nvSpPr>
          <p:cNvPr id="53" name="object 53"/>
          <p:cNvSpPr/>
          <p:nvPr/>
        </p:nvSpPr>
        <p:spPr>
          <a:xfrm>
            <a:off x="10421612" y="2517786"/>
            <a:ext cx="809625" cy="809625"/>
          </a:xfrm>
          <a:custGeom>
            <a:avLst/>
            <a:gdLst/>
            <a:ahLst/>
            <a:cxnLst/>
            <a:rect l="l" t="t" r="r" b="b"/>
            <a:pathLst>
              <a:path w="809625" h="809625">
                <a:moveTo>
                  <a:pt x="404812" y="809624"/>
                </a:moveTo>
                <a:lnTo>
                  <a:pt x="357655" y="806897"/>
                </a:lnTo>
                <a:lnTo>
                  <a:pt x="312082" y="798918"/>
                </a:lnTo>
                <a:lnTo>
                  <a:pt x="268399" y="785994"/>
                </a:lnTo>
                <a:lnTo>
                  <a:pt x="226911" y="768429"/>
                </a:lnTo>
                <a:lnTo>
                  <a:pt x="187923" y="746530"/>
                </a:lnTo>
                <a:lnTo>
                  <a:pt x="151742" y="720602"/>
                </a:lnTo>
                <a:lnTo>
                  <a:pt x="118673" y="690950"/>
                </a:lnTo>
                <a:lnTo>
                  <a:pt x="89022" y="657882"/>
                </a:lnTo>
                <a:lnTo>
                  <a:pt x="63094" y="621701"/>
                </a:lnTo>
                <a:lnTo>
                  <a:pt x="41195" y="582713"/>
                </a:lnTo>
                <a:lnTo>
                  <a:pt x="23630" y="541225"/>
                </a:lnTo>
                <a:lnTo>
                  <a:pt x="10706" y="497542"/>
                </a:lnTo>
                <a:lnTo>
                  <a:pt x="2727" y="451969"/>
                </a:lnTo>
                <a:lnTo>
                  <a:pt x="0" y="404812"/>
                </a:lnTo>
                <a:lnTo>
                  <a:pt x="2727" y="357655"/>
                </a:lnTo>
                <a:lnTo>
                  <a:pt x="10706" y="312082"/>
                </a:lnTo>
                <a:lnTo>
                  <a:pt x="23630" y="268399"/>
                </a:lnTo>
                <a:lnTo>
                  <a:pt x="41195" y="226911"/>
                </a:lnTo>
                <a:lnTo>
                  <a:pt x="63094" y="187923"/>
                </a:lnTo>
                <a:lnTo>
                  <a:pt x="89022" y="151742"/>
                </a:lnTo>
                <a:lnTo>
                  <a:pt x="118673" y="118673"/>
                </a:lnTo>
                <a:lnTo>
                  <a:pt x="151742" y="89022"/>
                </a:lnTo>
                <a:lnTo>
                  <a:pt x="187923" y="63094"/>
                </a:lnTo>
                <a:lnTo>
                  <a:pt x="226911" y="41195"/>
                </a:lnTo>
                <a:lnTo>
                  <a:pt x="268399" y="23630"/>
                </a:lnTo>
                <a:lnTo>
                  <a:pt x="312082" y="10706"/>
                </a:lnTo>
                <a:lnTo>
                  <a:pt x="357655" y="2727"/>
                </a:lnTo>
                <a:lnTo>
                  <a:pt x="404812" y="0"/>
                </a:lnTo>
                <a:lnTo>
                  <a:pt x="451969" y="2727"/>
                </a:lnTo>
                <a:lnTo>
                  <a:pt x="497542" y="10706"/>
                </a:lnTo>
                <a:lnTo>
                  <a:pt x="541225" y="23630"/>
                </a:lnTo>
                <a:lnTo>
                  <a:pt x="582713" y="41195"/>
                </a:lnTo>
                <a:lnTo>
                  <a:pt x="621701" y="63094"/>
                </a:lnTo>
                <a:lnTo>
                  <a:pt x="657882" y="89022"/>
                </a:lnTo>
                <a:lnTo>
                  <a:pt x="690950" y="118673"/>
                </a:lnTo>
                <a:lnTo>
                  <a:pt x="720602" y="151742"/>
                </a:lnTo>
                <a:lnTo>
                  <a:pt x="746530" y="187923"/>
                </a:lnTo>
                <a:lnTo>
                  <a:pt x="768429" y="226911"/>
                </a:lnTo>
                <a:lnTo>
                  <a:pt x="776636" y="246296"/>
                </a:lnTo>
                <a:lnTo>
                  <a:pt x="257375" y="246296"/>
                </a:lnTo>
                <a:lnTo>
                  <a:pt x="235150" y="250783"/>
                </a:lnTo>
                <a:lnTo>
                  <a:pt x="217000" y="263021"/>
                </a:lnTo>
                <a:lnTo>
                  <a:pt x="204763" y="281171"/>
                </a:lnTo>
                <a:lnTo>
                  <a:pt x="200275" y="303396"/>
                </a:lnTo>
                <a:lnTo>
                  <a:pt x="204763" y="325621"/>
                </a:lnTo>
                <a:lnTo>
                  <a:pt x="217000" y="343771"/>
                </a:lnTo>
                <a:lnTo>
                  <a:pt x="235150" y="356008"/>
                </a:lnTo>
                <a:lnTo>
                  <a:pt x="257375" y="360496"/>
                </a:lnTo>
                <a:lnTo>
                  <a:pt x="807061" y="360496"/>
                </a:lnTo>
                <a:lnTo>
                  <a:pt x="809624" y="404812"/>
                </a:lnTo>
                <a:lnTo>
                  <a:pt x="806897" y="451969"/>
                </a:lnTo>
                <a:lnTo>
                  <a:pt x="804410" y="466173"/>
                </a:lnTo>
                <a:lnTo>
                  <a:pt x="403960" y="466173"/>
                </a:lnTo>
                <a:lnTo>
                  <a:pt x="331608" y="475329"/>
                </a:lnTo>
                <a:lnTo>
                  <a:pt x="274311" y="497290"/>
                </a:lnTo>
                <a:lnTo>
                  <a:pt x="232394" y="523791"/>
                </a:lnTo>
                <a:lnTo>
                  <a:pt x="196014" y="557362"/>
                </a:lnTo>
                <a:lnTo>
                  <a:pt x="190155" y="577923"/>
                </a:lnTo>
                <a:lnTo>
                  <a:pt x="193258" y="588163"/>
                </a:lnTo>
                <a:lnTo>
                  <a:pt x="200275" y="596565"/>
                </a:lnTo>
                <a:lnTo>
                  <a:pt x="210116" y="601532"/>
                </a:lnTo>
                <a:lnTo>
                  <a:pt x="220835" y="602424"/>
                </a:lnTo>
                <a:lnTo>
                  <a:pt x="583516" y="602424"/>
                </a:lnTo>
                <a:lnTo>
                  <a:pt x="583782" y="602531"/>
                </a:lnTo>
                <a:lnTo>
                  <a:pt x="757297" y="602531"/>
                </a:lnTo>
                <a:lnTo>
                  <a:pt x="746530" y="621701"/>
                </a:lnTo>
                <a:lnTo>
                  <a:pt x="720602" y="657882"/>
                </a:lnTo>
                <a:lnTo>
                  <a:pt x="690950" y="690950"/>
                </a:lnTo>
                <a:lnTo>
                  <a:pt x="657882" y="720602"/>
                </a:lnTo>
                <a:lnTo>
                  <a:pt x="621701" y="746530"/>
                </a:lnTo>
                <a:lnTo>
                  <a:pt x="582713" y="768429"/>
                </a:lnTo>
                <a:lnTo>
                  <a:pt x="541225" y="785994"/>
                </a:lnTo>
                <a:lnTo>
                  <a:pt x="497542" y="798918"/>
                </a:lnTo>
                <a:lnTo>
                  <a:pt x="451969" y="806897"/>
                </a:lnTo>
                <a:lnTo>
                  <a:pt x="404812" y="809624"/>
                </a:lnTo>
                <a:close/>
              </a:path>
              <a:path w="809625" h="809625">
                <a:moveTo>
                  <a:pt x="552249" y="360496"/>
                </a:moveTo>
                <a:lnTo>
                  <a:pt x="257375" y="360496"/>
                </a:lnTo>
                <a:lnTo>
                  <a:pt x="279600" y="356008"/>
                </a:lnTo>
                <a:lnTo>
                  <a:pt x="297750" y="343770"/>
                </a:lnTo>
                <a:lnTo>
                  <a:pt x="309987" y="325621"/>
                </a:lnTo>
                <a:lnTo>
                  <a:pt x="314475" y="303396"/>
                </a:lnTo>
                <a:lnTo>
                  <a:pt x="309987" y="281171"/>
                </a:lnTo>
                <a:lnTo>
                  <a:pt x="297750" y="263021"/>
                </a:lnTo>
                <a:lnTo>
                  <a:pt x="279600" y="250783"/>
                </a:lnTo>
                <a:lnTo>
                  <a:pt x="257375" y="246296"/>
                </a:lnTo>
                <a:lnTo>
                  <a:pt x="552249" y="246296"/>
                </a:lnTo>
                <a:lnTo>
                  <a:pt x="530024" y="250783"/>
                </a:lnTo>
                <a:lnTo>
                  <a:pt x="511874" y="263021"/>
                </a:lnTo>
                <a:lnTo>
                  <a:pt x="499637" y="281171"/>
                </a:lnTo>
                <a:lnTo>
                  <a:pt x="495149" y="303396"/>
                </a:lnTo>
                <a:lnTo>
                  <a:pt x="499637" y="325621"/>
                </a:lnTo>
                <a:lnTo>
                  <a:pt x="511874" y="343771"/>
                </a:lnTo>
                <a:lnTo>
                  <a:pt x="530024" y="356008"/>
                </a:lnTo>
                <a:lnTo>
                  <a:pt x="552249" y="360496"/>
                </a:lnTo>
                <a:close/>
              </a:path>
              <a:path w="809625" h="809625">
                <a:moveTo>
                  <a:pt x="807061" y="360496"/>
                </a:moveTo>
                <a:lnTo>
                  <a:pt x="552249" y="360496"/>
                </a:lnTo>
                <a:lnTo>
                  <a:pt x="574474" y="356008"/>
                </a:lnTo>
                <a:lnTo>
                  <a:pt x="592624" y="343770"/>
                </a:lnTo>
                <a:lnTo>
                  <a:pt x="604861" y="325621"/>
                </a:lnTo>
                <a:lnTo>
                  <a:pt x="609349" y="303396"/>
                </a:lnTo>
                <a:lnTo>
                  <a:pt x="604861" y="281171"/>
                </a:lnTo>
                <a:lnTo>
                  <a:pt x="592624" y="263021"/>
                </a:lnTo>
                <a:lnTo>
                  <a:pt x="574474" y="250783"/>
                </a:lnTo>
                <a:lnTo>
                  <a:pt x="552249" y="246296"/>
                </a:lnTo>
                <a:lnTo>
                  <a:pt x="776636" y="246296"/>
                </a:lnTo>
                <a:lnTo>
                  <a:pt x="785994" y="268399"/>
                </a:lnTo>
                <a:lnTo>
                  <a:pt x="798918" y="312082"/>
                </a:lnTo>
                <a:lnTo>
                  <a:pt x="806897" y="357655"/>
                </a:lnTo>
                <a:lnTo>
                  <a:pt x="807061" y="360496"/>
                </a:lnTo>
                <a:close/>
              </a:path>
              <a:path w="809625" h="809625">
                <a:moveTo>
                  <a:pt x="757297" y="602531"/>
                </a:moveTo>
                <a:lnTo>
                  <a:pt x="597418" y="602531"/>
                </a:lnTo>
                <a:lnTo>
                  <a:pt x="603383" y="600826"/>
                </a:lnTo>
                <a:lnTo>
                  <a:pt x="608497" y="596565"/>
                </a:lnTo>
                <a:lnTo>
                  <a:pt x="615501" y="588283"/>
                </a:lnTo>
                <a:lnTo>
                  <a:pt x="618510" y="578242"/>
                </a:lnTo>
                <a:lnTo>
                  <a:pt x="617365" y="567563"/>
                </a:lnTo>
                <a:lnTo>
                  <a:pt x="575893" y="523791"/>
                </a:lnTo>
                <a:lnTo>
                  <a:pt x="533854" y="497290"/>
                </a:lnTo>
                <a:lnTo>
                  <a:pt x="476393" y="475329"/>
                </a:lnTo>
                <a:lnTo>
                  <a:pt x="403960" y="466173"/>
                </a:lnTo>
                <a:lnTo>
                  <a:pt x="804410" y="466173"/>
                </a:lnTo>
                <a:lnTo>
                  <a:pt x="798918" y="497542"/>
                </a:lnTo>
                <a:lnTo>
                  <a:pt x="785994" y="541225"/>
                </a:lnTo>
                <a:lnTo>
                  <a:pt x="768429" y="582713"/>
                </a:lnTo>
                <a:lnTo>
                  <a:pt x="757297" y="602531"/>
                </a:lnTo>
                <a:close/>
              </a:path>
              <a:path w="809625" h="809625">
                <a:moveTo>
                  <a:pt x="583516" y="602424"/>
                </a:moveTo>
                <a:lnTo>
                  <a:pt x="220835" y="602424"/>
                </a:lnTo>
                <a:lnTo>
                  <a:pt x="231076" y="599322"/>
                </a:lnTo>
                <a:lnTo>
                  <a:pt x="239478" y="592304"/>
                </a:lnTo>
                <a:lnTo>
                  <a:pt x="250810" y="580892"/>
                </a:lnTo>
                <a:lnTo>
                  <a:pt x="282836" y="556617"/>
                </a:lnTo>
                <a:lnTo>
                  <a:pt x="334516" y="532501"/>
                </a:lnTo>
                <a:lnTo>
                  <a:pt x="404812" y="521568"/>
                </a:lnTo>
                <a:lnTo>
                  <a:pt x="474869" y="532261"/>
                </a:lnTo>
                <a:lnTo>
                  <a:pt x="526149" y="555977"/>
                </a:lnTo>
                <a:lnTo>
                  <a:pt x="558095" y="580173"/>
                </a:lnTo>
                <a:lnTo>
                  <a:pt x="570146" y="592304"/>
                </a:lnTo>
                <a:lnTo>
                  <a:pt x="575259" y="599122"/>
                </a:lnTo>
                <a:lnTo>
                  <a:pt x="583516" y="602424"/>
                </a:lnTo>
                <a:close/>
              </a:path>
            </a:pathLst>
          </a:custGeom>
          <a:solidFill>
            <a:srgbClr val="FFFFFF"/>
          </a:solidFill>
        </p:spPr>
        <p:txBody>
          <a:bodyPr wrap="square" lIns="0" tIns="0" rIns="0" bIns="0" rtlCol="0"/>
          <a:lstStyle/>
          <a:p>
            <a:endParaRPr/>
          </a:p>
        </p:txBody>
      </p:sp>
      <p:sp>
        <p:nvSpPr>
          <p:cNvPr id="54" name="object 54"/>
          <p:cNvSpPr/>
          <p:nvPr/>
        </p:nvSpPr>
        <p:spPr>
          <a:xfrm>
            <a:off x="10657777" y="8284718"/>
            <a:ext cx="333375" cy="514350"/>
          </a:xfrm>
          <a:custGeom>
            <a:avLst/>
            <a:gdLst/>
            <a:ahLst/>
            <a:cxnLst/>
            <a:rect l="l" t="t" r="r" b="b"/>
            <a:pathLst>
              <a:path w="333375" h="514350">
                <a:moveTo>
                  <a:pt x="93858" y="150018"/>
                </a:moveTo>
                <a:lnTo>
                  <a:pt x="0" y="150018"/>
                </a:lnTo>
                <a:lnTo>
                  <a:pt x="0" y="145707"/>
                </a:lnTo>
                <a:lnTo>
                  <a:pt x="7958" y="97462"/>
                </a:lnTo>
                <a:lnTo>
                  <a:pt x="29371" y="57190"/>
                </a:lnTo>
                <a:lnTo>
                  <a:pt x="63639" y="26470"/>
                </a:lnTo>
                <a:lnTo>
                  <a:pt x="110157" y="6880"/>
                </a:lnTo>
                <a:lnTo>
                  <a:pt x="168324" y="0"/>
                </a:lnTo>
                <a:lnTo>
                  <a:pt x="223464" y="6362"/>
                </a:lnTo>
                <a:lnTo>
                  <a:pt x="269007" y="24488"/>
                </a:lnTo>
                <a:lnTo>
                  <a:pt x="303428" y="52931"/>
                </a:lnTo>
                <a:lnTo>
                  <a:pt x="321022" y="83087"/>
                </a:lnTo>
                <a:lnTo>
                  <a:pt x="162084" y="83087"/>
                </a:lnTo>
                <a:lnTo>
                  <a:pt x="134914" y="87519"/>
                </a:lnTo>
                <a:lnTo>
                  <a:pt x="113810" y="100124"/>
                </a:lnTo>
                <a:lnTo>
                  <a:pt x="99787" y="119865"/>
                </a:lnTo>
                <a:lnTo>
                  <a:pt x="93858" y="145707"/>
                </a:lnTo>
                <a:lnTo>
                  <a:pt x="93858" y="150018"/>
                </a:lnTo>
                <a:close/>
              </a:path>
              <a:path w="333375" h="514350">
                <a:moveTo>
                  <a:pt x="199820" y="342899"/>
                </a:moveTo>
                <a:lnTo>
                  <a:pt x="107888" y="342899"/>
                </a:lnTo>
                <a:lnTo>
                  <a:pt x="107344" y="328124"/>
                </a:lnTo>
                <a:lnTo>
                  <a:pt x="118912" y="260586"/>
                </a:lnTo>
                <a:lnTo>
                  <a:pt x="169707" y="213559"/>
                </a:lnTo>
                <a:lnTo>
                  <a:pt x="197640" y="195046"/>
                </a:lnTo>
                <a:lnTo>
                  <a:pt x="215544" y="177897"/>
                </a:lnTo>
                <a:lnTo>
                  <a:pt x="225073" y="159712"/>
                </a:lnTo>
                <a:lnTo>
                  <a:pt x="227881" y="138089"/>
                </a:lnTo>
                <a:lnTo>
                  <a:pt x="223152" y="115915"/>
                </a:lnTo>
                <a:lnTo>
                  <a:pt x="209787" y="98517"/>
                </a:lnTo>
                <a:lnTo>
                  <a:pt x="189019" y="87155"/>
                </a:lnTo>
                <a:lnTo>
                  <a:pt x="162084" y="83087"/>
                </a:lnTo>
                <a:lnTo>
                  <a:pt x="321022" y="83087"/>
                </a:lnTo>
                <a:lnTo>
                  <a:pt x="325200" y="90247"/>
                </a:lnTo>
                <a:lnTo>
                  <a:pt x="332796" y="134991"/>
                </a:lnTo>
                <a:lnTo>
                  <a:pt x="328086" y="171137"/>
                </a:lnTo>
                <a:lnTo>
                  <a:pt x="314062" y="202183"/>
                </a:lnTo>
                <a:lnTo>
                  <a:pt x="290882" y="228882"/>
                </a:lnTo>
                <a:lnTo>
                  <a:pt x="258706" y="251984"/>
                </a:lnTo>
                <a:lnTo>
                  <a:pt x="230073" y="270559"/>
                </a:lnTo>
                <a:lnTo>
                  <a:pt x="211990" y="287942"/>
                </a:lnTo>
                <a:lnTo>
                  <a:pt x="202544" y="306559"/>
                </a:lnTo>
                <a:lnTo>
                  <a:pt x="199907" y="328124"/>
                </a:lnTo>
                <a:lnTo>
                  <a:pt x="199820" y="342899"/>
                </a:lnTo>
                <a:close/>
              </a:path>
              <a:path w="333375" h="514350">
                <a:moveTo>
                  <a:pt x="155843" y="514349"/>
                </a:moveTo>
                <a:lnTo>
                  <a:pt x="132050" y="510645"/>
                </a:lnTo>
                <a:lnTo>
                  <a:pt x="114034" y="500021"/>
                </a:lnTo>
                <a:lnTo>
                  <a:pt x="102620" y="483208"/>
                </a:lnTo>
                <a:lnTo>
                  <a:pt x="98632" y="460939"/>
                </a:lnTo>
                <a:lnTo>
                  <a:pt x="102617" y="438491"/>
                </a:lnTo>
                <a:lnTo>
                  <a:pt x="114026" y="421577"/>
                </a:lnTo>
                <a:lnTo>
                  <a:pt x="132041" y="410908"/>
                </a:lnTo>
                <a:lnTo>
                  <a:pt x="155843" y="407193"/>
                </a:lnTo>
                <a:lnTo>
                  <a:pt x="179600" y="410908"/>
                </a:lnTo>
                <a:lnTo>
                  <a:pt x="197514" y="421577"/>
                </a:lnTo>
                <a:lnTo>
                  <a:pt x="208823" y="438491"/>
                </a:lnTo>
                <a:lnTo>
                  <a:pt x="212761" y="460939"/>
                </a:lnTo>
                <a:lnTo>
                  <a:pt x="208820" y="483208"/>
                </a:lnTo>
                <a:lnTo>
                  <a:pt x="197506" y="500021"/>
                </a:lnTo>
                <a:lnTo>
                  <a:pt x="179591" y="510645"/>
                </a:lnTo>
                <a:lnTo>
                  <a:pt x="155843" y="514349"/>
                </a:lnTo>
                <a:close/>
              </a:path>
            </a:pathLst>
          </a:custGeom>
          <a:solidFill>
            <a:srgbClr val="FFFFFF"/>
          </a:solidFill>
        </p:spPr>
        <p:txBody>
          <a:bodyPr wrap="square" lIns="0" tIns="0" rIns="0" bIns="0" rtlCol="0"/>
          <a:lstStyle/>
          <a:p>
            <a:endParaRPr/>
          </a:p>
        </p:txBody>
      </p:sp>
      <p:grpSp>
        <p:nvGrpSpPr>
          <p:cNvPr id="55" name="object 55"/>
          <p:cNvGrpSpPr/>
          <p:nvPr/>
        </p:nvGrpSpPr>
        <p:grpSpPr>
          <a:xfrm>
            <a:off x="1654472" y="4538868"/>
            <a:ext cx="3568065" cy="4497070"/>
            <a:chOff x="1654472" y="4538868"/>
            <a:chExt cx="3568065" cy="4497070"/>
          </a:xfrm>
        </p:grpSpPr>
        <p:sp>
          <p:nvSpPr>
            <p:cNvPr id="56" name="object 56"/>
            <p:cNvSpPr/>
            <p:nvPr/>
          </p:nvSpPr>
          <p:spPr>
            <a:xfrm>
              <a:off x="1982015" y="4548393"/>
              <a:ext cx="2800985" cy="0"/>
            </a:xfrm>
            <a:custGeom>
              <a:avLst/>
              <a:gdLst/>
              <a:ahLst/>
              <a:cxnLst/>
              <a:rect l="l" t="t" r="r" b="b"/>
              <a:pathLst>
                <a:path w="2800985">
                  <a:moveTo>
                    <a:pt x="0" y="0"/>
                  </a:moveTo>
                  <a:lnTo>
                    <a:pt x="2800430" y="0"/>
                  </a:lnTo>
                </a:path>
              </a:pathLst>
            </a:custGeom>
            <a:ln w="19049">
              <a:solidFill>
                <a:srgbClr val="D9D9D9"/>
              </a:solidFill>
            </a:ln>
          </p:spPr>
          <p:txBody>
            <a:bodyPr wrap="square" lIns="0" tIns="0" rIns="0" bIns="0" rtlCol="0"/>
            <a:lstStyle/>
            <a:p>
              <a:endParaRPr/>
            </a:p>
          </p:txBody>
        </p:sp>
        <p:sp>
          <p:nvSpPr>
            <p:cNvPr id="57" name="object 57"/>
            <p:cNvSpPr/>
            <p:nvPr/>
          </p:nvSpPr>
          <p:spPr>
            <a:xfrm>
              <a:off x="1654472" y="8111853"/>
              <a:ext cx="3568065" cy="924560"/>
            </a:xfrm>
            <a:custGeom>
              <a:avLst/>
              <a:gdLst/>
              <a:ahLst/>
              <a:cxnLst/>
              <a:rect l="l" t="t" r="r" b="b"/>
              <a:pathLst>
                <a:path w="3568065" h="924559">
                  <a:moveTo>
                    <a:pt x="0" y="0"/>
                  </a:moveTo>
                  <a:lnTo>
                    <a:pt x="3567867" y="0"/>
                  </a:lnTo>
                  <a:lnTo>
                    <a:pt x="3567867" y="924082"/>
                  </a:lnTo>
                  <a:lnTo>
                    <a:pt x="0" y="924082"/>
                  </a:lnTo>
                  <a:lnTo>
                    <a:pt x="0" y="0"/>
                  </a:lnTo>
                  <a:close/>
                </a:path>
              </a:pathLst>
            </a:custGeom>
            <a:solidFill>
              <a:srgbClr val="21408B"/>
            </a:solidFill>
          </p:spPr>
          <p:txBody>
            <a:bodyPr wrap="square" lIns="0" tIns="0" rIns="0" bIns="0" rtlCol="0"/>
            <a:lstStyle/>
            <a:p>
              <a:endParaRPr/>
            </a:p>
          </p:txBody>
        </p:sp>
        <p:sp>
          <p:nvSpPr>
            <p:cNvPr id="58" name="object 58"/>
            <p:cNvSpPr/>
            <p:nvPr/>
          </p:nvSpPr>
          <p:spPr>
            <a:xfrm>
              <a:off x="2197938" y="8269833"/>
              <a:ext cx="2395220" cy="535305"/>
            </a:xfrm>
            <a:custGeom>
              <a:avLst/>
              <a:gdLst/>
              <a:ahLst/>
              <a:cxnLst/>
              <a:rect l="l" t="t" r="r" b="b"/>
              <a:pathLst>
                <a:path w="2395220" h="535304">
                  <a:moveTo>
                    <a:pt x="479488" y="210426"/>
                  </a:moveTo>
                  <a:lnTo>
                    <a:pt x="475107" y="200164"/>
                  </a:lnTo>
                  <a:lnTo>
                    <a:pt x="464870" y="195910"/>
                  </a:lnTo>
                  <a:lnTo>
                    <a:pt x="452424" y="201218"/>
                  </a:lnTo>
                  <a:lnTo>
                    <a:pt x="438708" y="211569"/>
                  </a:lnTo>
                  <a:lnTo>
                    <a:pt x="421284" y="221043"/>
                  </a:lnTo>
                  <a:lnTo>
                    <a:pt x="401993" y="227965"/>
                  </a:lnTo>
                  <a:lnTo>
                    <a:pt x="382689" y="230644"/>
                  </a:lnTo>
                  <a:lnTo>
                    <a:pt x="361353" y="226885"/>
                  </a:lnTo>
                  <a:lnTo>
                    <a:pt x="342468" y="216598"/>
                  </a:lnTo>
                  <a:lnTo>
                    <a:pt x="327037" y="201295"/>
                  </a:lnTo>
                  <a:lnTo>
                    <a:pt x="316077" y="182499"/>
                  </a:lnTo>
                  <a:lnTo>
                    <a:pt x="328231" y="189992"/>
                  </a:lnTo>
                  <a:lnTo>
                    <a:pt x="342658" y="195922"/>
                  </a:lnTo>
                  <a:lnTo>
                    <a:pt x="359498" y="199809"/>
                  </a:lnTo>
                  <a:lnTo>
                    <a:pt x="378879" y="201218"/>
                  </a:lnTo>
                  <a:lnTo>
                    <a:pt x="404101" y="197434"/>
                  </a:lnTo>
                  <a:lnTo>
                    <a:pt x="426110" y="188048"/>
                  </a:lnTo>
                  <a:lnTo>
                    <a:pt x="443712" y="176009"/>
                  </a:lnTo>
                  <a:lnTo>
                    <a:pt x="455663" y="164236"/>
                  </a:lnTo>
                  <a:lnTo>
                    <a:pt x="461137" y="150101"/>
                  </a:lnTo>
                  <a:lnTo>
                    <a:pt x="456412" y="139395"/>
                  </a:lnTo>
                  <a:lnTo>
                    <a:pt x="446201" y="135242"/>
                  </a:lnTo>
                  <a:lnTo>
                    <a:pt x="435216" y="140779"/>
                  </a:lnTo>
                  <a:lnTo>
                    <a:pt x="423545" y="151244"/>
                  </a:lnTo>
                  <a:lnTo>
                    <a:pt x="407733" y="160947"/>
                  </a:lnTo>
                  <a:lnTo>
                    <a:pt x="390182" y="168097"/>
                  </a:lnTo>
                  <a:lnTo>
                    <a:pt x="373291" y="170891"/>
                  </a:lnTo>
                  <a:lnTo>
                    <a:pt x="357289" y="169214"/>
                  </a:lnTo>
                  <a:lnTo>
                    <a:pt x="343458" y="165163"/>
                  </a:lnTo>
                  <a:lnTo>
                    <a:pt x="332562" y="160134"/>
                  </a:lnTo>
                  <a:lnTo>
                    <a:pt x="325348" y="155549"/>
                  </a:lnTo>
                  <a:lnTo>
                    <a:pt x="321106" y="152285"/>
                  </a:lnTo>
                  <a:lnTo>
                    <a:pt x="323786" y="149910"/>
                  </a:lnTo>
                  <a:lnTo>
                    <a:pt x="330492" y="153187"/>
                  </a:lnTo>
                  <a:lnTo>
                    <a:pt x="340880" y="154203"/>
                  </a:lnTo>
                  <a:lnTo>
                    <a:pt x="345909" y="154203"/>
                  </a:lnTo>
                  <a:lnTo>
                    <a:pt x="373989" y="148577"/>
                  </a:lnTo>
                  <a:lnTo>
                    <a:pt x="398106" y="134391"/>
                  </a:lnTo>
                  <a:lnTo>
                    <a:pt x="416610" y="115709"/>
                  </a:lnTo>
                  <a:lnTo>
                    <a:pt x="427837" y="96583"/>
                  </a:lnTo>
                  <a:lnTo>
                    <a:pt x="429412" y="78740"/>
                  </a:lnTo>
                  <a:lnTo>
                    <a:pt x="421182" y="69037"/>
                  </a:lnTo>
                  <a:lnTo>
                    <a:pt x="408597" y="69278"/>
                  </a:lnTo>
                  <a:lnTo>
                    <a:pt x="397103" y="81241"/>
                  </a:lnTo>
                  <a:lnTo>
                    <a:pt x="387426" y="96685"/>
                  </a:lnTo>
                  <a:lnTo>
                    <a:pt x="373481" y="110324"/>
                  </a:lnTo>
                  <a:lnTo>
                    <a:pt x="354685" y="120040"/>
                  </a:lnTo>
                  <a:lnTo>
                    <a:pt x="330492" y="123748"/>
                  </a:lnTo>
                  <a:lnTo>
                    <a:pt x="326694" y="123748"/>
                  </a:lnTo>
                  <a:lnTo>
                    <a:pt x="326466" y="121500"/>
                  </a:lnTo>
                  <a:lnTo>
                    <a:pt x="345389" y="105867"/>
                  </a:lnTo>
                  <a:lnTo>
                    <a:pt x="359244" y="87998"/>
                  </a:lnTo>
                  <a:lnTo>
                    <a:pt x="368274" y="67652"/>
                  </a:lnTo>
                  <a:lnTo>
                    <a:pt x="371513" y="45504"/>
                  </a:lnTo>
                  <a:lnTo>
                    <a:pt x="366420" y="28575"/>
                  </a:lnTo>
                  <a:lnTo>
                    <a:pt x="355244" y="22936"/>
                  </a:lnTo>
                  <a:lnTo>
                    <a:pt x="344068" y="27851"/>
                  </a:lnTo>
                  <a:lnTo>
                    <a:pt x="338988" y="42570"/>
                  </a:lnTo>
                  <a:lnTo>
                    <a:pt x="335775" y="61760"/>
                  </a:lnTo>
                  <a:lnTo>
                    <a:pt x="326504" y="79921"/>
                  </a:lnTo>
                  <a:lnTo>
                    <a:pt x="311785" y="95999"/>
                  </a:lnTo>
                  <a:lnTo>
                    <a:pt x="292163" y="108978"/>
                  </a:lnTo>
                  <a:lnTo>
                    <a:pt x="288582" y="111010"/>
                  </a:lnTo>
                  <a:lnTo>
                    <a:pt x="286118" y="108419"/>
                  </a:lnTo>
                  <a:lnTo>
                    <a:pt x="289471" y="103911"/>
                  </a:lnTo>
                  <a:lnTo>
                    <a:pt x="299250" y="88226"/>
                  </a:lnTo>
                  <a:lnTo>
                    <a:pt x="306743" y="71158"/>
                  </a:lnTo>
                  <a:lnTo>
                    <a:pt x="311886" y="52984"/>
                  </a:lnTo>
                  <a:lnTo>
                    <a:pt x="314617" y="33997"/>
                  </a:lnTo>
                  <a:lnTo>
                    <a:pt x="310769" y="15646"/>
                  </a:lnTo>
                  <a:lnTo>
                    <a:pt x="299770" y="7899"/>
                  </a:lnTo>
                  <a:lnTo>
                    <a:pt x="288048" y="11480"/>
                  </a:lnTo>
                  <a:lnTo>
                    <a:pt x="281990" y="27127"/>
                  </a:lnTo>
                  <a:lnTo>
                    <a:pt x="279844" y="45821"/>
                  </a:lnTo>
                  <a:lnTo>
                    <a:pt x="275590" y="62001"/>
                  </a:lnTo>
                  <a:lnTo>
                    <a:pt x="269443" y="75971"/>
                  </a:lnTo>
                  <a:lnTo>
                    <a:pt x="261645" y="88011"/>
                  </a:lnTo>
                  <a:lnTo>
                    <a:pt x="260083" y="89928"/>
                  </a:lnTo>
                  <a:lnTo>
                    <a:pt x="258406" y="89814"/>
                  </a:lnTo>
                  <a:lnTo>
                    <a:pt x="256616" y="23406"/>
                  </a:lnTo>
                  <a:lnTo>
                    <a:pt x="255422" y="14363"/>
                  </a:lnTo>
                  <a:lnTo>
                    <a:pt x="252285" y="7226"/>
                  </a:lnTo>
                  <a:lnTo>
                    <a:pt x="247091" y="2540"/>
                  </a:lnTo>
                  <a:lnTo>
                    <a:pt x="239737" y="850"/>
                  </a:lnTo>
                  <a:lnTo>
                    <a:pt x="232384" y="2540"/>
                  </a:lnTo>
                  <a:lnTo>
                    <a:pt x="227203" y="7226"/>
                  </a:lnTo>
                  <a:lnTo>
                    <a:pt x="224053" y="14363"/>
                  </a:lnTo>
                  <a:lnTo>
                    <a:pt x="222872" y="23406"/>
                  </a:lnTo>
                  <a:lnTo>
                    <a:pt x="220967" y="89814"/>
                  </a:lnTo>
                  <a:lnTo>
                    <a:pt x="219290" y="89928"/>
                  </a:lnTo>
                  <a:lnTo>
                    <a:pt x="199644" y="45821"/>
                  </a:lnTo>
                  <a:lnTo>
                    <a:pt x="197497" y="27127"/>
                  </a:lnTo>
                  <a:lnTo>
                    <a:pt x="191439" y="11480"/>
                  </a:lnTo>
                  <a:lnTo>
                    <a:pt x="179717" y="7899"/>
                  </a:lnTo>
                  <a:lnTo>
                    <a:pt x="168719" y="15646"/>
                  </a:lnTo>
                  <a:lnTo>
                    <a:pt x="164858" y="33997"/>
                  </a:lnTo>
                  <a:lnTo>
                    <a:pt x="167640" y="53022"/>
                  </a:lnTo>
                  <a:lnTo>
                    <a:pt x="172783" y="71196"/>
                  </a:lnTo>
                  <a:lnTo>
                    <a:pt x="180251" y="88239"/>
                  </a:lnTo>
                  <a:lnTo>
                    <a:pt x="190004" y="103911"/>
                  </a:lnTo>
                  <a:lnTo>
                    <a:pt x="193357" y="108419"/>
                  </a:lnTo>
                  <a:lnTo>
                    <a:pt x="190906" y="111010"/>
                  </a:lnTo>
                  <a:lnTo>
                    <a:pt x="152971" y="79756"/>
                  </a:lnTo>
                  <a:lnTo>
                    <a:pt x="140500" y="42570"/>
                  </a:lnTo>
                  <a:lnTo>
                    <a:pt x="135420" y="27838"/>
                  </a:lnTo>
                  <a:lnTo>
                    <a:pt x="124244" y="22555"/>
                  </a:lnTo>
                  <a:lnTo>
                    <a:pt x="113055" y="28016"/>
                  </a:lnTo>
                  <a:lnTo>
                    <a:pt x="107975" y="45504"/>
                  </a:lnTo>
                  <a:lnTo>
                    <a:pt x="111213" y="68275"/>
                  </a:lnTo>
                  <a:lnTo>
                    <a:pt x="120243" y="88544"/>
                  </a:lnTo>
                  <a:lnTo>
                    <a:pt x="134099" y="106070"/>
                  </a:lnTo>
                  <a:lnTo>
                    <a:pt x="151790" y="120599"/>
                  </a:lnTo>
                  <a:lnTo>
                    <a:pt x="153123" y="121500"/>
                  </a:lnTo>
                  <a:lnTo>
                    <a:pt x="152793" y="123748"/>
                  </a:lnTo>
                  <a:lnTo>
                    <a:pt x="148996" y="123748"/>
                  </a:lnTo>
                  <a:lnTo>
                    <a:pt x="124802" y="120040"/>
                  </a:lnTo>
                  <a:lnTo>
                    <a:pt x="106006" y="110324"/>
                  </a:lnTo>
                  <a:lnTo>
                    <a:pt x="92049" y="96685"/>
                  </a:lnTo>
                  <a:lnTo>
                    <a:pt x="82384" y="81241"/>
                  </a:lnTo>
                  <a:lnTo>
                    <a:pt x="70891" y="69278"/>
                  </a:lnTo>
                  <a:lnTo>
                    <a:pt x="58305" y="69037"/>
                  </a:lnTo>
                  <a:lnTo>
                    <a:pt x="50076" y="78740"/>
                  </a:lnTo>
                  <a:lnTo>
                    <a:pt x="51650" y="96583"/>
                  </a:lnTo>
                  <a:lnTo>
                    <a:pt x="62877" y="115709"/>
                  </a:lnTo>
                  <a:lnTo>
                    <a:pt x="81381" y="134391"/>
                  </a:lnTo>
                  <a:lnTo>
                    <a:pt x="105498" y="148577"/>
                  </a:lnTo>
                  <a:lnTo>
                    <a:pt x="133565" y="154203"/>
                  </a:lnTo>
                  <a:lnTo>
                    <a:pt x="138595" y="154203"/>
                  </a:lnTo>
                  <a:lnTo>
                    <a:pt x="148996" y="153187"/>
                  </a:lnTo>
                  <a:lnTo>
                    <a:pt x="155702" y="149910"/>
                  </a:lnTo>
                  <a:lnTo>
                    <a:pt x="158496" y="152285"/>
                  </a:lnTo>
                  <a:lnTo>
                    <a:pt x="122250" y="169240"/>
                  </a:lnTo>
                  <a:lnTo>
                    <a:pt x="106184" y="170891"/>
                  </a:lnTo>
                  <a:lnTo>
                    <a:pt x="89281" y="168097"/>
                  </a:lnTo>
                  <a:lnTo>
                    <a:pt x="71716" y="160947"/>
                  </a:lnTo>
                  <a:lnTo>
                    <a:pt x="55892" y="151244"/>
                  </a:lnTo>
                  <a:lnTo>
                    <a:pt x="44272" y="140779"/>
                  </a:lnTo>
                  <a:lnTo>
                    <a:pt x="33299" y="135178"/>
                  </a:lnTo>
                  <a:lnTo>
                    <a:pt x="23114" y="139319"/>
                  </a:lnTo>
                  <a:lnTo>
                    <a:pt x="18389" y="150037"/>
                  </a:lnTo>
                  <a:lnTo>
                    <a:pt x="23825" y="164236"/>
                  </a:lnTo>
                  <a:lnTo>
                    <a:pt x="35750" y="176047"/>
                  </a:lnTo>
                  <a:lnTo>
                    <a:pt x="53327" y="188099"/>
                  </a:lnTo>
                  <a:lnTo>
                    <a:pt x="75336" y="197446"/>
                  </a:lnTo>
                  <a:lnTo>
                    <a:pt x="100596" y="201218"/>
                  </a:lnTo>
                  <a:lnTo>
                    <a:pt x="119989" y="199796"/>
                  </a:lnTo>
                  <a:lnTo>
                    <a:pt x="136829" y="195872"/>
                  </a:lnTo>
                  <a:lnTo>
                    <a:pt x="151257" y="189941"/>
                  </a:lnTo>
                  <a:lnTo>
                    <a:pt x="163410" y="182499"/>
                  </a:lnTo>
                  <a:lnTo>
                    <a:pt x="152463" y="201295"/>
                  </a:lnTo>
                  <a:lnTo>
                    <a:pt x="137058" y="216598"/>
                  </a:lnTo>
                  <a:lnTo>
                    <a:pt x="118173" y="226885"/>
                  </a:lnTo>
                  <a:lnTo>
                    <a:pt x="96799" y="230644"/>
                  </a:lnTo>
                  <a:lnTo>
                    <a:pt x="77495" y="227965"/>
                  </a:lnTo>
                  <a:lnTo>
                    <a:pt x="58204" y="221043"/>
                  </a:lnTo>
                  <a:lnTo>
                    <a:pt x="40767" y="211569"/>
                  </a:lnTo>
                  <a:lnTo>
                    <a:pt x="27063" y="201218"/>
                  </a:lnTo>
                  <a:lnTo>
                    <a:pt x="14617" y="195910"/>
                  </a:lnTo>
                  <a:lnTo>
                    <a:pt x="4381" y="200164"/>
                  </a:lnTo>
                  <a:lnTo>
                    <a:pt x="0" y="210426"/>
                  </a:lnTo>
                  <a:lnTo>
                    <a:pt x="5156" y="223202"/>
                  </a:lnTo>
                  <a:lnTo>
                    <a:pt x="22326" y="238925"/>
                  </a:lnTo>
                  <a:lnTo>
                    <a:pt x="43751" y="251434"/>
                  </a:lnTo>
                  <a:lnTo>
                    <a:pt x="68605" y="259689"/>
                  </a:lnTo>
                  <a:lnTo>
                    <a:pt x="96024" y="262661"/>
                  </a:lnTo>
                  <a:lnTo>
                    <a:pt x="135509" y="255460"/>
                  </a:lnTo>
                  <a:lnTo>
                    <a:pt x="167868" y="235089"/>
                  </a:lnTo>
                  <a:lnTo>
                    <a:pt x="191147" y="203441"/>
                  </a:lnTo>
                  <a:lnTo>
                    <a:pt x="203415" y="162433"/>
                  </a:lnTo>
                  <a:lnTo>
                    <a:pt x="207454" y="150901"/>
                  </a:lnTo>
                  <a:lnTo>
                    <a:pt x="213448" y="147294"/>
                  </a:lnTo>
                  <a:lnTo>
                    <a:pt x="218821" y="149809"/>
                  </a:lnTo>
                  <a:lnTo>
                    <a:pt x="220967" y="156679"/>
                  </a:lnTo>
                  <a:lnTo>
                    <a:pt x="212356" y="360311"/>
                  </a:lnTo>
                  <a:lnTo>
                    <a:pt x="208699" y="417893"/>
                  </a:lnTo>
                  <a:lnTo>
                    <a:pt x="200799" y="460121"/>
                  </a:lnTo>
                  <a:lnTo>
                    <a:pt x="157378" y="509943"/>
                  </a:lnTo>
                  <a:lnTo>
                    <a:pt x="153911" y="511517"/>
                  </a:lnTo>
                  <a:lnTo>
                    <a:pt x="151117" y="513994"/>
                  </a:lnTo>
                  <a:lnTo>
                    <a:pt x="151117" y="535190"/>
                  </a:lnTo>
                  <a:lnTo>
                    <a:pt x="239966" y="535190"/>
                  </a:lnTo>
                  <a:lnTo>
                    <a:pt x="328485" y="535190"/>
                  </a:lnTo>
                  <a:lnTo>
                    <a:pt x="328371" y="513880"/>
                  </a:lnTo>
                  <a:lnTo>
                    <a:pt x="325691" y="511517"/>
                  </a:lnTo>
                  <a:lnTo>
                    <a:pt x="322224" y="509943"/>
                  </a:lnTo>
                  <a:lnTo>
                    <a:pt x="294678" y="489839"/>
                  </a:lnTo>
                  <a:lnTo>
                    <a:pt x="278803" y="460121"/>
                  </a:lnTo>
                  <a:lnTo>
                    <a:pt x="270891" y="417893"/>
                  </a:lnTo>
                  <a:lnTo>
                    <a:pt x="267233" y="360311"/>
                  </a:lnTo>
                  <a:lnTo>
                    <a:pt x="258635" y="156679"/>
                  </a:lnTo>
                  <a:lnTo>
                    <a:pt x="260769" y="149809"/>
                  </a:lnTo>
                  <a:lnTo>
                    <a:pt x="266141" y="147294"/>
                  </a:lnTo>
                  <a:lnTo>
                    <a:pt x="272148" y="150901"/>
                  </a:lnTo>
                  <a:lnTo>
                    <a:pt x="276174" y="162433"/>
                  </a:lnTo>
                  <a:lnTo>
                    <a:pt x="288442" y="203441"/>
                  </a:lnTo>
                  <a:lnTo>
                    <a:pt x="311721" y="235089"/>
                  </a:lnTo>
                  <a:lnTo>
                    <a:pt x="344043" y="255460"/>
                  </a:lnTo>
                  <a:lnTo>
                    <a:pt x="383463" y="262661"/>
                  </a:lnTo>
                  <a:lnTo>
                    <a:pt x="410883" y="259702"/>
                  </a:lnTo>
                  <a:lnTo>
                    <a:pt x="435724" y="251472"/>
                  </a:lnTo>
                  <a:lnTo>
                    <a:pt x="457161" y="238975"/>
                  </a:lnTo>
                  <a:lnTo>
                    <a:pt x="474332" y="223202"/>
                  </a:lnTo>
                  <a:lnTo>
                    <a:pt x="479488" y="210426"/>
                  </a:lnTo>
                  <a:close/>
                </a:path>
                <a:path w="2395220" h="535304">
                  <a:moveTo>
                    <a:pt x="1163015" y="112991"/>
                  </a:moveTo>
                  <a:lnTo>
                    <a:pt x="1118146" y="95021"/>
                  </a:lnTo>
                  <a:lnTo>
                    <a:pt x="1108443" y="94919"/>
                  </a:lnTo>
                  <a:lnTo>
                    <a:pt x="1099629" y="95377"/>
                  </a:lnTo>
                  <a:lnTo>
                    <a:pt x="1030617" y="247408"/>
                  </a:lnTo>
                  <a:lnTo>
                    <a:pt x="1029830" y="255460"/>
                  </a:lnTo>
                  <a:lnTo>
                    <a:pt x="1032065" y="262915"/>
                  </a:lnTo>
                  <a:lnTo>
                    <a:pt x="1036929" y="268922"/>
                  </a:lnTo>
                  <a:lnTo>
                    <a:pt x="1044130" y="272719"/>
                  </a:lnTo>
                  <a:lnTo>
                    <a:pt x="1083360" y="288544"/>
                  </a:lnTo>
                  <a:lnTo>
                    <a:pt x="1091641" y="289674"/>
                  </a:lnTo>
                  <a:lnTo>
                    <a:pt x="1099439" y="287667"/>
                  </a:lnTo>
                  <a:lnTo>
                    <a:pt x="1105801" y="282930"/>
                  </a:lnTo>
                  <a:lnTo>
                    <a:pt x="1109738" y="275882"/>
                  </a:lnTo>
                  <a:lnTo>
                    <a:pt x="1162481" y="121488"/>
                  </a:lnTo>
                  <a:lnTo>
                    <a:pt x="1163015" y="112991"/>
                  </a:lnTo>
                  <a:close/>
                </a:path>
                <a:path w="2395220" h="535304">
                  <a:moveTo>
                    <a:pt x="1300137" y="53149"/>
                  </a:moveTo>
                  <a:lnTo>
                    <a:pt x="1295844" y="32575"/>
                  </a:lnTo>
                  <a:lnTo>
                    <a:pt x="1284211" y="15659"/>
                  </a:lnTo>
                  <a:lnTo>
                    <a:pt x="1267028" y="4216"/>
                  </a:lnTo>
                  <a:lnTo>
                    <a:pt x="1246098" y="0"/>
                  </a:lnTo>
                  <a:lnTo>
                    <a:pt x="1225169" y="4216"/>
                  </a:lnTo>
                  <a:lnTo>
                    <a:pt x="1207985" y="15659"/>
                  </a:lnTo>
                  <a:lnTo>
                    <a:pt x="1196352" y="32575"/>
                  </a:lnTo>
                  <a:lnTo>
                    <a:pt x="1192072" y="53149"/>
                  </a:lnTo>
                  <a:lnTo>
                    <a:pt x="1196352" y="73736"/>
                  </a:lnTo>
                  <a:lnTo>
                    <a:pt x="1207985" y="90639"/>
                  </a:lnTo>
                  <a:lnTo>
                    <a:pt x="1225169" y="102095"/>
                  </a:lnTo>
                  <a:lnTo>
                    <a:pt x="1246098" y="106311"/>
                  </a:lnTo>
                  <a:lnTo>
                    <a:pt x="1267028" y="102184"/>
                  </a:lnTo>
                  <a:lnTo>
                    <a:pt x="1284211" y="90881"/>
                  </a:lnTo>
                  <a:lnTo>
                    <a:pt x="1295844" y="74002"/>
                  </a:lnTo>
                  <a:lnTo>
                    <a:pt x="1300137" y="53149"/>
                  </a:lnTo>
                  <a:close/>
                </a:path>
                <a:path w="2395220" h="535304">
                  <a:moveTo>
                    <a:pt x="1382115" y="261950"/>
                  </a:moveTo>
                  <a:lnTo>
                    <a:pt x="1381264" y="254927"/>
                  </a:lnTo>
                  <a:lnTo>
                    <a:pt x="1377632" y="248729"/>
                  </a:lnTo>
                  <a:lnTo>
                    <a:pt x="1371523" y="244246"/>
                  </a:lnTo>
                  <a:lnTo>
                    <a:pt x="1366380" y="241719"/>
                  </a:lnTo>
                  <a:lnTo>
                    <a:pt x="1366380" y="232219"/>
                  </a:lnTo>
                  <a:lnTo>
                    <a:pt x="1366380" y="173380"/>
                  </a:lnTo>
                  <a:lnTo>
                    <a:pt x="1347089" y="173380"/>
                  </a:lnTo>
                  <a:lnTo>
                    <a:pt x="1347089" y="232219"/>
                  </a:lnTo>
                  <a:lnTo>
                    <a:pt x="1304632" y="212610"/>
                  </a:lnTo>
                  <a:lnTo>
                    <a:pt x="1302778" y="210083"/>
                  </a:lnTo>
                  <a:lnTo>
                    <a:pt x="1251889" y="140474"/>
                  </a:lnTo>
                  <a:lnTo>
                    <a:pt x="1244257" y="129044"/>
                  </a:lnTo>
                  <a:lnTo>
                    <a:pt x="1233716" y="120230"/>
                  </a:lnTo>
                  <a:lnTo>
                    <a:pt x="1220050" y="115201"/>
                  </a:lnTo>
                  <a:lnTo>
                    <a:pt x="1203007" y="115163"/>
                  </a:lnTo>
                  <a:lnTo>
                    <a:pt x="1188224" y="121386"/>
                  </a:lnTo>
                  <a:lnTo>
                    <a:pt x="1177836" y="134073"/>
                  </a:lnTo>
                  <a:lnTo>
                    <a:pt x="1170711" y="151384"/>
                  </a:lnTo>
                  <a:lnTo>
                    <a:pt x="1165694" y="171475"/>
                  </a:lnTo>
                  <a:lnTo>
                    <a:pt x="1150264" y="245516"/>
                  </a:lnTo>
                  <a:lnTo>
                    <a:pt x="1137399" y="303085"/>
                  </a:lnTo>
                  <a:lnTo>
                    <a:pt x="1136751" y="305625"/>
                  </a:lnTo>
                  <a:lnTo>
                    <a:pt x="1136751" y="309422"/>
                  </a:lnTo>
                  <a:lnTo>
                    <a:pt x="1123238" y="375221"/>
                  </a:lnTo>
                  <a:lnTo>
                    <a:pt x="1044130" y="473303"/>
                  </a:lnTo>
                  <a:lnTo>
                    <a:pt x="1039406" y="482219"/>
                  </a:lnTo>
                  <a:lnTo>
                    <a:pt x="1038656" y="491972"/>
                  </a:lnTo>
                  <a:lnTo>
                    <a:pt x="1041768" y="501243"/>
                  </a:lnTo>
                  <a:lnTo>
                    <a:pt x="1048626" y="508736"/>
                  </a:lnTo>
                  <a:lnTo>
                    <a:pt x="1053134" y="512533"/>
                  </a:lnTo>
                  <a:lnTo>
                    <a:pt x="1058278" y="513791"/>
                  </a:lnTo>
                  <a:lnTo>
                    <a:pt x="1064069" y="514426"/>
                  </a:lnTo>
                  <a:lnTo>
                    <a:pt x="1071791" y="514426"/>
                  </a:lnTo>
                  <a:lnTo>
                    <a:pt x="1079500" y="511263"/>
                  </a:lnTo>
                  <a:lnTo>
                    <a:pt x="1084643" y="504939"/>
                  </a:lnTo>
                  <a:lnTo>
                    <a:pt x="1166977" y="401802"/>
                  </a:lnTo>
                  <a:lnTo>
                    <a:pt x="1169555" y="398640"/>
                  </a:lnTo>
                  <a:lnTo>
                    <a:pt x="1170838" y="395478"/>
                  </a:lnTo>
                  <a:lnTo>
                    <a:pt x="1172133" y="391680"/>
                  </a:lnTo>
                  <a:lnTo>
                    <a:pt x="1184998" y="333463"/>
                  </a:lnTo>
                  <a:lnTo>
                    <a:pt x="1234516" y="398005"/>
                  </a:lnTo>
                  <a:lnTo>
                    <a:pt x="1239672" y="499249"/>
                  </a:lnTo>
                  <a:lnTo>
                    <a:pt x="1264754" y="523290"/>
                  </a:lnTo>
                  <a:lnTo>
                    <a:pt x="1266685" y="523290"/>
                  </a:lnTo>
                  <a:lnTo>
                    <a:pt x="1276565" y="520827"/>
                  </a:lnTo>
                  <a:lnTo>
                    <a:pt x="1284452" y="514985"/>
                  </a:lnTo>
                  <a:lnTo>
                    <a:pt x="1289570" y="506653"/>
                  </a:lnTo>
                  <a:lnTo>
                    <a:pt x="1291120" y="496709"/>
                  </a:lnTo>
                  <a:lnTo>
                    <a:pt x="1285341" y="387248"/>
                  </a:lnTo>
                  <a:lnTo>
                    <a:pt x="1285341" y="382181"/>
                  </a:lnTo>
                  <a:lnTo>
                    <a:pt x="1283411" y="377126"/>
                  </a:lnTo>
                  <a:lnTo>
                    <a:pt x="1280185" y="373329"/>
                  </a:lnTo>
                  <a:lnTo>
                    <a:pt x="1249692" y="333463"/>
                  </a:lnTo>
                  <a:lnTo>
                    <a:pt x="1233233" y="311950"/>
                  </a:lnTo>
                  <a:lnTo>
                    <a:pt x="1255102" y="210083"/>
                  </a:lnTo>
                  <a:lnTo>
                    <a:pt x="1275689" y="238556"/>
                  </a:lnTo>
                  <a:lnTo>
                    <a:pt x="1277620" y="241084"/>
                  </a:lnTo>
                  <a:lnTo>
                    <a:pt x="1282763" y="244881"/>
                  </a:lnTo>
                  <a:lnTo>
                    <a:pt x="1346441" y="274612"/>
                  </a:lnTo>
                  <a:lnTo>
                    <a:pt x="1346441" y="515696"/>
                  </a:lnTo>
                  <a:lnTo>
                    <a:pt x="1365745" y="515696"/>
                  </a:lnTo>
                  <a:lnTo>
                    <a:pt x="1365745" y="279679"/>
                  </a:lnTo>
                  <a:lnTo>
                    <a:pt x="1371523" y="279044"/>
                  </a:lnTo>
                  <a:lnTo>
                    <a:pt x="1377315" y="275247"/>
                  </a:lnTo>
                  <a:lnTo>
                    <a:pt x="1379880" y="268947"/>
                  </a:lnTo>
                  <a:lnTo>
                    <a:pt x="1382115" y="261950"/>
                  </a:lnTo>
                  <a:close/>
                </a:path>
                <a:path w="2395220" h="535304">
                  <a:moveTo>
                    <a:pt x="2064651" y="195567"/>
                  </a:moveTo>
                  <a:lnTo>
                    <a:pt x="2063318" y="153581"/>
                  </a:lnTo>
                  <a:lnTo>
                    <a:pt x="2060409" y="105892"/>
                  </a:lnTo>
                  <a:lnTo>
                    <a:pt x="2057501" y="66789"/>
                  </a:lnTo>
                  <a:lnTo>
                    <a:pt x="2056180" y="50584"/>
                  </a:lnTo>
                  <a:lnTo>
                    <a:pt x="2055761" y="42989"/>
                  </a:lnTo>
                  <a:lnTo>
                    <a:pt x="2050478" y="38976"/>
                  </a:lnTo>
                  <a:lnTo>
                    <a:pt x="2040928" y="38976"/>
                  </a:lnTo>
                  <a:lnTo>
                    <a:pt x="2035644" y="42735"/>
                  </a:lnTo>
                  <a:lnTo>
                    <a:pt x="2035644" y="163004"/>
                  </a:lnTo>
                  <a:lnTo>
                    <a:pt x="2012086" y="163004"/>
                  </a:lnTo>
                  <a:lnTo>
                    <a:pt x="2008314" y="47078"/>
                  </a:lnTo>
                  <a:lnTo>
                    <a:pt x="2008149" y="40817"/>
                  </a:lnTo>
                  <a:lnTo>
                    <a:pt x="2003793" y="37058"/>
                  </a:lnTo>
                  <a:lnTo>
                    <a:pt x="1993150" y="37058"/>
                  </a:lnTo>
                  <a:lnTo>
                    <a:pt x="1988032" y="40728"/>
                  </a:lnTo>
                  <a:lnTo>
                    <a:pt x="1987867" y="47078"/>
                  </a:lnTo>
                  <a:lnTo>
                    <a:pt x="1984095" y="163004"/>
                  </a:lnTo>
                  <a:lnTo>
                    <a:pt x="1960537" y="163004"/>
                  </a:lnTo>
                  <a:lnTo>
                    <a:pt x="1960537" y="42735"/>
                  </a:lnTo>
                  <a:lnTo>
                    <a:pt x="1955431" y="38976"/>
                  </a:lnTo>
                  <a:lnTo>
                    <a:pt x="1945538" y="38976"/>
                  </a:lnTo>
                  <a:lnTo>
                    <a:pt x="1940420" y="42900"/>
                  </a:lnTo>
                  <a:lnTo>
                    <a:pt x="1940001" y="50584"/>
                  </a:lnTo>
                  <a:lnTo>
                    <a:pt x="1938680" y="66789"/>
                  </a:lnTo>
                  <a:lnTo>
                    <a:pt x="1935772" y="105892"/>
                  </a:lnTo>
                  <a:lnTo>
                    <a:pt x="1932863" y="153581"/>
                  </a:lnTo>
                  <a:lnTo>
                    <a:pt x="1931543" y="195567"/>
                  </a:lnTo>
                  <a:lnTo>
                    <a:pt x="1938299" y="230479"/>
                  </a:lnTo>
                  <a:lnTo>
                    <a:pt x="1953018" y="250939"/>
                  </a:lnTo>
                  <a:lnTo>
                    <a:pt x="1967458" y="265303"/>
                  </a:lnTo>
                  <a:lnTo>
                    <a:pt x="1973287" y="281774"/>
                  </a:lnTo>
                  <a:lnTo>
                    <a:pt x="1962721" y="448462"/>
                  </a:lnTo>
                  <a:lnTo>
                    <a:pt x="1963775" y="467258"/>
                  </a:lnTo>
                  <a:lnTo>
                    <a:pt x="1969503" y="480199"/>
                  </a:lnTo>
                  <a:lnTo>
                    <a:pt x="1979536" y="487692"/>
                  </a:lnTo>
                  <a:lnTo>
                    <a:pt x="1993569" y="490105"/>
                  </a:lnTo>
                  <a:lnTo>
                    <a:pt x="2002866" y="490105"/>
                  </a:lnTo>
                  <a:lnTo>
                    <a:pt x="2016899" y="487692"/>
                  </a:lnTo>
                  <a:lnTo>
                    <a:pt x="2026932" y="480199"/>
                  </a:lnTo>
                  <a:lnTo>
                    <a:pt x="2032660" y="467258"/>
                  </a:lnTo>
                  <a:lnTo>
                    <a:pt x="2033714" y="448462"/>
                  </a:lnTo>
                  <a:lnTo>
                    <a:pt x="2033460" y="448462"/>
                  </a:lnTo>
                  <a:lnTo>
                    <a:pt x="2022906" y="281774"/>
                  </a:lnTo>
                  <a:lnTo>
                    <a:pt x="2028710" y="265315"/>
                  </a:lnTo>
                  <a:lnTo>
                    <a:pt x="2043112" y="250977"/>
                  </a:lnTo>
                  <a:lnTo>
                    <a:pt x="2057882" y="230441"/>
                  </a:lnTo>
                  <a:lnTo>
                    <a:pt x="2064651" y="195567"/>
                  </a:lnTo>
                  <a:close/>
                </a:path>
                <a:path w="2395220" h="535304">
                  <a:moveTo>
                    <a:pt x="2394724" y="194221"/>
                  </a:moveTo>
                  <a:lnTo>
                    <a:pt x="2392324" y="153593"/>
                  </a:lnTo>
                  <a:lnTo>
                    <a:pt x="2374506" y="82435"/>
                  </a:lnTo>
                  <a:lnTo>
                    <a:pt x="2364308" y="60591"/>
                  </a:lnTo>
                  <a:lnTo>
                    <a:pt x="2364308" y="193636"/>
                  </a:lnTo>
                  <a:lnTo>
                    <a:pt x="2358644" y="230936"/>
                  </a:lnTo>
                  <a:lnTo>
                    <a:pt x="2342019" y="258622"/>
                  </a:lnTo>
                  <a:lnTo>
                    <a:pt x="2314968" y="275844"/>
                  </a:lnTo>
                  <a:lnTo>
                    <a:pt x="2278049" y="281774"/>
                  </a:lnTo>
                  <a:lnTo>
                    <a:pt x="2253157" y="281774"/>
                  </a:lnTo>
                  <a:lnTo>
                    <a:pt x="2215489" y="275844"/>
                  </a:lnTo>
                  <a:lnTo>
                    <a:pt x="2188527" y="258622"/>
                  </a:lnTo>
                  <a:lnTo>
                    <a:pt x="2172322" y="230936"/>
                  </a:lnTo>
                  <a:lnTo>
                    <a:pt x="2166912" y="193636"/>
                  </a:lnTo>
                  <a:lnTo>
                    <a:pt x="2167775" y="175336"/>
                  </a:lnTo>
                  <a:lnTo>
                    <a:pt x="2169972" y="158343"/>
                  </a:lnTo>
                  <a:lnTo>
                    <a:pt x="2172881" y="143751"/>
                  </a:lnTo>
                  <a:lnTo>
                    <a:pt x="2175878" y="132626"/>
                  </a:lnTo>
                  <a:lnTo>
                    <a:pt x="2355329" y="132626"/>
                  </a:lnTo>
                  <a:lnTo>
                    <a:pt x="2358326" y="143751"/>
                  </a:lnTo>
                  <a:lnTo>
                    <a:pt x="2361234" y="158343"/>
                  </a:lnTo>
                  <a:lnTo>
                    <a:pt x="2363432" y="175336"/>
                  </a:lnTo>
                  <a:lnTo>
                    <a:pt x="2364308" y="193636"/>
                  </a:lnTo>
                  <a:lnTo>
                    <a:pt x="2364308" y="60591"/>
                  </a:lnTo>
                  <a:lnTo>
                    <a:pt x="2360028" y="51422"/>
                  </a:lnTo>
                  <a:lnTo>
                    <a:pt x="2171103" y="51422"/>
                  </a:lnTo>
                  <a:lnTo>
                    <a:pt x="2156625" y="82308"/>
                  </a:lnTo>
                  <a:lnTo>
                    <a:pt x="2145703" y="116154"/>
                  </a:lnTo>
                  <a:lnTo>
                    <a:pt x="2138794" y="153327"/>
                  </a:lnTo>
                  <a:lnTo>
                    <a:pt x="2136394" y="194221"/>
                  </a:lnTo>
                  <a:lnTo>
                    <a:pt x="2144585" y="242633"/>
                  </a:lnTo>
                  <a:lnTo>
                    <a:pt x="2167242" y="278269"/>
                  </a:lnTo>
                  <a:lnTo>
                    <a:pt x="2201456" y="301332"/>
                  </a:lnTo>
                  <a:lnTo>
                    <a:pt x="2244356" y="311988"/>
                  </a:lnTo>
                  <a:lnTo>
                    <a:pt x="2244356" y="459892"/>
                  </a:lnTo>
                  <a:lnTo>
                    <a:pt x="2145360" y="466407"/>
                  </a:lnTo>
                  <a:lnTo>
                    <a:pt x="2145360" y="489686"/>
                  </a:lnTo>
                  <a:lnTo>
                    <a:pt x="2265565" y="489686"/>
                  </a:lnTo>
                  <a:lnTo>
                    <a:pt x="2385758" y="489686"/>
                  </a:lnTo>
                  <a:lnTo>
                    <a:pt x="2385758" y="466407"/>
                  </a:lnTo>
                  <a:lnTo>
                    <a:pt x="2286774" y="459892"/>
                  </a:lnTo>
                  <a:lnTo>
                    <a:pt x="2286774" y="311988"/>
                  </a:lnTo>
                  <a:lnTo>
                    <a:pt x="2329662" y="301332"/>
                  </a:lnTo>
                  <a:lnTo>
                    <a:pt x="2358682" y="281774"/>
                  </a:lnTo>
                  <a:lnTo>
                    <a:pt x="2363889" y="278269"/>
                  </a:lnTo>
                  <a:lnTo>
                    <a:pt x="2386533" y="242633"/>
                  </a:lnTo>
                  <a:lnTo>
                    <a:pt x="2394724" y="194221"/>
                  </a:lnTo>
                  <a:close/>
                </a:path>
              </a:pathLst>
            </a:custGeom>
            <a:solidFill>
              <a:srgbClr val="FFFFFF"/>
            </a:solidFill>
          </p:spPr>
          <p:txBody>
            <a:bodyPr wrap="square" lIns="0" tIns="0" rIns="0" bIns="0" rtlCol="0"/>
            <a:lstStyle/>
            <a:p>
              <a:endParaRPr/>
            </a:p>
          </p:txBody>
        </p:sp>
        <p:sp>
          <p:nvSpPr>
            <p:cNvPr id="59" name="object 59"/>
            <p:cNvSpPr/>
            <p:nvPr/>
          </p:nvSpPr>
          <p:spPr>
            <a:xfrm>
              <a:off x="2222550" y="4784254"/>
              <a:ext cx="333375" cy="379730"/>
            </a:xfrm>
            <a:custGeom>
              <a:avLst/>
              <a:gdLst/>
              <a:ahLst/>
              <a:cxnLst/>
              <a:rect l="l" t="t" r="r" b="b"/>
              <a:pathLst>
                <a:path w="333375" h="379729">
                  <a:moveTo>
                    <a:pt x="4483" y="313664"/>
                  </a:moveTo>
                  <a:lnTo>
                    <a:pt x="4279" y="313880"/>
                  </a:lnTo>
                  <a:lnTo>
                    <a:pt x="3886" y="314337"/>
                  </a:lnTo>
                  <a:lnTo>
                    <a:pt x="4013" y="314579"/>
                  </a:lnTo>
                  <a:lnTo>
                    <a:pt x="4381" y="314566"/>
                  </a:lnTo>
                  <a:lnTo>
                    <a:pt x="4457" y="314147"/>
                  </a:lnTo>
                  <a:lnTo>
                    <a:pt x="4483" y="313664"/>
                  </a:lnTo>
                  <a:close/>
                </a:path>
                <a:path w="333375" h="379729">
                  <a:moveTo>
                    <a:pt x="9690" y="230314"/>
                  </a:moveTo>
                  <a:lnTo>
                    <a:pt x="9652" y="230124"/>
                  </a:lnTo>
                  <a:lnTo>
                    <a:pt x="9436" y="229933"/>
                  </a:lnTo>
                  <a:lnTo>
                    <a:pt x="9309" y="230022"/>
                  </a:lnTo>
                  <a:lnTo>
                    <a:pt x="9245" y="230200"/>
                  </a:lnTo>
                  <a:lnTo>
                    <a:pt x="9296" y="230327"/>
                  </a:lnTo>
                  <a:lnTo>
                    <a:pt x="9321" y="230492"/>
                  </a:lnTo>
                  <a:lnTo>
                    <a:pt x="9550" y="230746"/>
                  </a:lnTo>
                  <a:lnTo>
                    <a:pt x="9690" y="230670"/>
                  </a:lnTo>
                  <a:lnTo>
                    <a:pt x="9690" y="230454"/>
                  </a:lnTo>
                  <a:lnTo>
                    <a:pt x="9690" y="230314"/>
                  </a:lnTo>
                  <a:close/>
                </a:path>
                <a:path w="333375" h="379729">
                  <a:moveTo>
                    <a:pt x="23914" y="371017"/>
                  </a:moveTo>
                  <a:lnTo>
                    <a:pt x="23812" y="370624"/>
                  </a:lnTo>
                  <a:lnTo>
                    <a:pt x="23685" y="370700"/>
                  </a:lnTo>
                  <a:lnTo>
                    <a:pt x="23774" y="371094"/>
                  </a:lnTo>
                  <a:lnTo>
                    <a:pt x="23914" y="371017"/>
                  </a:lnTo>
                  <a:close/>
                </a:path>
                <a:path w="333375" h="379729">
                  <a:moveTo>
                    <a:pt x="38735" y="223291"/>
                  </a:moveTo>
                  <a:lnTo>
                    <a:pt x="38696" y="222961"/>
                  </a:lnTo>
                  <a:lnTo>
                    <a:pt x="38544" y="222885"/>
                  </a:lnTo>
                  <a:lnTo>
                    <a:pt x="38328" y="223062"/>
                  </a:lnTo>
                  <a:lnTo>
                    <a:pt x="38227" y="223266"/>
                  </a:lnTo>
                  <a:lnTo>
                    <a:pt x="38150" y="223685"/>
                  </a:lnTo>
                  <a:lnTo>
                    <a:pt x="38290" y="223951"/>
                  </a:lnTo>
                  <a:lnTo>
                    <a:pt x="38557" y="223774"/>
                  </a:lnTo>
                  <a:lnTo>
                    <a:pt x="38646" y="223469"/>
                  </a:lnTo>
                  <a:lnTo>
                    <a:pt x="38735" y="223291"/>
                  </a:lnTo>
                  <a:close/>
                </a:path>
                <a:path w="333375" h="379729">
                  <a:moveTo>
                    <a:pt x="41998" y="222084"/>
                  </a:moveTo>
                  <a:lnTo>
                    <a:pt x="41884" y="221488"/>
                  </a:lnTo>
                  <a:lnTo>
                    <a:pt x="41783" y="221297"/>
                  </a:lnTo>
                  <a:lnTo>
                    <a:pt x="41567" y="220941"/>
                  </a:lnTo>
                  <a:lnTo>
                    <a:pt x="41427" y="220980"/>
                  </a:lnTo>
                  <a:lnTo>
                    <a:pt x="41122" y="222237"/>
                  </a:lnTo>
                  <a:lnTo>
                    <a:pt x="40805" y="223139"/>
                  </a:lnTo>
                  <a:lnTo>
                    <a:pt x="40322" y="224180"/>
                  </a:lnTo>
                  <a:lnTo>
                    <a:pt x="40297" y="224370"/>
                  </a:lnTo>
                  <a:lnTo>
                    <a:pt x="40500" y="224434"/>
                  </a:lnTo>
                  <a:lnTo>
                    <a:pt x="40741" y="224459"/>
                  </a:lnTo>
                  <a:lnTo>
                    <a:pt x="41998" y="222084"/>
                  </a:lnTo>
                  <a:close/>
                </a:path>
                <a:path w="333375" h="379729">
                  <a:moveTo>
                    <a:pt x="44716" y="229870"/>
                  </a:moveTo>
                  <a:lnTo>
                    <a:pt x="43840" y="228600"/>
                  </a:lnTo>
                  <a:lnTo>
                    <a:pt x="42506" y="227330"/>
                  </a:lnTo>
                  <a:lnTo>
                    <a:pt x="41275" y="228600"/>
                  </a:lnTo>
                  <a:lnTo>
                    <a:pt x="40982" y="228600"/>
                  </a:lnTo>
                  <a:lnTo>
                    <a:pt x="40703" y="229870"/>
                  </a:lnTo>
                  <a:lnTo>
                    <a:pt x="40551" y="228600"/>
                  </a:lnTo>
                  <a:lnTo>
                    <a:pt x="40170" y="228600"/>
                  </a:lnTo>
                  <a:lnTo>
                    <a:pt x="40640" y="227330"/>
                  </a:lnTo>
                  <a:lnTo>
                    <a:pt x="40957" y="227330"/>
                  </a:lnTo>
                  <a:lnTo>
                    <a:pt x="40932" y="226060"/>
                  </a:lnTo>
                  <a:lnTo>
                    <a:pt x="41021" y="224790"/>
                  </a:lnTo>
                  <a:lnTo>
                    <a:pt x="39814" y="226060"/>
                  </a:lnTo>
                  <a:lnTo>
                    <a:pt x="39814" y="231140"/>
                  </a:lnTo>
                  <a:lnTo>
                    <a:pt x="39420" y="231140"/>
                  </a:lnTo>
                  <a:lnTo>
                    <a:pt x="39293" y="229870"/>
                  </a:lnTo>
                  <a:lnTo>
                    <a:pt x="39585"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80" y="220980"/>
                  </a:lnTo>
                  <a:lnTo>
                    <a:pt x="37325" y="219710"/>
                  </a:lnTo>
                  <a:lnTo>
                    <a:pt x="37592" y="219710"/>
                  </a:lnTo>
                  <a:lnTo>
                    <a:pt x="38163" y="220980"/>
                  </a:lnTo>
                  <a:lnTo>
                    <a:pt x="38849" y="220980"/>
                  </a:lnTo>
                  <a:lnTo>
                    <a:pt x="39776" y="222250"/>
                  </a:lnTo>
                  <a:lnTo>
                    <a:pt x="40271" y="222250"/>
                  </a:lnTo>
                  <a:lnTo>
                    <a:pt x="40944" y="220980"/>
                  </a:lnTo>
                  <a:lnTo>
                    <a:pt x="40220" y="220980"/>
                  </a:lnTo>
                  <a:lnTo>
                    <a:pt x="39700" y="219710"/>
                  </a:lnTo>
                  <a:lnTo>
                    <a:pt x="38176" y="219710"/>
                  </a:lnTo>
                  <a:lnTo>
                    <a:pt x="38265" y="218440"/>
                  </a:lnTo>
                  <a:lnTo>
                    <a:pt x="38633" y="217170"/>
                  </a:lnTo>
                  <a:lnTo>
                    <a:pt x="39001" y="215900"/>
                  </a:lnTo>
                  <a:lnTo>
                    <a:pt x="38735" y="214630"/>
                  </a:lnTo>
                  <a:lnTo>
                    <a:pt x="37223" y="214630"/>
                  </a:lnTo>
                  <a:lnTo>
                    <a:pt x="36715" y="213360"/>
                  </a:lnTo>
                  <a:lnTo>
                    <a:pt x="36309" y="212090"/>
                  </a:lnTo>
                  <a:lnTo>
                    <a:pt x="35458" y="213360"/>
                  </a:lnTo>
                  <a:lnTo>
                    <a:pt x="35242" y="213360"/>
                  </a:lnTo>
                  <a:lnTo>
                    <a:pt x="35407"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63" y="213360"/>
                  </a:lnTo>
                  <a:lnTo>
                    <a:pt x="33832" y="213360"/>
                  </a:lnTo>
                  <a:lnTo>
                    <a:pt x="33832" y="226060"/>
                  </a:lnTo>
                  <a:lnTo>
                    <a:pt x="33388" y="226060"/>
                  </a:lnTo>
                  <a:lnTo>
                    <a:pt x="33172" y="224790"/>
                  </a:lnTo>
                  <a:lnTo>
                    <a:pt x="31496" y="224790"/>
                  </a:lnTo>
                  <a:lnTo>
                    <a:pt x="31229" y="223520"/>
                  </a:lnTo>
                  <a:lnTo>
                    <a:pt x="32118" y="223520"/>
                  </a:lnTo>
                  <a:lnTo>
                    <a:pt x="32550" y="222250"/>
                  </a:lnTo>
                  <a:lnTo>
                    <a:pt x="32981" y="223520"/>
                  </a:lnTo>
                  <a:lnTo>
                    <a:pt x="33464" y="223520"/>
                  </a:lnTo>
                  <a:lnTo>
                    <a:pt x="33604" y="224790"/>
                  </a:lnTo>
                  <a:lnTo>
                    <a:pt x="33832" y="226060"/>
                  </a:lnTo>
                  <a:lnTo>
                    <a:pt x="33832" y="213360"/>
                  </a:lnTo>
                  <a:lnTo>
                    <a:pt x="32778" y="213360"/>
                  </a:lnTo>
                  <a:lnTo>
                    <a:pt x="32054" y="214630"/>
                  </a:lnTo>
                  <a:lnTo>
                    <a:pt x="30010" y="214630"/>
                  </a:lnTo>
                  <a:lnTo>
                    <a:pt x="29794" y="213360"/>
                  </a:lnTo>
                  <a:lnTo>
                    <a:pt x="29222" y="213360"/>
                  </a:lnTo>
                  <a:lnTo>
                    <a:pt x="28613" y="212090"/>
                  </a:lnTo>
                  <a:lnTo>
                    <a:pt x="27355" y="213360"/>
                  </a:lnTo>
                  <a:lnTo>
                    <a:pt x="27038" y="213360"/>
                  </a:lnTo>
                  <a:lnTo>
                    <a:pt x="27279" y="214630"/>
                  </a:lnTo>
                  <a:lnTo>
                    <a:pt x="27762" y="215900"/>
                  </a:lnTo>
                  <a:lnTo>
                    <a:pt x="27152" y="215900"/>
                  </a:lnTo>
                  <a:lnTo>
                    <a:pt x="27038" y="217170"/>
                  </a:lnTo>
                  <a:lnTo>
                    <a:pt x="26263" y="217170"/>
                  </a:lnTo>
                  <a:lnTo>
                    <a:pt x="26327" y="215900"/>
                  </a:lnTo>
                  <a:lnTo>
                    <a:pt x="26314" y="214630"/>
                  </a:lnTo>
                  <a:lnTo>
                    <a:pt x="25412" y="213360"/>
                  </a:lnTo>
                  <a:lnTo>
                    <a:pt x="24650" y="213360"/>
                  </a:lnTo>
                  <a:lnTo>
                    <a:pt x="24650" y="224790"/>
                  </a:lnTo>
                  <a:lnTo>
                    <a:pt x="24384" y="224790"/>
                  </a:lnTo>
                  <a:lnTo>
                    <a:pt x="24638" y="226060"/>
                  </a:lnTo>
                  <a:lnTo>
                    <a:pt x="23977" y="226060"/>
                  </a:lnTo>
                  <a:lnTo>
                    <a:pt x="24066" y="224790"/>
                  </a:lnTo>
                  <a:lnTo>
                    <a:pt x="22796" y="224790"/>
                  </a:lnTo>
                  <a:lnTo>
                    <a:pt x="22593" y="226060"/>
                  </a:lnTo>
                  <a:lnTo>
                    <a:pt x="21234" y="226060"/>
                  </a:lnTo>
                  <a:lnTo>
                    <a:pt x="20891" y="224790"/>
                  </a:lnTo>
                  <a:lnTo>
                    <a:pt x="20447" y="224790"/>
                  </a:lnTo>
                  <a:lnTo>
                    <a:pt x="20993" y="223520"/>
                  </a:lnTo>
                  <a:lnTo>
                    <a:pt x="22415" y="223520"/>
                  </a:lnTo>
                  <a:lnTo>
                    <a:pt x="23075" y="222250"/>
                  </a:lnTo>
                  <a:lnTo>
                    <a:pt x="23723" y="223520"/>
                  </a:lnTo>
                  <a:lnTo>
                    <a:pt x="24434" y="223520"/>
                  </a:lnTo>
                  <a:lnTo>
                    <a:pt x="24650" y="224790"/>
                  </a:lnTo>
                  <a:lnTo>
                    <a:pt x="24650" y="213360"/>
                  </a:lnTo>
                  <a:lnTo>
                    <a:pt x="23329" y="213360"/>
                  </a:lnTo>
                  <a:lnTo>
                    <a:pt x="21869" y="214630"/>
                  </a:lnTo>
                  <a:lnTo>
                    <a:pt x="20955" y="215900"/>
                  </a:lnTo>
                  <a:lnTo>
                    <a:pt x="19748" y="217170"/>
                  </a:lnTo>
                  <a:lnTo>
                    <a:pt x="19545" y="217170"/>
                  </a:lnTo>
                  <a:lnTo>
                    <a:pt x="17907" y="214630"/>
                  </a:lnTo>
                  <a:lnTo>
                    <a:pt x="16802" y="215900"/>
                  </a:lnTo>
                  <a:lnTo>
                    <a:pt x="16471" y="218440"/>
                  </a:lnTo>
                  <a:lnTo>
                    <a:pt x="16408"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50" y="232410"/>
                  </a:lnTo>
                  <a:lnTo>
                    <a:pt x="9144" y="233680"/>
                  </a:lnTo>
                  <a:lnTo>
                    <a:pt x="7480" y="234950"/>
                  </a:lnTo>
                  <a:lnTo>
                    <a:pt x="7696" y="236220"/>
                  </a:lnTo>
                  <a:lnTo>
                    <a:pt x="6769" y="237490"/>
                  </a:lnTo>
                  <a:lnTo>
                    <a:pt x="5207" y="237490"/>
                  </a:lnTo>
                  <a:lnTo>
                    <a:pt x="4686" y="238760"/>
                  </a:lnTo>
                  <a:lnTo>
                    <a:pt x="3937" y="241300"/>
                  </a:lnTo>
                  <a:lnTo>
                    <a:pt x="1701" y="243840"/>
                  </a:lnTo>
                  <a:lnTo>
                    <a:pt x="800" y="243840"/>
                  </a:lnTo>
                  <a:lnTo>
                    <a:pt x="1193" y="245110"/>
                  </a:lnTo>
                  <a:lnTo>
                    <a:pt x="4064" y="245110"/>
                  </a:lnTo>
                  <a:lnTo>
                    <a:pt x="44488" y="245110"/>
                  </a:lnTo>
                  <a:lnTo>
                    <a:pt x="44500" y="243840"/>
                  </a:lnTo>
                  <a:lnTo>
                    <a:pt x="43903" y="241300"/>
                  </a:lnTo>
                  <a:lnTo>
                    <a:pt x="43726" y="240030"/>
                  </a:lnTo>
                  <a:lnTo>
                    <a:pt x="42646" y="240030"/>
                  </a:lnTo>
                  <a:lnTo>
                    <a:pt x="43167" y="238760"/>
                  </a:lnTo>
                  <a:lnTo>
                    <a:pt x="43662" y="238760"/>
                  </a:lnTo>
                  <a:lnTo>
                    <a:pt x="44018" y="236220"/>
                  </a:lnTo>
                  <a:lnTo>
                    <a:pt x="44018" y="234950"/>
                  </a:lnTo>
                  <a:lnTo>
                    <a:pt x="44132" y="233680"/>
                  </a:lnTo>
                  <a:lnTo>
                    <a:pt x="44259" y="232410"/>
                  </a:lnTo>
                  <a:lnTo>
                    <a:pt x="43624" y="232410"/>
                  </a:lnTo>
                  <a:lnTo>
                    <a:pt x="41135" y="232410"/>
                  </a:lnTo>
                  <a:lnTo>
                    <a:pt x="41135" y="234950"/>
                  </a:lnTo>
                  <a:lnTo>
                    <a:pt x="40525" y="234950"/>
                  </a:lnTo>
                  <a:lnTo>
                    <a:pt x="40551" y="233680"/>
                  </a:lnTo>
                  <a:lnTo>
                    <a:pt x="41071" y="233680"/>
                  </a:lnTo>
                  <a:lnTo>
                    <a:pt x="41135" y="234950"/>
                  </a:lnTo>
                  <a:lnTo>
                    <a:pt x="41135" y="232410"/>
                  </a:lnTo>
                  <a:lnTo>
                    <a:pt x="40640" y="232410"/>
                  </a:lnTo>
                  <a:lnTo>
                    <a:pt x="40894" y="231140"/>
                  </a:lnTo>
                  <a:lnTo>
                    <a:pt x="41363" y="231140"/>
                  </a:lnTo>
                  <a:lnTo>
                    <a:pt x="42506" y="229870"/>
                  </a:lnTo>
                  <a:lnTo>
                    <a:pt x="43167" y="229870"/>
                  </a:lnTo>
                  <a:lnTo>
                    <a:pt x="43853" y="231140"/>
                  </a:lnTo>
                  <a:lnTo>
                    <a:pt x="43624" y="232410"/>
                  </a:lnTo>
                  <a:lnTo>
                    <a:pt x="44704" y="231140"/>
                  </a:lnTo>
                  <a:lnTo>
                    <a:pt x="44716" y="229870"/>
                  </a:lnTo>
                  <a:close/>
                </a:path>
                <a:path w="333375" h="379729">
                  <a:moveTo>
                    <a:pt x="50495" y="279133"/>
                  </a:moveTo>
                  <a:lnTo>
                    <a:pt x="50355" y="278930"/>
                  </a:lnTo>
                  <a:lnTo>
                    <a:pt x="50152" y="278828"/>
                  </a:lnTo>
                  <a:lnTo>
                    <a:pt x="50139" y="279184"/>
                  </a:lnTo>
                  <a:lnTo>
                    <a:pt x="50266" y="279222"/>
                  </a:lnTo>
                  <a:lnTo>
                    <a:pt x="50482" y="279247"/>
                  </a:lnTo>
                  <a:close/>
                </a:path>
                <a:path w="333375" h="379729">
                  <a:moveTo>
                    <a:pt x="52070" y="294398"/>
                  </a:moveTo>
                  <a:lnTo>
                    <a:pt x="51904" y="294500"/>
                  </a:lnTo>
                  <a:lnTo>
                    <a:pt x="51739" y="294614"/>
                  </a:lnTo>
                  <a:lnTo>
                    <a:pt x="51866" y="294551"/>
                  </a:lnTo>
                  <a:lnTo>
                    <a:pt x="52070" y="294398"/>
                  </a:lnTo>
                  <a:close/>
                </a:path>
                <a:path w="333375" h="379729">
                  <a:moveTo>
                    <a:pt x="52870" y="294017"/>
                  </a:moveTo>
                  <a:lnTo>
                    <a:pt x="52781" y="294195"/>
                  </a:lnTo>
                  <a:lnTo>
                    <a:pt x="52870" y="294017"/>
                  </a:lnTo>
                  <a:close/>
                </a:path>
                <a:path w="333375" h="379729">
                  <a:moveTo>
                    <a:pt x="52895" y="295757"/>
                  </a:moveTo>
                  <a:lnTo>
                    <a:pt x="52844" y="296506"/>
                  </a:lnTo>
                  <a:lnTo>
                    <a:pt x="52844" y="296760"/>
                  </a:lnTo>
                  <a:lnTo>
                    <a:pt x="52870" y="296468"/>
                  </a:lnTo>
                  <a:lnTo>
                    <a:pt x="52895" y="295948"/>
                  </a:lnTo>
                  <a:lnTo>
                    <a:pt x="52895" y="295757"/>
                  </a:lnTo>
                  <a:close/>
                </a:path>
                <a:path w="333375" h="379729">
                  <a:moveTo>
                    <a:pt x="53060" y="294640"/>
                  </a:moveTo>
                  <a:lnTo>
                    <a:pt x="53035" y="295363"/>
                  </a:lnTo>
                  <a:lnTo>
                    <a:pt x="53060" y="294640"/>
                  </a:lnTo>
                  <a:close/>
                </a:path>
                <a:path w="333375" h="379729">
                  <a:moveTo>
                    <a:pt x="53213" y="297459"/>
                  </a:moveTo>
                  <a:lnTo>
                    <a:pt x="53200" y="297180"/>
                  </a:lnTo>
                  <a:lnTo>
                    <a:pt x="53213" y="297459"/>
                  </a:lnTo>
                  <a:close/>
                </a:path>
                <a:path w="333375" h="379729">
                  <a:moveTo>
                    <a:pt x="53263" y="296799"/>
                  </a:moveTo>
                  <a:lnTo>
                    <a:pt x="53200" y="295998"/>
                  </a:lnTo>
                  <a:lnTo>
                    <a:pt x="53174" y="295694"/>
                  </a:lnTo>
                  <a:lnTo>
                    <a:pt x="53136" y="295198"/>
                  </a:lnTo>
                  <a:lnTo>
                    <a:pt x="53174" y="295922"/>
                  </a:lnTo>
                  <a:lnTo>
                    <a:pt x="53200" y="296367"/>
                  </a:lnTo>
                  <a:lnTo>
                    <a:pt x="53225" y="296633"/>
                  </a:lnTo>
                  <a:lnTo>
                    <a:pt x="53263" y="296799"/>
                  </a:lnTo>
                  <a:close/>
                </a:path>
                <a:path w="333375" h="379729">
                  <a:moveTo>
                    <a:pt x="53530" y="297700"/>
                  </a:moveTo>
                  <a:lnTo>
                    <a:pt x="53517" y="297180"/>
                  </a:lnTo>
                  <a:lnTo>
                    <a:pt x="53530" y="297700"/>
                  </a:lnTo>
                  <a:close/>
                </a:path>
                <a:path w="333375" h="379729">
                  <a:moveTo>
                    <a:pt x="53632" y="295490"/>
                  </a:moveTo>
                  <a:lnTo>
                    <a:pt x="53581" y="295338"/>
                  </a:lnTo>
                  <a:lnTo>
                    <a:pt x="53467" y="295046"/>
                  </a:lnTo>
                  <a:lnTo>
                    <a:pt x="53555" y="295313"/>
                  </a:lnTo>
                  <a:lnTo>
                    <a:pt x="53606" y="295478"/>
                  </a:lnTo>
                  <a:close/>
                </a:path>
                <a:path w="333375" h="379729">
                  <a:moveTo>
                    <a:pt x="53682" y="372084"/>
                  </a:moveTo>
                  <a:close/>
                </a:path>
                <a:path w="333375" h="379729">
                  <a:moveTo>
                    <a:pt x="54051" y="294703"/>
                  </a:moveTo>
                  <a:close/>
                </a:path>
                <a:path w="333375" h="379729">
                  <a:moveTo>
                    <a:pt x="54838" y="294868"/>
                  </a:moveTo>
                  <a:lnTo>
                    <a:pt x="54775" y="294640"/>
                  </a:lnTo>
                  <a:lnTo>
                    <a:pt x="54838" y="294868"/>
                  </a:lnTo>
                  <a:close/>
                </a:path>
                <a:path w="333375" h="379729">
                  <a:moveTo>
                    <a:pt x="54965" y="294170"/>
                  </a:moveTo>
                  <a:lnTo>
                    <a:pt x="54825" y="294030"/>
                  </a:lnTo>
                  <a:lnTo>
                    <a:pt x="54914" y="294208"/>
                  </a:lnTo>
                  <a:close/>
                </a:path>
                <a:path w="333375" h="379729">
                  <a:moveTo>
                    <a:pt x="55295" y="295440"/>
                  </a:moveTo>
                  <a:close/>
                </a:path>
                <a:path w="333375" h="379729">
                  <a:moveTo>
                    <a:pt x="55880" y="292874"/>
                  </a:moveTo>
                  <a:lnTo>
                    <a:pt x="55346" y="292100"/>
                  </a:lnTo>
                  <a:lnTo>
                    <a:pt x="55880" y="292874"/>
                  </a:lnTo>
                  <a:close/>
                </a:path>
                <a:path w="333375" h="379729">
                  <a:moveTo>
                    <a:pt x="56261" y="293370"/>
                  </a:moveTo>
                  <a:lnTo>
                    <a:pt x="55880" y="292874"/>
                  </a:lnTo>
                  <a:lnTo>
                    <a:pt x="56222" y="293370"/>
                  </a:lnTo>
                  <a:close/>
                </a:path>
                <a:path w="333375" h="379729">
                  <a:moveTo>
                    <a:pt x="61607" y="280873"/>
                  </a:moveTo>
                  <a:lnTo>
                    <a:pt x="61252" y="280847"/>
                  </a:lnTo>
                  <a:lnTo>
                    <a:pt x="61226" y="280987"/>
                  </a:lnTo>
                  <a:lnTo>
                    <a:pt x="61163" y="281139"/>
                  </a:lnTo>
                  <a:lnTo>
                    <a:pt x="61239" y="281432"/>
                  </a:lnTo>
                  <a:lnTo>
                    <a:pt x="61391" y="281432"/>
                  </a:lnTo>
                  <a:lnTo>
                    <a:pt x="61493" y="281266"/>
                  </a:lnTo>
                  <a:lnTo>
                    <a:pt x="61569" y="281012"/>
                  </a:lnTo>
                  <a:lnTo>
                    <a:pt x="61607" y="280873"/>
                  </a:lnTo>
                  <a:close/>
                </a:path>
                <a:path w="333375" h="379729">
                  <a:moveTo>
                    <a:pt x="70370" y="266623"/>
                  </a:moveTo>
                  <a:lnTo>
                    <a:pt x="70281" y="266458"/>
                  </a:lnTo>
                  <a:lnTo>
                    <a:pt x="70142" y="266344"/>
                  </a:lnTo>
                  <a:lnTo>
                    <a:pt x="69964" y="266319"/>
                  </a:lnTo>
                  <a:lnTo>
                    <a:pt x="69850" y="266471"/>
                  </a:lnTo>
                  <a:lnTo>
                    <a:pt x="69799" y="266687"/>
                  </a:lnTo>
                  <a:lnTo>
                    <a:pt x="70002" y="266979"/>
                  </a:lnTo>
                  <a:lnTo>
                    <a:pt x="70205" y="266890"/>
                  </a:lnTo>
                  <a:lnTo>
                    <a:pt x="70332" y="266687"/>
                  </a:lnTo>
                  <a:close/>
                </a:path>
                <a:path w="333375" h="379729">
                  <a:moveTo>
                    <a:pt x="75057" y="260692"/>
                  </a:moveTo>
                  <a:lnTo>
                    <a:pt x="74942" y="260527"/>
                  </a:lnTo>
                  <a:lnTo>
                    <a:pt x="74752" y="260553"/>
                  </a:lnTo>
                  <a:lnTo>
                    <a:pt x="74625" y="260527"/>
                  </a:lnTo>
                  <a:lnTo>
                    <a:pt x="74599" y="260667"/>
                  </a:lnTo>
                  <a:lnTo>
                    <a:pt x="74536" y="260845"/>
                  </a:lnTo>
                  <a:lnTo>
                    <a:pt x="74625" y="261010"/>
                  </a:lnTo>
                  <a:lnTo>
                    <a:pt x="74828" y="260985"/>
                  </a:lnTo>
                  <a:lnTo>
                    <a:pt x="74955" y="261010"/>
                  </a:lnTo>
                  <a:lnTo>
                    <a:pt x="74968" y="260870"/>
                  </a:lnTo>
                  <a:lnTo>
                    <a:pt x="75057" y="260692"/>
                  </a:lnTo>
                  <a:close/>
                </a:path>
                <a:path w="333375" h="379729">
                  <a:moveTo>
                    <a:pt x="87096" y="240080"/>
                  </a:moveTo>
                  <a:lnTo>
                    <a:pt x="87007" y="239941"/>
                  </a:lnTo>
                  <a:lnTo>
                    <a:pt x="86702" y="239979"/>
                  </a:lnTo>
                  <a:lnTo>
                    <a:pt x="86461" y="240169"/>
                  </a:lnTo>
                  <a:lnTo>
                    <a:pt x="86601" y="240436"/>
                  </a:lnTo>
                  <a:lnTo>
                    <a:pt x="86868" y="240550"/>
                  </a:lnTo>
                  <a:lnTo>
                    <a:pt x="87020" y="240449"/>
                  </a:lnTo>
                  <a:lnTo>
                    <a:pt x="87096" y="240080"/>
                  </a:lnTo>
                  <a:close/>
                </a:path>
                <a:path w="333375" h="379729">
                  <a:moveTo>
                    <a:pt x="93243" y="229997"/>
                  </a:moveTo>
                  <a:lnTo>
                    <a:pt x="92976" y="229870"/>
                  </a:lnTo>
                  <a:lnTo>
                    <a:pt x="93218" y="230124"/>
                  </a:lnTo>
                  <a:lnTo>
                    <a:pt x="93243" y="229997"/>
                  </a:lnTo>
                  <a:close/>
                </a:path>
                <a:path w="333375" h="379729">
                  <a:moveTo>
                    <a:pt x="102323" y="215861"/>
                  </a:moveTo>
                  <a:lnTo>
                    <a:pt x="102184" y="215633"/>
                  </a:lnTo>
                  <a:lnTo>
                    <a:pt x="101930" y="215468"/>
                  </a:lnTo>
                  <a:lnTo>
                    <a:pt x="101803" y="215734"/>
                  </a:lnTo>
                  <a:lnTo>
                    <a:pt x="101917" y="216001"/>
                  </a:lnTo>
                  <a:lnTo>
                    <a:pt x="102082" y="216052"/>
                  </a:lnTo>
                  <a:lnTo>
                    <a:pt x="102209" y="215925"/>
                  </a:lnTo>
                  <a:close/>
                </a:path>
                <a:path w="333375" h="379729">
                  <a:moveTo>
                    <a:pt x="137248" y="255346"/>
                  </a:moveTo>
                  <a:lnTo>
                    <a:pt x="137198" y="254990"/>
                  </a:lnTo>
                  <a:lnTo>
                    <a:pt x="136969" y="254850"/>
                  </a:lnTo>
                  <a:lnTo>
                    <a:pt x="136779" y="254927"/>
                  </a:lnTo>
                  <a:lnTo>
                    <a:pt x="136652" y="255117"/>
                  </a:lnTo>
                  <a:lnTo>
                    <a:pt x="136550" y="255270"/>
                  </a:lnTo>
                  <a:lnTo>
                    <a:pt x="136652" y="255397"/>
                  </a:lnTo>
                  <a:lnTo>
                    <a:pt x="136969" y="255409"/>
                  </a:lnTo>
                  <a:lnTo>
                    <a:pt x="137109" y="255371"/>
                  </a:lnTo>
                  <a:lnTo>
                    <a:pt x="137248" y="255346"/>
                  </a:lnTo>
                  <a:close/>
                </a:path>
                <a:path w="333375" h="379729">
                  <a:moveTo>
                    <a:pt x="139903" y="250431"/>
                  </a:moveTo>
                  <a:lnTo>
                    <a:pt x="139750" y="250342"/>
                  </a:lnTo>
                  <a:lnTo>
                    <a:pt x="139585" y="250444"/>
                  </a:lnTo>
                  <a:lnTo>
                    <a:pt x="139471" y="250634"/>
                  </a:lnTo>
                  <a:lnTo>
                    <a:pt x="139369" y="250786"/>
                  </a:lnTo>
                  <a:lnTo>
                    <a:pt x="139661" y="250850"/>
                  </a:lnTo>
                  <a:lnTo>
                    <a:pt x="139890" y="250748"/>
                  </a:lnTo>
                  <a:lnTo>
                    <a:pt x="139903" y="250431"/>
                  </a:lnTo>
                  <a:close/>
                </a:path>
                <a:path w="333375" h="379729">
                  <a:moveTo>
                    <a:pt x="181317" y="109689"/>
                  </a:moveTo>
                  <a:lnTo>
                    <a:pt x="181254" y="109524"/>
                  </a:lnTo>
                  <a:lnTo>
                    <a:pt x="181076" y="109499"/>
                  </a:lnTo>
                  <a:lnTo>
                    <a:pt x="180936" y="109588"/>
                  </a:lnTo>
                  <a:lnTo>
                    <a:pt x="180898" y="109728"/>
                  </a:lnTo>
                  <a:lnTo>
                    <a:pt x="180898" y="110058"/>
                  </a:lnTo>
                  <a:lnTo>
                    <a:pt x="181165" y="109956"/>
                  </a:lnTo>
                  <a:lnTo>
                    <a:pt x="181317" y="109689"/>
                  </a:lnTo>
                  <a:close/>
                </a:path>
                <a:path w="333375" h="379729">
                  <a:moveTo>
                    <a:pt x="223012" y="128549"/>
                  </a:moveTo>
                  <a:close/>
                </a:path>
                <a:path w="333375" h="379729">
                  <a:moveTo>
                    <a:pt x="223659" y="128219"/>
                  </a:moveTo>
                  <a:lnTo>
                    <a:pt x="223469" y="128422"/>
                  </a:lnTo>
                  <a:lnTo>
                    <a:pt x="223227" y="128460"/>
                  </a:lnTo>
                  <a:lnTo>
                    <a:pt x="223012" y="128549"/>
                  </a:lnTo>
                  <a:lnTo>
                    <a:pt x="223342" y="129184"/>
                  </a:lnTo>
                  <a:lnTo>
                    <a:pt x="223481" y="128600"/>
                  </a:lnTo>
                  <a:lnTo>
                    <a:pt x="223659" y="128219"/>
                  </a:lnTo>
                  <a:close/>
                </a:path>
                <a:path w="333375" h="379729">
                  <a:moveTo>
                    <a:pt x="223812" y="128003"/>
                  </a:moveTo>
                  <a:lnTo>
                    <a:pt x="223697" y="128130"/>
                  </a:lnTo>
                  <a:lnTo>
                    <a:pt x="223812" y="128003"/>
                  </a:lnTo>
                  <a:close/>
                </a:path>
                <a:path w="333375" h="379729">
                  <a:moveTo>
                    <a:pt x="317665" y="1676"/>
                  </a:moveTo>
                  <a:lnTo>
                    <a:pt x="317588" y="1460"/>
                  </a:lnTo>
                  <a:lnTo>
                    <a:pt x="317449" y="1371"/>
                  </a:lnTo>
                  <a:lnTo>
                    <a:pt x="317284" y="1549"/>
                  </a:lnTo>
                  <a:lnTo>
                    <a:pt x="317360" y="1765"/>
                  </a:lnTo>
                  <a:lnTo>
                    <a:pt x="317500" y="1854"/>
                  </a:lnTo>
                  <a:lnTo>
                    <a:pt x="317665" y="1676"/>
                  </a:lnTo>
                  <a:close/>
                </a:path>
                <a:path w="333375" h="379729">
                  <a:moveTo>
                    <a:pt x="328155" y="3263"/>
                  </a:moveTo>
                  <a:lnTo>
                    <a:pt x="328104" y="3124"/>
                  </a:lnTo>
                  <a:lnTo>
                    <a:pt x="327901" y="3009"/>
                  </a:lnTo>
                  <a:lnTo>
                    <a:pt x="327799" y="3213"/>
                  </a:lnTo>
                  <a:lnTo>
                    <a:pt x="327863" y="3365"/>
                  </a:lnTo>
                  <a:lnTo>
                    <a:pt x="328053" y="3467"/>
                  </a:lnTo>
                  <a:lnTo>
                    <a:pt x="328155" y="3263"/>
                  </a:lnTo>
                  <a:close/>
                </a:path>
                <a:path w="333375" h="379729">
                  <a:moveTo>
                    <a:pt x="333375" y="9931"/>
                  </a:moveTo>
                  <a:lnTo>
                    <a:pt x="333336" y="9334"/>
                  </a:lnTo>
                  <a:lnTo>
                    <a:pt x="333133" y="9182"/>
                  </a:lnTo>
                  <a:lnTo>
                    <a:pt x="332828" y="9245"/>
                  </a:lnTo>
                  <a:lnTo>
                    <a:pt x="332308" y="9334"/>
                  </a:lnTo>
                  <a:lnTo>
                    <a:pt x="331724" y="9588"/>
                  </a:lnTo>
                  <a:lnTo>
                    <a:pt x="331812" y="10464"/>
                  </a:lnTo>
                  <a:lnTo>
                    <a:pt x="331558" y="10629"/>
                  </a:lnTo>
                  <a:lnTo>
                    <a:pt x="330161" y="10896"/>
                  </a:lnTo>
                  <a:lnTo>
                    <a:pt x="329793" y="11163"/>
                  </a:lnTo>
                  <a:lnTo>
                    <a:pt x="329704" y="11430"/>
                  </a:lnTo>
                  <a:lnTo>
                    <a:pt x="328396" y="11430"/>
                  </a:lnTo>
                  <a:lnTo>
                    <a:pt x="328955" y="10160"/>
                  </a:lnTo>
                  <a:lnTo>
                    <a:pt x="326402" y="10160"/>
                  </a:lnTo>
                  <a:lnTo>
                    <a:pt x="327418" y="8890"/>
                  </a:lnTo>
                  <a:lnTo>
                    <a:pt x="328993" y="7708"/>
                  </a:lnTo>
                  <a:lnTo>
                    <a:pt x="329247" y="8039"/>
                  </a:lnTo>
                  <a:lnTo>
                    <a:pt x="329349" y="8318"/>
                  </a:lnTo>
                  <a:lnTo>
                    <a:pt x="330060" y="7835"/>
                  </a:lnTo>
                  <a:lnTo>
                    <a:pt x="329971" y="7632"/>
                  </a:lnTo>
                  <a:lnTo>
                    <a:pt x="329704" y="7340"/>
                  </a:lnTo>
                  <a:lnTo>
                    <a:pt x="329501" y="7251"/>
                  </a:lnTo>
                  <a:lnTo>
                    <a:pt x="329171" y="7340"/>
                  </a:lnTo>
                  <a:lnTo>
                    <a:pt x="328968" y="7493"/>
                  </a:lnTo>
                  <a:lnTo>
                    <a:pt x="327774" y="6350"/>
                  </a:lnTo>
                  <a:lnTo>
                    <a:pt x="328993" y="6350"/>
                  </a:lnTo>
                  <a:lnTo>
                    <a:pt x="328536" y="5080"/>
                  </a:lnTo>
                  <a:lnTo>
                    <a:pt x="329044" y="3810"/>
                  </a:lnTo>
                  <a:lnTo>
                    <a:pt x="330758" y="3810"/>
                  </a:lnTo>
                  <a:lnTo>
                    <a:pt x="330454" y="2540"/>
                  </a:lnTo>
                  <a:lnTo>
                    <a:pt x="328726" y="3810"/>
                  </a:lnTo>
                  <a:lnTo>
                    <a:pt x="325678" y="3810"/>
                  </a:lnTo>
                  <a:lnTo>
                    <a:pt x="325005" y="2540"/>
                  </a:lnTo>
                  <a:lnTo>
                    <a:pt x="324726" y="2540"/>
                  </a:lnTo>
                  <a:lnTo>
                    <a:pt x="324726" y="15240"/>
                  </a:lnTo>
                  <a:lnTo>
                    <a:pt x="322986" y="15240"/>
                  </a:lnTo>
                  <a:lnTo>
                    <a:pt x="322897" y="16510"/>
                  </a:lnTo>
                  <a:lnTo>
                    <a:pt x="322491" y="16510"/>
                  </a:lnTo>
                  <a:lnTo>
                    <a:pt x="322643" y="15240"/>
                  </a:lnTo>
                  <a:lnTo>
                    <a:pt x="323329" y="13970"/>
                  </a:lnTo>
                  <a:lnTo>
                    <a:pt x="324205" y="13970"/>
                  </a:lnTo>
                  <a:lnTo>
                    <a:pt x="324726" y="15240"/>
                  </a:lnTo>
                  <a:lnTo>
                    <a:pt x="324726" y="2540"/>
                  </a:lnTo>
                  <a:lnTo>
                    <a:pt x="323303" y="2540"/>
                  </a:lnTo>
                  <a:lnTo>
                    <a:pt x="323303" y="5080"/>
                  </a:lnTo>
                  <a:lnTo>
                    <a:pt x="322872" y="5080"/>
                  </a:lnTo>
                  <a:lnTo>
                    <a:pt x="323011" y="3810"/>
                  </a:lnTo>
                  <a:lnTo>
                    <a:pt x="323253"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78" y="3810"/>
                  </a:lnTo>
                  <a:lnTo>
                    <a:pt x="296887" y="3810"/>
                  </a:lnTo>
                  <a:lnTo>
                    <a:pt x="294233" y="5080"/>
                  </a:lnTo>
                  <a:lnTo>
                    <a:pt x="292887" y="6350"/>
                  </a:lnTo>
                  <a:lnTo>
                    <a:pt x="291528"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75" y="29210"/>
                  </a:lnTo>
                  <a:lnTo>
                    <a:pt x="258876" y="31750"/>
                  </a:lnTo>
                  <a:lnTo>
                    <a:pt x="256552" y="31750"/>
                  </a:lnTo>
                  <a:lnTo>
                    <a:pt x="256120" y="34290"/>
                  </a:lnTo>
                  <a:lnTo>
                    <a:pt x="254292" y="35560"/>
                  </a:lnTo>
                  <a:lnTo>
                    <a:pt x="250215" y="39370"/>
                  </a:lnTo>
                  <a:lnTo>
                    <a:pt x="248462" y="39370"/>
                  </a:lnTo>
                  <a:lnTo>
                    <a:pt x="246354" y="43180"/>
                  </a:lnTo>
                  <a:lnTo>
                    <a:pt x="244881" y="44450"/>
                  </a:lnTo>
                  <a:lnTo>
                    <a:pt x="242341" y="45720"/>
                  </a:lnTo>
                  <a:lnTo>
                    <a:pt x="241503" y="45720"/>
                  </a:lnTo>
                  <a:lnTo>
                    <a:pt x="241922" y="48260"/>
                  </a:lnTo>
                  <a:lnTo>
                    <a:pt x="238975" y="48260"/>
                  </a:lnTo>
                  <a:lnTo>
                    <a:pt x="237312" y="52070"/>
                  </a:lnTo>
                  <a:lnTo>
                    <a:pt x="234772" y="53340"/>
                  </a:lnTo>
                  <a:lnTo>
                    <a:pt x="232397" y="55880"/>
                  </a:lnTo>
                  <a:lnTo>
                    <a:pt x="231381" y="57150"/>
                  </a:lnTo>
                  <a:lnTo>
                    <a:pt x="227761" y="58420"/>
                  </a:lnTo>
                  <a:lnTo>
                    <a:pt x="227533" y="60960"/>
                  </a:lnTo>
                  <a:lnTo>
                    <a:pt x="225412" y="62230"/>
                  </a:lnTo>
                  <a:lnTo>
                    <a:pt x="225425" y="63500"/>
                  </a:lnTo>
                  <a:lnTo>
                    <a:pt x="223367" y="63500"/>
                  </a:lnTo>
                  <a:lnTo>
                    <a:pt x="222910" y="64770"/>
                  </a:lnTo>
                  <a:lnTo>
                    <a:pt x="222681" y="66040"/>
                  </a:lnTo>
                  <a:lnTo>
                    <a:pt x="221957" y="67310"/>
                  </a:lnTo>
                  <a:lnTo>
                    <a:pt x="219989" y="68580"/>
                  </a:lnTo>
                  <a:lnTo>
                    <a:pt x="218490" y="68580"/>
                  </a:lnTo>
                  <a:lnTo>
                    <a:pt x="216928" y="71120"/>
                  </a:lnTo>
                  <a:lnTo>
                    <a:pt x="215734" y="72390"/>
                  </a:lnTo>
                  <a:lnTo>
                    <a:pt x="214960" y="74930"/>
                  </a:lnTo>
                  <a:lnTo>
                    <a:pt x="214058" y="74930"/>
                  </a:lnTo>
                  <a:lnTo>
                    <a:pt x="212229" y="76200"/>
                  </a:lnTo>
                  <a:lnTo>
                    <a:pt x="210172" y="78740"/>
                  </a:lnTo>
                  <a:lnTo>
                    <a:pt x="208470" y="80010"/>
                  </a:lnTo>
                  <a:lnTo>
                    <a:pt x="207327" y="81280"/>
                  </a:lnTo>
                  <a:lnTo>
                    <a:pt x="205409" y="83820"/>
                  </a:lnTo>
                  <a:lnTo>
                    <a:pt x="204876" y="85090"/>
                  </a:lnTo>
                  <a:lnTo>
                    <a:pt x="203962" y="86360"/>
                  </a:lnTo>
                  <a:lnTo>
                    <a:pt x="201498" y="87630"/>
                  </a:lnTo>
                  <a:lnTo>
                    <a:pt x="200304" y="88900"/>
                  </a:lnTo>
                  <a:lnTo>
                    <a:pt x="199796" y="90170"/>
                  </a:lnTo>
                  <a:lnTo>
                    <a:pt x="197345" y="90170"/>
                  </a:lnTo>
                  <a:lnTo>
                    <a:pt x="197993" y="91440"/>
                  </a:lnTo>
                  <a:lnTo>
                    <a:pt x="197904" y="93980"/>
                  </a:lnTo>
                  <a:lnTo>
                    <a:pt x="195478"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84"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16" y="149860"/>
                  </a:lnTo>
                  <a:lnTo>
                    <a:pt x="158394" y="148590"/>
                  </a:lnTo>
                  <a:lnTo>
                    <a:pt x="159270" y="148590"/>
                  </a:lnTo>
                  <a:lnTo>
                    <a:pt x="159270" y="137160"/>
                  </a:lnTo>
                  <a:lnTo>
                    <a:pt x="158851" y="137160"/>
                  </a:lnTo>
                  <a:lnTo>
                    <a:pt x="159092" y="140970"/>
                  </a:lnTo>
                  <a:lnTo>
                    <a:pt x="156210" y="140970"/>
                  </a:lnTo>
                  <a:lnTo>
                    <a:pt x="156032" y="144780"/>
                  </a:lnTo>
                  <a:lnTo>
                    <a:pt x="154787" y="146050"/>
                  </a:lnTo>
                  <a:lnTo>
                    <a:pt x="152057"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42"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56"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66" y="170180"/>
                  </a:lnTo>
                  <a:lnTo>
                    <a:pt x="134264" y="171450"/>
                  </a:lnTo>
                  <a:lnTo>
                    <a:pt x="133248" y="171450"/>
                  </a:lnTo>
                  <a:lnTo>
                    <a:pt x="134239" y="173990"/>
                  </a:lnTo>
                  <a:lnTo>
                    <a:pt x="133273" y="175260"/>
                  </a:lnTo>
                  <a:lnTo>
                    <a:pt x="130822" y="176530"/>
                  </a:lnTo>
                  <a:lnTo>
                    <a:pt x="129857" y="179070"/>
                  </a:lnTo>
                  <a:lnTo>
                    <a:pt x="127177" y="180340"/>
                  </a:lnTo>
                  <a:lnTo>
                    <a:pt x="126936" y="180340"/>
                  </a:lnTo>
                  <a:lnTo>
                    <a:pt x="126860" y="182880"/>
                  </a:lnTo>
                  <a:lnTo>
                    <a:pt x="125831" y="185420"/>
                  </a:lnTo>
                  <a:lnTo>
                    <a:pt x="126009" y="187960"/>
                  </a:lnTo>
                  <a:lnTo>
                    <a:pt x="124574" y="187960"/>
                  </a:lnTo>
                  <a:lnTo>
                    <a:pt x="124002" y="189230"/>
                  </a:lnTo>
                  <a:lnTo>
                    <a:pt x="123228" y="187960"/>
                  </a:lnTo>
                  <a:lnTo>
                    <a:pt x="123037" y="189865"/>
                  </a:lnTo>
                  <a:lnTo>
                    <a:pt x="123037" y="269240"/>
                  </a:lnTo>
                  <a:lnTo>
                    <a:pt x="122656" y="269240"/>
                  </a:lnTo>
                  <a:lnTo>
                    <a:pt x="122872" y="267970"/>
                  </a:lnTo>
                  <a:lnTo>
                    <a:pt x="123037" y="269240"/>
                  </a:lnTo>
                  <a:lnTo>
                    <a:pt x="123037" y="189865"/>
                  </a:lnTo>
                  <a:lnTo>
                    <a:pt x="122974" y="190500"/>
                  </a:lnTo>
                  <a:lnTo>
                    <a:pt x="121780" y="190500"/>
                  </a:lnTo>
                  <a:lnTo>
                    <a:pt x="120357" y="191770"/>
                  </a:lnTo>
                  <a:lnTo>
                    <a:pt x="119684" y="191770"/>
                  </a:lnTo>
                  <a:lnTo>
                    <a:pt x="118198" y="193040"/>
                  </a:lnTo>
                  <a:lnTo>
                    <a:pt x="119761" y="193040"/>
                  </a:lnTo>
                  <a:lnTo>
                    <a:pt x="119176" y="194310"/>
                  </a:lnTo>
                  <a:lnTo>
                    <a:pt x="118033" y="195580"/>
                  </a:lnTo>
                  <a:lnTo>
                    <a:pt x="117906" y="198120"/>
                  </a:lnTo>
                  <a:lnTo>
                    <a:pt x="115493" y="198120"/>
                  </a:lnTo>
                  <a:lnTo>
                    <a:pt x="116395" y="200660"/>
                  </a:lnTo>
                  <a:lnTo>
                    <a:pt x="115404" y="200660"/>
                  </a:lnTo>
                  <a:lnTo>
                    <a:pt x="113461" y="201930"/>
                  </a:lnTo>
                  <a:lnTo>
                    <a:pt x="113017" y="203200"/>
                  </a:lnTo>
                  <a:lnTo>
                    <a:pt x="111658" y="204470"/>
                  </a:lnTo>
                  <a:lnTo>
                    <a:pt x="110871" y="205740"/>
                  </a:lnTo>
                  <a:lnTo>
                    <a:pt x="110629" y="207010"/>
                  </a:lnTo>
                  <a:lnTo>
                    <a:pt x="108140" y="207010"/>
                  </a:lnTo>
                  <a:lnTo>
                    <a:pt x="108800" y="208280"/>
                  </a:lnTo>
                  <a:lnTo>
                    <a:pt x="107721" y="210820"/>
                  </a:lnTo>
                  <a:lnTo>
                    <a:pt x="107391" y="212090"/>
                  </a:lnTo>
                  <a:lnTo>
                    <a:pt x="105460" y="212090"/>
                  </a:lnTo>
                  <a:lnTo>
                    <a:pt x="105956" y="214630"/>
                  </a:lnTo>
                  <a:lnTo>
                    <a:pt x="104559" y="215900"/>
                  </a:lnTo>
                  <a:lnTo>
                    <a:pt x="104787" y="217170"/>
                  </a:lnTo>
                  <a:lnTo>
                    <a:pt x="100672" y="217170"/>
                  </a:lnTo>
                  <a:lnTo>
                    <a:pt x="100291" y="218440"/>
                  </a:lnTo>
                  <a:lnTo>
                    <a:pt x="101041" y="222250"/>
                  </a:lnTo>
                  <a:lnTo>
                    <a:pt x="99339" y="222250"/>
                  </a:lnTo>
                  <a:lnTo>
                    <a:pt x="99415" y="226060"/>
                  </a:lnTo>
                  <a:lnTo>
                    <a:pt x="94805" y="226060"/>
                  </a:lnTo>
                  <a:lnTo>
                    <a:pt x="96177" y="228600"/>
                  </a:lnTo>
                  <a:lnTo>
                    <a:pt x="96139" y="229870"/>
                  </a:lnTo>
                  <a:lnTo>
                    <a:pt x="95402" y="229870"/>
                  </a:lnTo>
                  <a:lnTo>
                    <a:pt x="95694" y="231140"/>
                  </a:lnTo>
                  <a:lnTo>
                    <a:pt x="93281" y="230022"/>
                  </a:lnTo>
                  <a:lnTo>
                    <a:pt x="93294" y="230212"/>
                  </a:lnTo>
                  <a:lnTo>
                    <a:pt x="94170" y="231140"/>
                  </a:lnTo>
                  <a:lnTo>
                    <a:pt x="93535" y="233680"/>
                  </a:lnTo>
                  <a:lnTo>
                    <a:pt x="93294" y="230212"/>
                  </a:lnTo>
                  <a:lnTo>
                    <a:pt x="92697" y="232410"/>
                  </a:lnTo>
                  <a:lnTo>
                    <a:pt x="92824" y="232410"/>
                  </a:lnTo>
                  <a:lnTo>
                    <a:pt x="93472"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92" y="248920"/>
                  </a:lnTo>
                  <a:lnTo>
                    <a:pt x="82804" y="251460"/>
                  </a:lnTo>
                  <a:lnTo>
                    <a:pt x="81267" y="251460"/>
                  </a:lnTo>
                  <a:lnTo>
                    <a:pt x="81241" y="251193"/>
                  </a:lnTo>
                  <a:lnTo>
                    <a:pt x="80848" y="251028"/>
                  </a:lnTo>
                  <a:lnTo>
                    <a:pt x="80835" y="251155"/>
                  </a:lnTo>
                  <a:lnTo>
                    <a:pt x="80797" y="251320"/>
                  </a:lnTo>
                  <a:lnTo>
                    <a:pt x="80962" y="251650"/>
                  </a:lnTo>
                  <a:lnTo>
                    <a:pt x="81153" y="251637"/>
                  </a:lnTo>
                  <a:lnTo>
                    <a:pt x="80645" y="254000"/>
                  </a:lnTo>
                  <a:lnTo>
                    <a:pt x="79502" y="252730"/>
                  </a:lnTo>
                  <a:lnTo>
                    <a:pt x="79489" y="254000"/>
                  </a:lnTo>
                  <a:lnTo>
                    <a:pt x="77330" y="255270"/>
                  </a:lnTo>
                  <a:lnTo>
                    <a:pt x="79019" y="256540"/>
                  </a:lnTo>
                  <a:lnTo>
                    <a:pt x="78879" y="256540"/>
                  </a:lnTo>
                  <a:lnTo>
                    <a:pt x="77470" y="257810"/>
                  </a:lnTo>
                  <a:lnTo>
                    <a:pt x="76771" y="259080"/>
                  </a:lnTo>
                  <a:lnTo>
                    <a:pt x="76288" y="261620"/>
                  </a:lnTo>
                  <a:lnTo>
                    <a:pt x="74790" y="261620"/>
                  </a:lnTo>
                  <a:lnTo>
                    <a:pt x="74523" y="262890"/>
                  </a:lnTo>
                  <a:lnTo>
                    <a:pt x="72936" y="265430"/>
                  </a:lnTo>
                  <a:lnTo>
                    <a:pt x="72453" y="266700"/>
                  </a:lnTo>
                  <a:lnTo>
                    <a:pt x="69494" y="269240"/>
                  </a:lnTo>
                  <a:lnTo>
                    <a:pt x="69532" y="271780"/>
                  </a:lnTo>
                  <a:lnTo>
                    <a:pt x="69151" y="270510"/>
                  </a:lnTo>
                  <a:lnTo>
                    <a:pt x="67894" y="273050"/>
                  </a:lnTo>
                  <a:lnTo>
                    <a:pt x="67398"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303" y="276860"/>
                  </a:lnTo>
                  <a:lnTo>
                    <a:pt x="65443" y="278130"/>
                  </a:lnTo>
                  <a:lnTo>
                    <a:pt x="64033" y="279400"/>
                  </a:lnTo>
                  <a:lnTo>
                    <a:pt x="64617" y="281940"/>
                  </a:lnTo>
                  <a:lnTo>
                    <a:pt x="64312" y="281940"/>
                  </a:lnTo>
                  <a:lnTo>
                    <a:pt x="62115" y="280670"/>
                  </a:lnTo>
                  <a:lnTo>
                    <a:pt x="60325" y="283210"/>
                  </a:lnTo>
                  <a:lnTo>
                    <a:pt x="61810" y="285750"/>
                  </a:lnTo>
                  <a:lnTo>
                    <a:pt x="60210" y="287020"/>
                  </a:lnTo>
                  <a:lnTo>
                    <a:pt x="60223" y="288290"/>
                  </a:lnTo>
                  <a:lnTo>
                    <a:pt x="59550" y="288290"/>
                  </a:lnTo>
                  <a:lnTo>
                    <a:pt x="58166" y="289560"/>
                  </a:lnTo>
                  <a:lnTo>
                    <a:pt x="57950" y="289560"/>
                  </a:lnTo>
                  <a:lnTo>
                    <a:pt x="58229" y="290830"/>
                  </a:lnTo>
                  <a:lnTo>
                    <a:pt x="58635" y="292100"/>
                  </a:lnTo>
                  <a:lnTo>
                    <a:pt x="56972" y="292100"/>
                  </a:lnTo>
                  <a:lnTo>
                    <a:pt x="56845" y="292544"/>
                  </a:lnTo>
                  <a:lnTo>
                    <a:pt x="56845" y="370840"/>
                  </a:lnTo>
                  <a:lnTo>
                    <a:pt x="56781" y="372110"/>
                  </a:lnTo>
                  <a:lnTo>
                    <a:pt x="55638" y="372110"/>
                  </a:lnTo>
                  <a:lnTo>
                    <a:pt x="54889" y="373380"/>
                  </a:lnTo>
                  <a:lnTo>
                    <a:pt x="53924" y="374650"/>
                  </a:lnTo>
                  <a:lnTo>
                    <a:pt x="52730" y="374650"/>
                  </a:lnTo>
                  <a:lnTo>
                    <a:pt x="52400" y="375920"/>
                  </a:lnTo>
                  <a:lnTo>
                    <a:pt x="51269" y="375920"/>
                  </a:lnTo>
                  <a:lnTo>
                    <a:pt x="51523" y="374650"/>
                  </a:lnTo>
                  <a:lnTo>
                    <a:pt x="50723" y="374650"/>
                  </a:lnTo>
                  <a:lnTo>
                    <a:pt x="51358" y="373380"/>
                  </a:lnTo>
                  <a:lnTo>
                    <a:pt x="51790" y="372110"/>
                  </a:lnTo>
                  <a:lnTo>
                    <a:pt x="52070" y="373380"/>
                  </a:lnTo>
                  <a:lnTo>
                    <a:pt x="53251" y="373380"/>
                  </a:lnTo>
                  <a:lnTo>
                    <a:pt x="53543" y="372110"/>
                  </a:lnTo>
                  <a:lnTo>
                    <a:pt x="53403" y="372110"/>
                  </a:lnTo>
                  <a:lnTo>
                    <a:pt x="53454" y="370840"/>
                  </a:lnTo>
                  <a:lnTo>
                    <a:pt x="53644" y="370840"/>
                  </a:lnTo>
                  <a:lnTo>
                    <a:pt x="53682" y="372084"/>
                  </a:lnTo>
                  <a:lnTo>
                    <a:pt x="54851" y="370840"/>
                  </a:lnTo>
                  <a:lnTo>
                    <a:pt x="56845" y="370840"/>
                  </a:lnTo>
                  <a:lnTo>
                    <a:pt x="56845" y="292544"/>
                  </a:lnTo>
                  <a:lnTo>
                    <a:pt x="56603" y="293370"/>
                  </a:lnTo>
                  <a:lnTo>
                    <a:pt x="56807" y="294640"/>
                  </a:lnTo>
                  <a:lnTo>
                    <a:pt x="55499" y="294640"/>
                  </a:lnTo>
                  <a:lnTo>
                    <a:pt x="55600" y="295440"/>
                  </a:lnTo>
                  <a:lnTo>
                    <a:pt x="55791" y="295910"/>
                  </a:lnTo>
                  <a:lnTo>
                    <a:pt x="55651" y="295910"/>
                  </a:lnTo>
                  <a:lnTo>
                    <a:pt x="55562" y="295363"/>
                  </a:lnTo>
                  <a:lnTo>
                    <a:pt x="55257" y="294640"/>
                  </a:lnTo>
                  <a:lnTo>
                    <a:pt x="55587" y="295910"/>
                  </a:lnTo>
                  <a:lnTo>
                    <a:pt x="55245" y="295440"/>
                  </a:lnTo>
                  <a:lnTo>
                    <a:pt x="55118" y="295224"/>
                  </a:lnTo>
                  <a:lnTo>
                    <a:pt x="54940" y="294982"/>
                  </a:lnTo>
                  <a:lnTo>
                    <a:pt x="55143" y="295910"/>
                  </a:lnTo>
                  <a:lnTo>
                    <a:pt x="55587" y="298450"/>
                  </a:lnTo>
                  <a:lnTo>
                    <a:pt x="54051" y="294703"/>
                  </a:lnTo>
                  <a:lnTo>
                    <a:pt x="54140" y="295262"/>
                  </a:lnTo>
                  <a:lnTo>
                    <a:pt x="54076" y="295109"/>
                  </a:lnTo>
                  <a:lnTo>
                    <a:pt x="53886" y="294767"/>
                  </a:lnTo>
                  <a:lnTo>
                    <a:pt x="53975" y="295033"/>
                  </a:lnTo>
                  <a:lnTo>
                    <a:pt x="54076" y="295224"/>
                  </a:lnTo>
                  <a:lnTo>
                    <a:pt x="54457" y="297180"/>
                  </a:lnTo>
                  <a:lnTo>
                    <a:pt x="53911" y="295910"/>
                  </a:lnTo>
                  <a:lnTo>
                    <a:pt x="54025" y="297180"/>
                  </a:lnTo>
                  <a:lnTo>
                    <a:pt x="53530" y="295910"/>
                  </a:lnTo>
                  <a:lnTo>
                    <a:pt x="53860" y="297180"/>
                  </a:lnTo>
                  <a:lnTo>
                    <a:pt x="53594" y="297180"/>
                  </a:lnTo>
                  <a:lnTo>
                    <a:pt x="53886" y="298450"/>
                  </a:lnTo>
                  <a:lnTo>
                    <a:pt x="53873" y="299720"/>
                  </a:lnTo>
                  <a:lnTo>
                    <a:pt x="53530" y="297700"/>
                  </a:lnTo>
                  <a:lnTo>
                    <a:pt x="53606" y="300990"/>
                  </a:lnTo>
                  <a:lnTo>
                    <a:pt x="53467" y="299720"/>
                  </a:lnTo>
                  <a:lnTo>
                    <a:pt x="53213" y="297459"/>
                  </a:lnTo>
                  <a:lnTo>
                    <a:pt x="53238" y="299720"/>
                  </a:lnTo>
                  <a:lnTo>
                    <a:pt x="53035" y="295363"/>
                  </a:lnTo>
                  <a:lnTo>
                    <a:pt x="52844" y="299720"/>
                  </a:lnTo>
                  <a:lnTo>
                    <a:pt x="52844" y="297180"/>
                  </a:lnTo>
                  <a:lnTo>
                    <a:pt x="52793" y="298450"/>
                  </a:lnTo>
                  <a:lnTo>
                    <a:pt x="52692" y="299720"/>
                  </a:lnTo>
                  <a:lnTo>
                    <a:pt x="52539" y="299720"/>
                  </a:lnTo>
                  <a:lnTo>
                    <a:pt x="52679" y="297180"/>
                  </a:lnTo>
                  <a:lnTo>
                    <a:pt x="52336" y="299720"/>
                  </a:lnTo>
                  <a:lnTo>
                    <a:pt x="52006" y="298450"/>
                  </a:lnTo>
                  <a:lnTo>
                    <a:pt x="51638" y="298450"/>
                  </a:lnTo>
                  <a:lnTo>
                    <a:pt x="51422" y="297180"/>
                  </a:lnTo>
                  <a:lnTo>
                    <a:pt x="51714" y="297180"/>
                  </a:lnTo>
                  <a:lnTo>
                    <a:pt x="52717" y="295910"/>
                  </a:lnTo>
                  <a:lnTo>
                    <a:pt x="52514" y="295910"/>
                  </a:lnTo>
                  <a:lnTo>
                    <a:pt x="51879" y="294640"/>
                  </a:lnTo>
                  <a:lnTo>
                    <a:pt x="51460" y="294640"/>
                  </a:lnTo>
                  <a:lnTo>
                    <a:pt x="50990"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46"/>
                  </a:lnTo>
                  <a:lnTo>
                    <a:pt x="50393" y="299720"/>
                  </a:lnTo>
                  <a:lnTo>
                    <a:pt x="50038" y="299720"/>
                  </a:lnTo>
                  <a:lnTo>
                    <a:pt x="50279" y="298450"/>
                  </a:lnTo>
                  <a:lnTo>
                    <a:pt x="50393" y="299720"/>
                  </a:lnTo>
                  <a:lnTo>
                    <a:pt x="50393" y="291846"/>
                  </a:lnTo>
                  <a:lnTo>
                    <a:pt x="50101" y="290830"/>
                  </a:lnTo>
                  <a:lnTo>
                    <a:pt x="51015" y="289560"/>
                  </a:lnTo>
                  <a:lnTo>
                    <a:pt x="50063" y="287020"/>
                  </a:lnTo>
                  <a:lnTo>
                    <a:pt x="51320" y="287020"/>
                  </a:lnTo>
                  <a:lnTo>
                    <a:pt x="51155" y="285750"/>
                  </a:lnTo>
                  <a:lnTo>
                    <a:pt x="51422" y="285750"/>
                  </a:lnTo>
                  <a:lnTo>
                    <a:pt x="50444" y="284480"/>
                  </a:lnTo>
                  <a:lnTo>
                    <a:pt x="49784" y="283210"/>
                  </a:lnTo>
                  <a:lnTo>
                    <a:pt x="49288" y="283210"/>
                  </a:lnTo>
                  <a:lnTo>
                    <a:pt x="50342" y="281940"/>
                  </a:lnTo>
                  <a:lnTo>
                    <a:pt x="50203" y="280670"/>
                  </a:lnTo>
                  <a:lnTo>
                    <a:pt x="48869" y="279400"/>
                  </a:lnTo>
                  <a:lnTo>
                    <a:pt x="48590" y="278130"/>
                  </a:lnTo>
                  <a:lnTo>
                    <a:pt x="49885" y="276860"/>
                  </a:lnTo>
                  <a:lnTo>
                    <a:pt x="49085" y="275590"/>
                  </a:lnTo>
                  <a:lnTo>
                    <a:pt x="48856" y="273050"/>
                  </a:lnTo>
                  <a:lnTo>
                    <a:pt x="48552" y="273050"/>
                  </a:lnTo>
                  <a:lnTo>
                    <a:pt x="47307" y="270510"/>
                  </a:lnTo>
                  <a:lnTo>
                    <a:pt x="47231" y="269240"/>
                  </a:lnTo>
                  <a:lnTo>
                    <a:pt x="49047" y="269240"/>
                  </a:lnTo>
                  <a:lnTo>
                    <a:pt x="48653" y="267970"/>
                  </a:lnTo>
                  <a:lnTo>
                    <a:pt x="47929" y="265430"/>
                  </a:lnTo>
                  <a:lnTo>
                    <a:pt x="45885" y="264160"/>
                  </a:lnTo>
                  <a:lnTo>
                    <a:pt x="47752" y="264160"/>
                  </a:lnTo>
                  <a:lnTo>
                    <a:pt x="48044" y="262890"/>
                  </a:lnTo>
                  <a:lnTo>
                    <a:pt x="48348" y="261620"/>
                  </a:lnTo>
                  <a:lnTo>
                    <a:pt x="47028" y="261620"/>
                  </a:lnTo>
                  <a:lnTo>
                    <a:pt x="47891" y="260350"/>
                  </a:lnTo>
                  <a:lnTo>
                    <a:pt x="46634" y="257810"/>
                  </a:lnTo>
                  <a:lnTo>
                    <a:pt x="45656" y="256654"/>
                  </a:lnTo>
                  <a:lnTo>
                    <a:pt x="45656" y="264160"/>
                  </a:lnTo>
                  <a:lnTo>
                    <a:pt x="45059" y="264160"/>
                  </a:lnTo>
                  <a:lnTo>
                    <a:pt x="44627" y="262991"/>
                  </a:lnTo>
                  <a:lnTo>
                    <a:pt x="44615" y="265430"/>
                  </a:lnTo>
                  <a:lnTo>
                    <a:pt x="44157" y="265430"/>
                  </a:lnTo>
                  <a:lnTo>
                    <a:pt x="43662" y="264160"/>
                  </a:lnTo>
                  <a:lnTo>
                    <a:pt x="43116" y="264160"/>
                  </a:lnTo>
                  <a:lnTo>
                    <a:pt x="44589" y="263029"/>
                  </a:lnTo>
                  <a:lnTo>
                    <a:pt x="44589" y="262890"/>
                  </a:lnTo>
                  <a:lnTo>
                    <a:pt x="44754" y="262890"/>
                  </a:lnTo>
                  <a:lnTo>
                    <a:pt x="45529" y="262890"/>
                  </a:lnTo>
                  <a:lnTo>
                    <a:pt x="45656" y="264160"/>
                  </a:lnTo>
                  <a:lnTo>
                    <a:pt x="45656" y="256654"/>
                  </a:lnTo>
                  <a:lnTo>
                    <a:pt x="46761" y="255270"/>
                  </a:lnTo>
                  <a:lnTo>
                    <a:pt x="46520" y="254000"/>
                  </a:lnTo>
                  <a:lnTo>
                    <a:pt x="46926" y="254000"/>
                  </a:lnTo>
                  <a:lnTo>
                    <a:pt x="46050" y="251460"/>
                  </a:lnTo>
                  <a:lnTo>
                    <a:pt x="44970" y="250190"/>
                  </a:lnTo>
                  <a:lnTo>
                    <a:pt x="44970" y="248920"/>
                  </a:lnTo>
                  <a:lnTo>
                    <a:pt x="46037" y="248920"/>
                  </a:lnTo>
                  <a:lnTo>
                    <a:pt x="46596"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43" y="351790"/>
                  </a:lnTo>
                  <a:lnTo>
                    <a:pt x="13512" y="353060"/>
                  </a:lnTo>
                  <a:lnTo>
                    <a:pt x="13436"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40" y="246380"/>
                  </a:lnTo>
                  <a:lnTo>
                    <a:pt x="5740" y="247650"/>
                  </a:lnTo>
                  <a:lnTo>
                    <a:pt x="5664" y="248348"/>
                  </a:lnTo>
                  <a:lnTo>
                    <a:pt x="5664" y="283210"/>
                  </a:lnTo>
                  <a:lnTo>
                    <a:pt x="5499" y="284480"/>
                  </a:lnTo>
                  <a:lnTo>
                    <a:pt x="5207" y="284480"/>
                  </a:lnTo>
                  <a:lnTo>
                    <a:pt x="5118" y="283210"/>
                  </a:lnTo>
                  <a:lnTo>
                    <a:pt x="5664" y="283210"/>
                  </a:lnTo>
                  <a:lnTo>
                    <a:pt x="5664" y="248348"/>
                  </a:lnTo>
                  <a:lnTo>
                    <a:pt x="5600" y="248920"/>
                  </a:lnTo>
                  <a:lnTo>
                    <a:pt x="4203" y="248920"/>
                  </a:lnTo>
                  <a:lnTo>
                    <a:pt x="4114" y="247650"/>
                  </a:lnTo>
                  <a:lnTo>
                    <a:pt x="5740" y="247650"/>
                  </a:lnTo>
                  <a:lnTo>
                    <a:pt x="5740" y="246380"/>
                  </a:lnTo>
                  <a:lnTo>
                    <a:pt x="3048" y="246380"/>
                  </a:lnTo>
                  <a:lnTo>
                    <a:pt x="3225" y="247650"/>
                  </a:lnTo>
                  <a:lnTo>
                    <a:pt x="2755" y="247650"/>
                  </a:lnTo>
                  <a:lnTo>
                    <a:pt x="2273" y="247650"/>
                  </a:lnTo>
                  <a:lnTo>
                    <a:pt x="1333" y="248920"/>
                  </a:lnTo>
                  <a:lnTo>
                    <a:pt x="2743" y="252730"/>
                  </a:lnTo>
                  <a:lnTo>
                    <a:pt x="2019" y="254000"/>
                  </a:lnTo>
                  <a:lnTo>
                    <a:pt x="2578" y="256540"/>
                  </a:lnTo>
                  <a:lnTo>
                    <a:pt x="1549" y="256540"/>
                  </a:lnTo>
                  <a:lnTo>
                    <a:pt x="2362" y="257810"/>
                  </a:lnTo>
                  <a:lnTo>
                    <a:pt x="3263" y="257810"/>
                  </a:lnTo>
                  <a:lnTo>
                    <a:pt x="3365" y="259080"/>
                  </a:lnTo>
                  <a:lnTo>
                    <a:pt x="2438" y="259080"/>
                  </a:lnTo>
                  <a:lnTo>
                    <a:pt x="2997" y="262890"/>
                  </a:lnTo>
                  <a:lnTo>
                    <a:pt x="0" y="264160"/>
                  </a:lnTo>
                  <a:lnTo>
                    <a:pt x="88" y="265430"/>
                  </a:lnTo>
                  <a:lnTo>
                    <a:pt x="1028" y="265430"/>
                  </a:lnTo>
                  <a:lnTo>
                    <a:pt x="1587" y="266700"/>
                  </a:lnTo>
                  <a:lnTo>
                    <a:pt x="2565" y="265430"/>
                  </a:lnTo>
                  <a:lnTo>
                    <a:pt x="2870" y="265430"/>
                  </a:lnTo>
                  <a:lnTo>
                    <a:pt x="3225" y="266700"/>
                  </a:lnTo>
                  <a:lnTo>
                    <a:pt x="1587" y="266700"/>
                  </a:lnTo>
                  <a:lnTo>
                    <a:pt x="1295" y="266700"/>
                  </a:lnTo>
                  <a:lnTo>
                    <a:pt x="2667" y="269240"/>
                  </a:lnTo>
                  <a:lnTo>
                    <a:pt x="2019"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54" y="283210"/>
                  </a:lnTo>
                  <a:lnTo>
                    <a:pt x="1168" y="287020"/>
                  </a:lnTo>
                  <a:lnTo>
                    <a:pt x="1638" y="288290"/>
                  </a:lnTo>
                  <a:lnTo>
                    <a:pt x="3263" y="289560"/>
                  </a:lnTo>
                  <a:lnTo>
                    <a:pt x="3505" y="290830"/>
                  </a:lnTo>
                  <a:lnTo>
                    <a:pt x="2095" y="292100"/>
                  </a:lnTo>
                  <a:lnTo>
                    <a:pt x="3175" y="293370"/>
                  </a:lnTo>
                  <a:lnTo>
                    <a:pt x="2095" y="295910"/>
                  </a:lnTo>
                  <a:lnTo>
                    <a:pt x="2222" y="297180"/>
                  </a:lnTo>
                  <a:lnTo>
                    <a:pt x="3327" y="300990"/>
                  </a:lnTo>
                  <a:lnTo>
                    <a:pt x="4165" y="306070"/>
                  </a:lnTo>
                  <a:lnTo>
                    <a:pt x="3987" y="309880"/>
                  </a:lnTo>
                  <a:lnTo>
                    <a:pt x="4559" y="312420"/>
                  </a:lnTo>
                  <a:lnTo>
                    <a:pt x="5245" y="314960"/>
                  </a:lnTo>
                  <a:lnTo>
                    <a:pt x="5130" y="318770"/>
                  </a:lnTo>
                  <a:lnTo>
                    <a:pt x="6629" y="321310"/>
                  </a:lnTo>
                  <a:lnTo>
                    <a:pt x="6667" y="322580"/>
                  </a:lnTo>
                  <a:lnTo>
                    <a:pt x="6540" y="325120"/>
                  </a:lnTo>
                  <a:lnTo>
                    <a:pt x="6477" y="328930"/>
                  </a:lnTo>
                  <a:lnTo>
                    <a:pt x="7239" y="330200"/>
                  </a:lnTo>
                  <a:lnTo>
                    <a:pt x="6794" y="331470"/>
                  </a:lnTo>
                  <a:lnTo>
                    <a:pt x="7010" y="332740"/>
                  </a:lnTo>
                  <a:lnTo>
                    <a:pt x="7823" y="334010"/>
                  </a:lnTo>
                  <a:lnTo>
                    <a:pt x="10147" y="339090"/>
                  </a:lnTo>
                  <a:lnTo>
                    <a:pt x="10337" y="340360"/>
                  </a:lnTo>
                  <a:lnTo>
                    <a:pt x="9398" y="344170"/>
                  </a:lnTo>
                  <a:lnTo>
                    <a:pt x="9144" y="345440"/>
                  </a:lnTo>
                  <a:lnTo>
                    <a:pt x="8851" y="345440"/>
                  </a:lnTo>
                  <a:lnTo>
                    <a:pt x="8801" y="346710"/>
                  </a:lnTo>
                  <a:lnTo>
                    <a:pt x="9563" y="347980"/>
                  </a:lnTo>
                  <a:lnTo>
                    <a:pt x="10248" y="347980"/>
                  </a:lnTo>
                  <a:lnTo>
                    <a:pt x="11747" y="346710"/>
                  </a:lnTo>
                  <a:lnTo>
                    <a:pt x="11747" y="347980"/>
                  </a:lnTo>
                  <a:lnTo>
                    <a:pt x="11404" y="350520"/>
                  </a:lnTo>
                  <a:lnTo>
                    <a:pt x="10960" y="351790"/>
                  </a:lnTo>
                  <a:lnTo>
                    <a:pt x="12712" y="354330"/>
                  </a:lnTo>
                  <a:lnTo>
                    <a:pt x="12954" y="355600"/>
                  </a:lnTo>
                  <a:lnTo>
                    <a:pt x="13449" y="356870"/>
                  </a:lnTo>
                  <a:lnTo>
                    <a:pt x="13639" y="358140"/>
                  </a:lnTo>
                  <a:lnTo>
                    <a:pt x="14986" y="358140"/>
                  </a:lnTo>
                  <a:lnTo>
                    <a:pt x="14986" y="359410"/>
                  </a:lnTo>
                  <a:lnTo>
                    <a:pt x="15760" y="360680"/>
                  </a:lnTo>
                  <a:lnTo>
                    <a:pt x="16802" y="361950"/>
                  </a:lnTo>
                  <a:lnTo>
                    <a:pt x="18415"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58" y="373380"/>
                  </a:lnTo>
                  <a:lnTo>
                    <a:pt x="25260" y="374650"/>
                  </a:lnTo>
                  <a:lnTo>
                    <a:pt x="27178" y="374650"/>
                  </a:lnTo>
                  <a:lnTo>
                    <a:pt x="28409" y="375920"/>
                  </a:lnTo>
                  <a:lnTo>
                    <a:pt x="29603" y="373380"/>
                  </a:lnTo>
                  <a:lnTo>
                    <a:pt x="29921" y="373380"/>
                  </a:lnTo>
                  <a:lnTo>
                    <a:pt x="30594" y="374650"/>
                  </a:lnTo>
                  <a:lnTo>
                    <a:pt x="30149" y="375920"/>
                  </a:lnTo>
                  <a:lnTo>
                    <a:pt x="31013" y="377190"/>
                  </a:lnTo>
                  <a:lnTo>
                    <a:pt x="33909" y="377190"/>
                  </a:lnTo>
                  <a:lnTo>
                    <a:pt x="34937" y="378460"/>
                  </a:lnTo>
                  <a:lnTo>
                    <a:pt x="35560" y="378460"/>
                  </a:lnTo>
                  <a:lnTo>
                    <a:pt x="36360" y="379730"/>
                  </a:lnTo>
                  <a:lnTo>
                    <a:pt x="40640" y="379730"/>
                  </a:lnTo>
                  <a:lnTo>
                    <a:pt x="40474" y="378460"/>
                  </a:lnTo>
                  <a:lnTo>
                    <a:pt x="41211" y="377266"/>
                  </a:lnTo>
                  <a:lnTo>
                    <a:pt x="42468"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29" y="370840"/>
                  </a:lnTo>
                  <a:lnTo>
                    <a:pt x="62268" y="369570"/>
                  </a:lnTo>
                  <a:lnTo>
                    <a:pt x="62750"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92" y="356870"/>
                  </a:lnTo>
                  <a:lnTo>
                    <a:pt x="76212" y="355600"/>
                  </a:lnTo>
                  <a:lnTo>
                    <a:pt x="76492" y="355600"/>
                  </a:lnTo>
                  <a:lnTo>
                    <a:pt x="76987" y="354330"/>
                  </a:lnTo>
                  <a:lnTo>
                    <a:pt x="77647" y="353060"/>
                  </a:lnTo>
                  <a:lnTo>
                    <a:pt x="78955" y="350520"/>
                  </a:lnTo>
                  <a:lnTo>
                    <a:pt x="79908" y="349250"/>
                  </a:lnTo>
                  <a:lnTo>
                    <a:pt x="80302" y="346710"/>
                  </a:lnTo>
                  <a:lnTo>
                    <a:pt x="81165" y="346710"/>
                  </a:lnTo>
                  <a:lnTo>
                    <a:pt x="81457" y="347980"/>
                  </a:lnTo>
                  <a:lnTo>
                    <a:pt x="81991" y="346710"/>
                  </a:lnTo>
                  <a:lnTo>
                    <a:pt x="82511" y="345440"/>
                  </a:lnTo>
                  <a:lnTo>
                    <a:pt x="82791" y="344170"/>
                  </a:lnTo>
                  <a:lnTo>
                    <a:pt x="84340" y="345440"/>
                  </a:lnTo>
                  <a:lnTo>
                    <a:pt x="84391" y="344170"/>
                  </a:lnTo>
                  <a:lnTo>
                    <a:pt x="84467" y="341630"/>
                  </a:lnTo>
                  <a:lnTo>
                    <a:pt x="85026" y="339090"/>
                  </a:lnTo>
                  <a:lnTo>
                    <a:pt x="87172" y="339090"/>
                  </a:lnTo>
                  <a:lnTo>
                    <a:pt x="88506" y="335280"/>
                  </a:lnTo>
                  <a:lnTo>
                    <a:pt x="90208" y="335280"/>
                  </a:lnTo>
                  <a:lnTo>
                    <a:pt x="90208" y="332740"/>
                  </a:lnTo>
                  <a:lnTo>
                    <a:pt x="90881" y="331470"/>
                  </a:lnTo>
                  <a:lnTo>
                    <a:pt x="92760" y="328930"/>
                  </a:lnTo>
                  <a:lnTo>
                    <a:pt x="93395" y="327660"/>
                  </a:lnTo>
                  <a:lnTo>
                    <a:pt x="93624" y="327660"/>
                  </a:lnTo>
                  <a:lnTo>
                    <a:pt x="93675" y="326390"/>
                  </a:lnTo>
                  <a:lnTo>
                    <a:pt x="94259" y="326390"/>
                  </a:lnTo>
                  <a:lnTo>
                    <a:pt x="94818" y="325120"/>
                  </a:lnTo>
                  <a:lnTo>
                    <a:pt x="95351" y="323850"/>
                  </a:lnTo>
                  <a:lnTo>
                    <a:pt x="96253" y="322580"/>
                  </a:lnTo>
                  <a:lnTo>
                    <a:pt x="97015" y="322580"/>
                  </a:lnTo>
                  <a:lnTo>
                    <a:pt x="96761" y="321310"/>
                  </a:lnTo>
                  <a:lnTo>
                    <a:pt x="97116" y="320040"/>
                  </a:lnTo>
                  <a:lnTo>
                    <a:pt x="99250" y="317500"/>
                  </a:lnTo>
                  <a:lnTo>
                    <a:pt x="99796" y="316230"/>
                  </a:lnTo>
                  <a:lnTo>
                    <a:pt x="100342" y="314960"/>
                  </a:lnTo>
                  <a:lnTo>
                    <a:pt x="100888"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91" y="304800"/>
                  </a:lnTo>
                  <a:lnTo>
                    <a:pt x="107137" y="303530"/>
                  </a:lnTo>
                  <a:lnTo>
                    <a:pt x="107022" y="302260"/>
                  </a:lnTo>
                  <a:lnTo>
                    <a:pt x="107454"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64" y="294640"/>
                  </a:lnTo>
                  <a:lnTo>
                    <a:pt x="113004" y="294640"/>
                  </a:lnTo>
                  <a:lnTo>
                    <a:pt x="112864" y="293370"/>
                  </a:lnTo>
                  <a:lnTo>
                    <a:pt x="113169" y="293370"/>
                  </a:lnTo>
                  <a:lnTo>
                    <a:pt x="113093" y="292874"/>
                  </a:lnTo>
                  <a:lnTo>
                    <a:pt x="113042" y="290830"/>
                  </a:lnTo>
                  <a:lnTo>
                    <a:pt x="114160" y="290830"/>
                  </a:lnTo>
                  <a:lnTo>
                    <a:pt x="115874" y="289560"/>
                  </a:lnTo>
                  <a:lnTo>
                    <a:pt x="115404" y="289560"/>
                  </a:lnTo>
                  <a:lnTo>
                    <a:pt x="115062" y="288290"/>
                  </a:lnTo>
                  <a:lnTo>
                    <a:pt x="115023" y="287020"/>
                  </a:lnTo>
                  <a:lnTo>
                    <a:pt x="115201" y="287020"/>
                  </a:lnTo>
                  <a:lnTo>
                    <a:pt x="115379" y="288290"/>
                  </a:lnTo>
                  <a:lnTo>
                    <a:pt x="116370" y="288290"/>
                  </a:lnTo>
                  <a:lnTo>
                    <a:pt x="116217" y="287020"/>
                  </a:lnTo>
                  <a:lnTo>
                    <a:pt x="116916" y="287020"/>
                  </a:lnTo>
                  <a:lnTo>
                    <a:pt x="116547" y="285750"/>
                  </a:lnTo>
                  <a:lnTo>
                    <a:pt x="117906" y="285750"/>
                  </a:lnTo>
                  <a:lnTo>
                    <a:pt x="118681" y="284480"/>
                  </a:lnTo>
                  <a:lnTo>
                    <a:pt x="118211" y="284480"/>
                  </a:lnTo>
                  <a:lnTo>
                    <a:pt x="118148" y="284314"/>
                  </a:lnTo>
                  <a:lnTo>
                    <a:pt x="117754" y="283210"/>
                  </a:lnTo>
                  <a:lnTo>
                    <a:pt x="118313" y="283210"/>
                  </a:lnTo>
                  <a:lnTo>
                    <a:pt x="118148" y="284314"/>
                  </a:lnTo>
                  <a:lnTo>
                    <a:pt x="118948" y="283210"/>
                  </a:lnTo>
                  <a:lnTo>
                    <a:pt x="119113" y="283210"/>
                  </a:lnTo>
                  <a:lnTo>
                    <a:pt x="119075" y="281940"/>
                  </a:lnTo>
                  <a:lnTo>
                    <a:pt x="120611" y="281940"/>
                  </a:lnTo>
                  <a:lnTo>
                    <a:pt x="120980" y="280670"/>
                  </a:lnTo>
                  <a:lnTo>
                    <a:pt x="122174" y="280670"/>
                  </a:lnTo>
                  <a:lnTo>
                    <a:pt x="122034" y="279400"/>
                  </a:lnTo>
                  <a:lnTo>
                    <a:pt x="121488" y="278130"/>
                  </a:lnTo>
                  <a:lnTo>
                    <a:pt x="121843"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92" y="269240"/>
                  </a:lnTo>
                  <a:lnTo>
                    <a:pt x="126606" y="267970"/>
                  </a:lnTo>
                  <a:lnTo>
                    <a:pt x="126568" y="269240"/>
                  </a:lnTo>
                  <a:lnTo>
                    <a:pt x="127050" y="269240"/>
                  </a:lnTo>
                  <a:lnTo>
                    <a:pt x="126873" y="270510"/>
                  </a:lnTo>
                  <a:lnTo>
                    <a:pt x="127228" y="270510"/>
                  </a:lnTo>
                  <a:lnTo>
                    <a:pt x="127330" y="269240"/>
                  </a:lnTo>
                  <a:lnTo>
                    <a:pt x="127393" y="267970"/>
                  </a:lnTo>
                  <a:lnTo>
                    <a:pt x="128231" y="267970"/>
                  </a:lnTo>
                  <a:lnTo>
                    <a:pt x="128790"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73"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71" y="241300"/>
                  </a:lnTo>
                  <a:lnTo>
                    <a:pt x="144932" y="241300"/>
                  </a:lnTo>
                  <a:lnTo>
                    <a:pt x="145288" y="240030"/>
                  </a:lnTo>
                  <a:lnTo>
                    <a:pt x="146659" y="240030"/>
                  </a:lnTo>
                  <a:lnTo>
                    <a:pt x="146850" y="238760"/>
                  </a:lnTo>
                  <a:lnTo>
                    <a:pt x="146240" y="238760"/>
                  </a:lnTo>
                  <a:lnTo>
                    <a:pt x="146469" y="237490"/>
                  </a:lnTo>
                  <a:lnTo>
                    <a:pt x="146824" y="236220"/>
                  </a:lnTo>
                  <a:lnTo>
                    <a:pt x="147421" y="234950"/>
                  </a:lnTo>
                  <a:lnTo>
                    <a:pt x="149606" y="234950"/>
                  </a:lnTo>
                  <a:lnTo>
                    <a:pt x="149072" y="233680"/>
                  </a:lnTo>
                  <a:lnTo>
                    <a:pt x="149136" y="232410"/>
                  </a:lnTo>
                  <a:lnTo>
                    <a:pt x="150215" y="232410"/>
                  </a:lnTo>
                  <a:lnTo>
                    <a:pt x="152006" y="231140"/>
                  </a:lnTo>
                  <a:lnTo>
                    <a:pt x="152196" y="231140"/>
                  </a:lnTo>
                  <a:lnTo>
                    <a:pt x="151663" y="229870"/>
                  </a:lnTo>
                  <a:lnTo>
                    <a:pt x="151498" y="228600"/>
                  </a:lnTo>
                  <a:lnTo>
                    <a:pt x="152501" y="228600"/>
                  </a:lnTo>
                  <a:lnTo>
                    <a:pt x="153009" y="227330"/>
                  </a:lnTo>
                  <a:lnTo>
                    <a:pt x="154724" y="227330"/>
                  </a:lnTo>
                  <a:lnTo>
                    <a:pt x="154914" y="226060"/>
                  </a:lnTo>
                  <a:lnTo>
                    <a:pt x="154813" y="224790"/>
                  </a:lnTo>
                  <a:lnTo>
                    <a:pt x="155244" y="224790"/>
                  </a:lnTo>
                  <a:lnTo>
                    <a:pt x="155651" y="223520"/>
                  </a:lnTo>
                  <a:lnTo>
                    <a:pt x="156629" y="223520"/>
                  </a:lnTo>
                  <a:lnTo>
                    <a:pt x="156933" y="222250"/>
                  </a:lnTo>
                  <a:lnTo>
                    <a:pt x="157518" y="220980"/>
                  </a:lnTo>
                  <a:lnTo>
                    <a:pt x="158051" y="219710"/>
                  </a:lnTo>
                  <a:lnTo>
                    <a:pt x="158940" y="219710"/>
                  </a:lnTo>
                  <a:lnTo>
                    <a:pt x="160007" y="217170"/>
                  </a:lnTo>
                  <a:lnTo>
                    <a:pt x="160502" y="215900"/>
                  </a:lnTo>
                  <a:lnTo>
                    <a:pt x="161785" y="215900"/>
                  </a:lnTo>
                  <a:lnTo>
                    <a:pt x="162941" y="212090"/>
                  </a:lnTo>
                  <a:lnTo>
                    <a:pt x="164287" y="210820"/>
                  </a:lnTo>
                  <a:lnTo>
                    <a:pt x="165328" y="208280"/>
                  </a:lnTo>
                  <a:lnTo>
                    <a:pt x="167271" y="207010"/>
                  </a:lnTo>
                  <a:lnTo>
                    <a:pt x="166852" y="205740"/>
                  </a:lnTo>
                  <a:lnTo>
                    <a:pt x="167132" y="205740"/>
                  </a:lnTo>
                  <a:lnTo>
                    <a:pt x="167601" y="204470"/>
                  </a:lnTo>
                  <a:lnTo>
                    <a:pt x="169684" y="203200"/>
                  </a:lnTo>
                  <a:lnTo>
                    <a:pt x="170738" y="200660"/>
                  </a:lnTo>
                  <a:lnTo>
                    <a:pt x="171970" y="198120"/>
                  </a:lnTo>
                  <a:lnTo>
                    <a:pt x="172593" y="198120"/>
                  </a:lnTo>
                  <a:lnTo>
                    <a:pt x="173050" y="196850"/>
                  </a:lnTo>
                  <a:lnTo>
                    <a:pt x="172923" y="194310"/>
                  </a:lnTo>
                  <a:lnTo>
                    <a:pt x="173977" y="195580"/>
                  </a:lnTo>
                  <a:lnTo>
                    <a:pt x="175323" y="194310"/>
                  </a:lnTo>
                  <a:lnTo>
                    <a:pt x="176022" y="194310"/>
                  </a:lnTo>
                  <a:lnTo>
                    <a:pt x="175742" y="193040"/>
                  </a:lnTo>
                  <a:lnTo>
                    <a:pt x="177101"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26" y="182880"/>
                  </a:lnTo>
                  <a:lnTo>
                    <a:pt x="183400" y="181610"/>
                  </a:lnTo>
                  <a:lnTo>
                    <a:pt x="184861" y="181610"/>
                  </a:lnTo>
                  <a:lnTo>
                    <a:pt x="184899" y="180340"/>
                  </a:lnTo>
                  <a:lnTo>
                    <a:pt x="185140" y="179070"/>
                  </a:lnTo>
                  <a:lnTo>
                    <a:pt x="186855" y="179070"/>
                  </a:lnTo>
                  <a:lnTo>
                    <a:pt x="186905"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08" y="167640"/>
                  </a:lnTo>
                  <a:lnTo>
                    <a:pt x="194716" y="166370"/>
                  </a:lnTo>
                  <a:lnTo>
                    <a:pt x="193916" y="166370"/>
                  </a:lnTo>
                  <a:lnTo>
                    <a:pt x="194652" y="165100"/>
                  </a:lnTo>
                  <a:lnTo>
                    <a:pt x="194741" y="166370"/>
                  </a:lnTo>
                  <a:lnTo>
                    <a:pt x="195211" y="166370"/>
                  </a:lnTo>
                  <a:lnTo>
                    <a:pt x="196062" y="165100"/>
                  </a:lnTo>
                  <a:lnTo>
                    <a:pt x="195846" y="165100"/>
                  </a:lnTo>
                  <a:lnTo>
                    <a:pt x="196049" y="163830"/>
                  </a:lnTo>
                  <a:lnTo>
                    <a:pt x="196430" y="163830"/>
                  </a:lnTo>
                  <a:lnTo>
                    <a:pt x="196811" y="162560"/>
                  </a:lnTo>
                  <a:lnTo>
                    <a:pt x="197154" y="162560"/>
                  </a:lnTo>
                  <a:lnTo>
                    <a:pt x="197396" y="161290"/>
                  </a:lnTo>
                  <a:lnTo>
                    <a:pt x="198678" y="160020"/>
                  </a:lnTo>
                  <a:lnTo>
                    <a:pt x="199694" y="160020"/>
                  </a:lnTo>
                  <a:lnTo>
                    <a:pt x="199910" y="158750"/>
                  </a:lnTo>
                  <a:lnTo>
                    <a:pt x="200596" y="157480"/>
                  </a:lnTo>
                  <a:lnTo>
                    <a:pt x="201269" y="157480"/>
                  </a:lnTo>
                  <a:lnTo>
                    <a:pt x="201739" y="154940"/>
                  </a:lnTo>
                  <a:lnTo>
                    <a:pt x="203530" y="154940"/>
                  </a:lnTo>
                  <a:lnTo>
                    <a:pt x="203466" y="153670"/>
                  </a:lnTo>
                  <a:lnTo>
                    <a:pt x="204139" y="153670"/>
                  </a:lnTo>
                  <a:lnTo>
                    <a:pt x="204203" y="152400"/>
                  </a:lnTo>
                  <a:lnTo>
                    <a:pt x="205486" y="152400"/>
                  </a:lnTo>
                  <a:lnTo>
                    <a:pt x="205003"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69" y="139700"/>
                  </a:lnTo>
                  <a:lnTo>
                    <a:pt x="213271" y="139700"/>
                  </a:lnTo>
                  <a:lnTo>
                    <a:pt x="213779" y="138430"/>
                  </a:lnTo>
                  <a:lnTo>
                    <a:pt x="215798" y="138430"/>
                  </a:lnTo>
                  <a:lnTo>
                    <a:pt x="216166" y="137160"/>
                  </a:lnTo>
                  <a:lnTo>
                    <a:pt x="216662" y="135890"/>
                  </a:lnTo>
                  <a:lnTo>
                    <a:pt x="217093" y="134620"/>
                  </a:lnTo>
                  <a:lnTo>
                    <a:pt x="217678" y="133350"/>
                  </a:lnTo>
                  <a:lnTo>
                    <a:pt x="219760" y="133350"/>
                  </a:lnTo>
                  <a:lnTo>
                    <a:pt x="220319" y="132080"/>
                  </a:lnTo>
                  <a:lnTo>
                    <a:pt x="221767" y="129540"/>
                  </a:lnTo>
                  <a:lnTo>
                    <a:pt x="222148" y="128270"/>
                  </a:lnTo>
                  <a:lnTo>
                    <a:pt x="222885" y="128270"/>
                  </a:lnTo>
                  <a:lnTo>
                    <a:pt x="222885" y="127000"/>
                  </a:lnTo>
                  <a:lnTo>
                    <a:pt x="224688" y="127000"/>
                  </a:lnTo>
                  <a:lnTo>
                    <a:pt x="224828" y="125730"/>
                  </a:lnTo>
                  <a:lnTo>
                    <a:pt x="225056" y="125730"/>
                  </a:lnTo>
                  <a:lnTo>
                    <a:pt x="225348" y="124460"/>
                  </a:lnTo>
                  <a:lnTo>
                    <a:pt x="225590" y="124460"/>
                  </a:lnTo>
                  <a:lnTo>
                    <a:pt x="226504" y="123190"/>
                  </a:lnTo>
                  <a:lnTo>
                    <a:pt x="227863" y="121920"/>
                  </a:lnTo>
                  <a:lnTo>
                    <a:pt x="228422" y="120650"/>
                  </a:lnTo>
                  <a:lnTo>
                    <a:pt x="229577" y="120650"/>
                  </a:lnTo>
                  <a:lnTo>
                    <a:pt x="229793" y="119380"/>
                  </a:lnTo>
                  <a:lnTo>
                    <a:pt x="230174" y="118110"/>
                  </a:lnTo>
                  <a:lnTo>
                    <a:pt x="230809" y="118110"/>
                  </a:lnTo>
                  <a:lnTo>
                    <a:pt x="231063" y="116840"/>
                  </a:lnTo>
                  <a:lnTo>
                    <a:pt x="231597"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20" y="91440"/>
                  </a:lnTo>
                  <a:lnTo>
                    <a:pt x="253098" y="90170"/>
                  </a:lnTo>
                  <a:lnTo>
                    <a:pt x="254063" y="88900"/>
                  </a:lnTo>
                  <a:lnTo>
                    <a:pt x="254901" y="87630"/>
                  </a:lnTo>
                  <a:lnTo>
                    <a:pt x="255524" y="88900"/>
                  </a:lnTo>
                  <a:lnTo>
                    <a:pt x="255638" y="87630"/>
                  </a:lnTo>
                  <a:lnTo>
                    <a:pt x="255854" y="86360"/>
                  </a:lnTo>
                  <a:lnTo>
                    <a:pt x="256616" y="86360"/>
                  </a:lnTo>
                  <a:lnTo>
                    <a:pt x="257670" y="85090"/>
                  </a:lnTo>
                  <a:lnTo>
                    <a:pt x="258343" y="85090"/>
                  </a:lnTo>
                  <a:lnTo>
                    <a:pt x="258445" y="83820"/>
                  </a:lnTo>
                  <a:lnTo>
                    <a:pt x="260108" y="83820"/>
                  </a:lnTo>
                  <a:lnTo>
                    <a:pt x="260286" y="82550"/>
                  </a:lnTo>
                  <a:lnTo>
                    <a:pt x="261264" y="81280"/>
                  </a:lnTo>
                  <a:lnTo>
                    <a:pt x="261327" y="80010"/>
                  </a:lnTo>
                  <a:lnTo>
                    <a:pt x="263588" y="78740"/>
                  </a:lnTo>
                  <a:lnTo>
                    <a:pt x="263829" y="78740"/>
                  </a:lnTo>
                  <a:lnTo>
                    <a:pt x="263664" y="77470"/>
                  </a:lnTo>
                  <a:lnTo>
                    <a:pt x="264985" y="77470"/>
                  </a:lnTo>
                  <a:lnTo>
                    <a:pt x="265353" y="76200"/>
                  </a:lnTo>
                  <a:lnTo>
                    <a:pt x="265480" y="76200"/>
                  </a:lnTo>
                  <a:lnTo>
                    <a:pt x="266014" y="74930"/>
                  </a:lnTo>
                  <a:lnTo>
                    <a:pt x="268185" y="74930"/>
                  </a:lnTo>
                  <a:lnTo>
                    <a:pt x="267639" y="73660"/>
                  </a:lnTo>
                  <a:lnTo>
                    <a:pt x="268173" y="72390"/>
                  </a:lnTo>
                  <a:lnTo>
                    <a:pt x="270167" y="72390"/>
                  </a:lnTo>
                  <a:lnTo>
                    <a:pt x="271335" y="69850"/>
                  </a:lnTo>
                  <a:lnTo>
                    <a:pt x="273329" y="68580"/>
                  </a:lnTo>
                  <a:lnTo>
                    <a:pt x="274980" y="66040"/>
                  </a:lnTo>
                  <a:lnTo>
                    <a:pt x="275475" y="66040"/>
                  </a:lnTo>
                  <a:lnTo>
                    <a:pt x="276263" y="64770"/>
                  </a:lnTo>
                  <a:lnTo>
                    <a:pt x="276529" y="64770"/>
                  </a:lnTo>
                  <a:lnTo>
                    <a:pt x="276402"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388" y="52070"/>
                  </a:lnTo>
                  <a:lnTo>
                    <a:pt x="287782" y="50800"/>
                  </a:lnTo>
                  <a:lnTo>
                    <a:pt x="288607" y="50800"/>
                  </a:lnTo>
                  <a:lnTo>
                    <a:pt x="289826" y="49530"/>
                  </a:lnTo>
                  <a:lnTo>
                    <a:pt x="288912" y="52070"/>
                  </a:lnTo>
                  <a:lnTo>
                    <a:pt x="290220" y="49530"/>
                  </a:lnTo>
                  <a:lnTo>
                    <a:pt x="292862" y="45720"/>
                  </a:lnTo>
                  <a:lnTo>
                    <a:pt x="293446" y="44450"/>
                  </a:lnTo>
                  <a:lnTo>
                    <a:pt x="293649" y="45720"/>
                  </a:lnTo>
                  <a:lnTo>
                    <a:pt x="294462" y="45720"/>
                  </a:lnTo>
                  <a:lnTo>
                    <a:pt x="294462" y="44450"/>
                  </a:lnTo>
                  <a:lnTo>
                    <a:pt x="294741" y="44450"/>
                  </a:lnTo>
                  <a:lnTo>
                    <a:pt x="295871" y="43180"/>
                  </a:lnTo>
                  <a:lnTo>
                    <a:pt x="296062" y="43180"/>
                  </a:lnTo>
                  <a:lnTo>
                    <a:pt x="295059" y="41910"/>
                  </a:lnTo>
                  <a:lnTo>
                    <a:pt x="297916" y="41910"/>
                  </a:lnTo>
                  <a:lnTo>
                    <a:pt x="297484" y="40640"/>
                  </a:lnTo>
                  <a:lnTo>
                    <a:pt x="296481" y="40640"/>
                  </a:lnTo>
                  <a:lnTo>
                    <a:pt x="297307" y="39370"/>
                  </a:lnTo>
                  <a:lnTo>
                    <a:pt x="297434"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21" y="27940"/>
                  </a:lnTo>
                  <a:lnTo>
                    <a:pt x="317385" y="22860"/>
                  </a:lnTo>
                  <a:lnTo>
                    <a:pt x="318757" y="22860"/>
                  </a:lnTo>
                  <a:lnTo>
                    <a:pt x="317474" y="21590"/>
                  </a:lnTo>
                  <a:lnTo>
                    <a:pt x="318731" y="21590"/>
                  </a:lnTo>
                  <a:lnTo>
                    <a:pt x="319176" y="22860"/>
                  </a:lnTo>
                  <a:lnTo>
                    <a:pt x="319671" y="21590"/>
                  </a:lnTo>
                  <a:lnTo>
                    <a:pt x="320179" y="20320"/>
                  </a:lnTo>
                  <a:lnTo>
                    <a:pt x="321970" y="19050"/>
                  </a:lnTo>
                  <a:lnTo>
                    <a:pt x="324878" y="17780"/>
                  </a:lnTo>
                  <a:lnTo>
                    <a:pt x="325742" y="17780"/>
                  </a:lnTo>
                  <a:lnTo>
                    <a:pt x="326644" y="16510"/>
                  </a:lnTo>
                  <a:lnTo>
                    <a:pt x="327545" y="15240"/>
                  </a:lnTo>
                  <a:lnTo>
                    <a:pt x="328434" y="15240"/>
                  </a:lnTo>
                  <a:lnTo>
                    <a:pt x="329704" y="13970"/>
                  </a:lnTo>
                  <a:lnTo>
                    <a:pt x="328244" y="13970"/>
                  </a:lnTo>
                  <a:lnTo>
                    <a:pt x="327850" y="14033"/>
                  </a:lnTo>
                  <a:lnTo>
                    <a:pt x="327507" y="14185"/>
                  </a:lnTo>
                  <a:lnTo>
                    <a:pt x="327660" y="14274"/>
                  </a:lnTo>
                  <a:lnTo>
                    <a:pt x="326110" y="15240"/>
                  </a:lnTo>
                  <a:lnTo>
                    <a:pt x="326326" y="13970"/>
                  </a:lnTo>
                  <a:lnTo>
                    <a:pt x="327469" y="13970"/>
                  </a:lnTo>
                  <a:lnTo>
                    <a:pt x="327977" y="12700"/>
                  </a:lnTo>
                  <a:lnTo>
                    <a:pt x="329996" y="12700"/>
                  </a:lnTo>
                  <a:lnTo>
                    <a:pt x="330377" y="13970"/>
                  </a:lnTo>
                  <a:lnTo>
                    <a:pt x="331533" y="12700"/>
                  </a:lnTo>
                  <a:lnTo>
                    <a:pt x="330441" y="12700"/>
                  </a:lnTo>
                  <a:lnTo>
                    <a:pt x="330352" y="12319"/>
                  </a:lnTo>
                  <a:lnTo>
                    <a:pt x="332041" y="11785"/>
                  </a:lnTo>
                  <a:lnTo>
                    <a:pt x="332587" y="9994"/>
                  </a:lnTo>
                  <a:lnTo>
                    <a:pt x="332994" y="9690"/>
                  </a:lnTo>
                  <a:lnTo>
                    <a:pt x="333375" y="9931"/>
                  </a:lnTo>
                  <a:close/>
                </a:path>
              </a:pathLst>
            </a:custGeom>
            <a:solidFill>
              <a:srgbClr val="D02929"/>
            </a:solidFill>
          </p:spPr>
          <p:txBody>
            <a:bodyPr wrap="square" lIns="0" tIns="0" rIns="0" bIns="0" rtlCol="0"/>
            <a:lstStyle/>
            <a:p>
              <a:endParaRPr/>
            </a:p>
          </p:txBody>
        </p:sp>
        <p:sp>
          <p:nvSpPr>
            <p:cNvPr id="60" name="object 60"/>
            <p:cNvSpPr/>
            <p:nvPr/>
          </p:nvSpPr>
          <p:spPr>
            <a:xfrm>
              <a:off x="2418537" y="6063347"/>
              <a:ext cx="57150" cy="885825"/>
            </a:xfrm>
            <a:custGeom>
              <a:avLst/>
              <a:gdLst/>
              <a:ahLst/>
              <a:cxnLst/>
              <a:rect l="l" t="t" r="r" b="b"/>
              <a:pathLst>
                <a:path w="57150" h="885825">
                  <a:moveTo>
                    <a:pt x="57150" y="853465"/>
                  </a:moveTo>
                  <a:lnTo>
                    <a:pt x="32372" y="828675"/>
                  </a:lnTo>
                  <a:lnTo>
                    <a:pt x="24790" y="828675"/>
                  </a:lnTo>
                  <a:lnTo>
                    <a:pt x="0" y="853465"/>
                  </a:lnTo>
                  <a:lnTo>
                    <a:pt x="0" y="861034"/>
                  </a:lnTo>
                  <a:lnTo>
                    <a:pt x="24790" y="885825"/>
                  </a:lnTo>
                  <a:lnTo>
                    <a:pt x="32372" y="885825"/>
                  </a:lnTo>
                  <a:lnTo>
                    <a:pt x="57150" y="861034"/>
                  </a:lnTo>
                  <a:lnTo>
                    <a:pt x="57150" y="857250"/>
                  </a:lnTo>
                  <a:lnTo>
                    <a:pt x="57150" y="853465"/>
                  </a:lnTo>
                  <a:close/>
                </a:path>
                <a:path w="57150" h="885825">
                  <a:moveTo>
                    <a:pt x="57150" y="577240"/>
                  </a:moveTo>
                  <a:lnTo>
                    <a:pt x="32372" y="552450"/>
                  </a:lnTo>
                  <a:lnTo>
                    <a:pt x="24790" y="552450"/>
                  </a:lnTo>
                  <a:lnTo>
                    <a:pt x="0" y="577240"/>
                  </a:lnTo>
                  <a:lnTo>
                    <a:pt x="0" y="584809"/>
                  </a:lnTo>
                  <a:lnTo>
                    <a:pt x="24790" y="609600"/>
                  </a:lnTo>
                  <a:lnTo>
                    <a:pt x="32372" y="609600"/>
                  </a:lnTo>
                  <a:lnTo>
                    <a:pt x="57150" y="584809"/>
                  </a:lnTo>
                  <a:lnTo>
                    <a:pt x="57150" y="581025"/>
                  </a:lnTo>
                  <a:lnTo>
                    <a:pt x="57150" y="577240"/>
                  </a:lnTo>
                  <a:close/>
                </a:path>
                <a:path w="57150" h="885825">
                  <a:moveTo>
                    <a:pt x="57150" y="301015"/>
                  </a:moveTo>
                  <a:lnTo>
                    <a:pt x="32372" y="276225"/>
                  </a:lnTo>
                  <a:lnTo>
                    <a:pt x="24790" y="276225"/>
                  </a:lnTo>
                  <a:lnTo>
                    <a:pt x="0" y="301015"/>
                  </a:lnTo>
                  <a:lnTo>
                    <a:pt x="0" y="308584"/>
                  </a:lnTo>
                  <a:lnTo>
                    <a:pt x="24790" y="333375"/>
                  </a:lnTo>
                  <a:lnTo>
                    <a:pt x="32372" y="333375"/>
                  </a:lnTo>
                  <a:lnTo>
                    <a:pt x="57150" y="308584"/>
                  </a:lnTo>
                  <a:lnTo>
                    <a:pt x="57150" y="304800"/>
                  </a:lnTo>
                  <a:lnTo>
                    <a:pt x="57150" y="301015"/>
                  </a:lnTo>
                  <a:close/>
                </a:path>
                <a:path w="57150" h="885825">
                  <a:moveTo>
                    <a:pt x="57150" y="24790"/>
                  </a:moveTo>
                  <a:lnTo>
                    <a:pt x="32372" y="0"/>
                  </a:lnTo>
                  <a:lnTo>
                    <a:pt x="24790" y="0"/>
                  </a:lnTo>
                  <a:lnTo>
                    <a:pt x="0" y="24790"/>
                  </a:lnTo>
                  <a:lnTo>
                    <a:pt x="0" y="32359"/>
                  </a:lnTo>
                  <a:lnTo>
                    <a:pt x="24790" y="57150"/>
                  </a:lnTo>
                  <a:lnTo>
                    <a:pt x="32372" y="57150"/>
                  </a:lnTo>
                  <a:lnTo>
                    <a:pt x="57150" y="32359"/>
                  </a:lnTo>
                  <a:lnTo>
                    <a:pt x="57150" y="28575"/>
                  </a:lnTo>
                  <a:lnTo>
                    <a:pt x="57150" y="24790"/>
                  </a:lnTo>
                  <a:close/>
                </a:path>
              </a:pathLst>
            </a:custGeom>
            <a:solidFill>
              <a:srgbClr val="737373"/>
            </a:solidFill>
          </p:spPr>
          <p:txBody>
            <a:bodyPr wrap="square" lIns="0" tIns="0" rIns="0" bIns="0" rtlCol="0"/>
            <a:lstStyle/>
            <a:p>
              <a:endParaRPr/>
            </a:p>
          </p:txBody>
        </p:sp>
      </p:grpSp>
      <p:sp>
        <p:nvSpPr>
          <p:cNvPr id="61" name="object 61"/>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5.</a:t>
            </a:r>
            <a:r>
              <a:rPr spc="-85" dirty="0"/>
              <a:t> </a:t>
            </a:r>
            <a:r>
              <a:rPr spc="-10" dirty="0"/>
              <a:t>Imagen</a:t>
            </a:r>
            <a:r>
              <a:rPr spc="-80" dirty="0"/>
              <a:t> </a:t>
            </a:r>
            <a:r>
              <a:rPr dirty="0"/>
              <a:t>y</a:t>
            </a:r>
            <a:r>
              <a:rPr spc="-85" dirty="0"/>
              <a:t> </a:t>
            </a:r>
            <a:r>
              <a:rPr spc="-25" dirty="0"/>
              <a:t>posicionamiento</a:t>
            </a:r>
            <a:r>
              <a:rPr spc="-80" dirty="0"/>
              <a:t> </a:t>
            </a:r>
            <a:r>
              <a:rPr dirty="0"/>
              <a:t>de</a:t>
            </a:r>
            <a:r>
              <a:rPr spc="-80" dirty="0"/>
              <a:t> </a:t>
            </a:r>
            <a:r>
              <a:rPr spc="-20" dirty="0"/>
              <a:t>Chile</a:t>
            </a:r>
          </a:p>
        </p:txBody>
      </p:sp>
      <p:sp>
        <p:nvSpPr>
          <p:cNvPr id="62" name="object 62"/>
          <p:cNvSpPr txBox="1"/>
          <p:nvPr/>
        </p:nvSpPr>
        <p:spPr>
          <a:xfrm>
            <a:off x="5880553" y="4033656"/>
            <a:ext cx="2519045" cy="407670"/>
          </a:xfrm>
          <a:prstGeom prst="rect">
            <a:avLst/>
          </a:prstGeom>
        </p:spPr>
        <p:txBody>
          <a:bodyPr vert="horz" wrap="square" lIns="0" tIns="13335" rIns="0" bIns="0" rtlCol="0">
            <a:spAutoFit/>
          </a:bodyPr>
          <a:lstStyle/>
          <a:p>
            <a:pPr>
              <a:lnSpc>
                <a:spcPct val="100000"/>
              </a:lnSpc>
              <a:spcBef>
                <a:spcPts val="105"/>
              </a:spcBef>
            </a:pPr>
            <a:r>
              <a:rPr sz="2500" b="1" spc="130" dirty="0">
                <a:solidFill>
                  <a:srgbClr val="E3112B"/>
                </a:solidFill>
                <a:latin typeface="Arial"/>
                <a:cs typeface="Arial"/>
              </a:rPr>
              <a:t>Oportunidades</a:t>
            </a:r>
            <a:endParaRPr sz="2500">
              <a:latin typeface="Arial"/>
              <a:cs typeface="Arial"/>
            </a:endParaRPr>
          </a:p>
        </p:txBody>
      </p:sp>
      <p:sp>
        <p:nvSpPr>
          <p:cNvPr id="63" name="object 63"/>
          <p:cNvSpPr txBox="1"/>
          <p:nvPr/>
        </p:nvSpPr>
        <p:spPr>
          <a:xfrm>
            <a:off x="6058818" y="4778819"/>
            <a:ext cx="2162175" cy="577850"/>
          </a:xfrm>
          <a:prstGeom prst="rect">
            <a:avLst/>
          </a:prstGeom>
        </p:spPr>
        <p:txBody>
          <a:bodyPr vert="horz" wrap="square" lIns="0" tIns="12065" rIns="0" bIns="0" rtlCol="0">
            <a:spAutoFit/>
          </a:bodyPr>
          <a:lstStyle/>
          <a:p>
            <a:pPr marL="55244" marR="5080" indent="-55880">
              <a:lnSpc>
                <a:spcPct val="116900"/>
              </a:lnSpc>
              <a:spcBef>
                <a:spcPts val="95"/>
              </a:spcBef>
            </a:pPr>
            <a:r>
              <a:rPr sz="1550" b="1" dirty="0">
                <a:solidFill>
                  <a:srgbClr val="737373"/>
                </a:solidFill>
                <a:latin typeface="Roboto"/>
                <a:cs typeface="Roboto"/>
              </a:rPr>
              <a:t>Agregar</a:t>
            </a:r>
            <a:r>
              <a:rPr sz="1550" b="1" spc="10" dirty="0">
                <a:solidFill>
                  <a:srgbClr val="737373"/>
                </a:solidFill>
                <a:latin typeface="Roboto"/>
                <a:cs typeface="Roboto"/>
              </a:rPr>
              <a:t> </a:t>
            </a:r>
            <a:r>
              <a:rPr sz="1550" b="1" dirty="0">
                <a:solidFill>
                  <a:srgbClr val="737373"/>
                </a:solidFill>
                <a:latin typeface="Roboto"/>
                <a:cs typeface="Roboto"/>
              </a:rPr>
              <a:t>un</a:t>
            </a:r>
            <a:r>
              <a:rPr sz="1550" b="1" spc="10" dirty="0">
                <a:solidFill>
                  <a:srgbClr val="737373"/>
                </a:solidFill>
                <a:latin typeface="Roboto"/>
                <a:cs typeface="Roboto"/>
              </a:rPr>
              <a:t> </a:t>
            </a:r>
            <a:r>
              <a:rPr sz="1550" b="1" dirty="0">
                <a:solidFill>
                  <a:srgbClr val="737373"/>
                </a:solidFill>
                <a:latin typeface="Roboto"/>
                <a:cs typeface="Roboto"/>
              </a:rPr>
              <a:t>baseline</a:t>
            </a:r>
            <a:r>
              <a:rPr sz="1550" b="1" spc="10" dirty="0">
                <a:solidFill>
                  <a:srgbClr val="737373"/>
                </a:solidFill>
                <a:latin typeface="Roboto"/>
                <a:cs typeface="Roboto"/>
              </a:rPr>
              <a:t> </a:t>
            </a:r>
            <a:r>
              <a:rPr sz="1550" dirty="0">
                <a:solidFill>
                  <a:srgbClr val="737373"/>
                </a:solidFill>
                <a:latin typeface="Roboto"/>
                <a:cs typeface="Roboto"/>
              </a:rPr>
              <a:t>a</a:t>
            </a:r>
            <a:r>
              <a:rPr sz="1550" spc="10" dirty="0">
                <a:solidFill>
                  <a:srgbClr val="737373"/>
                </a:solidFill>
                <a:latin typeface="Roboto"/>
                <a:cs typeface="Roboto"/>
              </a:rPr>
              <a:t> </a:t>
            </a:r>
            <a:r>
              <a:rPr sz="1550" spc="-25" dirty="0">
                <a:solidFill>
                  <a:srgbClr val="737373"/>
                </a:solidFill>
                <a:latin typeface="Roboto"/>
                <a:cs typeface="Roboto"/>
              </a:rPr>
              <a:t>la </a:t>
            </a:r>
            <a:r>
              <a:rPr sz="1550" dirty="0">
                <a:solidFill>
                  <a:srgbClr val="737373"/>
                </a:solidFill>
                <a:latin typeface="Roboto"/>
                <a:cs typeface="Roboto"/>
              </a:rPr>
              <a:t>marca</a:t>
            </a:r>
            <a:r>
              <a:rPr sz="1550" spc="-70" dirty="0">
                <a:solidFill>
                  <a:srgbClr val="737373"/>
                </a:solidFill>
                <a:latin typeface="Roboto"/>
                <a:cs typeface="Roboto"/>
              </a:rPr>
              <a:t> </a:t>
            </a:r>
            <a:r>
              <a:rPr sz="1550" dirty="0">
                <a:solidFill>
                  <a:srgbClr val="737373"/>
                </a:solidFill>
                <a:latin typeface="Roboto"/>
                <a:cs typeface="Roboto"/>
              </a:rPr>
              <a:t>gráfica</a:t>
            </a:r>
            <a:r>
              <a:rPr sz="1550" spc="-65" dirty="0">
                <a:solidFill>
                  <a:srgbClr val="737373"/>
                </a:solidFill>
                <a:latin typeface="Roboto"/>
                <a:cs typeface="Roboto"/>
              </a:rPr>
              <a:t> </a:t>
            </a:r>
            <a:r>
              <a:rPr sz="1550" spc="-10" dirty="0">
                <a:solidFill>
                  <a:srgbClr val="737373"/>
                </a:solidFill>
                <a:latin typeface="Roboto"/>
                <a:cs typeface="Roboto"/>
              </a:rPr>
              <a:t>turística</a:t>
            </a:r>
            <a:endParaRPr sz="1550">
              <a:latin typeface="Roboto"/>
              <a:cs typeface="Roboto"/>
            </a:endParaRPr>
          </a:p>
        </p:txBody>
      </p:sp>
      <p:sp>
        <p:nvSpPr>
          <p:cNvPr id="64" name="object 64"/>
          <p:cNvSpPr txBox="1"/>
          <p:nvPr/>
        </p:nvSpPr>
        <p:spPr>
          <a:xfrm>
            <a:off x="5894214" y="5607494"/>
            <a:ext cx="2491105" cy="854075"/>
          </a:xfrm>
          <a:prstGeom prst="rect">
            <a:avLst/>
          </a:prstGeom>
        </p:spPr>
        <p:txBody>
          <a:bodyPr vert="horz" wrap="square" lIns="0" tIns="12065" rIns="0" bIns="0" rtlCol="0">
            <a:spAutoFit/>
          </a:bodyPr>
          <a:lstStyle/>
          <a:p>
            <a:pPr marR="5080" algn="ctr">
              <a:lnSpc>
                <a:spcPct val="116900"/>
              </a:lnSpc>
              <a:spcBef>
                <a:spcPts val="95"/>
              </a:spcBef>
            </a:pPr>
            <a:r>
              <a:rPr sz="1550" spc="-10" dirty="0">
                <a:solidFill>
                  <a:srgbClr val="737373"/>
                </a:solidFill>
                <a:latin typeface="Roboto"/>
                <a:cs typeface="Roboto"/>
              </a:rPr>
              <a:t>Posicionamiento</a:t>
            </a:r>
            <a:r>
              <a:rPr sz="1550" spc="-55" dirty="0">
                <a:solidFill>
                  <a:srgbClr val="737373"/>
                </a:solidFill>
                <a:latin typeface="Roboto"/>
                <a:cs typeface="Roboto"/>
              </a:rPr>
              <a:t> </a:t>
            </a:r>
            <a:r>
              <a:rPr sz="1550" spc="-10" dirty="0">
                <a:solidFill>
                  <a:srgbClr val="737373"/>
                </a:solidFill>
                <a:latin typeface="Roboto"/>
                <a:cs typeface="Roboto"/>
              </a:rPr>
              <a:t>emergente </a:t>
            </a:r>
            <a:r>
              <a:rPr sz="1550" dirty="0">
                <a:solidFill>
                  <a:srgbClr val="737373"/>
                </a:solidFill>
                <a:latin typeface="Roboto"/>
                <a:cs typeface="Roboto"/>
              </a:rPr>
              <a:t>de</a:t>
            </a:r>
            <a:r>
              <a:rPr sz="1550" spc="-25" dirty="0">
                <a:solidFill>
                  <a:srgbClr val="737373"/>
                </a:solidFill>
                <a:latin typeface="Roboto"/>
                <a:cs typeface="Roboto"/>
              </a:rPr>
              <a:t> </a:t>
            </a:r>
            <a:r>
              <a:rPr sz="1550" dirty="0">
                <a:solidFill>
                  <a:srgbClr val="737373"/>
                </a:solidFill>
                <a:latin typeface="Roboto"/>
                <a:cs typeface="Roboto"/>
              </a:rPr>
              <a:t>la</a:t>
            </a:r>
            <a:r>
              <a:rPr sz="1550" spc="-30" dirty="0">
                <a:solidFill>
                  <a:srgbClr val="737373"/>
                </a:solidFill>
                <a:latin typeface="Roboto"/>
                <a:cs typeface="Roboto"/>
              </a:rPr>
              <a:t> </a:t>
            </a:r>
            <a:r>
              <a:rPr sz="1550" b="1" dirty="0">
                <a:solidFill>
                  <a:srgbClr val="737373"/>
                </a:solidFill>
                <a:latin typeface="Roboto"/>
                <a:cs typeface="Roboto"/>
              </a:rPr>
              <a:t>astronomía</a:t>
            </a:r>
            <a:r>
              <a:rPr sz="1550" b="1" spc="-20" dirty="0">
                <a:solidFill>
                  <a:srgbClr val="737373"/>
                </a:solidFill>
                <a:latin typeface="Roboto"/>
                <a:cs typeface="Roboto"/>
              </a:rPr>
              <a:t> </a:t>
            </a:r>
            <a:r>
              <a:rPr sz="1550" b="1" dirty="0">
                <a:solidFill>
                  <a:srgbClr val="737373"/>
                </a:solidFill>
                <a:latin typeface="Roboto"/>
                <a:cs typeface="Roboto"/>
              </a:rPr>
              <a:t>y</a:t>
            </a:r>
            <a:r>
              <a:rPr sz="1550" b="1" spc="-25" dirty="0">
                <a:solidFill>
                  <a:srgbClr val="737373"/>
                </a:solidFill>
                <a:latin typeface="Roboto"/>
                <a:cs typeface="Roboto"/>
              </a:rPr>
              <a:t> </a:t>
            </a:r>
            <a:r>
              <a:rPr sz="1550" b="1" dirty="0">
                <a:solidFill>
                  <a:srgbClr val="737373"/>
                </a:solidFill>
                <a:latin typeface="Roboto"/>
                <a:cs typeface="Roboto"/>
              </a:rPr>
              <a:t>la</a:t>
            </a:r>
            <a:r>
              <a:rPr sz="1550" b="1" spc="-25" dirty="0">
                <a:solidFill>
                  <a:srgbClr val="737373"/>
                </a:solidFill>
                <a:latin typeface="Roboto"/>
                <a:cs typeface="Roboto"/>
              </a:rPr>
              <a:t> </a:t>
            </a:r>
            <a:r>
              <a:rPr sz="1550" b="1" spc="-20" dirty="0">
                <a:solidFill>
                  <a:srgbClr val="737373"/>
                </a:solidFill>
                <a:latin typeface="Roboto"/>
                <a:cs typeface="Roboto"/>
              </a:rPr>
              <a:t>ruta</a:t>
            </a:r>
            <a:r>
              <a:rPr sz="1550" b="1" spc="500" dirty="0">
                <a:solidFill>
                  <a:srgbClr val="737373"/>
                </a:solidFill>
                <a:latin typeface="Roboto"/>
                <a:cs typeface="Roboto"/>
              </a:rPr>
              <a:t> </a:t>
            </a:r>
            <a:r>
              <a:rPr sz="1550" b="1" dirty="0">
                <a:solidFill>
                  <a:srgbClr val="737373"/>
                </a:solidFill>
                <a:latin typeface="Roboto"/>
                <a:cs typeface="Roboto"/>
              </a:rPr>
              <a:t>de</a:t>
            </a:r>
            <a:r>
              <a:rPr sz="1550" b="1" spc="-5" dirty="0">
                <a:solidFill>
                  <a:srgbClr val="737373"/>
                </a:solidFill>
                <a:latin typeface="Roboto"/>
                <a:cs typeface="Roboto"/>
              </a:rPr>
              <a:t> </a:t>
            </a:r>
            <a:r>
              <a:rPr sz="1550" b="1" dirty="0">
                <a:solidFill>
                  <a:srgbClr val="737373"/>
                </a:solidFill>
                <a:latin typeface="Roboto"/>
                <a:cs typeface="Roboto"/>
              </a:rPr>
              <a:t>los parques </a:t>
            </a:r>
            <a:r>
              <a:rPr sz="1550" b="1" spc="-10" dirty="0">
                <a:solidFill>
                  <a:srgbClr val="737373"/>
                </a:solidFill>
                <a:latin typeface="Roboto"/>
                <a:cs typeface="Roboto"/>
              </a:rPr>
              <a:t>Patagonicos</a:t>
            </a:r>
            <a:endParaRPr sz="1550">
              <a:latin typeface="Roboto"/>
              <a:cs typeface="Roboto"/>
            </a:endParaRPr>
          </a:p>
        </p:txBody>
      </p:sp>
      <p:sp>
        <p:nvSpPr>
          <p:cNvPr id="65" name="object 65"/>
          <p:cNvSpPr txBox="1"/>
          <p:nvPr/>
        </p:nvSpPr>
        <p:spPr>
          <a:xfrm>
            <a:off x="6307063" y="6750760"/>
            <a:ext cx="1665605" cy="263525"/>
          </a:xfrm>
          <a:prstGeom prst="rect">
            <a:avLst/>
          </a:prstGeom>
        </p:spPr>
        <p:txBody>
          <a:bodyPr vert="horz" wrap="square" lIns="0" tIns="13970" rIns="0" bIns="0" rtlCol="0">
            <a:spAutoFit/>
          </a:bodyPr>
          <a:lstStyle/>
          <a:p>
            <a:pPr>
              <a:lnSpc>
                <a:spcPct val="100000"/>
              </a:lnSpc>
              <a:spcBef>
                <a:spcPts val="110"/>
              </a:spcBef>
            </a:pPr>
            <a:r>
              <a:rPr sz="1550" dirty="0">
                <a:solidFill>
                  <a:srgbClr val="737373"/>
                </a:solidFill>
                <a:latin typeface="Roboto"/>
                <a:cs typeface="Roboto"/>
              </a:rPr>
              <a:t>Generar</a:t>
            </a:r>
            <a:r>
              <a:rPr sz="1550" spc="-80" dirty="0">
                <a:solidFill>
                  <a:srgbClr val="737373"/>
                </a:solidFill>
                <a:latin typeface="Roboto"/>
                <a:cs typeface="Roboto"/>
              </a:rPr>
              <a:t> </a:t>
            </a:r>
            <a:r>
              <a:rPr sz="1550" b="1" spc="-10" dirty="0">
                <a:solidFill>
                  <a:srgbClr val="737373"/>
                </a:solidFill>
                <a:latin typeface="Roboto"/>
                <a:cs typeface="Roboto"/>
              </a:rPr>
              <a:t>itinerarios</a:t>
            </a:r>
            <a:endParaRPr sz="1550">
              <a:latin typeface="Roboto"/>
              <a:cs typeface="Roboto"/>
            </a:endParaRPr>
          </a:p>
        </p:txBody>
      </p:sp>
      <p:sp>
        <p:nvSpPr>
          <p:cNvPr id="66" name="object 66"/>
          <p:cNvSpPr/>
          <p:nvPr/>
        </p:nvSpPr>
        <p:spPr>
          <a:xfrm>
            <a:off x="13804427" y="6063343"/>
            <a:ext cx="57150" cy="57150"/>
          </a:xfrm>
          <a:custGeom>
            <a:avLst/>
            <a:gdLst/>
            <a:ahLst/>
            <a:cxnLst/>
            <a:rect l="l" t="t" r="r" b="b"/>
            <a:pathLst>
              <a:path w="57150" h="57150">
                <a:moveTo>
                  <a:pt x="32364" y="57149"/>
                </a:moveTo>
                <a:lnTo>
                  <a:pt x="24785" y="57149"/>
                </a:lnTo>
                <a:lnTo>
                  <a:pt x="21140" y="56424"/>
                </a:lnTo>
                <a:lnTo>
                  <a:pt x="0" y="32364"/>
                </a:lnTo>
                <a:lnTo>
                  <a:pt x="0" y="24785"/>
                </a:lnTo>
                <a:lnTo>
                  <a:pt x="24785" y="0"/>
                </a:lnTo>
                <a:lnTo>
                  <a:pt x="32364" y="0"/>
                </a:lnTo>
                <a:lnTo>
                  <a:pt x="57150" y="28574"/>
                </a:lnTo>
                <a:lnTo>
                  <a:pt x="57149" y="32364"/>
                </a:lnTo>
                <a:lnTo>
                  <a:pt x="32364" y="57149"/>
                </a:lnTo>
                <a:close/>
              </a:path>
            </a:pathLst>
          </a:custGeom>
          <a:solidFill>
            <a:srgbClr val="737373"/>
          </a:solidFill>
        </p:spPr>
        <p:txBody>
          <a:bodyPr wrap="square" lIns="0" tIns="0" rIns="0" bIns="0" rtlCol="0"/>
          <a:lstStyle/>
          <a:p>
            <a:endParaRPr/>
          </a:p>
        </p:txBody>
      </p:sp>
      <p:sp>
        <p:nvSpPr>
          <p:cNvPr id="67" name="object 67"/>
          <p:cNvSpPr/>
          <p:nvPr/>
        </p:nvSpPr>
        <p:spPr>
          <a:xfrm>
            <a:off x="13804427" y="6339568"/>
            <a:ext cx="57150" cy="57150"/>
          </a:xfrm>
          <a:custGeom>
            <a:avLst/>
            <a:gdLst/>
            <a:ahLst/>
            <a:cxnLst/>
            <a:rect l="l" t="t" r="r" b="b"/>
            <a:pathLst>
              <a:path w="57150" h="57150">
                <a:moveTo>
                  <a:pt x="32364" y="57149"/>
                </a:moveTo>
                <a:lnTo>
                  <a:pt x="24785" y="57149"/>
                </a:lnTo>
                <a:lnTo>
                  <a:pt x="21140" y="56424"/>
                </a:lnTo>
                <a:lnTo>
                  <a:pt x="0" y="32364"/>
                </a:lnTo>
                <a:lnTo>
                  <a:pt x="0" y="24785"/>
                </a:lnTo>
                <a:lnTo>
                  <a:pt x="24785" y="0"/>
                </a:lnTo>
                <a:lnTo>
                  <a:pt x="32364" y="0"/>
                </a:lnTo>
                <a:lnTo>
                  <a:pt x="57150" y="28574"/>
                </a:lnTo>
                <a:lnTo>
                  <a:pt x="57149" y="32364"/>
                </a:lnTo>
                <a:lnTo>
                  <a:pt x="32364" y="57149"/>
                </a:lnTo>
                <a:close/>
              </a:path>
            </a:pathLst>
          </a:custGeom>
          <a:solidFill>
            <a:srgbClr val="737373"/>
          </a:solidFill>
        </p:spPr>
        <p:txBody>
          <a:bodyPr wrap="square" lIns="0" tIns="0" rIns="0" bIns="0" rtlCol="0"/>
          <a:lstStyle/>
          <a:p>
            <a:endParaRPr/>
          </a:p>
        </p:txBody>
      </p:sp>
      <p:sp>
        <p:nvSpPr>
          <p:cNvPr id="68" name="object 68"/>
          <p:cNvSpPr/>
          <p:nvPr/>
        </p:nvSpPr>
        <p:spPr>
          <a:xfrm>
            <a:off x="13804427" y="6615793"/>
            <a:ext cx="57150" cy="57150"/>
          </a:xfrm>
          <a:custGeom>
            <a:avLst/>
            <a:gdLst/>
            <a:ahLst/>
            <a:cxnLst/>
            <a:rect l="l" t="t" r="r" b="b"/>
            <a:pathLst>
              <a:path w="57150" h="57150">
                <a:moveTo>
                  <a:pt x="32364" y="57149"/>
                </a:moveTo>
                <a:lnTo>
                  <a:pt x="24785" y="57149"/>
                </a:lnTo>
                <a:lnTo>
                  <a:pt x="21140" y="56424"/>
                </a:lnTo>
                <a:lnTo>
                  <a:pt x="0" y="32364"/>
                </a:lnTo>
                <a:lnTo>
                  <a:pt x="0" y="24785"/>
                </a:lnTo>
                <a:lnTo>
                  <a:pt x="24785" y="0"/>
                </a:lnTo>
                <a:lnTo>
                  <a:pt x="32364" y="0"/>
                </a:lnTo>
                <a:lnTo>
                  <a:pt x="57150" y="28574"/>
                </a:lnTo>
                <a:lnTo>
                  <a:pt x="57149" y="32364"/>
                </a:lnTo>
                <a:lnTo>
                  <a:pt x="32364" y="57149"/>
                </a:lnTo>
                <a:close/>
              </a:path>
            </a:pathLst>
          </a:custGeom>
          <a:solidFill>
            <a:srgbClr val="737373"/>
          </a:solidFill>
        </p:spPr>
        <p:txBody>
          <a:bodyPr wrap="square" lIns="0" tIns="0" rIns="0" bIns="0" rtlCol="0"/>
          <a:lstStyle/>
          <a:p>
            <a:endParaRPr/>
          </a:p>
        </p:txBody>
      </p:sp>
      <p:sp>
        <p:nvSpPr>
          <p:cNvPr id="69" name="object 69"/>
          <p:cNvSpPr txBox="1"/>
          <p:nvPr/>
        </p:nvSpPr>
        <p:spPr>
          <a:xfrm>
            <a:off x="13987932" y="5900776"/>
            <a:ext cx="1189990" cy="854075"/>
          </a:xfrm>
          <a:prstGeom prst="rect">
            <a:avLst/>
          </a:prstGeom>
        </p:spPr>
        <p:txBody>
          <a:bodyPr vert="horz" wrap="square" lIns="0" tIns="12700" rIns="0" bIns="0" rtlCol="0">
            <a:spAutoFit/>
          </a:bodyPr>
          <a:lstStyle/>
          <a:p>
            <a:pPr marR="5080">
              <a:lnSpc>
                <a:spcPct val="113300"/>
              </a:lnSpc>
              <a:spcBef>
                <a:spcPts val="100"/>
              </a:spcBef>
            </a:pPr>
            <a:r>
              <a:rPr sz="1600" spc="-10" dirty="0">
                <a:solidFill>
                  <a:srgbClr val="737373"/>
                </a:solidFill>
                <a:latin typeface="Roboto"/>
                <a:cs typeface="Roboto"/>
              </a:rPr>
              <a:t>Precio Distancia </a:t>
            </a:r>
            <a:r>
              <a:rPr sz="1600" spc="-20" dirty="0">
                <a:solidFill>
                  <a:srgbClr val="737373"/>
                </a:solidFill>
                <a:latin typeface="Roboto"/>
                <a:cs typeface="Roboto"/>
              </a:rPr>
              <a:t>Conectividad</a:t>
            </a:r>
            <a:endParaRPr sz="1600">
              <a:latin typeface="Roboto"/>
              <a:cs typeface="Roboto"/>
            </a:endParaRPr>
          </a:p>
        </p:txBody>
      </p:sp>
      <p:sp>
        <p:nvSpPr>
          <p:cNvPr id="70" name="object 70"/>
          <p:cNvSpPr txBox="1"/>
          <p:nvPr/>
        </p:nvSpPr>
        <p:spPr>
          <a:xfrm>
            <a:off x="2602054" y="5900776"/>
            <a:ext cx="1976755" cy="1130300"/>
          </a:xfrm>
          <a:prstGeom prst="rect">
            <a:avLst/>
          </a:prstGeom>
        </p:spPr>
        <p:txBody>
          <a:bodyPr vert="horz" wrap="square" lIns="0" tIns="12700" rIns="0" bIns="0" rtlCol="0">
            <a:spAutoFit/>
          </a:bodyPr>
          <a:lstStyle/>
          <a:p>
            <a:pPr marR="5080">
              <a:lnSpc>
                <a:spcPct val="113300"/>
              </a:lnSpc>
              <a:spcBef>
                <a:spcPts val="100"/>
              </a:spcBef>
            </a:pPr>
            <a:r>
              <a:rPr sz="1600" spc="-20" dirty="0">
                <a:solidFill>
                  <a:srgbClr val="737373"/>
                </a:solidFill>
                <a:latin typeface="Roboto"/>
                <a:cs typeface="Roboto"/>
              </a:rPr>
              <a:t>Naturaleza</a:t>
            </a:r>
            <a:r>
              <a:rPr sz="1600" spc="-35" dirty="0">
                <a:solidFill>
                  <a:srgbClr val="737373"/>
                </a:solidFill>
                <a:latin typeface="Roboto"/>
                <a:cs typeface="Roboto"/>
              </a:rPr>
              <a:t> </a:t>
            </a:r>
            <a:r>
              <a:rPr sz="1600" dirty="0">
                <a:solidFill>
                  <a:srgbClr val="737373"/>
                </a:solidFill>
                <a:latin typeface="Roboto"/>
                <a:cs typeface="Roboto"/>
              </a:rPr>
              <a:t>y</a:t>
            </a:r>
            <a:r>
              <a:rPr sz="1600" spc="-35" dirty="0">
                <a:solidFill>
                  <a:srgbClr val="737373"/>
                </a:solidFill>
                <a:latin typeface="Roboto"/>
                <a:cs typeface="Roboto"/>
              </a:rPr>
              <a:t> </a:t>
            </a:r>
            <a:r>
              <a:rPr sz="1600" spc="-20" dirty="0">
                <a:solidFill>
                  <a:srgbClr val="737373"/>
                </a:solidFill>
                <a:latin typeface="Roboto"/>
                <a:cs typeface="Roboto"/>
              </a:rPr>
              <a:t>aventura </a:t>
            </a:r>
            <a:r>
              <a:rPr sz="1600" spc="-10" dirty="0">
                <a:solidFill>
                  <a:srgbClr val="737373"/>
                </a:solidFill>
                <a:latin typeface="Roboto"/>
                <a:cs typeface="Roboto"/>
              </a:rPr>
              <a:t>Parques</a:t>
            </a:r>
            <a:r>
              <a:rPr sz="1600" spc="-65" dirty="0">
                <a:solidFill>
                  <a:srgbClr val="737373"/>
                </a:solidFill>
                <a:latin typeface="Roboto"/>
                <a:cs typeface="Roboto"/>
              </a:rPr>
              <a:t> </a:t>
            </a:r>
            <a:r>
              <a:rPr sz="1600" spc="-10" dirty="0">
                <a:solidFill>
                  <a:srgbClr val="737373"/>
                </a:solidFill>
                <a:latin typeface="Roboto"/>
                <a:cs typeface="Roboto"/>
              </a:rPr>
              <a:t>naturales Hiking,</a:t>
            </a:r>
            <a:r>
              <a:rPr sz="1600" spc="-65" dirty="0">
                <a:solidFill>
                  <a:srgbClr val="737373"/>
                </a:solidFill>
                <a:latin typeface="Roboto"/>
                <a:cs typeface="Roboto"/>
              </a:rPr>
              <a:t> </a:t>
            </a:r>
            <a:r>
              <a:rPr sz="1600" spc="-10" dirty="0">
                <a:solidFill>
                  <a:srgbClr val="737373"/>
                </a:solidFill>
                <a:latin typeface="Roboto"/>
                <a:cs typeface="Roboto"/>
              </a:rPr>
              <a:t>trekking</a:t>
            </a:r>
            <a:endParaRPr sz="1600">
              <a:latin typeface="Roboto"/>
              <a:cs typeface="Roboto"/>
            </a:endParaRPr>
          </a:p>
          <a:p>
            <a:pPr>
              <a:lnSpc>
                <a:spcPct val="100000"/>
              </a:lnSpc>
              <a:spcBef>
                <a:spcPts val="254"/>
              </a:spcBef>
            </a:pPr>
            <a:r>
              <a:rPr sz="1600" spc="-20" dirty="0">
                <a:solidFill>
                  <a:srgbClr val="737373"/>
                </a:solidFill>
                <a:latin typeface="Roboto"/>
                <a:cs typeface="Roboto"/>
              </a:rPr>
              <a:t>Vino</a:t>
            </a:r>
            <a:endParaRPr sz="1600">
              <a:latin typeface="Roboto"/>
              <a:cs typeface="Roboto"/>
            </a:endParaRPr>
          </a:p>
        </p:txBody>
      </p:sp>
      <p:pic>
        <p:nvPicPr>
          <p:cNvPr id="71" name="object 71"/>
          <p:cNvPicPr/>
          <p:nvPr/>
        </p:nvPicPr>
        <p:blipFill>
          <a:blip r:embed="rId7" cstate="print"/>
          <a:stretch>
            <a:fillRect/>
          </a:stretch>
        </p:blipFill>
        <p:spPr>
          <a:xfrm>
            <a:off x="17316450" y="237491"/>
            <a:ext cx="742949" cy="819149"/>
          </a:xfrm>
          <a:prstGeom prst="rect">
            <a:avLst/>
          </a:prstGeom>
        </p:spPr>
      </p:pic>
      <p:sp>
        <p:nvSpPr>
          <p:cNvPr id="72" name="object 72"/>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73" name="object 73"/>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13</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32"/>
            <a:ext cx="17954625" cy="9604375"/>
            <a:chOff x="166956" y="184832"/>
            <a:chExt cx="17954625" cy="9604375"/>
          </a:xfrm>
        </p:grpSpPr>
        <p:sp>
          <p:nvSpPr>
            <p:cNvPr id="3" name="object 3"/>
            <p:cNvSpPr/>
            <p:nvPr/>
          </p:nvSpPr>
          <p:spPr>
            <a:xfrm>
              <a:off x="166956" y="1113693"/>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736890" y="2156764"/>
              <a:ext cx="11824335" cy="7463790"/>
            </a:xfrm>
            <a:custGeom>
              <a:avLst/>
              <a:gdLst/>
              <a:ahLst/>
              <a:cxnLst/>
              <a:rect l="l" t="t" r="r" b="b"/>
              <a:pathLst>
                <a:path w="11824335" h="7463790">
                  <a:moveTo>
                    <a:pt x="11823764" y="4872698"/>
                  </a:moveTo>
                  <a:lnTo>
                    <a:pt x="0" y="4872698"/>
                  </a:lnTo>
                  <a:lnTo>
                    <a:pt x="0" y="6757390"/>
                  </a:lnTo>
                  <a:lnTo>
                    <a:pt x="0" y="7463396"/>
                  </a:lnTo>
                  <a:lnTo>
                    <a:pt x="11823764" y="7463396"/>
                  </a:lnTo>
                  <a:lnTo>
                    <a:pt x="11823764" y="6757390"/>
                  </a:lnTo>
                  <a:lnTo>
                    <a:pt x="11823764" y="4872698"/>
                  </a:lnTo>
                  <a:close/>
                </a:path>
                <a:path w="11824335" h="7463790">
                  <a:moveTo>
                    <a:pt x="11823764" y="0"/>
                  </a:moveTo>
                  <a:lnTo>
                    <a:pt x="0" y="0"/>
                  </a:lnTo>
                  <a:lnTo>
                    <a:pt x="0" y="4130878"/>
                  </a:lnTo>
                  <a:lnTo>
                    <a:pt x="11823764" y="4130878"/>
                  </a:lnTo>
                  <a:lnTo>
                    <a:pt x="11823764" y="0"/>
                  </a:lnTo>
                  <a:close/>
                </a:path>
              </a:pathLst>
            </a:custGeom>
            <a:solidFill>
              <a:srgbClr val="FFFFFF"/>
            </a:solidFill>
          </p:spPr>
          <p:txBody>
            <a:bodyPr wrap="square" lIns="0" tIns="0" rIns="0" bIns="0" rtlCol="0"/>
            <a:lstStyle/>
            <a:p>
              <a:endParaRPr/>
            </a:p>
          </p:txBody>
        </p:sp>
        <p:sp>
          <p:nvSpPr>
            <p:cNvPr id="5" name="object 5"/>
            <p:cNvSpPr/>
            <p:nvPr/>
          </p:nvSpPr>
          <p:spPr>
            <a:xfrm>
              <a:off x="1736890" y="1417382"/>
              <a:ext cx="11824335" cy="5612130"/>
            </a:xfrm>
            <a:custGeom>
              <a:avLst/>
              <a:gdLst/>
              <a:ahLst/>
              <a:cxnLst/>
              <a:rect l="l" t="t" r="r" b="b"/>
              <a:pathLst>
                <a:path w="11824335" h="5612130">
                  <a:moveTo>
                    <a:pt x="11823764" y="5109667"/>
                  </a:moveTo>
                  <a:lnTo>
                    <a:pt x="0" y="5109667"/>
                  </a:lnTo>
                  <a:lnTo>
                    <a:pt x="0" y="5612079"/>
                  </a:lnTo>
                  <a:lnTo>
                    <a:pt x="11823764" y="5612079"/>
                  </a:lnTo>
                  <a:lnTo>
                    <a:pt x="11823764" y="5109667"/>
                  </a:lnTo>
                  <a:close/>
                </a:path>
                <a:path w="11824335" h="5612130">
                  <a:moveTo>
                    <a:pt x="11823764" y="0"/>
                  </a:moveTo>
                  <a:lnTo>
                    <a:pt x="0" y="0"/>
                  </a:lnTo>
                  <a:lnTo>
                    <a:pt x="0" y="739381"/>
                  </a:lnTo>
                  <a:lnTo>
                    <a:pt x="11823764" y="739381"/>
                  </a:lnTo>
                  <a:lnTo>
                    <a:pt x="11823764" y="0"/>
                  </a:lnTo>
                  <a:close/>
                </a:path>
              </a:pathLst>
            </a:custGeom>
            <a:solidFill>
              <a:srgbClr val="E3112B"/>
            </a:solidFill>
          </p:spPr>
          <p:txBody>
            <a:bodyPr wrap="square" lIns="0" tIns="0" rIns="0" bIns="0" rtlCol="0"/>
            <a:lstStyle/>
            <a:p>
              <a:endParaRPr/>
            </a:p>
          </p:txBody>
        </p:sp>
        <p:sp>
          <p:nvSpPr>
            <p:cNvPr id="6" name="object 6"/>
            <p:cNvSpPr/>
            <p:nvPr/>
          </p:nvSpPr>
          <p:spPr>
            <a:xfrm>
              <a:off x="916470" y="1417382"/>
              <a:ext cx="819785" cy="8279765"/>
            </a:xfrm>
            <a:custGeom>
              <a:avLst/>
              <a:gdLst/>
              <a:ahLst/>
              <a:cxnLst/>
              <a:rect l="l" t="t" r="r" b="b"/>
              <a:pathLst>
                <a:path w="819785" h="8279765">
                  <a:moveTo>
                    <a:pt x="819746" y="5096751"/>
                  </a:moveTo>
                  <a:lnTo>
                    <a:pt x="0" y="5096751"/>
                  </a:lnTo>
                  <a:lnTo>
                    <a:pt x="0" y="8279295"/>
                  </a:lnTo>
                  <a:lnTo>
                    <a:pt x="819746" y="8279295"/>
                  </a:lnTo>
                  <a:lnTo>
                    <a:pt x="819746" y="5096751"/>
                  </a:lnTo>
                  <a:close/>
                </a:path>
                <a:path w="819785" h="8279765">
                  <a:moveTo>
                    <a:pt x="819746" y="0"/>
                  </a:moveTo>
                  <a:lnTo>
                    <a:pt x="0" y="0"/>
                  </a:lnTo>
                  <a:lnTo>
                    <a:pt x="0" y="4870259"/>
                  </a:lnTo>
                  <a:lnTo>
                    <a:pt x="819746" y="4870259"/>
                  </a:lnTo>
                  <a:lnTo>
                    <a:pt x="819746" y="0"/>
                  </a:lnTo>
                  <a:close/>
                </a:path>
              </a:pathLst>
            </a:custGeom>
            <a:solidFill>
              <a:srgbClr val="0090AE"/>
            </a:solidFill>
          </p:spPr>
          <p:txBody>
            <a:bodyPr wrap="square" lIns="0" tIns="0" rIns="0" bIns="0" rtlCol="0"/>
            <a:lstStyle/>
            <a:p>
              <a:endParaRPr/>
            </a:p>
          </p:txBody>
        </p:sp>
        <p:sp>
          <p:nvSpPr>
            <p:cNvPr id="7" name="object 7"/>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pic>
          <p:nvPicPr>
            <p:cNvPr id="8" name="object 8"/>
            <p:cNvPicPr/>
            <p:nvPr/>
          </p:nvPicPr>
          <p:blipFill>
            <a:blip r:embed="rId2" cstate="print"/>
            <a:stretch>
              <a:fillRect/>
            </a:stretch>
          </p:blipFill>
          <p:spPr>
            <a:xfrm>
              <a:off x="10638315" y="2530957"/>
              <a:ext cx="1476860" cy="1476854"/>
            </a:xfrm>
            <a:prstGeom prst="rect">
              <a:avLst/>
            </a:prstGeom>
          </p:spPr>
        </p:pic>
        <p:sp>
          <p:nvSpPr>
            <p:cNvPr id="9" name="object 9"/>
            <p:cNvSpPr/>
            <p:nvPr/>
          </p:nvSpPr>
          <p:spPr>
            <a:xfrm>
              <a:off x="3564500" y="8842715"/>
              <a:ext cx="9916160" cy="0"/>
            </a:xfrm>
            <a:custGeom>
              <a:avLst/>
              <a:gdLst/>
              <a:ahLst/>
              <a:cxnLst/>
              <a:rect l="l" t="t" r="r" b="b"/>
              <a:pathLst>
                <a:path w="9916160">
                  <a:moveTo>
                    <a:pt x="0" y="0"/>
                  </a:moveTo>
                  <a:lnTo>
                    <a:pt x="9915533" y="0"/>
                  </a:lnTo>
                </a:path>
              </a:pathLst>
            </a:custGeom>
            <a:ln w="9524">
              <a:solidFill>
                <a:srgbClr val="737373"/>
              </a:solidFill>
            </a:ln>
          </p:spPr>
          <p:txBody>
            <a:bodyPr wrap="square" lIns="0" tIns="0" rIns="0" bIns="0" rtlCol="0"/>
            <a:lstStyle/>
            <a:p>
              <a:endParaRPr/>
            </a:p>
          </p:txBody>
        </p:sp>
        <p:sp>
          <p:nvSpPr>
            <p:cNvPr id="10" name="object 10"/>
            <p:cNvSpPr/>
            <p:nvPr/>
          </p:nvSpPr>
          <p:spPr>
            <a:xfrm>
              <a:off x="3564500" y="7931969"/>
              <a:ext cx="5744210" cy="0"/>
            </a:xfrm>
            <a:custGeom>
              <a:avLst/>
              <a:gdLst/>
              <a:ahLst/>
              <a:cxnLst/>
              <a:rect l="l" t="t" r="r" b="b"/>
              <a:pathLst>
                <a:path w="5744209">
                  <a:moveTo>
                    <a:pt x="0" y="0"/>
                  </a:moveTo>
                  <a:lnTo>
                    <a:pt x="5743717" y="0"/>
                  </a:lnTo>
                </a:path>
              </a:pathLst>
            </a:custGeom>
            <a:ln w="9524">
              <a:solidFill>
                <a:srgbClr val="737373"/>
              </a:solidFill>
            </a:ln>
          </p:spPr>
          <p:txBody>
            <a:bodyPr wrap="square" lIns="0" tIns="0" rIns="0" bIns="0" rtlCol="0"/>
            <a:lstStyle/>
            <a:p>
              <a:endParaRPr/>
            </a:p>
          </p:txBody>
        </p:sp>
        <p:sp>
          <p:nvSpPr>
            <p:cNvPr id="11" name="object 11"/>
            <p:cNvSpPr/>
            <p:nvPr/>
          </p:nvSpPr>
          <p:spPr>
            <a:xfrm>
              <a:off x="1736892" y="7145541"/>
              <a:ext cx="1671955" cy="779780"/>
            </a:xfrm>
            <a:custGeom>
              <a:avLst/>
              <a:gdLst/>
              <a:ahLst/>
              <a:cxnLst/>
              <a:rect l="l" t="t" r="r" b="b"/>
              <a:pathLst>
                <a:path w="1671954" h="779779">
                  <a:moveTo>
                    <a:pt x="1671637" y="779561"/>
                  </a:moveTo>
                  <a:lnTo>
                    <a:pt x="0" y="779561"/>
                  </a:lnTo>
                  <a:lnTo>
                    <a:pt x="0" y="0"/>
                  </a:lnTo>
                  <a:lnTo>
                    <a:pt x="1671637" y="0"/>
                  </a:lnTo>
                  <a:lnTo>
                    <a:pt x="1671637" y="779561"/>
                  </a:lnTo>
                  <a:close/>
                </a:path>
              </a:pathLst>
            </a:custGeom>
            <a:solidFill>
              <a:srgbClr val="21408B"/>
            </a:solidFill>
          </p:spPr>
          <p:txBody>
            <a:bodyPr wrap="square" lIns="0" tIns="0" rIns="0" bIns="0" rtlCol="0"/>
            <a:lstStyle/>
            <a:p>
              <a:endParaRPr/>
            </a:p>
          </p:txBody>
        </p:sp>
        <p:sp>
          <p:nvSpPr>
            <p:cNvPr id="12" name="object 12"/>
            <p:cNvSpPr/>
            <p:nvPr/>
          </p:nvSpPr>
          <p:spPr>
            <a:xfrm>
              <a:off x="1736892" y="8031982"/>
              <a:ext cx="1671955" cy="779780"/>
            </a:xfrm>
            <a:custGeom>
              <a:avLst/>
              <a:gdLst/>
              <a:ahLst/>
              <a:cxnLst/>
              <a:rect l="l" t="t" r="r" b="b"/>
              <a:pathLst>
                <a:path w="1671954" h="779779">
                  <a:moveTo>
                    <a:pt x="1671637" y="779561"/>
                  </a:moveTo>
                  <a:lnTo>
                    <a:pt x="0" y="779561"/>
                  </a:lnTo>
                  <a:lnTo>
                    <a:pt x="0" y="0"/>
                  </a:lnTo>
                  <a:lnTo>
                    <a:pt x="1671637" y="0"/>
                  </a:lnTo>
                  <a:lnTo>
                    <a:pt x="1671637" y="779561"/>
                  </a:lnTo>
                  <a:close/>
                </a:path>
              </a:pathLst>
            </a:custGeom>
            <a:solidFill>
              <a:srgbClr val="F5A316"/>
            </a:solidFill>
          </p:spPr>
          <p:txBody>
            <a:bodyPr wrap="square" lIns="0" tIns="0" rIns="0" bIns="0" rtlCol="0"/>
            <a:lstStyle/>
            <a:p>
              <a:endParaRPr/>
            </a:p>
          </p:txBody>
        </p:sp>
        <p:sp>
          <p:nvSpPr>
            <p:cNvPr id="13" name="object 13"/>
            <p:cNvSpPr/>
            <p:nvPr/>
          </p:nvSpPr>
          <p:spPr>
            <a:xfrm>
              <a:off x="1736892" y="8914153"/>
              <a:ext cx="1671955" cy="779780"/>
            </a:xfrm>
            <a:custGeom>
              <a:avLst/>
              <a:gdLst/>
              <a:ahLst/>
              <a:cxnLst/>
              <a:rect l="l" t="t" r="r" b="b"/>
              <a:pathLst>
                <a:path w="1671954" h="779779">
                  <a:moveTo>
                    <a:pt x="1671637" y="779561"/>
                  </a:moveTo>
                  <a:lnTo>
                    <a:pt x="0" y="779561"/>
                  </a:lnTo>
                  <a:lnTo>
                    <a:pt x="0" y="0"/>
                  </a:lnTo>
                  <a:lnTo>
                    <a:pt x="1671637" y="0"/>
                  </a:lnTo>
                  <a:lnTo>
                    <a:pt x="1671637" y="779561"/>
                  </a:lnTo>
                  <a:close/>
                </a:path>
              </a:pathLst>
            </a:custGeom>
            <a:solidFill>
              <a:srgbClr val="0090AE"/>
            </a:solidFill>
          </p:spPr>
          <p:txBody>
            <a:bodyPr wrap="square" lIns="0" tIns="0" rIns="0" bIns="0" rtlCol="0"/>
            <a:lstStyle/>
            <a:p>
              <a:endParaRPr/>
            </a:p>
          </p:txBody>
        </p:sp>
        <p:pic>
          <p:nvPicPr>
            <p:cNvPr id="14" name="object 14"/>
            <p:cNvPicPr/>
            <p:nvPr/>
          </p:nvPicPr>
          <p:blipFill>
            <a:blip r:embed="rId3" cstate="print"/>
            <a:stretch>
              <a:fillRect/>
            </a:stretch>
          </p:blipFill>
          <p:spPr>
            <a:xfrm>
              <a:off x="2668649" y="2342009"/>
              <a:ext cx="1476860" cy="1476854"/>
            </a:xfrm>
            <a:prstGeom prst="rect">
              <a:avLst/>
            </a:prstGeom>
          </p:spPr>
        </p:pic>
      </p:grpSp>
      <p:sp>
        <p:nvSpPr>
          <p:cNvPr id="15" name="object 15"/>
          <p:cNvSpPr txBox="1"/>
          <p:nvPr/>
        </p:nvSpPr>
        <p:spPr>
          <a:xfrm>
            <a:off x="3021838" y="3860125"/>
            <a:ext cx="699135" cy="231140"/>
          </a:xfrm>
          <a:prstGeom prst="rect">
            <a:avLst/>
          </a:prstGeom>
        </p:spPr>
        <p:txBody>
          <a:bodyPr vert="horz" wrap="square" lIns="0" tIns="12065" rIns="0" bIns="0" rtlCol="0">
            <a:spAutoFit/>
          </a:bodyPr>
          <a:lstStyle/>
          <a:p>
            <a:pPr marL="12700">
              <a:lnSpc>
                <a:spcPct val="100000"/>
              </a:lnSpc>
              <a:spcBef>
                <a:spcPts val="95"/>
              </a:spcBef>
            </a:pPr>
            <a:r>
              <a:rPr sz="1350" spc="-10" dirty="0">
                <a:solidFill>
                  <a:srgbClr val="737373"/>
                </a:solidFill>
                <a:latin typeface="Roboto"/>
                <a:cs typeface="Roboto"/>
              </a:rPr>
              <a:t>Santiago</a:t>
            </a:r>
            <a:endParaRPr sz="1350">
              <a:latin typeface="Roboto"/>
              <a:cs typeface="Roboto"/>
            </a:endParaRPr>
          </a:p>
        </p:txBody>
      </p:sp>
      <p:grpSp>
        <p:nvGrpSpPr>
          <p:cNvPr id="16" name="object 16"/>
          <p:cNvGrpSpPr/>
          <p:nvPr/>
        </p:nvGrpSpPr>
        <p:grpSpPr>
          <a:xfrm>
            <a:off x="3640759" y="2342009"/>
            <a:ext cx="4831080" cy="5179695"/>
            <a:chOff x="3640759" y="2342009"/>
            <a:chExt cx="4831080" cy="5179695"/>
          </a:xfrm>
        </p:grpSpPr>
        <p:pic>
          <p:nvPicPr>
            <p:cNvPr id="17" name="object 17"/>
            <p:cNvPicPr/>
            <p:nvPr/>
          </p:nvPicPr>
          <p:blipFill>
            <a:blip r:embed="rId4" cstate="print"/>
            <a:stretch>
              <a:fillRect/>
            </a:stretch>
          </p:blipFill>
          <p:spPr>
            <a:xfrm>
              <a:off x="3640759" y="4314324"/>
              <a:ext cx="1476860" cy="1476854"/>
            </a:xfrm>
            <a:prstGeom prst="rect">
              <a:avLst/>
            </a:prstGeom>
          </p:spPr>
        </p:pic>
        <p:pic>
          <p:nvPicPr>
            <p:cNvPr id="18" name="object 18"/>
            <p:cNvPicPr/>
            <p:nvPr/>
          </p:nvPicPr>
          <p:blipFill>
            <a:blip r:embed="rId5" cstate="print"/>
            <a:stretch>
              <a:fillRect/>
            </a:stretch>
          </p:blipFill>
          <p:spPr>
            <a:xfrm>
              <a:off x="5578363" y="4314324"/>
              <a:ext cx="1476860" cy="1476854"/>
            </a:xfrm>
            <a:prstGeom prst="rect">
              <a:avLst/>
            </a:prstGeom>
          </p:spPr>
        </p:pic>
        <p:pic>
          <p:nvPicPr>
            <p:cNvPr id="19" name="object 19"/>
            <p:cNvPicPr/>
            <p:nvPr/>
          </p:nvPicPr>
          <p:blipFill>
            <a:blip r:embed="rId6" cstate="print"/>
            <a:stretch>
              <a:fillRect/>
            </a:stretch>
          </p:blipFill>
          <p:spPr>
            <a:xfrm>
              <a:off x="4492721" y="2342009"/>
              <a:ext cx="1476860" cy="1476854"/>
            </a:xfrm>
            <a:prstGeom prst="rect">
              <a:avLst/>
            </a:prstGeom>
          </p:spPr>
        </p:pic>
        <p:pic>
          <p:nvPicPr>
            <p:cNvPr id="20" name="object 20"/>
            <p:cNvPicPr/>
            <p:nvPr/>
          </p:nvPicPr>
          <p:blipFill>
            <a:blip r:embed="rId7" cstate="print"/>
            <a:stretch>
              <a:fillRect/>
            </a:stretch>
          </p:blipFill>
          <p:spPr>
            <a:xfrm>
              <a:off x="6316792" y="2342009"/>
              <a:ext cx="1476860" cy="1476854"/>
            </a:xfrm>
            <a:prstGeom prst="rect">
              <a:avLst/>
            </a:prstGeom>
          </p:spPr>
        </p:pic>
        <p:sp>
          <p:nvSpPr>
            <p:cNvPr id="21" name="object 21"/>
            <p:cNvSpPr/>
            <p:nvPr/>
          </p:nvSpPr>
          <p:spPr>
            <a:xfrm>
              <a:off x="8211999" y="7266826"/>
              <a:ext cx="259715" cy="254635"/>
            </a:xfrm>
            <a:custGeom>
              <a:avLst/>
              <a:gdLst/>
              <a:ahLst/>
              <a:cxnLst/>
              <a:rect l="l" t="t" r="r" b="b"/>
              <a:pathLst>
                <a:path w="259715" h="254634">
                  <a:moveTo>
                    <a:pt x="254638" y="254155"/>
                  </a:moveTo>
                  <a:lnTo>
                    <a:pt x="187255" y="254155"/>
                  </a:lnTo>
                  <a:lnTo>
                    <a:pt x="119871" y="254155"/>
                  </a:lnTo>
                  <a:lnTo>
                    <a:pt x="119871" y="241079"/>
                  </a:lnTo>
                  <a:lnTo>
                    <a:pt x="175366" y="237423"/>
                  </a:lnTo>
                  <a:lnTo>
                    <a:pt x="175366" y="154377"/>
                  </a:lnTo>
                  <a:lnTo>
                    <a:pt x="151319" y="148394"/>
                  </a:lnTo>
                  <a:lnTo>
                    <a:pt x="132135" y="135443"/>
                  </a:lnTo>
                  <a:lnTo>
                    <a:pt x="119436" y="115426"/>
                  </a:lnTo>
                  <a:lnTo>
                    <a:pt x="114843" y="88248"/>
                  </a:lnTo>
                  <a:lnTo>
                    <a:pt x="116191" y="65286"/>
                  </a:lnTo>
                  <a:lnTo>
                    <a:pt x="120059" y="44411"/>
                  </a:lnTo>
                  <a:lnTo>
                    <a:pt x="126182" y="25408"/>
                  </a:lnTo>
                  <a:lnTo>
                    <a:pt x="134297" y="8060"/>
                  </a:lnTo>
                  <a:lnTo>
                    <a:pt x="240212" y="8060"/>
                  </a:lnTo>
                  <a:lnTo>
                    <a:pt x="248327" y="25473"/>
                  </a:lnTo>
                  <a:lnTo>
                    <a:pt x="254450" y="44552"/>
                  </a:lnTo>
                  <a:lnTo>
                    <a:pt x="256138" y="53661"/>
                  </a:lnTo>
                  <a:lnTo>
                    <a:pt x="136975" y="53661"/>
                  </a:lnTo>
                  <a:lnTo>
                    <a:pt x="135298" y="59904"/>
                  </a:lnTo>
                  <a:lnTo>
                    <a:pt x="133668" y="68102"/>
                  </a:lnTo>
                  <a:lnTo>
                    <a:pt x="132436" y="77644"/>
                  </a:lnTo>
                  <a:lnTo>
                    <a:pt x="131947" y="87920"/>
                  </a:lnTo>
                  <a:lnTo>
                    <a:pt x="134983" y="108861"/>
                  </a:lnTo>
                  <a:lnTo>
                    <a:pt x="144071" y="124406"/>
                  </a:lnTo>
                  <a:lnTo>
                    <a:pt x="159185" y="134081"/>
                  </a:lnTo>
                  <a:lnTo>
                    <a:pt x="180300" y="137411"/>
                  </a:lnTo>
                  <a:lnTo>
                    <a:pt x="239458" y="137411"/>
                  </a:lnTo>
                  <a:lnTo>
                    <a:pt x="223190" y="148394"/>
                  </a:lnTo>
                  <a:lnTo>
                    <a:pt x="199143" y="154377"/>
                  </a:lnTo>
                  <a:lnTo>
                    <a:pt x="199143" y="237423"/>
                  </a:lnTo>
                  <a:lnTo>
                    <a:pt x="254638" y="241079"/>
                  </a:lnTo>
                  <a:lnTo>
                    <a:pt x="254638" y="254155"/>
                  </a:lnTo>
                  <a:close/>
                </a:path>
                <a:path w="259715" h="254634">
                  <a:moveTo>
                    <a:pt x="239458" y="137411"/>
                  </a:moveTo>
                  <a:lnTo>
                    <a:pt x="194256" y="137411"/>
                  </a:lnTo>
                  <a:lnTo>
                    <a:pt x="214955" y="134081"/>
                  </a:lnTo>
                  <a:lnTo>
                    <a:pt x="230115" y="124406"/>
                  </a:lnTo>
                  <a:lnTo>
                    <a:pt x="239435" y="108861"/>
                  </a:lnTo>
                  <a:lnTo>
                    <a:pt x="242609" y="87920"/>
                  </a:lnTo>
                  <a:lnTo>
                    <a:pt x="242121" y="77644"/>
                  </a:lnTo>
                  <a:lnTo>
                    <a:pt x="240888" y="68102"/>
                  </a:lnTo>
                  <a:lnTo>
                    <a:pt x="239259" y="59904"/>
                  </a:lnTo>
                  <a:lnTo>
                    <a:pt x="237581" y="53661"/>
                  </a:lnTo>
                  <a:lnTo>
                    <a:pt x="256138" y="53661"/>
                  </a:lnTo>
                  <a:lnTo>
                    <a:pt x="258318" y="65431"/>
                  </a:lnTo>
                  <a:lnTo>
                    <a:pt x="259666" y="88248"/>
                  </a:lnTo>
                  <a:lnTo>
                    <a:pt x="255073" y="115426"/>
                  </a:lnTo>
                  <a:lnTo>
                    <a:pt x="242374" y="135443"/>
                  </a:lnTo>
                  <a:lnTo>
                    <a:pt x="239458" y="137411"/>
                  </a:lnTo>
                  <a:close/>
                </a:path>
                <a:path w="259715" h="254634">
                  <a:moveTo>
                    <a:pt x="45157" y="70720"/>
                  </a:moveTo>
                  <a:lnTo>
                    <a:pt x="29462" y="70720"/>
                  </a:lnTo>
                  <a:lnTo>
                    <a:pt x="31577" y="5623"/>
                  </a:lnTo>
                  <a:lnTo>
                    <a:pt x="31671" y="2062"/>
                  </a:lnTo>
                  <a:lnTo>
                    <a:pt x="34537" y="0"/>
                  </a:lnTo>
                  <a:lnTo>
                    <a:pt x="40505" y="0"/>
                  </a:lnTo>
                  <a:lnTo>
                    <a:pt x="42894" y="2062"/>
                  </a:lnTo>
                  <a:lnTo>
                    <a:pt x="42981" y="3327"/>
                  </a:lnTo>
                  <a:lnTo>
                    <a:pt x="45157" y="70720"/>
                  </a:lnTo>
                  <a:close/>
                </a:path>
                <a:path w="259715" h="254634">
                  <a:moveTo>
                    <a:pt x="39988" y="254389"/>
                  </a:moveTo>
                  <a:lnTo>
                    <a:pt x="34772" y="254389"/>
                  </a:lnTo>
                  <a:lnTo>
                    <a:pt x="26909" y="253035"/>
                  </a:lnTo>
                  <a:lnTo>
                    <a:pt x="21280" y="248829"/>
                  </a:lnTo>
                  <a:lnTo>
                    <a:pt x="18074" y="241557"/>
                  </a:lnTo>
                  <a:lnTo>
                    <a:pt x="17480" y="231003"/>
                  </a:lnTo>
                  <a:lnTo>
                    <a:pt x="23401" y="137411"/>
                  </a:lnTo>
                  <a:lnTo>
                    <a:pt x="20134" y="128159"/>
                  </a:lnTo>
                  <a:lnTo>
                    <a:pt x="12040" y="120094"/>
                  </a:lnTo>
                  <a:lnTo>
                    <a:pt x="3784" y="108584"/>
                  </a:lnTo>
                  <a:lnTo>
                    <a:pt x="0" y="88998"/>
                  </a:lnTo>
                  <a:lnTo>
                    <a:pt x="741" y="65424"/>
                  </a:lnTo>
                  <a:lnTo>
                    <a:pt x="2372" y="38646"/>
                  </a:lnTo>
                  <a:lnTo>
                    <a:pt x="4004" y="16693"/>
                  </a:lnTo>
                  <a:lnTo>
                    <a:pt x="4745" y="7592"/>
                  </a:lnTo>
                  <a:lnTo>
                    <a:pt x="4978" y="3327"/>
                  </a:lnTo>
                  <a:lnTo>
                    <a:pt x="5102" y="3186"/>
                  </a:lnTo>
                  <a:lnTo>
                    <a:pt x="7847" y="1077"/>
                  </a:lnTo>
                  <a:lnTo>
                    <a:pt x="13392" y="1077"/>
                  </a:lnTo>
                  <a:lnTo>
                    <a:pt x="16258" y="3186"/>
                  </a:lnTo>
                  <a:lnTo>
                    <a:pt x="16258" y="70720"/>
                  </a:lnTo>
                  <a:lnTo>
                    <a:pt x="74045" y="70720"/>
                  </a:lnTo>
                  <a:lnTo>
                    <a:pt x="74620" y="88998"/>
                  </a:lnTo>
                  <a:lnTo>
                    <a:pt x="70817" y="108604"/>
                  </a:lnTo>
                  <a:lnTo>
                    <a:pt x="62549" y="120112"/>
                  </a:lnTo>
                  <a:lnTo>
                    <a:pt x="54476" y="128166"/>
                  </a:lnTo>
                  <a:lnTo>
                    <a:pt x="51219" y="137411"/>
                  </a:lnTo>
                  <a:lnTo>
                    <a:pt x="57139" y="231003"/>
                  </a:lnTo>
                  <a:lnTo>
                    <a:pt x="57280" y="231003"/>
                  </a:lnTo>
                  <a:lnTo>
                    <a:pt x="56686" y="241557"/>
                  </a:lnTo>
                  <a:lnTo>
                    <a:pt x="53480" y="248829"/>
                  </a:lnTo>
                  <a:lnTo>
                    <a:pt x="47851" y="253035"/>
                  </a:lnTo>
                  <a:lnTo>
                    <a:pt x="39988" y="254389"/>
                  </a:lnTo>
                  <a:close/>
                </a:path>
                <a:path w="259715" h="254634">
                  <a:moveTo>
                    <a:pt x="74045" y="70720"/>
                  </a:moveTo>
                  <a:lnTo>
                    <a:pt x="58361" y="70720"/>
                  </a:lnTo>
                  <a:lnTo>
                    <a:pt x="58361" y="3186"/>
                  </a:lnTo>
                  <a:lnTo>
                    <a:pt x="61321" y="1077"/>
                  </a:lnTo>
                  <a:lnTo>
                    <a:pt x="66678" y="1077"/>
                  </a:lnTo>
                  <a:lnTo>
                    <a:pt x="69639" y="3327"/>
                  </a:lnTo>
                  <a:lnTo>
                    <a:pt x="69874" y="7592"/>
                  </a:lnTo>
                  <a:lnTo>
                    <a:pt x="70615" y="16693"/>
                  </a:lnTo>
                  <a:lnTo>
                    <a:pt x="72247" y="38646"/>
                  </a:lnTo>
                  <a:lnTo>
                    <a:pt x="73878" y="65424"/>
                  </a:lnTo>
                  <a:lnTo>
                    <a:pt x="74045" y="70720"/>
                  </a:lnTo>
                  <a:close/>
                </a:path>
              </a:pathLst>
            </a:custGeom>
            <a:solidFill>
              <a:srgbClr val="21408B"/>
            </a:solidFill>
          </p:spPr>
          <p:txBody>
            <a:bodyPr wrap="square" lIns="0" tIns="0" rIns="0" bIns="0" rtlCol="0"/>
            <a:lstStyle/>
            <a:p>
              <a:endParaRPr/>
            </a:p>
          </p:txBody>
        </p:sp>
      </p:grpSp>
      <p:sp>
        <p:nvSpPr>
          <p:cNvPr id="22" name="object 22"/>
          <p:cNvSpPr txBox="1"/>
          <p:nvPr/>
        </p:nvSpPr>
        <p:spPr>
          <a:xfrm>
            <a:off x="4048366" y="5836677"/>
            <a:ext cx="713740" cy="231140"/>
          </a:xfrm>
          <a:prstGeom prst="rect">
            <a:avLst/>
          </a:prstGeom>
        </p:spPr>
        <p:txBody>
          <a:bodyPr vert="horz" wrap="square" lIns="0" tIns="12065" rIns="0" bIns="0" rtlCol="0">
            <a:spAutoFit/>
          </a:bodyPr>
          <a:lstStyle/>
          <a:p>
            <a:pPr marL="12700">
              <a:lnSpc>
                <a:spcPct val="100000"/>
              </a:lnSpc>
              <a:spcBef>
                <a:spcPts val="95"/>
              </a:spcBef>
            </a:pPr>
            <a:r>
              <a:rPr sz="1350" spc="-20" dirty="0">
                <a:solidFill>
                  <a:srgbClr val="737373"/>
                </a:solidFill>
                <a:latin typeface="Roboto"/>
                <a:cs typeface="Roboto"/>
              </a:rPr>
              <a:t>Rapa</a:t>
            </a:r>
            <a:r>
              <a:rPr sz="1350" spc="-60" dirty="0">
                <a:solidFill>
                  <a:srgbClr val="737373"/>
                </a:solidFill>
                <a:latin typeface="Roboto"/>
                <a:cs typeface="Roboto"/>
              </a:rPr>
              <a:t> </a:t>
            </a:r>
            <a:r>
              <a:rPr sz="1350" spc="-25" dirty="0">
                <a:solidFill>
                  <a:srgbClr val="737373"/>
                </a:solidFill>
                <a:latin typeface="Roboto"/>
                <a:cs typeface="Roboto"/>
              </a:rPr>
              <a:t>Nui</a:t>
            </a:r>
            <a:endParaRPr sz="1350">
              <a:latin typeface="Roboto"/>
              <a:cs typeface="Roboto"/>
            </a:endParaRPr>
          </a:p>
        </p:txBody>
      </p:sp>
      <p:sp>
        <p:nvSpPr>
          <p:cNvPr id="23" name="object 23"/>
          <p:cNvSpPr txBox="1"/>
          <p:nvPr/>
        </p:nvSpPr>
        <p:spPr>
          <a:xfrm>
            <a:off x="5937001" y="5855727"/>
            <a:ext cx="712470" cy="231140"/>
          </a:xfrm>
          <a:prstGeom prst="rect">
            <a:avLst/>
          </a:prstGeom>
        </p:spPr>
        <p:txBody>
          <a:bodyPr vert="horz" wrap="square" lIns="0" tIns="12065" rIns="0" bIns="0" rtlCol="0">
            <a:spAutoFit/>
          </a:bodyPr>
          <a:lstStyle/>
          <a:p>
            <a:pPr marL="12700">
              <a:lnSpc>
                <a:spcPct val="100000"/>
              </a:lnSpc>
              <a:spcBef>
                <a:spcPts val="95"/>
              </a:spcBef>
            </a:pPr>
            <a:r>
              <a:rPr sz="1350" spc="-10" dirty="0">
                <a:solidFill>
                  <a:srgbClr val="737373"/>
                </a:solidFill>
                <a:latin typeface="Roboto"/>
                <a:cs typeface="Roboto"/>
              </a:rPr>
              <a:t>Atacama</a:t>
            </a:r>
            <a:endParaRPr sz="1350">
              <a:latin typeface="Roboto"/>
              <a:cs typeface="Roboto"/>
            </a:endParaRPr>
          </a:p>
        </p:txBody>
      </p:sp>
      <p:sp>
        <p:nvSpPr>
          <p:cNvPr id="24" name="object 24"/>
          <p:cNvSpPr txBox="1"/>
          <p:nvPr/>
        </p:nvSpPr>
        <p:spPr>
          <a:xfrm>
            <a:off x="4765498" y="3881858"/>
            <a:ext cx="837565" cy="231140"/>
          </a:xfrm>
          <a:prstGeom prst="rect">
            <a:avLst/>
          </a:prstGeom>
        </p:spPr>
        <p:txBody>
          <a:bodyPr vert="horz" wrap="square" lIns="0" tIns="12065" rIns="0" bIns="0" rtlCol="0">
            <a:spAutoFit/>
          </a:bodyPr>
          <a:lstStyle/>
          <a:p>
            <a:pPr marL="12700">
              <a:lnSpc>
                <a:spcPct val="100000"/>
              </a:lnSpc>
              <a:spcBef>
                <a:spcPts val="95"/>
              </a:spcBef>
            </a:pPr>
            <a:r>
              <a:rPr sz="1350" spc="-10" dirty="0">
                <a:solidFill>
                  <a:srgbClr val="737373"/>
                </a:solidFill>
                <a:latin typeface="Roboto"/>
                <a:cs typeface="Roboto"/>
              </a:rPr>
              <a:t>Valparaíso</a:t>
            </a:r>
            <a:endParaRPr sz="1350">
              <a:latin typeface="Roboto"/>
              <a:cs typeface="Roboto"/>
            </a:endParaRPr>
          </a:p>
        </p:txBody>
      </p:sp>
      <p:sp>
        <p:nvSpPr>
          <p:cNvPr id="25" name="object 25"/>
          <p:cNvSpPr txBox="1"/>
          <p:nvPr/>
        </p:nvSpPr>
        <p:spPr>
          <a:xfrm>
            <a:off x="6459866" y="3881858"/>
            <a:ext cx="1219835" cy="231140"/>
          </a:xfrm>
          <a:prstGeom prst="rect">
            <a:avLst/>
          </a:prstGeom>
        </p:spPr>
        <p:txBody>
          <a:bodyPr vert="horz" wrap="square" lIns="0" tIns="12065" rIns="0" bIns="0" rtlCol="0">
            <a:spAutoFit/>
          </a:bodyPr>
          <a:lstStyle/>
          <a:p>
            <a:pPr marL="12700">
              <a:lnSpc>
                <a:spcPct val="100000"/>
              </a:lnSpc>
              <a:spcBef>
                <a:spcPts val="95"/>
              </a:spcBef>
            </a:pPr>
            <a:r>
              <a:rPr sz="1350" dirty="0">
                <a:solidFill>
                  <a:srgbClr val="737373"/>
                </a:solidFill>
                <a:latin typeface="Roboto"/>
                <a:cs typeface="Roboto"/>
              </a:rPr>
              <a:t>Torres</a:t>
            </a:r>
            <a:r>
              <a:rPr sz="1350" spc="-40" dirty="0">
                <a:solidFill>
                  <a:srgbClr val="737373"/>
                </a:solidFill>
                <a:latin typeface="Roboto"/>
                <a:cs typeface="Roboto"/>
              </a:rPr>
              <a:t> </a:t>
            </a:r>
            <a:r>
              <a:rPr sz="1350" dirty="0">
                <a:solidFill>
                  <a:srgbClr val="737373"/>
                </a:solidFill>
                <a:latin typeface="Roboto"/>
                <a:cs typeface="Roboto"/>
              </a:rPr>
              <a:t>de</a:t>
            </a:r>
            <a:r>
              <a:rPr sz="1350" spc="-35" dirty="0">
                <a:solidFill>
                  <a:srgbClr val="737373"/>
                </a:solidFill>
                <a:latin typeface="Roboto"/>
                <a:cs typeface="Roboto"/>
              </a:rPr>
              <a:t> </a:t>
            </a:r>
            <a:r>
              <a:rPr sz="1350" spc="-20" dirty="0">
                <a:solidFill>
                  <a:srgbClr val="737373"/>
                </a:solidFill>
                <a:latin typeface="Roboto"/>
                <a:cs typeface="Roboto"/>
              </a:rPr>
              <a:t>Paine</a:t>
            </a:r>
            <a:endParaRPr sz="1350">
              <a:latin typeface="Roboto"/>
              <a:cs typeface="Roboto"/>
            </a:endParaRPr>
          </a:p>
        </p:txBody>
      </p:sp>
      <p:sp>
        <p:nvSpPr>
          <p:cNvPr id="26" name="object 26"/>
          <p:cNvSpPr txBox="1"/>
          <p:nvPr/>
        </p:nvSpPr>
        <p:spPr>
          <a:xfrm>
            <a:off x="7517624" y="7532926"/>
            <a:ext cx="1609090" cy="246379"/>
          </a:xfrm>
          <a:prstGeom prst="rect">
            <a:avLst/>
          </a:prstGeom>
        </p:spPr>
        <p:txBody>
          <a:bodyPr vert="horz" wrap="square" lIns="0" tIns="12065" rIns="0" bIns="0" rtlCol="0">
            <a:spAutoFit/>
          </a:bodyPr>
          <a:lstStyle/>
          <a:p>
            <a:pPr marL="12700">
              <a:lnSpc>
                <a:spcPct val="100000"/>
              </a:lnSpc>
              <a:spcBef>
                <a:spcPts val="95"/>
              </a:spcBef>
            </a:pPr>
            <a:r>
              <a:rPr sz="1450" dirty="0">
                <a:solidFill>
                  <a:srgbClr val="737373"/>
                </a:solidFill>
                <a:latin typeface="Roboto"/>
                <a:cs typeface="Roboto"/>
              </a:rPr>
              <a:t>Vino</a:t>
            </a:r>
            <a:r>
              <a:rPr sz="1450" spc="-65" dirty="0">
                <a:solidFill>
                  <a:srgbClr val="737373"/>
                </a:solidFill>
                <a:latin typeface="Roboto"/>
                <a:cs typeface="Roboto"/>
              </a:rPr>
              <a:t> </a:t>
            </a:r>
            <a:r>
              <a:rPr sz="1450" dirty="0">
                <a:solidFill>
                  <a:srgbClr val="737373"/>
                </a:solidFill>
                <a:latin typeface="Roboto"/>
                <a:cs typeface="Roboto"/>
              </a:rPr>
              <a:t>y</a:t>
            </a:r>
            <a:r>
              <a:rPr sz="1450" spc="-60" dirty="0">
                <a:solidFill>
                  <a:srgbClr val="737373"/>
                </a:solidFill>
                <a:latin typeface="Roboto"/>
                <a:cs typeface="Roboto"/>
              </a:rPr>
              <a:t> </a:t>
            </a:r>
            <a:r>
              <a:rPr sz="1450" spc="-10" dirty="0">
                <a:solidFill>
                  <a:srgbClr val="737373"/>
                </a:solidFill>
                <a:latin typeface="Roboto"/>
                <a:cs typeface="Roboto"/>
              </a:rPr>
              <a:t>gastronomía</a:t>
            </a:r>
            <a:endParaRPr sz="1450">
              <a:latin typeface="Roboto"/>
              <a:cs typeface="Roboto"/>
            </a:endParaRPr>
          </a:p>
        </p:txBody>
      </p:sp>
      <p:grpSp>
        <p:nvGrpSpPr>
          <p:cNvPr id="27" name="object 27"/>
          <p:cNvGrpSpPr/>
          <p:nvPr/>
        </p:nvGrpSpPr>
        <p:grpSpPr>
          <a:xfrm>
            <a:off x="4478891" y="8157025"/>
            <a:ext cx="3350260" cy="288290"/>
            <a:chOff x="4478891" y="8157025"/>
            <a:chExt cx="3350260" cy="288290"/>
          </a:xfrm>
        </p:grpSpPr>
        <p:pic>
          <p:nvPicPr>
            <p:cNvPr id="28" name="object 28"/>
            <p:cNvPicPr/>
            <p:nvPr/>
          </p:nvPicPr>
          <p:blipFill>
            <a:blip r:embed="rId8" cstate="print"/>
            <a:stretch>
              <a:fillRect/>
            </a:stretch>
          </p:blipFill>
          <p:spPr>
            <a:xfrm>
              <a:off x="4478891" y="8157025"/>
              <a:ext cx="224576" cy="222583"/>
            </a:xfrm>
            <a:prstGeom prst="rect">
              <a:avLst/>
            </a:prstGeom>
          </p:spPr>
        </p:pic>
        <p:sp>
          <p:nvSpPr>
            <p:cNvPr id="29" name="object 29"/>
            <p:cNvSpPr/>
            <p:nvPr/>
          </p:nvSpPr>
          <p:spPr>
            <a:xfrm>
              <a:off x="6309461" y="8183473"/>
              <a:ext cx="1519555" cy="262255"/>
            </a:xfrm>
            <a:custGeom>
              <a:avLst/>
              <a:gdLst/>
              <a:ahLst/>
              <a:cxnLst/>
              <a:rect l="l" t="t" r="r" b="b"/>
              <a:pathLst>
                <a:path w="1519554" h="262254">
                  <a:moveTo>
                    <a:pt x="137337" y="215341"/>
                  </a:moveTo>
                  <a:lnTo>
                    <a:pt x="89192" y="205854"/>
                  </a:lnTo>
                  <a:lnTo>
                    <a:pt x="74968" y="184594"/>
                  </a:lnTo>
                  <a:lnTo>
                    <a:pt x="78232" y="167932"/>
                  </a:lnTo>
                  <a:lnTo>
                    <a:pt x="79552" y="161150"/>
                  </a:lnTo>
                  <a:lnTo>
                    <a:pt x="73545" y="165696"/>
                  </a:lnTo>
                  <a:lnTo>
                    <a:pt x="68681" y="167932"/>
                  </a:lnTo>
                  <a:lnTo>
                    <a:pt x="63500" y="165061"/>
                  </a:lnTo>
                  <a:lnTo>
                    <a:pt x="52120" y="156362"/>
                  </a:lnTo>
                  <a:lnTo>
                    <a:pt x="40728" y="141693"/>
                  </a:lnTo>
                  <a:lnTo>
                    <a:pt x="35560" y="120916"/>
                  </a:lnTo>
                  <a:lnTo>
                    <a:pt x="36652" y="111823"/>
                  </a:lnTo>
                  <a:lnTo>
                    <a:pt x="39801" y="105003"/>
                  </a:lnTo>
                  <a:lnTo>
                    <a:pt x="44843" y="100723"/>
                  </a:lnTo>
                  <a:lnTo>
                    <a:pt x="51600" y="99237"/>
                  </a:lnTo>
                  <a:lnTo>
                    <a:pt x="61696" y="99237"/>
                  </a:lnTo>
                  <a:lnTo>
                    <a:pt x="68643" y="112623"/>
                  </a:lnTo>
                  <a:lnTo>
                    <a:pt x="75603" y="99237"/>
                  </a:lnTo>
                  <a:lnTo>
                    <a:pt x="87807" y="99237"/>
                  </a:lnTo>
                  <a:lnTo>
                    <a:pt x="89738" y="99568"/>
                  </a:lnTo>
                  <a:lnTo>
                    <a:pt x="91465" y="100266"/>
                  </a:lnTo>
                  <a:lnTo>
                    <a:pt x="91668" y="99237"/>
                  </a:lnTo>
                  <a:lnTo>
                    <a:pt x="104571" y="33439"/>
                  </a:lnTo>
                  <a:lnTo>
                    <a:pt x="5918" y="33439"/>
                  </a:lnTo>
                  <a:lnTo>
                    <a:pt x="0" y="39370"/>
                  </a:lnTo>
                  <a:lnTo>
                    <a:pt x="25" y="46710"/>
                  </a:lnTo>
                  <a:lnTo>
                    <a:pt x="25" y="225513"/>
                  </a:lnTo>
                  <a:lnTo>
                    <a:pt x="5943" y="231457"/>
                  </a:lnTo>
                  <a:lnTo>
                    <a:pt x="131406" y="231457"/>
                  </a:lnTo>
                  <a:lnTo>
                    <a:pt x="137337" y="225513"/>
                  </a:lnTo>
                  <a:lnTo>
                    <a:pt x="137337" y="215341"/>
                  </a:lnTo>
                  <a:close/>
                </a:path>
                <a:path w="1519554" h="262254">
                  <a:moveTo>
                    <a:pt x="256755" y="31229"/>
                  </a:moveTo>
                  <a:lnTo>
                    <a:pt x="252095" y="24257"/>
                  </a:lnTo>
                  <a:lnTo>
                    <a:pt x="202031" y="14389"/>
                  </a:lnTo>
                  <a:lnTo>
                    <a:pt x="202031" y="125615"/>
                  </a:lnTo>
                  <a:lnTo>
                    <a:pt x="199948" y="136550"/>
                  </a:lnTo>
                  <a:lnTo>
                    <a:pt x="191846" y="140093"/>
                  </a:lnTo>
                  <a:lnTo>
                    <a:pt x="174498" y="136829"/>
                  </a:lnTo>
                  <a:lnTo>
                    <a:pt x="169392" y="126771"/>
                  </a:lnTo>
                  <a:lnTo>
                    <a:pt x="169722" y="157543"/>
                  </a:lnTo>
                  <a:lnTo>
                    <a:pt x="154279" y="154635"/>
                  </a:lnTo>
                  <a:lnTo>
                    <a:pt x="162801" y="133527"/>
                  </a:lnTo>
                  <a:lnTo>
                    <a:pt x="165798" y="126098"/>
                  </a:lnTo>
                  <a:lnTo>
                    <a:pt x="157060" y="133527"/>
                  </a:lnTo>
                  <a:lnTo>
                    <a:pt x="148907" y="131978"/>
                  </a:lnTo>
                  <a:lnTo>
                    <a:pt x="142836" y="129870"/>
                  </a:lnTo>
                  <a:lnTo>
                    <a:pt x="138290" y="126022"/>
                  </a:lnTo>
                  <a:lnTo>
                    <a:pt x="135775" y="120434"/>
                  </a:lnTo>
                  <a:lnTo>
                    <a:pt x="135851" y="113106"/>
                  </a:lnTo>
                  <a:lnTo>
                    <a:pt x="142684" y="100012"/>
                  </a:lnTo>
                  <a:lnTo>
                    <a:pt x="154635" y="90474"/>
                  </a:lnTo>
                  <a:lnTo>
                    <a:pt x="167741" y="81673"/>
                  </a:lnTo>
                  <a:lnTo>
                    <a:pt x="178066" y="70764"/>
                  </a:lnTo>
                  <a:lnTo>
                    <a:pt x="178219" y="70764"/>
                  </a:lnTo>
                  <a:lnTo>
                    <a:pt x="183794" y="84658"/>
                  </a:lnTo>
                  <a:lnTo>
                    <a:pt x="192773" y="97650"/>
                  </a:lnTo>
                  <a:lnTo>
                    <a:pt x="200418" y="110896"/>
                  </a:lnTo>
                  <a:lnTo>
                    <a:pt x="202031" y="125615"/>
                  </a:lnTo>
                  <a:lnTo>
                    <a:pt x="202031" y="14389"/>
                  </a:lnTo>
                  <a:lnTo>
                    <a:pt x="189293" y="11874"/>
                  </a:lnTo>
                  <a:lnTo>
                    <a:pt x="128968" y="0"/>
                  </a:lnTo>
                  <a:lnTo>
                    <a:pt x="122008" y="4660"/>
                  </a:lnTo>
                  <a:lnTo>
                    <a:pt x="120586" y="11874"/>
                  </a:lnTo>
                  <a:lnTo>
                    <a:pt x="87591" y="180111"/>
                  </a:lnTo>
                  <a:lnTo>
                    <a:pt x="86207" y="187325"/>
                  </a:lnTo>
                  <a:lnTo>
                    <a:pt x="90855" y="194284"/>
                  </a:lnTo>
                  <a:lnTo>
                    <a:pt x="213995" y="218554"/>
                  </a:lnTo>
                  <a:lnTo>
                    <a:pt x="220941" y="213893"/>
                  </a:lnTo>
                  <a:lnTo>
                    <a:pt x="231990" y="157543"/>
                  </a:lnTo>
                  <a:lnTo>
                    <a:pt x="235419" y="140093"/>
                  </a:lnTo>
                  <a:lnTo>
                    <a:pt x="249021" y="70726"/>
                  </a:lnTo>
                  <a:lnTo>
                    <a:pt x="255358" y="38442"/>
                  </a:lnTo>
                  <a:lnTo>
                    <a:pt x="256755" y="31229"/>
                  </a:lnTo>
                  <a:close/>
                </a:path>
                <a:path w="1519554" h="262254">
                  <a:moveTo>
                    <a:pt x="1464703" y="41986"/>
                  </a:moveTo>
                  <a:lnTo>
                    <a:pt x="1448892" y="17907"/>
                  </a:lnTo>
                  <a:lnTo>
                    <a:pt x="1445514" y="16179"/>
                  </a:lnTo>
                  <a:lnTo>
                    <a:pt x="1441932" y="15151"/>
                  </a:lnTo>
                  <a:lnTo>
                    <a:pt x="1434376" y="14554"/>
                  </a:lnTo>
                  <a:lnTo>
                    <a:pt x="1430680" y="14998"/>
                  </a:lnTo>
                  <a:lnTo>
                    <a:pt x="1407083" y="45046"/>
                  </a:lnTo>
                  <a:lnTo>
                    <a:pt x="1407515" y="48768"/>
                  </a:lnTo>
                  <a:lnTo>
                    <a:pt x="1437424" y="72478"/>
                  </a:lnTo>
                  <a:lnTo>
                    <a:pt x="1441119" y="72034"/>
                  </a:lnTo>
                  <a:lnTo>
                    <a:pt x="1464106" y="49580"/>
                  </a:lnTo>
                  <a:lnTo>
                    <a:pt x="1464703" y="41986"/>
                  </a:lnTo>
                  <a:close/>
                </a:path>
                <a:path w="1519554" h="262254">
                  <a:moveTo>
                    <a:pt x="1519364" y="242366"/>
                  </a:moveTo>
                  <a:lnTo>
                    <a:pt x="1513420" y="234899"/>
                  </a:lnTo>
                  <a:lnTo>
                    <a:pt x="1508226" y="234149"/>
                  </a:lnTo>
                  <a:lnTo>
                    <a:pt x="1504518" y="237134"/>
                  </a:lnTo>
                  <a:lnTo>
                    <a:pt x="1492364" y="243319"/>
                  </a:lnTo>
                  <a:lnTo>
                    <a:pt x="1480832" y="244932"/>
                  </a:lnTo>
                  <a:lnTo>
                    <a:pt x="1472234" y="244221"/>
                  </a:lnTo>
                  <a:lnTo>
                    <a:pt x="1468856" y="243484"/>
                  </a:lnTo>
                  <a:lnTo>
                    <a:pt x="1354823" y="206895"/>
                  </a:lnTo>
                  <a:lnTo>
                    <a:pt x="1359141" y="199047"/>
                  </a:lnTo>
                  <a:lnTo>
                    <a:pt x="1363268" y="191579"/>
                  </a:lnTo>
                  <a:lnTo>
                    <a:pt x="1365732" y="187096"/>
                  </a:lnTo>
                  <a:lnTo>
                    <a:pt x="1379334" y="162458"/>
                  </a:lnTo>
                  <a:lnTo>
                    <a:pt x="1382306" y="157226"/>
                  </a:lnTo>
                  <a:lnTo>
                    <a:pt x="1380820" y="150888"/>
                  </a:lnTo>
                  <a:lnTo>
                    <a:pt x="1376362" y="146773"/>
                  </a:lnTo>
                  <a:lnTo>
                    <a:pt x="1348511" y="123253"/>
                  </a:lnTo>
                  <a:lnTo>
                    <a:pt x="1358531" y="117284"/>
                  </a:lnTo>
                  <a:lnTo>
                    <a:pt x="1358531" y="118402"/>
                  </a:lnTo>
                  <a:lnTo>
                    <a:pt x="1358900" y="119151"/>
                  </a:lnTo>
                  <a:lnTo>
                    <a:pt x="1360017" y="123621"/>
                  </a:lnTo>
                  <a:lnTo>
                    <a:pt x="1363357" y="126987"/>
                  </a:lnTo>
                  <a:lnTo>
                    <a:pt x="1367815" y="128104"/>
                  </a:lnTo>
                  <a:lnTo>
                    <a:pt x="1416850" y="141173"/>
                  </a:lnTo>
                  <a:lnTo>
                    <a:pt x="1417967" y="141554"/>
                  </a:lnTo>
                  <a:lnTo>
                    <a:pt x="1425765" y="141554"/>
                  </a:lnTo>
                  <a:lnTo>
                    <a:pt x="1430591" y="137820"/>
                  </a:lnTo>
                  <a:lnTo>
                    <a:pt x="1431975" y="132588"/>
                  </a:lnTo>
                  <a:lnTo>
                    <a:pt x="1433931" y="125488"/>
                  </a:lnTo>
                  <a:lnTo>
                    <a:pt x="1429854" y="118770"/>
                  </a:lnTo>
                  <a:lnTo>
                    <a:pt x="1424508" y="117284"/>
                  </a:lnTo>
                  <a:lnTo>
                    <a:pt x="1423162" y="116903"/>
                  </a:lnTo>
                  <a:lnTo>
                    <a:pt x="1394929" y="109435"/>
                  </a:lnTo>
                  <a:lnTo>
                    <a:pt x="1404226" y="99733"/>
                  </a:lnTo>
                  <a:lnTo>
                    <a:pt x="1411668" y="90792"/>
                  </a:lnTo>
                  <a:lnTo>
                    <a:pt x="1415554" y="81711"/>
                  </a:lnTo>
                  <a:lnTo>
                    <a:pt x="1415821" y="73063"/>
                  </a:lnTo>
                  <a:lnTo>
                    <a:pt x="1415554" y="72478"/>
                  </a:lnTo>
                  <a:lnTo>
                    <a:pt x="1412392" y="65379"/>
                  </a:lnTo>
                  <a:lnTo>
                    <a:pt x="1412138" y="65112"/>
                  </a:lnTo>
                  <a:lnTo>
                    <a:pt x="1412024" y="64630"/>
                  </a:lnTo>
                  <a:lnTo>
                    <a:pt x="1411655" y="64630"/>
                  </a:lnTo>
                  <a:lnTo>
                    <a:pt x="1406448" y="59029"/>
                  </a:lnTo>
                  <a:lnTo>
                    <a:pt x="1405331" y="57912"/>
                  </a:lnTo>
                  <a:lnTo>
                    <a:pt x="1397762" y="53670"/>
                  </a:lnTo>
                  <a:lnTo>
                    <a:pt x="1389875" y="52260"/>
                  </a:lnTo>
                  <a:lnTo>
                    <a:pt x="1382191" y="53035"/>
                  </a:lnTo>
                  <a:lnTo>
                    <a:pt x="1343304" y="70612"/>
                  </a:lnTo>
                  <a:lnTo>
                    <a:pt x="1339215" y="72478"/>
                  </a:lnTo>
                  <a:lnTo>
                    <a:pt x="1294968" y="42227"/>
                  </a:lnTo>
                  <a:lnTo>
                    <a:pt x="1283500" y="34391"/>
                  </a:lnTo>
                  <a:lnTo>
                    <a:pt x="1286103" y="29908"/>
                  </a:lnTo>
                  <a:lnTo>
                    <a:pt x="1287221" y="25806"/>
                  </a:lnTo>
                  <a:lnTo>
                    <a:pt x="1284249" y="23558"/>
                  </a:lnTo>
                  <a:lnTo>
                    <a:pt x="1280160" y="25806"/>
                  </a:lnTo>
                  <a:lnTo>
                    <a:pt x="1276438" y="29908"/>
                  </a:lnTo>
                  <a:lnTo>
                    <a:pt x="1271612" y="26543"/>
                  </a:lnTo>
                  <a:lnTo>
                    <a:pt x="1269758" y="25057"/>
                  </a:lnTo>
                  <a:lnTo>
                    <a:pt x="1266786" y="25425"/>
                  </a:lnTo>
                  <a:lnTo>
                    <a:pt x="1263815" y="29159"/>
                  </a:lnTo>
                  <a:lnTo>
                    <a:pt x="1264183" y="32143"/>
                  </a:lnTo>
                  <a:lnTo>
                    <a:pt x="1266050" y="33642"/>
                  </a:lnTo>
                  <a:lnTo>
                    <a:pt x="1270876" y="37376"/>
                  </a:lnTo>
                  <a:lnTo>
                    <a:pt x="1268272" y="41859"/>
                  </a:lnTo>
                  <a:lnTo>
                    <a:pt x="1267155" y="45593"/>
                  </a:lnTo>
                  <a:lnTo>
                    <a:pt x="1270127" y="47828"/>
                  </a:lnTo>
                  <a:lnTo>
                    <a:pt x="1273848" y="45961"/>
                  </a:lnTo>
                  <a:lnTo>
                    <a:pt x="1277556" y="42227"/>
                  </a:lnTo>
                  <a:lnTo>
                    <a:pt x="1326959" y="80314"/>
                  </a:lnTo>
                  <a:lnTo>
                    <a:pt x="1320101" y="85140"/>
                  </a:lnTo>
                  <a:lnTo>
                    <a:pt x="1313637" y="90017"/>
                  </a:lnTo>
                  <a:lnTo>
                    <a:pt x="1307795" y="94907"/>
                  </a:lnTo>
                  <a:lnTo>
                    <a:pt x="1302816" y="99733"/>
                  </a:lnTo>
                  <a:lnTo>
                    <a:pt x="1298359" y="103466"/>
                  </a:lnTo>
                  <a:lnTo>
                    <a:pt x="1295387" y="109067"/>
                  </a:lnTo>
                  <a:lnTo>
                    <a:pt x="1295387" y="122885"/>
                  </a:lnTo>
                  <a:lnTo>
                    <a:pt x="1299108" y="129222"/>
                  </a:lnTo>
                  <a:lnTo>
                    <a:pt x="1305052" y="132588"/>
                  </a:lnTo>
                  <a:lnTo>
                    <a:pt x="1340700" y="159092"/>
                  </a:lnTo>
                  <a:lnTo>
                    <a:pt x="1334389" y="162864"/>
                  </a:lnTo>
                  <a:lnTo>
                    <a:pt x="1334389" y="191579"/>
                  </a:lnTo>
                  <a:lnTo>
                    <a:pt x="1330680" y="199047"/>
                  </a:lnTo>
                  <a:lnTo>
                    <a:pt x="1325105" y="197180"/>
                  </a:lnTo>
                  <a:lnTo>
                    <a:pt x="1334389" y="191579"/>
                  </a:lnTo>
                  <a:lnTo>
                    <a:pt x="1334389" y="162864"/>
                  </a:lnTo>
                  <a:lnTo>
                    <a:pt x="1296873" y="185229"/>
                  </a:lnTo>
                  <a:lnTo>
                    <a:pt x="1295755" y="185610"/>
                  </a:lnTo>
                  <a:lnTo>
                    <a:pt x="1294269" y="187096"/>
                  </a:lnTo>
                  <a:lnTo>
                    <a:pt x="1183957" y="152006"/>
                  </a:lnTo>
                  <a:lnTo>
                    <a:pt x="1180223" y="151066"/>
                  </a:lnTo>
                  <a:lnTo>
                    <a:pt x="1180223" y="168897"/>
                  </a:lnTo>
                  <a:lnTo>
                    <a:pt x="1463649" y="259537"/>
                  </a:lnTo>
                  <a:lnTo>
                    <a:pt x="1464398" y="259537"/>
                  </a:lnTo>
                  <a:lnTo>
                    <a:pt x="1471079" y="261772"/>
                  </a:lnTo>
                  <a:lnTo>
                    <a:pt x="1480743" y="261772"/>
                  </a:lnTo>
                  <a:lnTo>
                    <a:pt x="1488694" y="261289"/>
                  </a:lnTo>
                  <a:lnTo>
                    <a:pt x="1519008" y="244932"/>
                  </a:lnTo>
                  <a:lnTo>
                    <a:pt x="1519364" y="242366"/>
                  </a:lnTo>
                  <a:close/>
                </a:path>
              </a:pathLst>
            </a:custGeom>
            <a:solidFill>
              <a:srgbClr val="F5A316"/>
            </a:solidFill>
          </p:spPr>
          <p:txBody>
            <a:bodyPr wrap="square" lIns="0" tIns="0" rIns="0" bIns="0" rtlCol="0"/>
            <a:lstStyle/>
            <a:p>
              <a:endParaRPr/>
            </a:p>
          </p:txBody>
        </p:sp>
      </p:grpSp>
      <p:sp>
        <p:nvSpPr>
          <p:cNvPr id="30" name="object 30"/>
          <p:cNvSpPr txBox="1"/>
          <p:nvPr/>
        </p:nvSpPr>
        <p:spPr>
          <a:xfrm>
            <a:off x="3853205" y="8457841"/>
            <a:ext cx="1609090" cy="246379"/>
          </a:xfrm>
          <a:prstGeom prst="rect">
            <a:avLst/>
          </a:prstGeom>
        </p:spPr>
        <p:txBody>
          <a:bodyPr vert="horz" wrap="square" lIns="0" tIns="12065" rIns="0" bIns="0" rtlCol="0">
            <a:spAutoFit/>
          </a:bodyPr>
          <a:lstStyle/>
          <a:p>
            <a:pPr marL="12700">
              <a:lnSpc>
                <a:spcPct val="100000"/>
              </a:lnSpc>
              <a:spcBef>
                <a:spcPts val="95"/>
              </a:spcBef>
            </a:pPr>
            <a:r>
              <a:rPr sz="1450" dirty="0">
                <a:solidFill>
                  <a:srgbClr val="737373"/>
                </a:solidFill>
                <a:latin typeface="Roboto"/>
                <a:cs typeface="Roboto"/>
              </a:rPr>
              <a:t>Vino</a:t>
            </a:r>
            <a:r>
              <a:rPr sz="1450" spc="-65" dirty="0">
                <a:solidFill>
                  <a:srgbClr val="737373"/>
                </a:solidFill>
                <a:latin typeface="Roboto"/>
                <a:cs typeface="Roboto"/>
              </a:rPr>
              <a:t> </a:t>
            </a:r>
            <a:r>
              <a:rPr sz="1450" dirty="0">
                <a:solidFill>
                  <a:srgbClr val="737373"/>
                </a:solidFill>
                <a:latin typeface="Roboto"/>
                <a:cs typeface="Roboto"/>
              </a:rPr>
              <a:t>y</a:t>
            </a:r>
            <a:r>
              <a:rPr sz="1450" spc="-60" dirty="0">
                <a:solidFill>
                  <a:srgbClr val="737373"/>
                </a:solidFill>
                <a:latin typeface="Roboto"/>
                <a:cs typeface="Roboto"/>
              </a:rPr>
              <a:t> </a:t>
            </a:r>
            <a:r>
              <a:rPr sz="1450" spc="-10" dirty="0">
                <a:solidFill>
                  <a:srgbClr val="737373"/>
                </a:solidFill>
                <a:latin typeface="Roboto"/>
                <a:cs typeface="Roboto"/>
              </a:rPr>
              <a:t>gastronomía</a:t>
            </a:r>
            <a:endParaRPr sz="1450">
              <a:latin typeface="Roboto"/>
              <a:cs typeface="Roboto"/>
            </a:endParaRPr>
          </a:p>
        </p:txBody>
      </p:sp>
      <p:sp>
        <p:nvSpPr>
          <p:cNvPr id="31" name="object 31"/>
          <p:cNvSpPr txBox="1"/>
          <p:nvPr/>
        </p:nvSpPr>
        <p:spPr>
          <a:xfrm>
            <a:off x="5900031" y="8457841"/>
            <a:ext cx="1004569" cy="246379"/>
          </a:xfrm>
          <a:prstGeom prst="rect">
            <a:avLst/>
          </a:prstGeom>
        </p:spPr>
        <p:txBody>
          <a:bodyPr vert="horz" wrap="square" lIns="0" tIns="12065" rIns="0" bIns="0" rtlCol="0">
            <a:spAutoFit/>
          </a:bodyPr>
          <a:lstStyle/>
          <a:p>
            <a:pPr marL="12700">
              <a:lnSpc>
                <a:spcPct val="100000"/>
              </a:lnSpc>
              <a:spcBef>
                <a:spcPts val="95"/>
              </a:spcBef>
            </a:pPr>
            <a:r>
              <a:rPr sz="1450" dirty="0">
                <a:solidFill>
                  <a:srgbClr val="737373"/>
                </a:solidFill>
                <a:latin typeface="Roboto"/>
                <a:cs typeface="Roboto"/>
              </a:rPr>
              <a:t>Vida</a:t>
            </a:r>
            <a:r>
              <a:rPr sz="1450" spc="-60" dirty="0">
                <a:solidFill>
                  <a:srgbClr val="737373"/>
                </a:solidFill>
                <a:latin typeface="Roboto"/>
                <a:cs typeface="Roboto"/>
              </a:rPr>
              <a:t> </a:t>
            </a:r>
            <a:r>
              <a:rPr sz="1450" spc="-10" dirty="0">
                <a:solidFill>
                  <a:srgbClr val="737373"/>
                </a:solidFill>
                <a:latin typeface="Roboto"/>
                <a:cs typeface="Roboto"/>
              </a:rPr>
              <a:t>urbana</a:t>
            </a:r>
            <a:endParaRPr sz="1450">
              <a:latin typeface="Roboto"/>
              <a:cs typeface="Roboto"/>
            </a:endParaRPr>
          </a:p>
        </p:txBody>
      </p:sp>
      <p:sp>
        <p:nvSpPr>
          <p:cNvPr id="32" name="object 32"/>
          <p:cNvSpPr txBox="1"/>
          <p:nvPr/>
        </p:nvSpPr>
        <p:spPr>
          <a:xfrm>
            <a:off x="7515128" y="8457841"/>
            <a:ext cx="272415" cy="246379"/>
          </a:xfrm>
          <a:prstGeom prst="rect">
            <a:avLst/>
          </a:prstGeom>
        </p:spPr>
        <p:txBody>
          <a:bodyPr vert="horz" wrap="square" lIns="0" tIns="12065" rIns="0" bIns="0" rtlCol="0">
            <a:spAutoFit/>
          </a:bodyPr>
          <a:lstStyle/>
          <a:p>
            <a:pPr marL="12700">
              <a:lnSpc>
                <a:spcPct val="100000"/>
              </a:lnSpc>
              <a:spcBef>
                <a:spcPts val="95"/>
              </a:spcBef>
            </a:pPr>
            <a:r>
              <a:rPr sz="1450" spc="-25" dirty="0">
                <a:solidFill>
                  <a:srgbClr val="737373"/>
                </a:solidFill>
                <a:latin typeface="Roboto"/>
                <a:cs typeface="Roboto"/>
              </a:rPr>
              <a:t>Ski</a:t>
            </a:r>
            <a:endParaRPr sz="1450">
              <a:latin typeface="Roboto"/>
              <a:cs typeface="Roboto"/>
            </a:endParaRPr>
          </a:p>
        </p:txBody>
      </p:sp>
      <p:pic>
        <p:nvPicPr>
          <p:cNvPr id="33" name="object 33"/>
          <p:cNvPicPr/>
          <p:nvPr/>
        </p:nvPicPr>
        <p:blipFill>
          <a:blip r:embed="rId9" cstate="print"/>
          <a:stretch>
            <a:fillRect/>
          </a:stretch>
        </p:blipFill>
        <p:spPr>
          <a:xfrm>
            <a:off x="8617302" y="8181906"/>
            <a:ext cx="233908" cy="241401"/>
          </a:xfrm>
          <a:prstGeom prst="rect">
            <a:avLst/>
          </a:prstGeom>
        </p:spPr>
      </p:pic>
      <p:sp>
        <p:nvSpPr>
          <p:cNvPr id="34" name="object 34"/>
          <p:cNvSpPr txBox="1"/>
          <p:nvPr/>
        </p:nvSpPr>
        <p:spPr>
          <a:xfrm>
            <a:off x="8316097" y="8457841"/>
            <a:ext cx="771525" cy="246379"/>
          </a:xfrm>
          <a:prstGeom prst="rect">
            <a:avLst/>
          </a:prstGeom>
        </p:spPr>
        <p:txBody>
          <a:bodyPr vert="horz" wrap="square" lIns="0" tIns="12065" rIns="0" bIns="0" rtlCol="0">
            <a:spAutoFit/>
          </a:bodyPr>
          <a:lstStyle/>
          <a:p>
            <a:pPr marL="12700">
              <a:lnSpc>
                <a:spcPct val="100000"/>
              </a:lnSpc>
              <a:spcBef>
                <a:spcPts val="95"/>
              </a:spcBef>
            </a:pPr>
            <a:r>
              <a:rPr sz="1450" spc="-10" dirty="0">
                <a:solidFill>
                  <a:srgbClr val="737373"/>
                </a:solidFill>
                <a:latin typeface="Roboto"/>
                <a:cs typeface="Roboto"/>
              </a:rPr>
              <a:t>Compras</a:t>
            </a:r>
            <a:endParaRPr sz="1450">
              <a:latin typeface="Roboto"/>
              <a:cs typeface="Roboto"/>
            </a:endParaRPr>
          </a:p>
        </p:txBody>
      </p:sp>
      <p:pic>
        <p:nvPicPr>
          <p:cNvPr id="35" name="object 35"/>
          <p:cNvPicPr/>
          <p:nvPr/>
        </p:nvPicPr>
        <p:blipFill>
          <a:blip r:embed="rId10" cstate="print"/>
          <a:stretch>
            <a:fillRect/>
          </a:stretch>
        </p:blipFill>
        <p:spPr>
          <a:xfrm>
            <a:off x="6129248" y="8992141"/>
            <a:ext cx="233908" cy="241401"/>
          </a:xfrm>
          <a:prstGeom prst="rect">
            <a:avLst/>
          </a:prstGeom>
        </p:spPr>
      </p:pic>
      <p:sp>
        <p:nvSpPr>
          <p:cNvPr id="36" name="object 36"/>
          <p:cNvSpPr txBox="1"/>
          <p:nvPr/>
        </p:nvSpPr>
        <p:spPr>
          <a:xfrm>
            <a:off x="5828043" y="9268076"/>
            <a:ext cx="771525" cy="246379"/>
          </a:xfrm>
          <a:prstGeom prst="rect">
            <a:avLst/>
          </a:prstGeom>
        </p:spPr>
        <p:txBody>
          <a:bodyPr vert="horz" wrap="square" lIns="0" tIns="12065" rIns="0" bIns="0" rtlCol="0">
            <a:spAutoFit/>
          </a:bodyPr>
          <a:lstStyle/>
          <a:p>
            <a:pPr marL="12700">
              <a:lnSpc>
                <a:spcPct val="100000"/>
              </a:lnSpc>
              <a:spcBef>
                <a:spcPts val="95"/>
              </a:spcBef>
            </a:pPr>
            <a:r>
              <a:rPr sz="1450" spc="-10" dirty="0">
                <a:solidFill>
                  <a:srgbClr val="737373"/>
                </a:solidFill>
                <a:latin typeface="Roboto"/>
                <a:cs typeface="Roboto"/>
              </a:rPr>
              <a:t>Compras</a:t>
            </a:r>
            <a:endParaRPr sz="1450">
              <a:latin typeface="Roboto"/>
              <a:cs typeface="Roboto"/>
            </a:endParaRPr>
          </a:p>
        </p:txBody>
      </p:sp>
      <p:sp>
        <p:nvSpPr>
          <p:cNvPr id="37" name="object 37"/>
          <p:cNvSpPr/>
          <p:nvPr/>
        </p:nvSpPr>
        <p:spPr>
          <a:xfrm>
            <a:off x="4460549" y="7248756"/>
            <a:ext cx="273050" cy="305435"/>
          </a:xfrm>
          <a:custGeom>
            <a:avLst/>
            <a:gdLst/>
            <a:ahLst/>
            <a:cxnLst/>
            <a:rect l="l" t="t" r="r" b="b"/>
            <a:pathLst>
              <a:path w="273050" h="305434">
                <a:moveTo>
                  <a:pt x="186636" y="305315"/>
                </a:moveTo>
                <a:lnTo>
                  <a:pt x="136344" y="305315"/>
                </a:lnTo>
                <a:lnTo>
                  <a:pt x="85861" y="305315"/>
                </a:lnTo>
                <a:lnTo>
                  <a:pt x="85861" y="293203"/>
                </a:lnTo>
                <a:lnTo>
                  <a:pt x="87449" y="291785"/>
                </a:lnTo>
                <a:lnTo>
                  <a:pt x="89417" y="290883"/>
                </a:lnTo>
                <a:lnTo>
                  <a:pt x="105068" y="279400"/>
                </a:lnTo>
                <a:lnTo>
                  <a:pt x="114087" y="262415"/>
                </a:lnTo>
                <a:lnTo>
                  <a:pt x="118582" y="238291"/>
                </a:lnTo>
                <a:lnTo>
                  <a:pt x="120659" y="205390"/>
                </a:lnTo>
                <a:lnTo>
                  <a:pt x="125803" y="82594"/>
                </a:lnTo>
                <a:lnTo>
                  <a:pt x="117230" y="80081"/>
                </a:lnTo>
                <a:lnTo>
                  <a:pt x="115579" y="92322"/>
                </a:lnTo>
                <a:lnTo>
                  <a:pt x="108607" y="115758"/>
                </a:lnTo>
                <a:lnTo>
                  <a:pt x="95378" y="133837"/>
                </a:lnTo>
                <a:lnTo>
                  <a:pt x="76994" y="145477"/>
                </a:lnTo>
                <a:lnTo>
                  <a:pt x="54556" y="149597"/>
                </a:lnTo>
                <a:lnTo>
                  <a:pt x="38980" y="147895"/>
                </a:lnTo>
                <a:lnTo>
                  <a:pt x="24862" y="143179"/>
                </a:lnTo>
                <a:lnTo>
                  <a:pt x="12685" y="136034"/>
                </a:lnTo>
                <a:lnTo>
                  <a:pt x="2930" y="127048"/>
                </a:lnTo>
                <a:lnTo>
                  <a:pt x="0" y="119749"/>
                </a:lnTo>
                <a:lnTo>
                  <a:pt x="2486" y="113881"/>
                </a:lnTo>
                <a:lnTo>
                  <a:pt x="8306" y="111456"/>
                </a:lnTo>
                <a:lnTo>
                  <a:pt x="15376" y="114485"/>
                </a:lnTo>
                <a:lnTo>
                  <a:pt x="23166" y="120401"/>
                </a:lnTo>
                <a:lnTo>
                  <a:pt x="33069" y="125816"/>
                </a:lnTo>
                <a:lnTo>
                  <a:pt x="44032" y="129769"/>
                </a:lnTo>
                <a:lnTo>
                  <a:pt x="55000" y="131300"/>
                </a:lnTo>
                <a:lnTo>
                  <a:pt x="67147" y="129149"/>
                </a:lnTo>
                <a:lnTo>
                  <a:pt x="77876" y="123271"/>
                </a:lnTo>
                <a:lnTo>
                  <a:pt x="86629" y="114530"/>
                </a:lnTo>
                <a:lnTo>
                  <a:pt x="92846" y="103790"/>
                </a:lnTo>
                <a:lnTo>
                  <a:pt x="85940" y="108043"/>
                </a:lnTo>
                <a:lnTo>
                  <a:pt x="77741" y="111433"/>
                </a:lnTo>
                <a:lnTo>
                  <a:pt x="68174" y="113674"/>
                </a:lnTo>
                <a:lnTo>
                  <a:pt x="57159" y="114485"/>
                </a:lnTo>
                <a:lnTo>
                  <a:pt x="42806" y="112334"/>
                </a:lnTo>
                <a:lnTo>
                  <a:pt x="30299" y="106987"/>
                </a:lnTo>
                <a:lnTo>
                  <a:pt x="20316" y="100107"/>
                </a:lnTo>
                <a:lnTo>
                  <a:pt x="13535" y="93353"/>
                </a:lnTo>
                <a:lnTo>
                  <a:pt x="10448" y="85243"/>
                </a:lnTo>
                <a:lnTo>
                  <a:pt x="13130" y="79115"/>
                </a:lnTo>
                <a:lnTo>
                  <a:pt x="18920" y="76755"/>
                </a:lnTo>
                <a:lnTo>
                  <a:pt x="25155" y="79952"/>
                </a:lnTo>
                <a:lnTo>
                  <a:pt x="31759" y="85929"/>
                </a:lnTo>
                <a:lnTo>
                  <a:pt x="40745" y="91477"/>
                </a:lnTo>
                <a:lnTo>
                  <a:pt x="50730" y="95563"/>
                </a:lnTo>
                <a:lnTo>
                  <a:pt x="60334" y="97154"/>
                </a:lnTo>
                <a:lnTo>
                  <a:pt x="69458" y="96211"/>
                </a:lnTo>
                <a:lnTo>
                  <a:pt x="77313" y="93909"/>
                </a:lnTo>
                <a:lnTo>
                  <a:pt x="83489" y="91039"/>
                </a:lnTo>
                <a:lnTo>
                  <a:pt x="87576" y="88392"/>
                </a:lnTo>
                <a:lnTo>
                  <a:pt x="90052" y="86524"/>
                </a:lnTo>
                <a:lnTo>
                  <a:pt x="88465" y="85171"/>
                </a:lnTo>
                <a:lnTo>
                  <a:pt x="84655" y="87039"/>
                </a:lnTo>
                <a:lnTo>
                  <a:pt x="78749" y="87619"/>
                </a:lnTo>
                <a:lnTo>
                  <a:pt x="75892" y="87619"/>
                </a:lnTo>
                <a:lnTo>
                  <a:pt x="59940" y="84405"/>
                </a:lnTo>
                <a:lnTo>
                  <a:pt x="46237" y="76304"/>
                </a:lnTo>
                <a:lnTo>
                  <a:pt x="35726" y="65631"/>
                </a:lnTo>
                <a:lnTo>
                  <a:pt x="29346" y="54697"/>
                </a:lnTo>
                <a:lnTo>
                  <a:pt x="28449" y="44504"/>
                </a:lnTo>
                <a:lnTo>
                  <a:pt x="33125" y="38961"/>
                </a:lnTo>
                <a:lnTo>
                  <a:pt x="40276" y="39096"/>
                </a:lnTo>
                <a:lnTo>
                  <a:pt x="46809" y="45935"/>
                </a:lnTo>
                <a:lnTo>
                  <a:pt x="52303" y="54759"/>
                </a:lnTo>
                <a:lnTo>
                  <a:pt x="60231" y="62549"/>
                </a:lnTo>
                <a:lnTo>
                  <a:pt x="70910" y="68105"/>
                </a:lnTo>
                <a:lnTo>
                  <a:pt x="84655" y="70224"/>
                </a:lnTo>
                <a:lnTo>
                  <a:pt x="86814" y="70224"/>
                </a:lnTo>
                <a:lnTo>
                  <a:pt x="87004" y="68935"/>
                </a:lnTo>
                <a:lnTo>
                  <a:pt x="86242" y="68420"/>
                </a:lnTo>
                <a:lnTo>
                  <a:pt x="76192" y="60121"/>
                </a:lnTo>
                <a:lnTo>
                  <a:pt x="68320" y="50107"/>
                </a:lnTo>
                <a:lnTo>
                  <a:pt x="63186" y="38522"/>
                </a:lnTo>
                <a:lnTo>
                  <a:pt x="61350" y="25512"/>
                </a:lnTo>
                <a:lnTo>
                  <a:pt x="64238" y="15520"/>
                </a:lnTo>
                <a:lnTo>
                  <a:pt x="70590" y="12402"/>
                </a:lnTo>
                <a:lnTo>
                  <a:pt x="76942" y="15419"/>
                </a:lnTo>
                <a:lnTo>
                  <a:pt x="79829" y="23837"/>
                </a:lnTo>
                <a:lnTo>
                  <a:pt x="81656" y="34695"/>
                </a:lnTo>
                <a:lnTo>
                  <a:pt x="86917" y="45082"/>
                </a:lnTo>
                <a:lnTo>
                  <a:pt x="95286" y="54333"/>
                </a:lnTo>
                <a:lnTo>
                  <a:pt x="106435" y="61784"/>
                </a:lnTo>
                <a:lnTo>
                  <a:pt x="108467" y="62944"/>
                </a:lnTo>
                <a:lnTo>
                  <a:pt x="109864" y="61462"/>
                </a:lnTo>
                <a:lnTo>
                  <a:pt x="107959" y="58885"/>
                </a:lnTo>
                <a:lnTo>
                  <a:pt x="102414" y="49935"/>
                </a:lnTo>
                <a:lnTo>
                  <a:pt x="98173" y="40193"/>
                </a:lnTo>
                <a:lnTo>
                  <a:pt x="95253" y="29812"/>
                </a:lnTo>
                <a:lnTo>
                  <a:pt x="93672" y="18941"/>
                </a:lnTo>
                <a:lnTo>
                  <a:pt x="95864" y="8451"/>
                </a:lnTo>
                <a:lnTo>
                  <a:pt x="102110" y="4026"/>
                </a:lnTo>
                <a:lnTo>
                  <a:pt x="108772" y="6076"/>
                </a:lnTo>
                <a:lnTo>
                  <a:pt x="112214" y="15011"/>
                </a:lnTo>
                <a:lnTo>
                  <a:pt x="113430" y="25692"/>
                </a:lnTo>
                <a:lnTo>
                  <a:pt x="115849" y="34943"/>
                </a:lnTo>
                <a:lnTo>
                  <a:pt x="119340" y="42924"/>
                </a:lnTo>
                <a:lnTo>
                  <a:pt x="123771" y="49801"/>
                </a:lnTo>
                <a:lnTo>
                  <a:pt x="124596" y="50896"/>
                </a:lnTo>
                <a:lnTo>
                  <a:pt x="125549" y="50832"/>
                </a:lnTo>
                <a:lnTo>
                  <a:pt x="126819" y="5411"/>
                </a:lnTo>
                <a:lnTo>
                  <a:pt x="129803" y="0"/>
                </a:lnTo>
                <a:lnTo>
                  <a:pt x="142630" y="0"/>
                </a:lnTo>
                <a:lnTo>
                  <a:pt x="145615" y="5411"/>
                </a:lnTo>
                <a:lnTo>
                  <a:pt x="146821" y="50832"/>
                </a:lnTo>
                <a:lnTo>
                  <a:pt x="147774" y="50896"/>
                </a:lnTo>
                <a:lnTo>
                  <a:pt x="160220" y="15011"/>
                </a:lnTo>
                <a:lnTo>
                  <a:pt x="163662" y="6076"/>
                </a:lnTo>
                <a:lnTo>
                  <a:pt x="170324" y="4026"/>
                </a:lnTo>
                <a:lnTo>
                  <a:pt x="176570" y="8451"/>
                </a:lnTo>
                <a:lnTo>
                  <a:pt x="178762" y="18941"/>
                </a:lnTo>
                <a:lnTo>
                  <a:pt x="177208" y="29784"/>
                </a:lnTo>
                <a:lnTo>
                  <a:pt x="174285" y="40169"/>
                </a:lnTo>
                <a:lnTo>
                  <a:pt x="170029" y="49926"/>
                </a:lnTo>
                <a:lnTo>
                  <a:pt x="164474" y="58885"/>
                </a:lnTo>
                <a:lnTo>
                  <a:pt x="162569" y="61462"/>
                </a:lnTo>
                <a:lnTo>
                  <a:pt x="163966" y="62944"/>
                </a:lnTo>
                <a:lnTo>
                  <a:pt x="190778" y="34804"/>
                </a:lnTo>
                <a:lnTo>
                  <a:pt x="192605" y="23837"/>
                </a:lnTo>
                <a:lnTo>
                  <a:pt x="195492" y="15429"/>
                </a:lnTo>
                <a:lnTo>
                  <a:pt x="201844" y="12619"/>
                </a:lnTo>
                <a:lnTo>
                  <a:pt x="208196" y="15837"/>
                </a:lnTo>
                <a:lnTo>
                  <a:pt x="211083" y="25512"/>
                </a:lnTo>
                <a:lnTo>
                  <a:pt x="209248" y="38169"/>
                </a:lnTo>
                <a:lnTo>
                  <a:pt x="204114" y="49793"/>
                </a:lnTo>
                <a:lnTo>
                  <a:pt x="196242" y="60003"/>
                </a:lnTo>
                <a:lnTo>
                  <a:pt x="185493" y="68935"/>
                </a:lnTo>
                <a:lnTo>
                  <a:pt x="185620" y="70224"/>
                </a:lnTo>
                <a:lnTo>
                  <a:pt x="187779" y="70224"/>
                </a:lnTo>
                <a:lnTo>
                  <a:pt x="201524" y="68105"/>
                </a:lnTo>
                <a:lnTo>
                  <a:pt x="212203" y="62549"/>
                </a:lnTo>
                <a:lnTo>
                  <a:pt x="220131" y="54759"/>
                </a:lnTo>
                <a:lnTo>
                  <a:pt x="225625" y="45935"/>
                </a:lnTo>
                <a:lnTo>
                  <a:pt x="232157" y="39096"/>
                </a:lnTo>
                <a:lnTo>
                  <a:pt x="239309" y="38961"/>
                </a:lnTo>
                <a:lnTo>
                  <a:pt x="243984" y="44504"/>
                </a:lnTo>
                <a:lnTo>
                  <a:pt x="243087" y="54697"/>
                </a:lnTo>
                <a:lnTo>
                  <a:pt x="236708" y="65631"/>
                </a:lnTo>
                <a:lnTo>
                  <a:pt x="226196" y="76304"/>
                </a:lnTo>
                <a:lnTo>
                  <a:pt x="212494" y="84405"/>
                </a:lnTo>
                <a:lnTo>
                  <a:pt x="196542" y="87619"/>
                </a:lnTo>
                <a:lnTo>
                  <a:pt x="193684" y="87619"/>
                </a:lnTo>
                <a:lnTo>
                  <a:pt x="187779" y="87039"/>
                </a:lnTo>
                <a:lnTo>
                  <a:pt x="183969" y="85171"/>
                </a:lnTo>
                <a:lnTo>
                  <a:pt x="182445" y="86524"/>
                </a:lnTo>
                <a:lnTo>
                  <a:pt x="212099" y="97154"/>
                </a:lnTo>
                <a:lnTo>
                  <a:pt x="221695" y="95563"/>
                </a:lnTo>
                <a:lnTo>
                  <a:pt x="231665" y="91477"/>
                </a:lnTo>
                <a:lnTo>
                  <a:pt x="240648" y="85929"/>
                </a:lnTo>
                <a:lnTo>
                  <a:pt x="247278" y="79952"/>
                </a:lnTo>
                <a:lnTo>
                  <a:pt x="253523" y="76791"/>
                </a:lnTo>
                <a:lnTo>
                  <a:pt x="259328" y="79163"/>
                </a:lnTo>
                <a:lnTo>
                  <a:pt x="262012" y="85280"/>
                </a:lnTo>
                <a:lnTo>
                  <a:pt x="258899" y="93353"/>
                </a:lnTo>
                <a:lnTo>
                  <a:pt x="252109" y="100079"/>
                </a:lnTo>
                <a:lnTo>
                  <a:pt x="242111" y="106963"/>
                </a:lnTo>
                <a:lnTo>
                  <a:pt x="229601" y="112324"/>
                </a:lnTo>
                <a:lnTo>
                  <a:pt x="215274" y="114485"/>
                </a:lnTo>
                <a:lnTo>
                  <a:pt x="204260" y="113683"/>
                </a:lnTo>
                <a:lnTo>
                  <a:pt x="194692" y="111457"/>
                </a:lnTo>
                <a:lnTo>
                  <a:pt x="186494" y="108070"/>
                </a:lnTo>
                <a:lnTo>
                  <a:pt x="179587" y="103790"/>
                </a:lnTo>
                <a:lnTo>
                  <a:pt x="185813" y="114530"/>
                </a:lnTo>
                <a:lnTo>
                  <a:pt x="194581" y="123271"/>
                </a:lnTo>
                <a:lnTo>
                  <a:pt x="205314" y="129149"/>
                </a:lnTo>
                <a:lnTo>
                  <a:pt x="217433" y="131300"/>
                </a:lnTo>
                <a:lnTo>
                  <a:pt x="228402" y="129769"/>
                </a:lnTo>
                <a:lnTo>
                  <a:pt x="239365" y="125816"/>
                </a:lnTo>
                <a:lnTo>
                  <a:pt x="249268" y="120401"/>
                </a:lnTo>
                <a:lnTo>
                  <a:pt x="257057" y="114485"/>
                </a:lnTo>
                <a:lnTo>
                  <a:pt x="264128" y="111456"/>
                </a:lnTo>
                <a:lnTo>
                  <a:pt x="269948" y="113881"/>
                </a:lnTo>
                <a:lnTo>
                  <a:pt x="272434" y="119749"/>
                </a:lnTo>
                <a:lnTo>
                  <a:pt x="269503" y="127048"/>
                </a:lnTo>
                <a:lnTo>
                  <a:pt x="259749" y="136061"/>
                </a:lnTo>
                <a:lnTo>
                  <a:pt x="247572" y="143203"/>
                </a:lnTo>
                <a:lnTo>
                  <a:pt x="233454" y="147904"/>
                </a:lnTo>
                <a:lnTo>
                  <a:pt x="217878" y="149597"/>
                </a:lnTo>
                <a:lnTo>
                  <a:pt x="195476" y="145477"/>
                </a:lnTo>
                <a:lnTo>
                  <a:pt x="177111" y="133837"/>
                </a:lnTo>
                <a:lnTo>
                  <a:pt x="163889" y="115758"/>
                </a:lnTo>
                <a:lnTo>
                  <a:pt x="156918" y="92322"/>
                </a:lnTo>
                <a:lnTo>
                  <a:pt x="155267" y="80081"/>
                </a:lnTo>
                <a:lnTo>
                  <a:pt x="146694" y="82594"/>
                </a:lnTo>
                <a:lnTo>
                  <a:pt x="151838" y="205390"/>
                </a:lnTo>
                <a:lnTo>
                  <a:pt x="158410" y="262415"/>
                </a:lnTo>
                <a:lnTo>
                  <a:pt x="185048" y="291785"/>
                </a:lnTo>
                <a:lnTo>
                  <a:pt x="186572" y="293138"/>
                </a:lnTo>
                <a:lnTo>
                  <a:pt x="186636" y="305315"/>
                </a:lnTo>
                <a:close/>
              </a:path>
            </a:pathLst>
          </a:custGeom>
          <a:solidFill>
            <a:srgbClr val="21408B"/>
          </a:solidFill>
        </p:spPr>
        <p:txBody>
          <a:bodyPr wrap="square" lIns="0" tIns="0" rIns="0" bIns="0" rtlCol="0"/>
          <a:lstStyle/>
          <a:p>
            <a:endParaRPr/>
          </a:p>
        </p:txBody>
      </p:sp>
      <p:sp>
        <p:nvSpPr>
          <p:cNvPr id="38" name="object 38"/>
          <p:cNvSpPr txBox="1"/>
          <p:nvPr/>
        </p:nvSpPr>
        <p:spPr>
          <a:xfrm>
            <a:off x="4131338" y="7532926"/>
            <a:ext cx="913130" cy="246379"/>
          </a:xfrm>
          <a:prstGeom prst="rect">
            <a:avLst/>
          </a:prstGeom>
        </p:spPr>
        <p:txBody>
          <a:bodyPr vert="horz" wrap="square" lIns="0" tIns="12065" rIns="0" bIns="0" rtlCol="0">
            <a:spAutoFit/>
          </a:bodyPr>
          <a:lstStyle/>
          <a:p>
            <a:pPr marL="12700">
              <a:lnSpc>
                <a:spcPct val="100000"/>
              </a:lnSpc>
              <a:spcBef>
                <a:spcPts val="95"/>
              </a:spcBef>
            </a:pPr>
            <a:r>
              <a:rPr sz="1450" spc="-10" dirty="0">
                <a:solidFill>
                  <a:srgbClr val="737373"/>
                </a:solidFill>
                <a:latin typeface="Roboto"/>
                <a:cs typeface="Roboto"/>
              </a:rPr>
              <a:t>Naturaleza</a:t>
            </a:r>
            <a:endParaRPr sz="1450">
              <a:latin typeface="Roboto"/>
              <a:cs typeface="Roboto"/>
            </a:endParaRPr>
          </a:p>
        </p:txBody>
      </p:sp>
      <p:sp>
        <p:nvSpPr>
          <p:cNvPr id="39" name="object 39"/>
          <p:cNvSpPr/>
          <p:nvPr/>
        </p:nvSpPr>
        <p:spPr>
          <a:xfrm>
            <a:off x="6153815" y="7255044"/>
            <a:ext cx="300990" cy="278130"/>
          </a:xfrm>
          <a:custGeom>
            <a:avLst/>
            <a:gdLst/>
            <a:ahLst/>
            <a:cxnLst/>
            <a:rect l="l" t="t" r="r" b="b"/>
            <a:pathLst>
              <a:path w="300989" h="278129">
                <a:moveTo>
                  <a:pt x="37697" y="37956"/>
                </a:moveTo>
                <a:lnTo>
                  <a:pt x="29207" y="34753"/>
                </a:lnTo>
                <a:lnTo>
                  <a:pt x="25349" y="24739"/>
                </a:lnTo>
                <a:lnTo>
                  <a:pt x="27272" y="14629"/>
                </a:lnTo>
                <a:lnTo>
                  <a:pt x="32533" y="6819"/>
                </a:lnTo>
                <a:lnTo>
                  <a:pt x="40367" y="1784"/>
                </a:lnTo>
                <a:lnTo>
                  <a:pt x="50010" y="0"/>
                </a:lnTo>
                <a:lnTo>
                  <a:pt x="59653" y="1693"/>
                </a:lnTo>
                <a:lnTo>
                  <a:pt x="67487" y="6171"/>
                </a:lnTo>
                <a:lnTo>
                  <a:pt x="72748" y="12533"/>
                </a:lnTo>
                <a:lnTo>
                  <a:pt x="74671" y="19875"/>
                </a:lnTo>
                <a:lnTo>
                  <a:pt x="50044" y="19875"/>
                </a:lnTo>
                <a:lnTo>
                  <a:pt x="46186" y="33334"/>
                </a:lnTo>
                <a:lnTo>
                  <a:pt x="37697" y="37956"/>
                </a:lnTo>
                <a:close/>
              </a:path>
              <a:path w="300989" h="278129">
                <a:moveTo>
                  <a:pt x="120670" y="57957"/>
                </a:moveTo>
                <a:lnTo>
                  <a:pt x="96684" y="57957"/>
                </a:lnTo>
                <a:lnTo>
                  <a:pt x="125439" y="23627"/>
                </a:lnTo>
                <a:lnTo>
                  <a:pt x="132971" y="31793"/>
                </a:lnTo>
                <a:lnTo>
                  <a:pt x="134450" y="33426"/>
                </a:lnTo>
                <a:lnTo>
                  <a:pt x="135207" y="34920"/>
                </a:lnTo>
                <a:lnTo>
                  <a:pt x="120670" y="57957"/>
                </a:lnTo>
                <a:close/>
              </a:path>
              <a:path w="300989" h="278129">
                <a:moveTo>
                  <a:pt x="166369" y="64737"/>
                </a:moveTo>
                <a:lnTo>
                  <a:pt x="157880" y="61582"/>
                </a:lnTo>
                <a:lnTo>
                  <a:pt x="154021" y="51668"/>
                </a:lnTo>
                <a:lnTo>
                  <a:pt x="154021" y="51494"/>
                </a:lnTo>
                <a:lnTo>
                  <a:pt x="155944" y="41404"/>
                </a:lnTo>
                <a:lnTo>
                  <a:pt x="161205" y="33604"/>
                </a:lnTo>
                <a:lnTo>
                  <a:pt x="169039" y="28573"/>
                </a:lnTo>
                <a:lnTo>
                  <a:pt x="178682" y="26789"/>
                </a:lnTo>
                <a:lnTo>
                  <a:pt x="188325" y="28482"/>
                </a:lnTo>
                <a:lnTo>
                  <a:pt x="196159" y="32961"/>
                </a:lnTo>
                <a:lnTo>
                  <a:pt x="201420" y="39322"/>
                </a:lnTo>
                <a:lnTo>
                  <a:pt x="203344" y="46664"/>
                </a:lnTo>
                <a:lnTo>
                  <a:pt x="178717" y="46664"/>
                </a:lnTo>
                <a:lnTo>
                  <a:pt x="174858" y="60106"/>
                </a:lnTo>
                <a:lnTo>
                  <a:pt x="166369" y="64737"/>
                </a:lnTo>
                <a:close/>
              </a:path>
              <a:path w="300989" h="278129">
                <a:moveTo>
                  <a:pt x="50010" y="48784"/>
                </a:moveTo>
                <a:lnTo>
                  <a:pt x="47362" y="48784"/>
                </a:lnTo>
                <a:lnTo>
                  <a:pt x="44782" y="48297"/>
                </a:lnTo>
                <a:lnTo>
                  <a:pt x="42409" y="47428"/>
                </a:lnTo>
                <a:lnTo>
                  <a:pt x="50113" y="45205"/>
                </a:lnTo>
                <a:lnTo>
                  <a:pt x="55926" y="38742"/>
                </a:lnTo>
                <a:lnTo>
                  <a:pt x="58299" y="29708"/>
                </a:lnTo>
                <a:lnTo>
                  <a:pt x="71989" y="29708"/>
                </a:lnTo>
                <a:lnTo>
                  <a:pt x="69440" y="37247"/>
                </a:lnTo>
                <a:lnTo>
                  <a:pt x="64572" y="43298"/>
                </a:lnTo>
                <a:lnTo>
                  <a:pt x="57918" y="47323"/>
                </a:lnTo>
                <a:lnTo>
                  <a:pt x="50010" y="48784"/>
                </a:lnTo>
                <a:close/>
              </a:path>
              <a:path w="300989" h="278129">
                <a:moveTo>
                  <a:pt x="220446" y="139819"/>
                </a:moveTo>
                <a:lnTo>
                  <a:pt x="157013" y="139819"/>
                </a:lnTo>
                <a:lnTo>
                  <a:pt x="154468" y="104517"/>
                </a:lnTo>
                <a:lnTo>
                  <a:pt x="155250" y="95829"/>
                </a:lnTo>
                <a:lnTo>
                  <a:pt x="158866" y="89659"/>
                </a:lnTo>
                <a:lnTo>
                  <a:pt x="165133" y="85984"/>
                </a:lnTo>
                <a:lnTo>
                  <a:pt x="173867" y="84781"/>
                </a:lnTo>
                <a:lnTo>
                  <a:pt x="225322" y="84781"/>
                </a:lnTo>
                <a:lnTo>
                  <a:pt x="253664" y="50451"/>
                </a:lnTo>
                <a:lnTo>
                  <a:pt x="261609" y="58617"/>
                </a:lnTo>
                <a:lnTo>
                  <a:pt x="263122" y="60215"/>
                </a:lnTo>
                <a:lnTo>
                  <a:pt x="263845" y="61744"/>
                </a:lnTo>
                <a:lnTo>
                  <a:pt x="238083" y="102571"/>
                </a:lnTo>
                <a:lnTo>
                  <a:pt x="198563" y="110389"/>
                </a:lnTo>
                <a:lnTo>
                  <a:pt x="220446" y="139819"/>
                </a:lnTo>
                <a:close/>
              </a:path>
              <a:path w="300989" h="278129">
                <a:moveTo>
                  <a:pt x="178717" y="75573"/>
                </a:moveTo>
                <a:lnTo>
                  <a:pt x="176034" y="75573"/>
                </a:lnTo>
                <a:lnTo>
                  <a:pt x="173454" y="75087"/>
                </a:lnTo>
                <a:lnTo>
                  <a:pt x="171081" y="74218"/>
                </a:lnTo>
                <a:lnTo>
                  <a:pt x="178820" y="72064"/>
                </a:lnTo>
                <a:lnTo>
                  <a:pt x="184633" y="65566"/>
                </a:lnTo>
                <a:lnTo>
                  <a:pt x="187006" y="56532"/>
                </a:lnTo>
                <a:lnTo>
                  <a:pt x="200695" y="56532"/>
                </a:lnTo>
                <a:lnTo>
                  <a:pt x="198146" y="64051"/>
                </a:lnTo>
                <a:lnTo>
                  <a:pt x="193279" y="70092"/>
                </a:lnTo>
                <a:lnTo>
                  <a:pt x="186625" y="74113"/>
                </a:lnTo>
                <a:lnTo>
                  <a:pt x="178717" y="75573"/>
                </a:lnTo>
                <a:close/>
              </a:path>
              <a:path w="300989" h="278129">
                <a:moveTo>
                  <a:pt x="91460" y="113308"/>
                </a:moveTo>
                <a:lnTo>
                  <a:pt x="28272" y="113308"/>
                </a:lnTo>
                <a:lnTo>
                  <a:pt x="21256" y="77797"/>
                </a:lnTo>
                <a:lnTo>
                  <a:pt x="21004" y="69233"/>
                </a:lnTo>
                <a:lnTo>
                  <a:pt x="23779" y="62995"/>
                </a:lnTo>
                <a:lnTo>
                  <a:pt x="29077" y="59180"/>
                </a:lnTo>
                <a:lnTo>
                  <a:pt x="36390" y="57887"/>
                </a:lnTo>
                <a:lnTo>
                  <a:pt x="120670" y="57957"/>
                </a:lnTo>
                <a:lnTo>
                  <a:pt x="109445" y="75747"/>
                </a:lnTo>
                <a:lnTo>
                  <a:pt x="69925" y="83565"/>
                </a:lnTo>
                <a:lnTo>
                  <a:pt x="91766" y="112543"/>
                </a:lnTo>
                <a:lnTo>
                  <a:pt x="91460" y="113308"/>
                </a:lnTo>
                <a:close/>
              </a:path>
              <a:path w="300989" h="278129">
                <a:moveTo>
                  <a:pt x="5331" y="173246"/>
                </a:moveTo>
                <a:lnTo>
                  <a:pt x="0" y="172377"/>
                </a:lnTo>
                <a:lnTo>
                  <a:pt x="0" y="108826"/>
                </a:lnTo>
                <a:lnTo>
                  <a:pt x="28272" y="113308"/>
                </a:lnTo>
                <a:lnTo>
                  <a:pt x="91460" y="113308"/>
                </a:lnTo>
                <a:lnTo>
                  <a:pt x="80944" y="139611"/>
                </a:lnTo>
                <a:lnTo>
                  <a:pt x="72952" y="139611"/>
                </a:lnTo>
                <a:lnTo>
                  <a:pt x="65075" y="144093"/>
                </a:lnTo>
                <a:lnTo>
                  <a:pt x="61808" y="152050"/>
                </a:lnTo>
                <a:lnTo>
                  <a:pt x="57482" y="162205"/>
                </a:lnTo>
                <a:lnTo>
                  <a:pt x="43881" y="162205"/>
                </a:lnTo>
                <a:lnTo>
                  <a:pt x="34419" y="163273"/>
                </a:lnTo>
                <a:lnTo>
                  <a:pt x="25955" y="165588"/>
                </a:lnTo>
                <a:lnTo>
                  <a:pt x="18367" y="168381"/>
                </a:lnTo>
                <a:lnTo>
                  <a:pt x="10524" y="171404"/>
                </a:lnTo>
                <a:lnTo>
                  <a:pt x="5331" y="173246"/>
                </a:lnTo>
                <a:close/>
              </a:path>
              <a:path w="300989" h="278129">
                <a:moveTo>
                  <a:pt x="105489" y="198228"/>
                </a:moveTo>
                <a:lnTo>
                  <a:pt x="96581" y="196317"/>
                </a:lnTo>
                <a:lnTo>
                  <a:pt x="89840" y="191835"/>
                </a:lnTo>
                <a:lnTo>
                  <a:pt x="85884" y="187561"/>
                </a:lnTo>
                <a:lnTo>
                  <a:pt x="86710" y="186380"/>
                </a:lnTo>
                <a:lnTo>
                  <a:pt x="87466" y="185094"/>
                </a:lnTo>
                <a:lnTo>
                  <a:pt x="95412" y="166157"/>
                </a:lnTo>
                <a:lnTo>
                  <a:pt x="98473" y="158652"/>
                </a:lnTo>
                <a:lnTo>
                  <a:pt x="96512" y="150417"/>
                </a:lnTo>
                <a:lnTo>
                  <a:pt x="91009" y="145935"/>
                </a:lnTo>
                <a:lnTo>
                  <a:pt x="101465" y="120917"/>
                </a:lnTo>
                <a:lnTo>
                  <a:pt x="108860" y="129222"/>
                </a:lnTo>
                <a:lnTo>
                  <a:pt x="157013" y="139819"/>
                </a:lnTo>
                <a:lnTo>
                  <a:pt x="220446" y="139819"/>
                </a:lnTo>
                <a:lnTo>
                  <a:pt x="220782" y="140271"/>
                </a:lnTo>
                <a:lnTo>
                  <a:pt x="207192" y="173280"/>
                </a:lnTo>
                <a:lnTo>
                  <a:pt x="199182" y="173280"/>
                </a:lnTo>
                <a:lnTo>
                  <a:pt x="191305" y="177763"/>
                </a:lnTo>
                <a:lnTo>
                  <a:pt x="188774" y="183927"/>
                </a:lnTo>
                <a:lnTo>
                  <a:pt x="145371" y="183927"/>
                </a:lnTo>
                <a:lnTo>
                  <a:pt x="135598" y="185481"/>
                </a:lnTo>
                <a:lnTo>
                  <a:pt x="126799" y="188500"/>
                </a:lnTo>
                <a:lnTo>
                  <a:pt x="118938" y="192043"/>
                </a:lnTo>
                <a:lnTo>
                  <a:pt x="110752" y="195900"/>
                </a:lnTo>
                <a:lnTo>
                  <a:pt x="105489" y="198228"/>
                </a:lnTo>
                <a:close/>
              </a:path>
              <a:path w="300989" h="278129">
                <a:moveTo>
                  <a:pt x="299810" y="155803"/>
                </a:moveTo>
                <a:lnTo>
                  <a:pt x="246234" y="155803"/>
                </a:lnTo>
                <a:lnTo>
                  <a:pt x="257398" y="153137"/>
                </a:lnTo>
                <a:lnTo>
                  <a:pt x="265818" y="147273"/>
                </a:lnTo>
                <a:lnTo>
                  <a:pt x="273973" y="141408"/>
                </a:lnTo>
                <a:lnTo>
                  <a:pt x="284344" y="138742"/>
                </a:lnTo>
                <a:lnTo>
                  <a:pt x="290806" y="140242"/>
                </a:lnTo>
                <a:lnTo>
                  <a:pt x="295901" y="144567"/>
                </a:lnTo>
                <a:lnTo>
                  <a:pt x="299241" y="151451"/>
                </a:lnTo>
                <a:lnTo>
                  <a:pt x="299810" y="155803"/>
                </a:lnTo>
                <a:close/>
              </a:path>
              <a:path w="300989" h="278129">
                <a:moveTo>
                  <a:pt x="80347" y="141105"/>
                </a:moveTo>
                <a:lnTo>
                  <a:pt x="72952" y="139611"/>
                </a:lnTo>
                <a:lnTo>
                  <a:pt x="80944" y="139611"/>
                </a:lnTo>
                <a:lnTo>
                  <a:pt x="80347" y="141105"/>
                </a:lnTo>
                <a:close/>
              </a:path>
              <a:path w="300989" h="278129">
                <a:moveTo>
                  <a:pt x="214591" y="216470"/>
                </a:moveTo>
                <a:lnTo>
                  <a:pt x="221642" y="199757"/>
                </a:lnTo>
                <a:lnTo>
                  <a:pt x="224703" y="192287"/>
                </a:lnTo>
                <a:lnTo>
                  <a:pt x="222708" y="184052"/>
                </a:lnTo>
                <a:lnTo>
                  <a:pt x="217239" y="179569"/>
                </a:lnTo>
                <a:lnTo>
                  <a:pt x="230206" y="147464"/>
                </a:lnTo>
                <a:lnTo>
                  <a:pt x="236500" y="155073"/>
                </a:lnTo>
                <a:lnTo>
                  <a:pt x="241247" y="155803"/>
                </a:lnTo>
                <a:lnTo>
                  <a:pt x="299810" y="155803"/>
                </a:lnTo>
                <a:lnTo>
                  <a:pt x="300441" y="160633"/>
                </a:lnTo>
                <a:lnTo>
                  <a:pt x="298988" y="178346"/>
                </a:lnTo>
                <a:lnTo>
                  <a:pt x="294852" y="193381"/>
                </a:lnTo>
                <a:lnTo>
                  <a:pt x="288572" y="205496"/>
                </a:lnTo>
                <a:lnTo>
                  <a:pt x="247204" y="205496"/>
                </a:lnTo>
                <a:lnTo>
                  <a:pt x="237399" y="207067"/>
                </a:lnTo>
                <a:lnTo>
                  <a:pt x="228580" y="210117"/>
                </a:lnTo>
                <a:lnTo>
                  <a:pt x="220713" y="213691"/>
                </a:lnTo>
                <a:lnTo>
                  <a:pt x="216448" y="215671"/>
                </a:lnTo>
                <a:lnTo>
                  <a:pt x="214591" y="216470"/>
                </a:lnTo>
                <a:close/>
              </a:path>
              <a:path w="300989" h="278129">
                <a:moveTo>
                  <a:pt x="56511" y="163690"/>
                </a:moveTo>
                <a:lnTo>
                  <a:pt x="54275" y="163204"/>
                </a:lnTo>
                <a:lnTo>
                  <a:pt x="43881" y="162205"/>
                </a:lnTo>
                <a:lnTo>
                  <a:pt x="57482" y="162205"/>
                </a:lnTo>
                <a:lnTo>
                  <a:pt x="57027" y="163273"/>
                </a:lnTo>
                <a:lnTo>
                  <a:pt x="56786" y="163551"/>
                </a:lnTo>
                <a:lnTo>
                  <a:pt x="56511" y="163690"/>
                </a:lnTo>
                <a:close/>
              </a:path>
              <a:path w="300989" h="278129">
                <a:moveTo>
                  <a:pt x="206577" y="174774"/>
                </a:moveTo>
                <a:lnTo>
                  <a:pt x="199182" y="173280"/>
                </a:lnTo>
                <a:lnTo>
                  <a:pt x="207192" y="173280"/>
                </a:lnTo>
                <a:lnTo>
                  <a:pt x="206577" y="174774"/>
                </a:lnTo>
                <a:close/>
              </a:path>
              <a:path w="300989" h="278129">
                <a:moveTo>
                  <a:pt x="181847" y="200348"/>
                </a:moveTo>
                <a:lnTo>
                  <a:pt x="145371" y="183927"/>
                </a:lnTo>
                <a:lnTo>
                  <a:pt x="188774" y="183927"/>
                </a:lnTo>
                <a:lnTo>
                  <a:pt x="181847" y="200348"/>
                </a:lnTo>
                <a:close/>
              </a:path>
              <a:path w="300989" h="278129">
                <a:moveTo>
                  <a:pt x="8461" y="213030"/>
                </a:moveTo>
                <a:lnTo>
                  <a:pt x="0" y="213030"/>
                </a:lnTo>
                <a:lnTo>
                  <a:pt x="0" y="196109"/>
                </a:lnTo>
                <a:lnTo>
                  <a:pt x="5090" y="196039"/>
                </a:lnTo>
                <a:lnTo>
                  <a:pt x="16888" y="191488"/>
                </a:lnTo>
                <a:lnTo>
                  <a:pt x="24095" y="188831"/>
                </a:lnTo>
                <a:lnTo>
                  <a:pt x="31858" y="186675"/>
                </a:lnTo>
                <a:lnTo>
                  <a:pt x="40278" y="185692"/>
                </a:lnTo>
                <a:lnTo>
                  <a:pt x="49460" y="186554"/>
                </a:lnTo>
                <a:lnTo>
                  <a:pt x="58395" y="189697"/>
                </a:lnTo>
                <a:lnTo>
                  <a:pt x="65763" y="194502"/>
                </a:lnTo>
                <a:lnTo>
                  <a:pt x="72028" y="200348"/>
                </a:lnTo>
                <a:lnTo>
                  <a:pt x="73057" y="201495"/>
                </a:lnTo>
                <a:lnTo>
                  <a:pt x="38419" y="201495"/>
                </a:lnTo>
                <a:lnTo>
                  <a:pt x="8461" y="213030"/>
                </a:lnTo>
                <a:close/>
              </a:path>
              <a:path w="300989" h="278129">
                <a:moveTo>
                  <a:pt x="101596" y="237744"/>
                </a:moveTo>
                <a:lnTo>
                  <a:pt x="64215" y="217200"/>
                </a:lnTo>
                <a:lnTo>
                  <a:pt x="53278" y="204656"/>
                </a:lnTo>
                <a:lnTo>
                  <a:pt x="38419" y="201495"/>
                </a:lnTo>
                <a:lnTo>
                  <a:pt x="73057" y="201495"/>
                </a:lnTo>
                <a:lnTo>
                  <a:pt x="77423" y="206359"/>
                </a:lnTo>
                <a:lnTo>
                  <a:pt x="88361" y="218903"/>
                </a:lnTo>
                <a:lnTo>
                  <a:pt x="102875" y="221995"/>
                </a:lnTo>
                <a:lnTo>
                  <a:pt x="173968" y="221995"/>
                </a:lnTo>
                <a:lnTo>
                  <a:pt x="175002" y="223142"/>
                </a:lnTo>
                <a:lnTo>
                  <a:pt x="140641" y="223142"/>
                </a:lnTo>
                <a:lnTo>
                  <a:pt x="125645" y="230195"/>
                </a:lnTo>
                <a:lnTo>
                  <a:pt x="118239" y="233541"/>
                </a:lnTo>
                <a:lnTo>
                  <a:pt x="110253" y="236324"/>
                </a:lnTo>
                <a:lnTo>
                  <a:pt x="101596" y="237744"/>
                </a:lnTo>
                <a:close/>
              </a:path>
              <a:path w="300989" h="278129">
                <a:moveTo>
                  <a:pt x="279873" y="216019"/>
                </a:moveTo>
                <a:lnTo>
                  <a:pt x="274198" y="212092"/>
                </a:lnTo>
                <a:lnTo>
                  <a:pt x="268350" y="208548"/>
                </a:lnTo>
                <a:lnTo>
                  <a:pt x="258032" y="206359"/>
                </a:lnTo>
                <a:lnTo>
                  <a:pt x="247204" y="205496"/>
                </a:lnTo>
                <a:lnTo>
                  <a:pt x="288572" y="205496"/>
                </a:lnTo>
                <a:lnTo>
                  <a:pt x="288368" y="205889"/>
                </a:lnTo>
                <a:lnTo>
                  <a:pt x="279873" y="216019"/>
                </a:lnTo>
                <a:close/>
              </a:path>
              <a:path w="300989" h="278129">
                <a:moveTo>
                  <a:pt x="173968" y="221995"/>
                </a:moveTo>
                <a:lnTo>
                  <a:pt x="102875" y="221995"/>
                </a:lnTo>
                <a:lnTo>
                  <a:pt x="117872" y="214941"/>
                </a:lnTo>
                <a:lnTo>
                  <a:pt x="125277" y="211581"/>
                </a:lnTo>
                <a:lnTo>
                  <a:pt x="133263" y="208800"/>
                </a:lnTo>
                <a:lnTo>
                  <a:pt x="141920" y="207387"/>
                </a:lnTo>
                <a:lnTo>
                  <a:pt x="151338" y="208131"/>
                </a:lnTo>
                <a:lnTo>
                  <a:pt x="160234" y="211263"/>
                </a:lnTo>
                <a:lnTo>
                  <a:pt x="167581" y="216040"/>
                </a:lnTo>
                <a:lnTo>
                  <a:pt x="173781" y="221788"/>
                </a:lnTo>
                <a:lnTo>
                  <a:pt x="173968" y="221995"/>
                </a:lnTo>
                <a:close/>
              </a:path>
              <a:path w="300989" h="278129">
                <a:moveTo>
                  <a:pt x="203711" y="259357"/>
                </a:moveTo>
                <a:lnTo>
                  <a:pt x="194435" y="258653"/>
                </a:lnTo>
                <a:lnTo>
                  <a:pt x="185363" y="255512"/>
                </a:lnTo>
                <a:lnTo>
                  <a:pt x="177887" y="250665"/>
                </a:lnTo>
                <a:lnTo>
                  <a:pt x="171591" y="244835"/>
                </a:lnTo>
                <a:lnTo>
                  <a:pt x="166059" y="238708"/>
                </a:lnTo>
                <a:lnTo>
                  <a:pt x="155122" y="226199"/>
                </a:lnTo>
                <a:lnTo>
                  <a:pt x="140641" y="223142"/>
                </a:lnTo>
                <a:lnTo>
                  <a:pt x="175002" y="223142"/>
                </a:lnTo>
                <a:lnTo>
                  <a:pt x="179233" y="227832"/>
                </a:lnTo>
                <a:lnTo>
                  <a:pt x="190377" y="240515"/>
                </a:lnTo>
                <a:lnTo>
                  <a:pt x="204891" y="243607"/>
                </a:lnTo>
                <a:lnTo>
                  <a:pt x="280547" y="243607"/>
                </a:lnTo>
                <a:lnTo>
                  <a:pt x="281786" y="244684"/>
                </a:lnTo>
                <a:lnTo>
                  <a:pt x="242520" y="244684"/>
                </a:lnTo>
                <a:lnTo>
                  <a:pt x="227489" y="251807"/>
                </a:lnTo>
                <a:lnTo>
                  <a:pt x="220148" y="255149"/>
                </a:lnTo>
                <a:lnTo>
                  <a:pt x="212252" y="257927"/>
                </a:lnTo>
                <a:lnTo>
                  <a:pt x="203711" y="259357"/>
                </a:lnTo>
                <a:close/>
              </a:path>
              <a:path w="300989" h="278129">
                <a:moveTo>
                  <a:pt x="280547" y="243607"/>
                </a:moveTo>
                <a:lnTo>
                  <a:pt x="204891" y="243607"/>
                </a:lnTo>
                <a:lnTo>
                  <a:pt x="219647" y="236589"/>
                </a:lnTo>
                <a:lnTo>
                  <a:pt x="227074" y="233197"/>
                </a:lnTo>
                <a:lnTo>
                  <a:pt x="235077" y="230386"/>
                </a:lnTo>
                <a:lnTo>
                  <a:pt x="243758" y="228956"/>
                </a:lnTo>
                <a:lnTo>
                  <a:pt x="253217" y="229709"/>
                </a:lnTo>
                <a:lnTo>
                  <a:pt x="265909" y="233674"/>
                </a:lnTo>
                <a:lnTo>
                  <a:pt x="275122" y="238890"/>
                </a:lnTo>
                <a:lnTo>
                  <a:pt x="280547" y="243607"/>
                </a:lnTo>
                <a:close/>
              </a:path>
              <a:path w="300989" h="278129">
                <a:moveTo>
                  <a:pt x="300888" y="277833"/>
                </a:moveTo>
                <a:lnTo>
                  <a:pt x="269536" y="256469"/>
                </a:lnTo>
                <a:lnTo>
                  <a:pt x="264799" y="252324"/>
                </a:lnTo>
                <a:lnTo>
                  <a:pt x="258527" y="248850"/>
                </a:lnTo>
                <a:lnTo>
                  <a:pt x="249811" y="246213"/>
                </a:lnTo>
                <a:lnTo>
                  <a:pt x="242520" y="244684"/>
                </a:lnTo>
                <a:lnTo>
                  <a:pt x="281786" y="244684"/>
                </a:lnTo>
                <a:lnTo>
                  <a:pt x="287114" y="250665"/>
                </a:lnTo>
                <a:lnTo>
                  <a:pt x="294250" y="259104"/>
                </a:lnTo>
                <a:lnTo>
                  <a:pt x="300888" y="260494"/>
                </a:lnTo>
                <a:lnTo>
                  <a:pt x="300888" y="277833"/>
                </a:lnTo>
                <a:close/>
              </a:path>
              <a:path w="300989" h="278129">
                <a:moveTo>
                  <a:pt x="194435" y="258687"/>
                </a:moveTo>
                <a:close/>
              </a:path>
            </a:pathLst>
          </a:custGeom>
          <a:solidFill>
            <a:srgbClr val="21408B"/>
          </a:solidFill>
        </p:spPr>
        <p:txBody>
          <a:bodyPr wrap="square" lIns="0" tIns="0" rIns="0" bIns="0" rtlCol="0"/>
          <a:lstStyle/>
          <a:p>
            <a:endParaRPr/>
          </a:p>
        </p:txBody>
      </p:sp>
      <p:sp>
        <p:nvSpPr>
          <p:cNvPr id="40" name="object 40"/>
          <p:cNvSpPr txBox="1"/>
          <p:nvPr/>
        </p:nvSpPr>
        <p:spPr>
          <a:xfrm>
            <a:off x="5558484" y="7532924"/>
            <a:ext cx="1431290" cy="246379"/>
          </a:xfrm>
          <a:prstGeom prst="rect">
            <a:avLst/>
          </a:prstGeom>
        </p:spPr>
        <p:txBody>
          <a:bodyPr vert="horz" wrap="square" lIns="0" tIns="12065" rIns="0" bIns="0" rtlCol="0">
            <a:spAutoFit/>
          </a:bodyPr>
          <a:lstStyle/>
          <a:p>
            <a:pPr marL="12700">
              <a:lnSpc>
                <a:spcPct val="100000"/>
              </a:lnSpc>
              <a:spcBef>
                <a:spcPts val="95"/>
              </a:spcBef>
            </a:pPr>
            <a:r>
              <a:rPr sz="1450" spc="-20" dirty="0">
                <a:solidFill>
                  <a:srgbClr val="737373"/>
                </a:solidFill>
                <a:latin typeface="Roboto"/>
                <a:cs typeface="Roboto"/>
              </a:rPr>
              <a:t>Aventura</a:t>
            </a:r>
            <a:r>
              <a:rPr sz="1450" spc="-35" dirty="0">
                <a:solidFill>
                  <a:srgbClr val="737373"/>
                </a:solidFill>
                <a:latin typeface="Roboto"/>
                <a:cs typeface="Roboto"/>
              </a:rPr>
              <a:t> </a:t>
            </a:r>
            <a:r>
              <a:rPr sz="1450" spc="-10" dirty="0">
                <a:solidFill>
                  <a:srgbClr val="737373"/>
                </a:solidFill>
                <a:latin typeface="Roboto"/>
                <a:cs typeface="Roboto"/>
              </a:rPr>
              <a:t>deporte</a:t>
            </a:r>
            <a:endParaRPr sz="1450">
              <a:latin typeface="Roboto"/>
              <a:cs typeface="Roboto"/>
            </a:endParaRPr>
          </a:p>
        </p:txBody>
      </p:sp>
      <p:grpSp>
        <p:nvGrpSpPr>
          <p:cNvPr id="41" name="object 41"/>
          <p:cNvGrpSpPr/>
          <p:nvPr/>
        </p:nvGrpSpPr>
        <p:grpSpPr>
          <a:xfrm>
            <a:off x="9964686" y="7708941"/>
            <a:ext cx="1663064" cy="415290"/>
            <a:chOff x="9964686" y="7708941"/>
            <a:chExt cx="1663064" cy="415290"/>
          </a:xfrm>
        </p:grpSpPr>
        <p:pic>
          <p:nvPicPr>
            <p:cNvPr id="42" name="object 42"/>
            <p:cNvPicPr/>
            <p:nvPr/>
          </p:nvPicPr>
          <p:blipFill>
            <a:blip r:embed="rId11" cstate="print"/>
            <a:stretch>
              <a:fillRect/>
            </a:stretch>
          </p:blipFill>
          <p:spPr>
            <a:xfrm>
              <a:off x="10176768" y="7708941"/>
              <a:ext cx="110207" cy="112815"/>
            </a:xfrm>
            <a:prstGeom prst="rect">
              <a:avLst/>
            </a:prstGeom>
          </p:spPr>
        </p:pic>
        <p:pic>
          <p:nvPicPr>
            <p:cNvPr id="43" name="object 43"/>
            <p:cNvPicPr/>
            <p:nvPr/>
          </p:nvPicPr>
          <p:blipFill>
            <a:blip r:embed="rId12" cstate="print"/>
            <a:stretch>
              <a:fillRect/>
            </a:stretch>
          </p:blipFill>
          <p:spPr>
            <a:xfrm>
              <a:off x="9965265" y="7862384"/>
              <a:ext cx="75590" cy="72622"/>
            </a:xfrm>
            <a:prstGeom prst="rect">
              <a:avLst/>
            </a:prstGeom>
          </p:spPr>
        </p:pic>
        <p:sp>
          <p:nvSpPr>
            <p:cNvPr id="44" name="object 44"/>
            <p:cNvSpPr/>
            <p:nvPr/>
          </p:nvSpPr>
          <p:spPr>
            <a:xfrm>
              <a:off x="9964674" y="7743101"/>
              <a:ext cx="1663064" cy="381000"/>
            </a:xfrm>
            <a:custGeom>
              <a:avLst/>
              <a:gdLst/>
              <a:ahLst/>
              <a:cxnLst/>
              <a:rect l="l" t="t" r="r" b="b"/>
              <a:pathLst>
                <a:path w="1663065" h="381000">
                  <a:moveTo>
                    <a:pt x="333311" y="289941"/>
                  </a:moveTo>
                  <a:lnTo>
                    <a:pt x="330047" y="286689"/>
                  </a:lnTo>
                  <a:lnTo>
                    <a:pt x="326059" y="286689"/>
                  </a:lnTo>
                  <a:lnTo>
                    <a:pt x="236867" y="286689"/>
                  </a:lnTo>
                  <a:lnTo>
                    <a:pt x="221437" y="245452"/>
                  </a:lnTo>
                  <a:lnTo>
                    <a:pt x="221437" y="286689"/>
                  </a:lnTo>
                  <a:lnTo>
                    <a:pt x="159410" y="286689"/>
                  </a:lnTo>
                  <a:lnTo>
                    <a:pt x="159410" y="140462"/>
                  </a:lnTo>
                  <a:lnTo>
                    <a:pt x="161518" y="139674"/>
                  </a:lnTo>
                  <a:lnTo>
                    <a:pt x="163537" y="138582"/>
                  </a:lnTo>
                  <a:lnTo>
                    <a:pt x="165252" y="137274"/>
                  </a:lnTo>
                  <a:lnTo>
                    <a:pt x="221437" y="286689"/>
                  </a:lnTo>
                  <a:lnTo>
                    <a:pt x="221437" y="245452"/>
                  </a:lnTo>
                  <a:lnTo>
                    <a:pt x="180949" y="137210"/>
                  </a:lnTo>
                  <a:lnTo>
                    <a:pt x="173901" y="118364"/>
                  </a:lnTo>
                  <a:lnTo>
                    <a:pt x="172199" y="109893"/>
                  </a:lnTo>
                  <a:lnTo>
                    <a:pt x="167551" y="102984"/>
                  </a:lnTo>
                  <a:lnTo>
                    <a:pt x="160642" y="98336"/>
                  </a:lnTo>
                  <a:lnTo>
                    <a:pt x="152171" y="96634"/>
                  </a:lnTo>
                  <a:lnTo>
                    <a:pt x="144919" y="98094"/>
                  </a:lnTo>
                  <a:lnTo>
                    <a:pt x="144919" y="140538"/>
                  </a:lnTo>
                  <a:lnTo>
                    <a:pt x="144919" y="286689"/>
                  </a:lnTo>
                  <a:lnTo>
                    <a:pt x="82892" y="286689"/>
                  </a:lnTo>
                  <a:lnTo>
                    <a:pt x="134569" y="149021"/>
                  </a:lnTo>
                  <a:lnTo>
                    <a:pt x="137922" y="140106"/>
                  </a:lnTo>
                  <a:lnTo>
                    <a:pt x="138976" y="137274"/>
                  </a:lnTo>
                  <a:lnTo>
                    <a:pt x="140792" y="138658"/>
                  </a:lnTo>
                  <a:lnTo>
                    <a:pt x="142748" y="139814"/>
                  </a:lnTo>
                  <a:lnTo>
                    <a:pt x="144919" y="140538"/>
                  </a:lnTo>
                  <a:lnTo>
                    <a:pt x="144919" y="98094"/>
                  </a:lnTo>
                  <a:lnTo>
                    <a:pt x="143700" y="98336"/>
                  </a:lnTo>
                  <a:lnTo>
                    <a:pt x="136791" y="102984"/>
                  </a:lnTo>
                  <a:lnTo>
                    <a:pt x="132130" y="109893"/>
                  </a:lnTo>
                  <a:lnTo>
                    <a:pt x="130429" y="118364"/>
                  </a:lnTo>
                  <a:lnTo>
                    <a:pt x="122174" y="140106"/>
                  </a:lnTo>
                  <a:lnTo>
                    <a:pt x="116446" y="126898"/>
                  </a:lnTo>
                  <a:lnTo>
                    <a:pt x="116230" y="113017"/>
                  </a:lnTo>
                  <a:lnTo>
                    <a:pt x="121234" y="100076"/>
                  </a:lnTo>
                  <a:lnTo>
                    <a:pt x="131152" y="89674"/>
                  </a:lnTo>
                  <a:lnTo>
                    <a:pt x="144360" y="83947"/>
                  </a:lnTo>
                  <a:lnTo>
                    <a:pt x="158242" y="83731"/>
                  </a:lnTo>
                  <a:lnTo>
                    <a:pt x="171183" y="88734"/>
                  </a:lnTo>
                  <a:lnTo>
                    <a:pt x="181584" y="98666"/>
                  </a:lnTo>
                  <a:lnTo>
                    <a:pt x="183896" y="101917"/>
                  </a:lnTo>
                  <a:lnTo>
                    <a:pt x="185635" y="105613"/>
                  </a:lnTo>
                  <a:lnTo>
                    <a:pt x="186728" y="109461"/>
                  </a:lnTo>
                  <a:lnTo>
                    <a:pt x="231241" y="83731"/>
                  </a:lnTo>
                  <a:lnTo>
                    <a:pt x="234619" y="81775"/>
                  </a:lnTo>
                  <a:lnTo>
                    <a:pt x="232295" y="79032"/>
                  </a:lnTo>
                  <a:lnTo>
                    <a:pt x="228257" y="72504"/>
                  </a:lnTo>
                  <a:lnTo>
                    <a:pt x="201295" y="25844"/>
                  </a:lnTo>
                  <a:lnTo>
                    <a:pt x="200063" y="23736"/>
                  </a:lnTo>
                  <a:lnTo>
                    <a:pt x="199047" y="21424"/>
                  </a:lnTo>
                  <a:lnTo>
                    <a:pt x="198399" y="19024"/>
                  </a:lnTo>
                  <a:lnTo>
                    <a:pt x="59715" y="99529"/>
                  </a:lnTo>
                  <a:lnTo>
                    <a:pt x="95935" y="162280"/>
                  </a:lnTo>
                  <a:lnTo>
                    <a:pt x="119126" y="149021"/>
                  </a:lnTo>
                  <a:lnTo>
                    <a:pt x="67462" y="286689"/>
                  </a:lnTo>
                  <a:lnTo>
                    <a:pt x="3263" y="286689"/>
                  </a:lnTo>
                  <a:lnTo>
                    <a:pt x="0" y="289941"/>
                  </a:lnTo>
                  <a:lnTo>
                    <a:pt x="0" y="297916"/>
                  </a:lnTo>
                  <a:lnTo>
                    <a:pt x="3263" y="301180"/>
                  </a:lnTo>
                  <a:lnTo>
                    <a:pt x="330047" y="301180"/>
                  </a:lnTo>
                  <a:lnTo>
                    <a:pt x="333311" y="297916"/>
                  </a:lnTo>
                  <a:lnTo>
                    <a:pt x="333311" y="289941"/>
                  </a:lnTo>
                  <a:close/>
                </a:path>
                <a:path w="1663065" h="381000">
                  <a:moveTo>
                    <a:pt x="1369072" y="177800"/>
                  </a:moveTo>
                  <a:lnTo>
                    <a:pt x="1366253" y="173990"/>
                  </a:lnTo>
                  <a:lnTo>
                    <a:pt x="1359319" y="173990"/>
                  </a:lnTo>
                  <a:lnTo>
                    <a:pt x="1356512" y="177800"/>
                  </a:lnTo>
                  <a:lnTo>
                    <a:pt x="1356512" y="184150"/>
                  </a:lnTo>
                  <a:lnTo>
                    <a:pt x="1359319" y="187960"/>
                  </a:lnTo>
                  <a:lnTo>
                    <a:pt x="1366253" y="187960"/>
                  </a:lnTo>
                  <a:lnTo>
                    <a:pt x="1369072" y="184150"/>
                  </a:lnTo>
                  <a:lnTo>
                    <a:pt x="1369072" y="177800"/>
                  </a:lnTo>
                  <a:close/>
                </a:path>
                <a:path w="1663065" h="381000">
                  <a:moveTo>
                    <a:pt x="1395196" y="166370"/>
                  </a:moveTo>
                  <a:lnTo>
                    <a:pt x="1392389" y="163830"/>
                  </a:lnTo>
                  <a:lnTo>
                    <a:pt x="1385455" y="163830"/>
                  </a:lnTo>
                  <a:lnTo>
                    <a:pt x="1382649" y="166370"/>
                  </a:lnTo>
                  <a:lnTo>
                    <a:pt x="1382649" y="173990"/>
                  </a:lnTo>
                  <a:lnTo>
                    <a:pt x="1385455" y="177800"/>
                  </a:lnTo>
                  <a:lnTo>
                    <a:pt x="1392389" y="177800"/>
                  </a:lnTo>
                  <a:lnTo>
                    <a:pt x="1395196" y="173990"/>
                  </a:lnTo>
                  <a:lnTo>
                    <a:pt x="1395196" y="166370"/>
                  </a:lnTo>
                  <a:close/>
                </a:path>
                <a:path w="1663065" h="381000">
                  <a:moveTo>
                    <a:pt x="1421333" y="157480"/>
                  </a:moveTo>
                  <a:lnTo>
                    <a:pt x="1418526" y="153670"/>
                  </a:lnTo>
                  <a:lnTo>
                    <a:pt x="1411592" y="153670"/>
                  </a:lnTo>
                  <a:lnTo>
                    <a:pt x="1408785" y="157480"/>
                  </a:lnTo>
                  <a:lnTo>
                    <a:pt x="1408785" y="163830"/>
                  </a:lnTo>
                  <a:lnTo>
                    <a:pt x="1411592" y="167640"/>
                  </a:lnTo>
                  <a:lnTo>
                    <a:pt x="1418526" y="167640"/>
                  </a:lnTo>
                  <a:lnTo>
                    <a:pt x="1421333" y="163830"/>
                  </a:lnTo>
                  <a:lnTo>
                    <a:pt x="1421333" y="157480"/>
                  </a:lnTo>
                  <a:close/>
                </a:path>
                <a:path w="1663065" h="381000">
                  <a:moveTo>
                    <a:pt x="1526387" y="157480"/>
                  </a:moveTo>
                  <a:lnTo>
                    <a:pt x="1523568" y="153670"/>
                  </a:lnTo>
                  <a:lnTo>
                    <a:pt x="1516646" y="153670"/>
                  </a:lnTo>
                  <a:lnTo>
                    <a:pt x="1513827" y="157480"/>
                  </a:lnTo>
                  <a:lnTo>
                    <a:pt x="1513827" y="163830"/>
                  </a:lnTo>
                  <a:lnTo>
                    <a:pt x="1516646" y="167640"/>
                  </a:lnTo>
                  <a:lnTo>
                    <a:pt x="1523568" y="167640"/>
                  </a:lnTo>
                  <a:lnTo>
                    <a:pt x="1526387" y="163830"/>
                  </a:lnTo>
                  <a:lnTo>
                    <a:pt x="1526387" y="157480"/>
                  </a:lnTo>
                  <a:close/>
                </a:path>
                <a:path w="1663065" h="381000">
                  <a:moveTo>
                    <a:pt x="1552524" y="166370"/>
                  </a:moveTo>
                  <a:lnTo>
                    <a:pt x="1549704" y="163830"/>
                  </a:lnTo>
                  <a:lnTo>
                    <a:pt x="1542783" y="163830"/>
                  </a:lnTo>
                  <a:lnTo>
                    <a:pt x="1539963" y="166370"/>
                  </a:lnTo>
                  <a:lnTo>
                    <a:pt x="1539963" y="173990"/>
                  </a:lnTo>
                  <a:lnTo>
                    <a:pt x="1542783" y="177800"/>
                  </a:lnTo>
                  <a:lnTo>
                    <a:pt x="1549704" y="177800"/>
                  </a:lnTo>
                  <a:lnTo>
                    <a:pt x="1552524" y="173990"/>
                  </a:lnTo>
                  <a:lnTo>
                    <a:pt x="1552524" y="166370"/>
                  </a:lnTo>
                  <a:close/>
                </a:path>
                <a:path w="1663065" h="381000">
                  <a:moveTo>
                    <a:pt x="1578660" y="177800"/>
                  </a:moveTo>
                  <a:lnTo>
                    <a:pt x="1575841" y="173990"/>
                  </a:lnTo>
                  <a:lnTo>
                    <a:pt x="1568907" y="173990"/>
                  </a:lnTo>
                  <a:lnTo>
                    <a:pt x="1566100" y="177800"/>
                  </a:lnTo>
                  <a:lnTo>
                    <a:pt x="1566100" y="184150"/>
                  </a:lnTo>
                  <a:lnTo>
                    <a:pt x="1568907" y="187960"/>
                  </a:lnTo>
                  <a:lnTo>
                    <a:pt x="1575841" y="187960"/>
                  </a:lnTo>
                  <a:lnTo>
                    <a:pt x="1578660" y="184150"/>
                  </a:lnTo>
                  <a:lnTo>
                    <a:pt x="1578660" y="177800"/>
                  </a:lnTo>
                  <a:close/>
                </a:path>
                <a:path w="1663065" h="381000">
                  <a:moveTo>
                    <a:pt x="1662836" y="351701"/>
                  </a:moveTo>
                  <a:lnTo>
                    <a:pt x="1662823" y="344678"/>
                  </a:lnTo>
                  <a:lnTo>
                    <a:pt x="1660042" y="341871"/>
                  </a:lnTo>
                  <a:lnTo>
                    <a:pt x="1650403" y="341871"/>
                  </a:lnTo>
                  <a:lnTo>
                    <a:pt x="1645056" y="343649"/>
                  </a:lnTo>
                  <a:lnTo>
                    <a:pt x="1635810" y="349351"/>
                  </a:lnTo>
                  <a:lnTo>
                    <a:pt x="1631988" y="353009"/>
                  </a:lnTo>
                  <a:lnTo>
                    <a:pt x="1625536" y="360337"/>
                  </a:lnTo>
                  <a:lnTo>
                    <a:pt x="1622526" y="363245"/>
                  </a:lnTo>
                  <a:lnTo>
                    <a:pt x="1616354" y="367106"/>
                  </a:lnTo>
                  <a:lnTo>
                    <a:pt x="1613027" y="368312"/>
                  </a:lnTo>
                  <a:lnTo>
                    <a:pt x="1605610" y="368312"/>
                  </a:lnTo>
                  <a:lnTo>
                    <a:pt x="1602435" y="367233"/>
                  </a:lnTo>
                  <a:lnTo>
                    <a:pt x="1596351" y="363486"/>
                  </a:lnTo>
                  <a:lnTo>
                    <a:pt x="1593354" y="360565"/>
                  </a:lnTo>
                  <a:lnTo>
                    <a:pt x="1588033" y="354545"/>
                  </a:lnTo>
                  <a:lnTo>
                    <a:pt x="1575308" y="354545"/>
                  </a:lnTo>
                  <a:lnTo>
                    <a:pt x="1588020" y="354533"/>
                  </a:lnTo>
                  <a:lnTo>
                    <a:pt x="1586966" y="353326"/>
                  </a:lnTo>
                  <a:lnTo>
                    <a:pt x="1583093" y="349631"/>
                  </a:lnTo>
                  <a:lnTo>
                    <a:pt x="1573745" y="343789"/>
                  </a:lnTo>
                  <a:lnTo>
                    <a:pt x="1568310" y="341871"/>
                  </a:lnTo>
                  <a:lnTo>
                    <a:pt x="1555877" y="341871"/>
                  </a:lnTo>
                  <a:lnTo>
                    <a:pt x="1550568" y="343649"/>
                  </a:lnTo>
                  <a:lnTo>
                    <a:pt x="1541310" y="349351"/>
                  </a:lnTo>
                  <a:lnTo>
                    <a:pt x="1537500" y="353009"/>
                  </a:lnTo>
                  <a:lnTo>
                    <a:pt x="1531035" y="360337"/>
                  </a:lnTo>
                  <a:lnTo>
                    <a:pt x="1528038" y="363245"/>
                  </a:lnTo>
                  <a:lnTo>
                    <a:pt x="1521853" y="367106"/>
                  </a:lnTo>
                  <a:lnTo>
                    <a:pt x="1518551" y="368300"/>
                  </a:lnTo>
                  <a:lnTo>
                    <a:pt x="1511122" y="368300"/>
                  </a:lnTo>
                  <a:lnTo>
                    <a:pt x="1492478" y="353326"/>
                  </a:lnTo>
                  <a:lnTo>
                    <a:pt x="1488617" y="349631"/>
                  </a:lnTo>
                  <a:lnTo>
                    <a:pt x="1479270" y="343789"/>
                  </a:lnTo>
                  <a:lnTo>
                    <a:pt x="1473847" y="341871"/>
                  </a:lnTo>
                  <a:lnTo>
                    <a:pt x="1461389" y="341858"/>
                  </a:lnTo>
                  <a:lnTo>
                    <a:pt x="1456118" y="343636"/>
                  </a:lnTo>
                  <a:lnTo>
                    <a:pt x="1446898" y="349300"/>
                  </a:lnTo>
                  <a:lnTo>
                    <a:pt x="1443024" y="353009"/>
                  </a:lnTo>
                  <a:lnTo>
                    <a:pt x="1439329" y="357200"/>
                  </a:lnTo>
                  <a:lnTo>
                    <a:pt x="1436522" y="360337"/>
                  </a:lnTo>
                  <a:lnTo>
                    <a:pt x="1433525" y="363245"/>
                  </a:lnTo>
                  <a:lnTo>
                    <a:pt x="1427340" y="367106"/>
                  </a:lnTo>
                  <a:lnTo>
                    <a:pt x="1424038" y="368287"/>
                  </a:lnTo>
                  <a:lnTo>
                    <a:pt x="1416621" y="368287"/>
                  </a:lnTo>
                  <a:lnTo>
                    <a:pt x="1413421" y="367207"/>
                  </a:lnTo>
                  <a:lnTo>
                    <a:pt x="1407388" y="363486"/>
                  </a:lnTo>
                  <a:lnTo>
                    <a:pt x="1404378" y="360565"/>
                  </a:lnTo>
                  <a:lnTo>
                    <a:pt x="1399044" y="354520"/>
                  </a:lnTo>
                  <a:lnTo>
                    <a:pt x="1397990" y="353326"/>
                  </a:lnTo>
                  <a:lnTo>
                    <a:pt x="1394129" y="349631"/>
                  </a:lnTo>
                  <a:lnTo>
                    <a:pt x="1384782" y="343789"/>
                  </a:lnTo>
                  <a:lnTo>
                    <a:pt x="1379321" y="341845"/>
                  </a:lnTo>
                  <a:lnTo>
                    <a:pt x="1366888" y="341845"/>
                  </a:lnTo>
                  <a:lnTo>
                    <a:pt x="1361579" y="343636"/>
                  </a:lnTo>
                  <a:lnTo>
                    <a:pt x="1352372" y="349300"/>
                  </a:lnTo>
                  <a:lnTo>
                    <a:pt x="1348511" y="353009"/>
                  </a:lnTo>
                  <a:lnTo>
                    <a:pt x="1344815" y="357200"/>
                  </a:lnTo>
                  <a:lnTo>
                    <a:pt x="1342021" y="360337"/>
                  </a:lnTo>
                  <a:lnTo>
                    <a:pt x="1339011" y="363245"/>
                  </a:lnTo>
                  <a:lnTo>
                    <a:pt x="1332826" y="367106"/>
                  </a:lnTo>
                  <a:lnTo>
                    <a:pt x="1329550" y="368287"/>
                  </a:lnTo>
                  <a:lnTo>
                    <a:pt x="1322120" y="368287"/>
                  </a:lnTo>
                  <a:lnTo>
                    <a:pt x="1318945" y="367207"/>
                  </a:lnTo>
                  <a:lnTo>
                    <a:pt x="1312913" y="363486"/>
                  </a:lnTo>
                  <a:lnTo>
                    <a:pt x="1309903" y="360565"/>
                  </a:lnTo>
                  <a:lnTo>
                    <a:pt x="1303489" y="353326"/>
                  </a:lnTo>
                  <a:lnTo>
                    <a:pt x="1299641" y="349631"/>
                  </a:lnTo>
                  <a:lnTo>
                    <a:pt x="1290307" y="343789"/>
                  </a:lnTo>
                  <a:lnTo>
                    <a:pt x="1284820" y="341845"/>
                  </a:lnTo>
                  <a:lnTo>
                    <a:pt x="1275143" y="341845"/>
                  </a:lnTo>
                  <a:lnTo>
                    <a:pt x="1272324" y="344678"/>
                  </a:lnTo>
                  <a:lnTo>
                    <a:pt x="1272349" y="351701"/>
                  </a:lnTo>
                  <a:lnTo>
                    <a:pt x="1275143" y="354520"/>
                  </a:lnTo>
                  <a:lnTo>
                    <a:pt x="1282306" y="354520"/>
                  </a:lnTo>
                  <a:lnTo>
                    <a:pt x="1285582" y="355701"/>
                  </a:lnTo>
                  <a:lnTo>
                    <a:pt x="1291780" y="359562"/>
                  </a:lnTo>
                  <a:lnTo>
                    <a:pt x="1294777" y="362470"/>
                  </a:lnTo>
                  <a:lnTo>
                    <a:pt x="1301216" y="369773"/>
                  </a:lnTo>
                  <a:lnTo>
                    <a:pt x="1305064" y="373481"/>
                  </a:lnTo>
                  <a:lnTo>
                    <a:pt x="1314335" y="379183"/>
                  </a:lnTo>
                  <a:lnTo>
                    <a:pt x="1319631" y="380961"/>
                  </a:lnTo>
                  <a:lnTo>
                    <a:pt x="1332064" y="380961"/>
                  </a:lnTo>
                  <a:lnTo>
                    <a:pt x="1337487" y="379056"/>
                  </a:lnTo>
                  <a:lnTo>
                    <a:pt x="1346847" y="373214"/>
                  </a:lnTo>
                  <a:lnTo>
                    <a:pt x="1350708" y="369519"/>
                  </a:lnTo>
                  <a:lnTo>
                    <a:pt x="1351788" y="368287"/>
                  </a:lnTo>
                  <a:lnTo>
                    <a:pt x="1357083" y="362280"/>
                  </a:lnTo>
                  <a:lnTo>
                    <a:pt x="1360081" y="359371"/>
                  </a:lnTo>
                  <a:lnTo>
                    <a:pt x="1366177" y="355612"/>
                  </a:lnTo>
                  <a:lnTo>
                    <a:pt x="1369390" y="354520"/>
                  </a:lnTo>
                  <a:lnTo>
                    <a:pt x="1376794" y="354520"/>
                  </a:lnTo>
                  <a:lnTo>
                    <a:pt x="1380083" y="355701"/>
                  </a:lnTo>
                  <a:lnTo>
                    <a:pt x="1386268" y="359562"/>
                  </a:lnTo>
                  <a:lnTo>
                    <a:pt x="1389278" y="362470"/>
                  </a:lnTo>
                  <a:lnTo>
                    <a:pt x="1395704" y="369773"/>
                  </a:lnTo>
                  <a:lnTo>
                    <a:pt x="1399578" y="373481"/>
                  </a:lnTo>
                  <a:lnTo>
                    <a:pt x="1408811" y="379183"/>
                  </a:lnTo>
                  <a:lnTo>
                    <a:pt x="1414132" y="380961"/>
                  </a:lnTo>
                  <a:lnTo>
                    <a:pt x="1426565" y="380961"/>
                  </a:lnTo>
                  <a:lnTo>
                    <a:pt x="1431975" y="379056"/>
                  </a:lnTo>
                  <a:lnTo>
                    <a:pt x="1441348" y="373214"/>
                  </a:lnTo>
                  <a:lnTo>
                    <a:pt x="1445196" y="369519"/>
                  </a:lnTo>
                  <a:lnTo>
                    <a:pt x="1446276" y="368287"/>
                  </a:lnTo>
                  <a:lnTo>
                    <a:pt x="1451584" y="362280"/>
                  </a:lnTo>
                  <a:lnTo>
                    <a:pt x="1454569" y="359371"/>
                  </a:lnTo>
                  <a:lnTo>
                    <a:pt x="1460677" y="355612"/>
                  </a:lnTo>
                  <a:lnTo>
                    <a:pt x="1463878" y="354520"/>
                  </a:lnTo>
                  <a:lnTo>
                    <a:pt x="1471295" y="354520"/>
                  </a:lnTo>
                  <a:lnTo>
                    <a:pt x="1474571" y="355701"/>
                  </a:lnTo>
                  <a:lnTo>
                    <a:pt x="1480769" y="359562"/>
                  </a:lnTo>
                  <a:lnTo>
                    <a:pt x="1483766" y="362470"/>
                  </a:lnTo>
                  <a:lnTo>
                    <a:pt x="1490205" y="369773"/>
                  </a:lnTo>
                  <a:lnTo>
                    <a:pt x="1494066" y="373481"/>
                  </a:lnTo>
                  <a:lnTo>
                    <a:pt x="1503324" y="379183"/>
                  </a:lnTo>
                  <a:lnTo>
                    <a:pt x="1508633" y="380961"/>
                  </a:lnTo>
                  <a:lnTo>
                    <a:pt x="1521053" y="380961"/>
                  </a:lnTo>
                  <a:lnTo>
                    <a:pt x="1546085" y="362280"/>
                  </a:lnTo>
                  <a:lnTo>
                    <a:pt x="1549069" y="359371"/>
                  </a:lnTo>
                  <a:lnTo>
                    <a:pt x="1555178" y="355612"/>
                  </a:lnTo>
                  <a:lnTo>
                    <a:pt x="1558328" y="354545"/>
                  </a:lnTo>
                  <a:lnTo>
                    <a:pt x="1565808" y="354545"/>
                  </a:lnTo>
                  <a:lnTo>
                    <a:pt x="1569034" y="355701"/>
                  </a:lnTo>
                  <a:lnTo>
                    <a:pt x="1575231" y="359562"/>
                  </a:lnTo>
                  <a:lnTo>
                    <a:pt x="1578241" y="362470"/>
                  </a:lnTo>
                  <a:lnTo>
                    <a:pt x="1584680" y="369773"/>
                  </a:lnTo>
                  <a:lnTo>
                    <a:pt x="1588541" y="373481"/>
                  </a:lnTo>
                  <a:lnTo>
                    <a:pt x="1597774" y="379183"/>
                  </a:lnTo>
                  <a:lnTo>
                    <a:pt x="1603082" y="380961"/>
                  </a:lnTo>
                  <a:lnTo>
                    <a:pt x="1615541" y="380974"/>
                  </a:lnTo>
                  <a:lnTo>
                    <a:pt x="1620977" y="379056"/>
                  </a:lnTo>
                  <a:lnTo>
                    <a:pt x="1630337" y="373214"/>
                  </a:lnTo>
                  <a:lnTo>
                    <a:pt x="1634197" y="369519"/>
                  </a:lnTo>
                  <a:lnTo>
                    <a:pt x="1635252" y="368312"/>
                  </a:lnTo>
                  <a:lnTo>
                    <a:pt x="1640573" y="362280"/>
                  </a:lnTo>
                  <a:lnTo>
                    <a:pt x="1643557" y="359371"/>
                  </a:lnTo>
                  <a:lnTo>
                    <a:pt x="1649666" y="355612"/>
                  </a:lnTo>
                  <a:lnTo>
                    <a:pt x="1652841" y="354545"/>
                  </a:lnTo>
                  <a:lnTo>
                    <a:pt x="1660029" y="354545"/>
                  </a:lnTo>
                  <a:lnTo>
                    <a:pt x="1662836" y="351701"/>
                  </a:lnTo>
                  <a:close/>
                </a:path>
                <a:path w="1663065" h="381000">
                  <a:moveTo>
                    <a:pt x="1662836" y="278130"/>
                  </a:moveTo>
                  <a:lnTo>
                    <a:pt x="1660029" y="274320"/>
                  </a:lnTo>
                  <a:lnTo>
                    <a:pt x="1650352" y="274320"/>
                  </a:lnTo>
                  <a:lnTo>
                    <a:pt x="1645043" y="276860"/>
                  </a:lnTo>
                  <a:lnTo>
                    <a:pt x="1635798" y="281940"/>
                  </a:lnTo>
                  <a:lnTo>
                    <a:pt x="1631937" y="285750"/>
                  </a:lnTo>
                  <a:lnTo>
                    <a:pt x="1625498" y="293370"/>
                  </a:lnTo>
                  <a:lnTo>
                    <a:pt x="1622488" y="295910"/>
                  </a:lnTo>
                  <a:lnTo>
                    <a:pt x="1616303" y="299720"/>
                  </a:lnTo>
                  <a:lnTo>
                    <a:pt x="1613027" y="300990"/>
                  </a:lnTo>
                  <a:lnTo>
                    <a:pt x="1605597" y="300990"/>
                  </a:lnTo>
                  <a:lnTo>
                    <a:pt x="1602422" y="299720"/>
                  </a:lnTo>
                  <a:lnTo>
                    <a:pt x="1597647" y="297180"/>
                  </a:lnTo>
                  <a:lnTo>
                    <a:pt x="1595818" y="295910"/>
                  </a:lnTo>
                  <a:lnTo>
                    <a:pt x="1594027" y="293370"/>
                  </a:lnTo>
                  <a:lnTo>
                    <a:pt x="1596212" y="287020"/>
                  </a:lnTo>
                  <a:lnTo>
                    <a:pt x="1597088" y="284480"/>
                  </a:lnTo>
                  <a:lnTo>
                    <a:pt x="1637703" y="166370"/>
                  </a:lnTo>
                  <a:lnTo>
                    <a:pt x="1638947" y="162560"/>
                  </a:lnTo>
                  <a:lnTo>
                    <a:pt x="1637309" y="158750"/>
                  </a:lnTo>
                  <a:lnTo>
                    <a:pt x="1623961" y="153581"/>
                  </a:lnTo>
                  <a:lnTo>
                    <a:pt x="1623961" y="167640"/>
                  </a:lnTo>
                  <a:lnTo>
                    <a:pt x="1584236" y="284480"/>
                  </a:lnTo>
                  <a:lnTo>
                    <a:pt x="1582458" y="281940"/>
                  </a:lnTo>
                  <a:lnTo>
                    <a:pt x="1580578" y="280670"/>
                  </a:lnTo>
                  <a:lnTo>
                    <a:pt x="1573733" y="276860"/>
                  </a:lnTo>
                  <a:lnTo>
                    <a:pt x="1568297" y="274320"/>
                  </a:lnTo>
                  <a:lnTo>
                    <a:pt x="1555864" y="274320"/>
                  </a:lnTo>
                  <a:lnTo>
                    <a:pt x="1550555" y="276860"/>
                  </a:lnTo>
                  <a:lnTo>
                    <a:pt x="1541297" y="281940"/>
                  </a:lnTo>
                  <a:lnTo>
                    <a:pt x="1537449" y="285750"/>
                  </a:lnTo>
                  <a:lnTo>
                    <a:pt x="1531010" y="293370"/>
                  </a:lnTo>
                  <a:lnTo>
                    <a:pt x="1528000" y="295910"/>
                  </a:lnTo>
                  <a:lnTo>
                    <a:pt x="1521802" y="299720"/>
                  </a:lnTo>
                  <a:lnTo>
                    <a:pt x="1518539" y="300990"/>
                  </a:lnTo>
                  <a:lnTo>
                    <a:pt x="1511122" y="300990"/>
                  </a:lnTo>
                  <a:lnTo>
                    <a:pt x="1492465" y="285750"/>
                  </a:lnTo>
                  <a:lnTo>
                    <a:pt x="1488605" y="281940"/>
                  </a:lnTo>
                  <a:lnTo>
                    <a:pt x="1480947" y="278130"/>
                  </a:lnTo>
                  <a:lnTo>
                    <a:pt x="1477556" y="275590"/>
                  </a:lnTo>
                  <a:lnTo>
                    <a:pt x="1473873" y="275590"/>
                  </a:lnTo>
                  <a:lnTo>
                    <a:pt x="1473873" y="109220"/>
                  </a:lnTo>
                  <a:lnTo>
                    <a:pt x="1623961" y="167640"/>
                  </a:lnTo>
                  <a:lnTo>
                    <a:pt x="1623961" y="153581"/>
                  </a:lnTo>
                  <a:lnTo>
                    <a:pt x="1588173" y="139700"/>
                  </a:lnTo>
                  <a:lnTo>
                    <a:pt x="1588173" y="135890"/>
                  </a:lnTo>
                  <a:lnTo>
                    <a:pt x="1588173" y="88900"/>
                  </a:lnTo>
                  <a:lnTo>
                    <a:pt x="1588173" y="78740"/>
                  </a:lnTo>
                  <a:lnTo>
                    <a:pt x="1585366" y="76200"/>
                  </a:lnTo>
                  <a:lnTo>
                    <a:pt x="1575625" y="76200"/>
                  </a:lnTo>
                  <a:lnTo>
                    <a:pt x="1575625" y="88900"/>
                  </a:lnTo>
                  <a:lnTo>
                    <a:pt x="1575625" y="135890"/>
                  </a:lnTo>
                  <a:lnTo>
                    <a:pt x="1506461" y="109220"/>
                  </a:lnTo>
                  <a:lnTo>
                    <a:pt x="1470228" y="95250"/>
                  </a:lnTo>
                  <a:lnTo>
                    <a:pt x="1469428" y="93980"/>
                  </a:lnTo>
                  <a:lnTo>
                    <a:pt x="1465732" y="93980"/>
                  </a:lnTo>
                  <a:lnTo>
                    <a:pt x="1464932" y="95250"/>
                  </a:lnTo>
                  <a:lnTo>
                    <a:pt x="1461325" y="96647"/>
                  </a:lnTo>
                  <a:lnTo>
                    <a:pt x="1461325" y="109220"/>
                  </a:lnTo>
                  <a:lnTo>
                    <a:pt x="1461325" y="275590"/>
                  </a:lnTo>
                  <a:lnTo>
                    <a:pt x="1457706" y="275590"/>
                  </a:lnTo>
                  <a:lnTo>
                    <a:pt x="1454378" y="278130"/>
                  </a:lnTo>
                  <a:lnTo>
                    <a:pt x="1446872" y="281940"/>
                  </a:lnTo>
                  <a:lnTo>
                    <a:pt x="1443012" y="285750"/>
                  </a:lnTo>
                  <a:lnTo>
                    <a:pt x="1439316" y="289560"/>
                  </a:lnTo>
                  <a:lnTo>
                    <a:pt x="1436522" y="293370"/>
                  </a:lnTo>
                  <a:lnTo>
                    <a:pt x="1433525" y="295910"/>
                  </a:lnTo>
                  <a:lnTo>
                    <a:pt x="1427327" y="299720"/>
                  </a:lnTo>
                  <a:lnTo>
                    <a:pt x="1424038" y="300990"/>
                  </a:lnTo>
                  <a:lnTo>
                    <a:pt x="1416621" y="300990"/>
                  </a:lnTo>
                  <a:lnTo>
                    <a:pt x="1413433" y="299720"/>
                  </a:lnTo>
                  <a:lnTo>
                    <a:pt x="1407363" y="295910"/>
                  </a:lnTo>
                  <a:lnTo>
                    <a:pt x="1404353" y="293370"/>
                  </a:lnTo>
                  <a:lnTo>
                    <a:pt x="1399044" y="287020"/>
                  </a:lnTo>
                  <a:lnTo>
                    <a:pt x="1397977" y="285750"/>
                  </a:lnTo>
                  <a:lnTo>
                    <a:pt x="1395399" y="283210"/>
                  </a:lnTo>
                  <a:lnTo>
                    <a:pt x="1394104" y="281940"/>
                  </a:lnTo>
                  <a:lnTo>
                    <a:pt x="1384757" y="276860"/>
                  </a:lnTo>
                  <a:lnTo>
                    <a:pt x="1379321" y="274320"/>
                  </a:lnTo>
                  <a:lnTo>
                    <a:pt x="1366888" y="274320"/>
                  </a:lnTo>
                  <a:lnTo>
                    <a:pt x="1361579" y="276860"/>
                  </a:lnTo>
                  <a:lnTo>
                    <a:pt x="1355178" y="280670"/>
                  </a:lnTo>
                  <a:lnTo>
                    <a:pt x="1353642" y="281940"/>
                  </a:lnTo>
                  <a:lnTo>
                    <a:pt x="1352156" y="283210"/>
                  </a:lnTo>
                  <a:lnTo>
                    <a:pt x="1312786" y="167640"/>
                  </a:lnTo>
                  <a:lnTo>
                    <a:pt x="1355064" y="151130"/>
                  </a:lnTo>
                  <a:lnTo>
                    <a:pt x="1355940" y="151130"/>
                  </a:lnTo>
                  <a:lnTo>
                    <a:pt x="1394256" y="135890"/>
                  </a:lnTo>
                  <a:lnTo>
                    <a:pt x="1461325" y="109220"/>
                  </a:lnTo>
                  <a:lnTo>
                    <a:pt x="1461325" y="96647"/>
                  </a:lnTo>
                  <a:lnTo>
                    <a:pt x="1359547" y="135890"/>
                  </a:lnTo>
                  <a:lnTo>
                    <a:pt x="1359547" y="88900"/>
                  </a:lnTo>
                  <a:lnTo>
                    <a:pt x="1575625" y="88900"/>
                  </a:lnTo>
                  <a:lnTo>
                    <a:pt x="1575625" y="76200"/>
                  </a:lnTo>
                  <a:lnTo>
                    <a:pt x="1564728" y="76200"/>
                  </a:lnTo>
                  <a:lnTo>
                    <a:pt x="1564728" y="59690"/>
                  </a:lnTo>
                  <a:lnTo>
                    <a:pt x="1564728" y="49530"/>
                  </a:lnTo>
                  <a:lnTo>
                    <a:pt x="1561909" y="46990"/>
                  </a:lnTo>
                  <a:lnTo>
                    <a:pt x="1552181" y="46990"/>
                  </a:lnTo>
                  <a:lnTo>
                    <a:pt x="1552181" y="59690"/>
                  </a:lnTo>
                  <a:lnTo>
                    <a:pt x="1552181" y="76200"/>
                  </a:lnTo>
                  <a:lnTo>
                    <a:pt x="1383004" y="76200"/>
                  </a:lnTo>
                  <a:lnTo>
                    <a:pt x="1383004" y="59690"/>
                  </a:lnTo>
                  <a:lnTo>
                    <a:pt x="1552181" y="59690"/>
                  </a:lnTo>
                  <a:lnTo>
                    <a:pt x="1552181" y="46990"/>
                  </a:lnTo>
                  <a:lnTo>
                    <a:pt x="1489887" y="46990"/>
                  </a:lnTo>
                  <a:lnTo>
                    <a:pt x="1489887" y="11430"/>
                  </a:lnTo>
                  <a:lnTo>
                    <a:pt x="1489887" y="2540"/>
                  </a:lnTo>
                  <a:lnTo>
                    <a:pt x="1487068" y="0"/>
                  </a:lnTo>
                  <a:lnTo>
                    <a:pt x="1477340" y="0"/>
                  </a:lnTo>
                  <a:lnTo>
                    <a:pt x="1477340" y="11430"/>
                  </a:lnTo>
                  <a:lnTo>
                    <a:pt x="1477340" y="46990"/>
                  </a:lnTo>
                  <a:lnTo>
                    <a:pt x="1457833" y="46990"/>
                  </a:lnTo>
                  <a:lnTo>
                    <a:pt x="1457833" y="11430"/>
                  </a:lnTo>
                  <a:lnTo>
                    <a:pt x="1477340" y="11430"/>
                  </a:lnTo>
                  <a:lnTo>
                    <a:pt x="1477340" y="0"/>
                  </a:lnTo>
                  <a:lnTo>
                    <a:pt x="1448092" y="0"/>
                  </a:lnTo>
                  <a:lnTo>
                    <a:pt x="1445272" y="2540"/>
                  </a:lnTo>
                  <a:lnTo>
                    <a:pt x="1445272" y="46990"/>
                  </a:lnTo>
                  <a:lnTo>
                    <a:pt x="1373251" y="46990"/>
                  </a:lnTo>
                  <a:lnTo>
                    <a:pt x="1370431" y="49530"/>
                  </a:lnTo>
                  <a:lnTo>
                    <a:pt x="1370431" y="76200"/>
                  </a:lnTo>
                  <a:lnTo>
                    <a:pt x="1349794" y="76200"/>
                  </a:lnTo>
                  <a:lnTo>
                    <a:pt x="1346987" y="78740"/>
                  </a:lnTo>
                  <a:lnTo>
                    <a:pt x="1346987" y="140970"/>
                  </a:lnTo>
                  <a:lnTo>
                    <a:pt x="1299540" y="158750"/>
                  </a:lnTo>
                  <a:lnTo>
                    <a:pt x="1297901" y="162560"/>
                  </a:lnTo>
                  <a:lnTo>
                    <a:pt x="1342313" y="292100"/>
                  </a:lnTo>
                  <a:lnTo>
                    <a:pt x="1340256" y="294640"/>
                  </a:lnTo>
                  <a:lnTo>
                    <a:pt x="1338084" y="297180"/>
                  </a:lnTo>
                  <a:lnTo>
                    <a:pt x="1332826" y="299720"/>
                  </a:lnTo>
                  <a:lnTo>
                    <a:pt x="1329550" y="300990"/>
                  </a:lnTo>
                  <a:lnTo>
                    <a:pt x="1322120" y="300990"/>
                  </a:lnTo>
                  <a:lnTo>
                    <a:pt x="1318945" y="299720"/>
                  </a:lnTo>
                  <a:lnTo>
                    <a:pt x="1312875" y="295910"/>
                  </a:lnTo>
                  <a:lnTo>
                    <a:pt x="1309878" y="293370"/>
                  </a:lnTo>
                  <a:lnTo>
                    <a:pt x="1303464" y="285750"/>
                  </a:lnTo>
                  <a:lnTo>
                    <a:pt x="1299616" y="281940"/>
                  </a:lnTo>
                  <a:lnTo>
                    <a:pt x="1290256" y="276860"/>
                  </a:lnTo>
                  <a:lnTo>
                    <a:pt x="1284820" y="274320"/>
                  </a:lnTo>
                  <a:lnTo>
                    <a:pt x="1275143" y="274320"/>
                  </a:lnTo>
                  <a:lnTo>
                    <a:pt x="1272324" y="278130"/>
                  </a:lnTo>
                  <a:lnTo>
                    <a:pt x="1272324" y="284480"/>
                  </a:lnTo>
                  <a:lnTo>
                    <a:pt x="1275143" y="287020"/>
                  </a:lnTo>
                  <a:lnTo>
                    <a:pt x="1282306" y="287020"/>
                  </a:lnTo>
                  <a:lnTo>
                    <a:pt x="1285570" y="288290"/>
                  </a:lnTo>
                  <a:lnTo>
                    <a:pt x="1291780" y="292100"/>
                  </a:lnTo>
                  <a:lnTo>
                    <a:pt x="1294777" y="295910"/>
                  </a:lnTo>
                  <a:lnTo>
                    <a:pt x="1305077" y="306070"/>
                  </a:lnTo>
                  <a:lnTo>
                    <a:pt x="1314335" y="312420"/>
                  </a:lnTo>
                  <a:lnTo>
                    <a:pt x="1319631" y="313690"/>
                  </a:lnTo>
                  <a:lnTo>
                    <a:pt x="1332064" y="313690"/>
                  </a:lnTo>
                  <a:lnTo>
                    <a:pt x="1337513" y="312420"/>
                  </a:lnTo>
                  <a:lnTo>
                    <a:pt x="1346822" y="306070"/>
                  </a:lnTo>
                  <a:lnTo>
                    <a:pt x="1350657" y="302260"/>
                  </a:lnTo>
                  <a:lnTo>
                    <a:pt x="1351724" y="300990"/>
                  </a:lnTo>
                  <a:lnTo>
                    <a:pt x="1357083" y="294640"/>
                  </a:lnTo>
                  <a:lnTo>
                    <a:pt x="1360081" y="292100"/>
                  </a:lnTo>
                  <a:lnTo>
                    <a:pt x="1366202" y="288290"/>
                  </a:lnTo>
                  <a:lnTo>
                    <a:pt x="1369390" y="287020"/>
                  </a:lnTo>
                  <a:lnTo>
                    <a:pt x="1376794" y="287020"/>
                  </a:lnTo>
                  <a:lnTo>
                    <a:pt x="1380070" y="288290"/>
                  </a:lnTo>
                  <a:lnTo>
                    <a:pt x="1386268" y="292100"/>
                  </a:lnTo>
                  <a:lnTo>
                    <a:pt x="1389278" y="295910"/>
                  </a:lnTo>
                  <a:lnTo>
                    <a:pt x="1399578" y="306070"/>
                  </a:lnTo>
                  <a:lnTo>
                    <a:pt x="1408836" y="312420"/>
                  </a:lnTo>
                  <a:lnTo>
                    <a:pt x="1414132" y="313690"/>
                  </a:lnTo>
                  <a:lnTo>
                    <a:pt x="1426565" y="313690"/>
                  </a:lnTo>
                  <a:lnTo>
                    <a:pt x="1432013" y="312420"/>
                  </a:lnTo>
                  <a:lnTo>
                    <a:pt x="1441361" y="306070"/>
                  </a:lnTo>
                  <a:lnTo>
                    <a:pt x="1445221" y="302260"/>
                  </a:lnTo>
                  <a:lnTo>
                    <a:pt x="1446352" y="300990"/>
                  </a:lnTo>
                  <a:lnTo>
                    <a:pt x="1448638" y="298450"/>
                  </a:lnTo>
                  <a:lnTo>
                    <a:pt x="1451584" y="294640"/>
                  </a:lnTo>
                  <a:lnTo>
                    <a:pt x="1454569" y="292100"/>
                  </a:lnTo>
                  <a:lnTo>
                    <a:pt x="1460271" y="288290"/>
                  </a:lnTo>
                  <a:lnTo>
                    <a:pt x="1462963" y="288290"/>
                  </a:lnTo>
                  <a:lnTo>
                    <a:pt x="1466011" y="287020"/>
                  </a:lnTo>
                  <a:lnTo>
                    <a:pt x="1469161" y="287020"/>
                  </a:lnTo>
                  <a:lnTo>
                    <a:pt x="1472222" y="288290"/>
                  </a:lnTo>
                  <a:lnTo>
                    <a:pt x="1474990" y="288290"/>
                  </a:lnTo>
                  <a:lnTo>
                    <a:pt x="1480769" y="292100"/>
                  </a:lnTo>
                  <a:lnTo>
                    <a:pt x="1483766" y="295910"/>
                  </a:lnTo>
                  <a:lnTo>
                    <a:pt x="1494066" y="306070"/>
                  </a:lnTo>
                  <a:lnTo>
                    <a:pt x="1503324" y="312420"/>
                  </a:lnTo>
                  <a:lnTo>
                    <a:pt x="1508633" y="313690"/>
                  </a:lnTo>
                  <a:lnTo>
                    <a:pt x="1521053" y="313690"/>
                  </a:lnTo>
                  <a:lnTo>
                    <a:pt x="1546098" y="294640"/>
                  </a:lnTo>
                  <a:lnTo>
                    <a:pt x="1549095" y="292100"/>
                  </a:lnTo>
                  <a:lnTo>
                    <a:pt x="1555178" y="288290"/>
                  </a:lnTo>
                  <a:lnTo>
                    <a:pt x="1558366" y="287020"/>
                  </a:lnTo>
                  <a:lnTo>
                    <a:pt x="1565783" y="287020"/>
                  </a:lnTo>
                  <a:lnTo>
                    <a:pt x="1569046" y="288290"/>
                  </a:lnTo>
                  <a:lnTo>
                    <a:pt x="1575244" y="292100"/>
                  </a:lnTo>
                  <a:lnTo>
                    <a:pt x="1578254" y="295910"/>
                  </a:lnTo>
                  <a:lnTo>
                    <a:pt x="1588554" y="306070"/>
                  </a:lnTo>
                  <a:lnTo>
                    <a:pt x="1597812" y="312420"/>
                  </a:lnTo>
                  <a:lnTo>
                    <a:pt x="1603108" y="313690"/>
                  </a:lnTo>
                  <a:lnTo>
                    <a:pt x="1615541" y="313690"/>
                  </a:lnTo>
                  <a:lnTo>
                    <a:pt x="1640586" y="294640"/>
                  </a:lnTo>
                  <a:lnTo>
                    <a:pt x="1643583" y="292100"/>
                  </a:lnTo>
                  <a:lnTo>
                    <a:pt x="1649666" y="288290"/>
                  </a:lnTo>
                  <a:lnTo>
                    <a:pt x="1652841" y="287020"/>
                  </a:lnTo>
                  <a:lnTo>
                    <a:pt x="1660029" y="287020"/>
                  </a:lnTo>
                  <a:lnTo>
                    <a:pt x="1662836" y="284480"/>
                  </a:lnTo>
                  <a:lnTo>
                    <a:pt x="1662836" y="278130"/>
                  </a:lnTo>
                  <a:close/>
                </a:path>
              </a:pathLst>
            </a:custGeom>
            <a:solidFill>
              <a:srgbClr val="F5A316"/>
            </a:solidFill>
          </p:spPr>
          <p:txBody>
            <a:bodyPr wrap="square" lIns="0" tIns="0" rIns="0" bIns="0" rtlCol="0"/>
            <a:lstStyle/>
            <a:p>
              <a:endParaRPr/>
            </a:p>
          </p:txBody>
        </p:sp>
      </p:grpSp>
      <p:sp>
        <p:nvSpPr>
          <p:cNvPr id="45" name="object 45"/>
          <p:cNvSpPr txBox="1"/>
          <p:nvPr/>
        </p:nvSpPr>
        <p:spPr>
          <a:xfrm>
            <a:off x="9620382" y="8115169"/>
            <a:ext cx="980440" cy="246379"/>
          </a:xfrm>
          <a:prstGeom prst="rect">
            <a:avLst/>
          </a:prstGeom>
        </p:spPr>
        <p:txBody>
          <a:bodyPr vert="horz" wrap="square" lIns="0" tIns="12065" rIns="0" bIns="0" rtlCol="0">
            <a:spAutoFit/>
          </a:bodyPr>
          <a:lstStyle/>
          <a:p>
            <a:pPr marL="12700">
              <a:lnSpc>
                <a:spcPct val="100000"/>
              </a:lnSpc>
              <a:spcBef>
                <a:spcPts val="95"/>
              </a:spcBef>
            </a:pPr>
            <a:r>
              <a:rPr sz="1450" spc="-10" dirty="0">
                <a:solidFill>
                  <a:srgbClr val="737373"/>
                </a:solidFill>
                <a:latin typeface="Roboto"/>
                <a:cs typeface="Roboto"/>
              </a:rPr>
              <a:t>Astronomía</a:t>
            </a:r>
            <a:endParaRPr sz="1450">
              <a:latin typeface="Roboto"/>
              <a:cs typeface="Roboto"/>
            </a:endParaRPr>
          </a:p>
        </p:txBody>
      </p:sp>
      <p:sp>
        <p:nvSpPr>
          <p:cNvPr id="46" name="object 46"/>
          <p:cNvSpPr txBox="1"/>
          <p:nvPr/>
        </p:nvSpPr>
        <p:spPr>
          <a:xfrm>
            <a:off x="10940896" y="8115170"/>
            <a:ext cx="1010919" cy="455930"/>
          </a:xfrm>
          <a:prstGeom prst="rect">
            <a:avLst/>
          </a:prstGeom>
        </p:spPr>
        <p:txBody>
          <a:bodyPr vert="horz" wrap="square" lIns="0" tIns="28575" rIns="0" bIns="0" rtlCol="0">
            <a:spAutoFit/>
          </a:bodyPr>
          <a:lstStyle/>
          <a:p>
            <a:pPr marL="69215" marR="5080" indent="-57150">
              <a:lnSpc>
                <a:spcPts val="1650"/>
              </a:lnSpc>
              <a:spcBef>
                <a:spcPts val="225"/>
              </a:spcBef>
            </a:pPr>
            <a:r>
              <a:rPr sz="1450" spc="-10" dirty="0">
                <a:solidFill>
                  <a:srgbClr val="737373"/>
                </a:solidFill>
                <a:latin typeface="Roboto"/>
                <a:cs typeface="Roboto"/>
              </a:rPr>
              <a:t>Cruceros</a:t>
            </a:r>
            <a:r>
              <a:rPr sz="1450" spc="-35" dirty="0">
                <a:solidFill>
                  <a:srgbClr val="737373"/>
                </a:solidFill>
                <a:latin typeface="Roboto"/>
                <a:cs typeface="Roboto"/>
              </a:rPr>
              <a:t> </a:t>
            </a:r>
            <a:r>
              <a:rPr sz="1450" spc="-25" dirty="0">
                <a:solidFill>
                  <a:srgbClr val="737373"/>
                </a:solidFill>
                <a:latin typeface="Roboto"/>
                <a:cs typeface="Roboto"/>
              </a:rPr>
              <a:t>de </a:t>
            </a:r>
            <a:r>
              <a:rPr sz="1450" spc="-10" dirty="0">
                <a:solidFill>
                  <a:srgbClr val="737373"/>
                </a:solidFill>
                <a:latin typeface="Roboto"/>
                <a:cs typeface="Roboto"/>
              </a:rPr>
              <a:t>expedición</a:t>
            </a:r>
            <a:endParaRPr sz="1450">
              <a:latin typeface="Roboto"/>
              <a:cs typeface="Roboto"/>
            </a:endParaRPr>
          </a:p>
        </p:txBody>
      </p:sp>
      <p:grpSp>
        <p:nvGrpSpPr>
          <p:cNvPr id="47" name="object 47"/>
          <p:cNvGrpSpPr/>
          <p:nvPr/>
        </p:nvGrpSpPr>
        <p:grpSpPr>
          <a:xfrm>
            <a:off x="12388414" y="7778171"/>
            <a:ext cx="429259" cy="304800"/>
            <a:chOff x="12388414" y="7778171"/>
            <a:chExt cx="429259" cy="304800"/>
          </a:xfrm>
        </p:grpSpPr>
        <p:pic>
          <p:nvPicPr>
            <p:cNvPr id="48" name="object 48"/>
            <p:cNvPicPr/>
            <p:nvPr/>
          </p:nvPicPr>
          <p:blipFill>
            <a:blip r:embed="rId13" cstate="print"/>
            <a:stretch>
              <a:fillRect/>
            </a:stretch>
          </p:blipFill>
          <p:spPr>
            <a:xfrm>
              <a:off x="12428555" y="7778171"/>
              <a:ext cx="127893" cy="192250"/>
            </a:xfrm>
            <a:prstGeom prst="rect">
              <a:avLst/>
            </a:prstGeom>
          </p:spPr>
        </p:pic>
        <p:sp>
          <p:nvSpPr>
            <p:cNvPr id="49" name="object 49"/>
            <p:cNvSpPr/>
            <p:nvPr/>
          </p:nvSpPr>
          <p:spPr>
            <a:xfrm>
              <a:off x="12388405" y="7819656"/>
              <a:ext cx="429259" cy="263525"/>
            </a:xfrm>
            <a:custGeom>
              <a:avLst/>
              <a:gdLst/>
              <a:ahLst/>
              <a:cxnLst/>
              <a:rect l="l" t="t" r="r" b="b"/>
              <a:pathLst>
                <a:path w="429259" h="263525">
                  <a:moveTo>
                    <a:pt x="248907" y="28994"/>
                  </a:moveTo>
                  <a:lnTo>
                    <a:pt x="228244" y="0"/>
                  </a:lnTo>
                  <a:lnTo>
                    <a:pt x="225094" y="1346"/>
                  </a:lnTo>
                  <a:lnTo>
                    <a:pt x="220611" y="3568"/>
                  </a:lnTo>
                  <a:lnTo>
                    <a:pt x="218363" y="8483"/>
                  </a:lnTo>
                  <a:lnTo>
                    <a:pt x="222275" y="22352"/>
                  </a:lnTo>
                  <a:lnTo>
                    <a:pt x="223139" y="28168"/>
                  </a:lnTo>
                  <a:lnTo>
                    <a:pt x="222059" y="35394"/>
                  </a:lnTo>
                  <a:lnTo>
                    <a:pt x="217906" y="45504"/>
                  </a:lnTo>
                  <a:lnTo>
                    <a:pt x="212699" y="57454"/>
                  </a:lnTo>
                  <a:lnTo>
                    <a:pt x="208864" y="69138"/>
                  </a:lnTo>
                  <a:lnTo>
                    <a:pt x="206984" y="80505"/>
                  </a:lnTo>
                  <a:lnTo>
                    <a:pt x="207581" y="91452"/>
                  </a:lnTo>
                  <a:lnTo>
                    <a:pt x="210223" y="100939"/>
                  </a:lnTo>
                  <a:lnTo>
                    <a:pt x="227342" y="123558"/>
                  </a:lnTo>
                  <a:lnTo>
                    <a:pt x="238125" y="117322"/>
                  </a:lnTo>
                  <a:lnTo>
                    <a:pt x="239928" y="112407"/>
                  </a:lnTo>
                  <a:lnTo>
                    <a:pt x="236334" y="103047"/>
                  </a:lnTo>
                  <a:lnTo>
                    <a:pt x="234149" y="95808"/>
                  </a:lnTo>
                  <a:lnTo>
                    <a:pt x="233743" y="87985"/>
                  </a:lnTo>
                  <a:lnTo>
                    <a:pt x="235191" y="79336"/>
                  </a:lnTo>
                  <a:lnTo>
                    <a:pt x="238582" y="69596"/>
                  </a:lnTo>
                  <a:lnTo>
                    <a:pt x="242912" y="59359"/>
                  </a:lnTo>
                  <a:lnTo>
                    <a:pt x="246608" y="49288"/>
                  </a:lnTo>
                  <a:lnTo>
                    <a:pt x="248881" y="39230"/>
                  </a:lnTo>
                  <a:lnTo>
                    <a:pt x="248907" y="28994"/>
                  </a:lnTo>
                  <a:close/>
                </a:path>
                <a:path w="429259" h="263525">
                  <a:moveTo>
                    <a:pt x="313613" y="28994"/>
                  </a:moveTo>
                  <a:lnTo>
                    <a:pt x="292938" y="0"/>
                  </a:lnTo>
                  <a:lnTo>
                    <a:pt x="289801" y="1346"/>
                  </a:lnTo>
                  <a:lnTo>
                    <a:pt x="285305" y="3568"/>
                  </a:lnTo>
                  <a:lnTo>
                    <a:pt x="283057" y="8483"/>
                  </a:lnTo>
                  <a:lnTo>
                    <a:pt x="286969" y="22352"/>
                  </a:lnTo>
                  <a:lnTo>
                    <a:pt x="287832" y="28168"/>
                  </a:lnTo>
                  <a:lnTo>
                    <a:pt x="286753" y="35394"/>
                  </a:lnTo>
                  <a:lnTo>
                    <a:pt x="282613" y="45504"/>
                  </a:lnTo>
                  <a:lnTo>
                    <a:pt x="277393" y="57454"/>
                  </a:lnTo>
                  <a:lnTo>
                    <a:pt x="273570" y="69138"/>
                  </a:lnTo>
                  <a:lnTo>
                    <a:pt x="271678" y="80505"/>
                  </a:lnTo>
                  <a:lnTo>
                    <a:pt x="272275" y="91452"/>
                  </a:lnTo>
                  <a:lnTo>
                    <a:pt x="274916" y="100939"/>
                  </a:lnTo>
                  <a:lnTo>
                    <a:pt x="292049" y="123558"/>
                  </a:lnTo>
                  <a:lnTo>
                    <a:pt x="302831" y="117322"/>
                  </a:lnTo>
                  <a:lnTo>
                    <a:pt x="304622" y="112407"/>
                  </a:lnTo>
                  <a:lnTo>
                    <a:pt x="301028" y="103047"/>
                  </a:lnTo>
                  <a:lnTo>
                    <a:pt x="298856" y="95808"/>
                  </a:lnTo>
                  <a:lnTo>
                    <a:pt x="298450" y="87985"/>
                  </a:lnTo>
                  <a:lnTo>
                    <a:pt x="299897" y="79336"/>
                  </a:lnTo>
                  <a:lnTo>
                    <a:pt x="303276" y="69596"/>
                  </a:lnTo>
                  <a:lnTo>
                    <a:pt x="307606" y="59359"/>
                  </a:lnTo>
                  <a:lnTo>
                    <a:pt x="311302" y="49288"/>
                  </a:lnTo>
                  <a:lnTo>
                    <a:pt x="313575" y="39230"/>
                  </a:lnTo>
                  <a:lnTo>
                    <a:pt x="313613" y="28994"/>
                  </a:lnTo>
                  <a:close/>
                </a:path>
                <a:path w="429259" h="263525">
                  <a:moveTo>
                    <a:pt x="378307" y="28994"/>
                  </a:moveTo>
                  <a:lnTo>
                    <a:pt x="357644" y="0"/>
                  </a:lnTo>
                  <a:lnTo>
                    <a:pt x="354495" y="1346"/>
                  </a:lnTo>
                  <a:lnTo>
                    <a:pt x="349999" y="3568"/>
                  </a:lnTo>
                  <a:lnTo>
                    <a:pt x="347751" y="8483"/>
                  </a:lnTo>
                  <a:lnTo>
                    <a:pt x="351663" y="22352"/>
                  </a:lnTo>
                  <a:lnTo>
                    <a:pt x="352526" y="28168"/>
                  </a:lnTo>
                  <a:lnTo>
                    <a:pt x="351459" y="35394"/>
                  </a:lnTo>
                  <a:lnTo>
                    <a:pt x="347306" y="45504"/>
                  </a:lnTo>
                  <a:lnTo>
                    <a:pt x="342087" y="57454"/>
                  </a:lnTo>
                  <a:lnTo>
                    <a:pt x="338264" y="69138"/>
                  </a:lnTo>
                  <a:lnTo>
                    <a:pt x="336372" y="80505"/>
                  </a:lnTo>
                  <a:lnTo>
                    <a:pt x="336969" y="91452"/>
                  </a:lnTo>
                  <a:lnTo>
                    <a:pt x="339623" y="101130"/>
                  </a:lnTo>
                  <a:lnTo>
                    <a:pt x="356743" y="123558"/>
                  </a:lnTo>
                  <a:lnTo>
                    <a:pt x="367525" y="117322"/>
                  </a:lnTo>
                  <a:lnTo>
                    <a:pt x="369316" y="112407"/>
                  </a:lnTo>
                  <a:lnTo>
                    <a:pt x="365721" y="103047"/>
                  </a:lnTo>
                  <a:lnTo>
                    <a:pt x="363550" y="95808"/>
                  </a:lnTo>
                  <a:lnTo>
                    <a:pt x="363143" y="87985"/>
                  </a:lnTo>
                  <a:lnTo>
                    <a:pt x="364591" y="79336"/>
                  </a:lnTo>
                  <a:lnTo>
                    <a:pt x="367969" y="69596"/>
                  </a:lnTo>
                  <a:lnTo>
                    <a:pt x="372300" y="59359"/>
                  </a:lnTo>
                  <a:lnTo>
                    <a:pt x="376008" y="49288"/>
                  </a:lnTo>
                  <a:lnTo>
                    <a:pt x="378269" y="39230"/>
                  </a:lnTo>
                  <a:lnTo>
                    <a:pt x="378307" y="28994"/>
                  </a:lnTo>
                  <a:close/>
                </a:path>
                <a:path w="429259" h="263525">
                  <a:moveTo>
                    <a:pt x="428625" y="181546"/>
                  </a:moveTo>
                  <a:lnTo>
                    <a:pt x="422783" y="175755"/>
                  </a:lnTo>
                  <a:lnTo>
                    <a:pt x="415594" y="175755"/>
                  </a:lnTo>
                  <a:lnTo>
                    <a:pt x="402704" y="173786"/>
                  </a:lnTo>
                  <a:lnTo>
                    <a:pt x="391668" y="168732"/>
                  </a:lnTo>
                  <a:lnTo>
                    <a:pt x="382485" y="161823"/>
                  </a:lnTo>
                  <a:lnTo>
                    <a:pt x="375158" y="154343"/>
                  </a:lnTo>
                  <a:lnTo>
                    <a:pt x="372910" y="151663"/>
                  </a:lnTo>
                  <a:lnTo>
                    <a:pt x="369316" y="149885"/>
                  </a:lnTo>
                  <a:lnTo>
                    <a:pt x="361238" y="149885"/>
                  </a:lnTo>
                  <a:lnTo>
                    <a:pt x="357644" y="151663"/>
                  </a:lnTo>
                  <a:lnTo>
                    <a:pt x="355396" y="154343"/>
                  </a:lnTo>
                  <a:lnTo>
                    <a:pt x="348259" y="161823"/>
                  </a:lnTo>
                  <a:lnTo>
                    <a:pt x="339102" y="168732"/>
                  </a:lnTo>
                  <a:lnTo>
                    <a:pt x="328104" y="173786"/>
                  </a:lnTo>
                  <a:lnTo>
                    <a:pt x="315404" y="175755"/>
                  </a:lnTo>
                  <a:lnTo>
                    <a:pt x="302717" y="173786"/>
                  </a:lnTo>
                  <a:lnTo>
                    <a:pt x="291706" y="168732"/>
                  </a:lnTo>
                  <a:lnTo>
                    <a:pt x="282549" y="161823"/>
                  </a:lnTo>
                  <a:lnTo>
                    <a:pt x="275424" y="154343"/>
                  </a:lnTo>
                  <a:lnTo>
                    <a:pt x="273177" y="151218"/>
                  </a:lnTo>
                  <a:lnTo>
                    <a:pt x="269125" y="149885"/>
                  </a:lnTo>
                  <a:lnTo>
                    <a:pt x="261493" y="149885"/>
                  </a:lnTo>
                  <a:lnTo>
                    <a:pt x="257898" y="151663"/>
                  </a:lnTo>
                  <a:lnTo>
                    <a:pt x="255651" y="154343"/>
                  </a:lnTo>
                  <a:lnTo>
                    <a:pt x="248513" y="161823"/>
                  </a:lnTo>
                  <a:lnTo>
                    <a:pt x="239369" y="168732"/>
                  </a:lnTo>
                  <a:lnTo>
                    <a:pt x="228358" y="173786"/>
                  </a:lnTo>
                  <a:lnTo>
                    <a:pt x="215658" y="175755"/>
                  </a:lnTo>
                  <a:lnTo>
                    <a:pt x="202971" y="173786"/>
                  </a:lnTo>
                  <a:lnTo>
                    <a:pt x="191960" y="168732"/>
                  </a:lnTo>
                  <a:lnTo>
                    <a:pt x="182803" y="161823"/>
                  </a:lnTo>
                  <a:lnTo>
                    <a:pt x="175679" y="154343"/>
                  </a:lnTo>
                  <a:lnTo>
                    <a:pt x="173431" y="151663"/>
                  </a:lnTo>
                  <a:lnTo>
                    <a:pt x="169837" y="149885"/>
                  </a:lnTo>
                  <a:lnTo>
                    <a:pt x="161747" y="149885"/>
                  </a:lnTo>
                  <a:lnTo>
                    <a:pt x="158153" y="151663"/>
                  </a:lnTo>
                  <a:lnTo>
                    <a:pt x="155905" y="154343"/>
                  </a:lnTo>
                  <a:lnTo>
                    <a:pt x="148780" y="161823"/>
                  </a:lnTo>
                  <a:lnTo>
                    <a:pt x="139623" y="168732"/>
                  </a:lnTo>
                  <a:lnTo>
                    <a:pt x="128612" y="173786"/>
                  </a:lnTo>
                  <a:lnTo>
                    <a:pt x="115925" y="175755"/>
                  </a:lnTo>
                  <a:lnTo>
                    <a:pt x="103225" y="173786"/>
                  </a:lnTo>
                  <a:lnTo>
                    <a:pt x="92163" y="168732"/>
                  </a:lnTo>
                  <a:lnTo>
                    <a:pt x="82880" y="161823"/>
                  </a:lnTo>
                  <a:lnTo>
                    <a:pt x="75488" y="154343"/>
                  </a:lnTo>
                  <a:lnTo>
                    <a:pt x="73240" y="151663"/>
                  </a:lnTo>
                  <a:lnTo>
                    <a:pt x="69189" y="149885"/>
                  </a:lnTo>
                  <a:lnTo>
                    <a:pt x="62001" y="149885"/>
                  </a:lnTo>
                  <a:lnTo>
                    <a:pt x="58407" y="151663"/>
                  </a:lnTo>
                  <a:lnTo>
                    <a:pt x="48387" y="161823"/>
                  </a:lnTo>
                  <a:lnTo>
                    <a:pt x="39204" y="168732"/>
                  </a:lnTo>
                  <a:lnTo>
                    <a:pt x="28168" y="173786"/>
                  </a:lnTo>
                  <a:lnTo>
                    <a:pt x="15278" y="175755"/>
                  </a:lnTo>
                  <a:lnTo>
                    <a:pt x="8089" y="175755"/>
                  </a:lnTo>
                  <a:lnTo>
                    <a:pt x="2247" y="181546"/>
                  </a:lnTo>
                  <a:lnTo>
                    <a:pt x="2247" y="188683"/>
                  </a:lnTo>
                  <a:lnTo>
                    <a:pt x="0" y="195821"/>
                  </a:lnTo>
                  <a:lnTo>
                    <a:pt x="5842" y="201625"/>
                  </a:lnTo>
                  <a:lnTo>
                    <a:pt x="13030" y="201625"/>
                  </a:lnTo>
                  <a:lnTo>
                    <a:pt x="26327" y="200304"/>
                  </a:lnTo>
                  <a:lnTo>
                    <a:pt x="39204" y="196380"/>
                  </a:lnTo>
                  <a:lnTo>
                    <a:pt x="51574" y="189953"/>
                  </a:lnTo>
                  <a:lnTo>
                    <a:pt x="63347" y="181102"/>
                  </a:lnTo>
                  <a:lnTo>
                    <a:pt x="74942" y="189953"/>
                  </a:lnTo>
                  <a:lnTo>
                    <a:pt x="87337" y="196380"/>
                  </a:lnTo>
                  <a:lnTo>
                    <a:pt x="100317" y="200304"/>
                  </a:lnTo>
                  <a:lnTo>
                    <a:pt x="113677" y="201625"/>
                  </a:lnTo>
                  <a:lnTo>
                    <a:pt x="126974" y="200304"/>
                  </a:lnTo>
                  <a:lnTo>
                    <a:pt x="139839" y="196380"/>
                  </a:lnTo>
                  <a:lnTo>
                    <a:pt x="152209" y="189953"/>
                  </a:lnTo>
                  <a:lnTo>
                    <a:pt x="163995" y="181102"/>
                  </a:lnTo>
                  <a:lnTo>
                    <a:pt x="175590" y="189953"/>
                  </a:lnTo>
                  <a:lnTo>
                    <a:pt x="187972" y="196380"/>
                  </a:lnTo>
                  <a:lnTo>
                    <a:pt x="200952" y="200304"/>
                  </a:lnTo>
                  <a:lnTo>
                    <a:pt x="214312" y="201625"/>
                  </a:lnTo>
                  <a:lnTo>
                    <a:pt x="227609" y="200304"/>
                  </a:lnTo>
                  <a:lnTo>
                    <a:pt x="240487" y="196380"/>
                  </a:lnTo>
                  <a:lnTo>
                    <a:pt x="252857" y="189953"/>
                  </a:lnTo>
                  <a:lnTo>
                    <a:pt x="264629" y="181102"/>
                  </a:lnTo>
                  <a:lnTo>
                    <a:pt x="276225" y="189953"/>
                  </a:lnTo>
                  <a:lnTo>
                    <a:pt x="288620" y="196380"/>
                  </a:lnTo>
                  <a:lnTo>
                    <a:pt x="301599" y="200304"/>
                  </a:lnTo>
                  <a:lnTo>
                    <a:pt x="314960" y="201625"/>
                  </a:lnTo>
                  <a:lnTo>
                    <a:pt x="328256" y="200304"/>
                  </a:lnTo>
                  <a:lnTo>
                    <a:pt x="341122" y="196380"/>
                  </a:lnTo>
                  <a:lnTo>
                    <a:pt x="353491" y="189953"/>
                  </a:lnTo>
                  <a:lnTo>
                    <a:pt x="365277" y="181102"/>
                  </a:lnTo>
                  <a:lnTo>
                    <a:pt x="376872" y="189953"/>
                  </a:lnTo>
                  <a:lnTo>
                    <a:pt x="389255" y="196380"/>
                  </a:lnTo>
                  <a:lnTo>
                    <a:pt x="402234" y="200304"/>
                  </a:lnTo>
                  <a:lnTo>
                    <a:pt x="415594" y="201625"/>
                  </a:lnTo>
                  <a:lnTo>
                    <a:pt x="422783" y="201625"/>
                  </a:lnTo>
                  <a:lnTo>
                    <a:pt x="428625" y="195821"/>
                  </a:lnTo>
                  <a:lnTo>
                    <a:pt x="428625" y="181546"/>
                  </a:lnTo>
                  <a:close/>
                </a:path>
                <a:path w="429259" h="263525">
                  <a:moveTo>
                    <a:pt x="429082" y="250240"/>
                  </a:moveTo>
                  <a:lnTo>
                    <a:pt x="426834" y="243103"/>
                  </a:lnTo>
                  <a:lnTo>
                    <a:pt x="426377" y="242658"/>
                  </a:lnTo>
                  <a:lnTo>
                    <a:pt x="420992" y="237312"/>
                  </a:lnTo>
                  <a:lnTo>
                    <a:pt x="413804" y="237312"/>
                  </a:lnTo>
                  <a:lnTo>
                    <a:pt x="400913" y="235343"/>
                  </a:lnTo>
                  <a:lnTo>
                    <a:pt x="389877" y="230276"/>
                  </a:lnTo>
                  <a:lnTo>
                    <a:pt x="380695" y="223380"/>
                  </a:lnTo>
                  <a:lnTo>
                    <a:pt x="373367" y="215900"/>
                  </a:lnTo>
                  <a:lnTo>
                    <a:pt x="371119" y="213220"/>
                  </a:lnTo>
                  <a:lnTo>
                    <a:pt x="367525" y="211442"/>
                  </a:lnTo>
                  <a:lnTo>
                    <a:pt x="359435" y="211442"/>
                  </a:lnTo>
                  <a:lnTo>
                    <a:pt x="355841" y="213220"/>
                  </a:lnTo>
                  <a:lnTo>
                    <a:pt x="353593" y="215900"/>
                  </a:lnTo>
                  <a:lnTo>
                    <a:pt x="346468" y="223380"/>
                  </a:lnTo>
                  <a:lnTo>
                    <a:pt x="337312" y="230276"/>
                  </a:lnTo>
                  <a:lnTo>
                    <a:pt x="326301" y="235343"/>
                  </a:lnTo>
                  <a:lnTo>
                    <a:pt x="313613" y="237312"/>
                  </a:lnTo>
                  <a:lnTo>
                    <a:pt x="300913" y="235343"/>
                  </a:lnTo>
                  <a:lnTo>
                    <a:pt x="289902" y="230276"/>
                  </a:lnTo>
                  <a:lnTo>
                    <a:pt x="280758" y="223380"/>
                  </a:lnTo>
                  <a:lnTo>
                    <a:pt x="273621" y="215900"/>
                  </a:lnTo>
                  <a:lnTo>
                    <a:pt x="271373" y="212775"/>
                  </a:lnTo>
                  <a:lnTo>
                    <a:pt x="267335" y="211442"/>
                  </a:lnTo>
                  <a:lnTo>
                    <a:pt x="259689" y="211442"/>
                  </a:lnTo>
                  <a:lnTo>
                    <a:pt x="256095" y="213220"/>
                  </a:lnTo>
                  <a:lnTo>
                    <a:pt x="253847" y="215900"/>
                  </a:lnTo>
                  <a:lnTo>
                    <a:pt x="246722" y="223380"/>
                  </a:lnTo>
                  <a:lnTo>
                    <a:pt x="237566" y="230276"/>
                  </a:lnTo>
                  <a:lnTo>
                    <a:pt x="226555" y="235343"/>
                  </a:lnTo>
                  <a:lnTo>
                    <a:pt x="213868" y="237312"/>
                  </a:lnTo>
                  <a:lnTo>
                    <a:pt x="201168" y="235343"/>
                  </a:lnTo>
                  <a:lnTo>
                    <a:pt x="190169" y="230276"/>
                  </a:lnTo>
                  <a:lnTo>
                    <a:pt x="181013" y="223380"/>
                  </a:lnTo>
                  <a:lnTo>
                    <a:pt x="173875" y="215900"/>
                  </a:lnTo>
                  <a:lnTo>
                    <a:pt x="171627" y="213220"/>
                  </a:lnTo>
                  <a:lnTo>
                    <a:pt x="168033" y="211442"/>
                  </a:lnTo>
                  <a:lnTo>
                    <a:pt x="159956" y="211442"/>
                  </a:lnTo>
                  <a:lnTo>
                    <a:pt x="156362" y="213220"/>
                  </a:lnTo>
                  <a:lnTo>
                    <a:pt x="154114" y="215900"/>
                  </a:lnTo>
                  <a:lnTo>
                    <a:pt x="146977" y="223380"/>
                  </a:lnTo>
                  <a:lnTo>
                    <a:pt x="137820" y="230276"/>
                  </a:lnTo>
                  <a:lnTo>
                    <a:pt x="126809" y="235343"/>
                  </a:lnTo>
                  <a:lnTo>
                    <a:pt x="114122" y="237312"/>
                  </a:lnTo>
                  <a:lnTo>
                    <a:pt x="101422" y="235343"/>
                  </a:lnTo>
                  <a:lnTo>
                    <a:pt x="90360" y="230276"/>
                  </a:lnTo>
                  <a:lnTo>
                    <a:pt x="81076" y="223380"/>
                  </a:lnTo>
                  <a:lnTo>
                    <a:pt x="73685" y="215900"/>
                  </a:lnTo>
                  <a:lnTo>
                    <a:pt x="71437" y="213220"/>
                  </a:lnTo>
                  <a:lnTo>
                    <a:pt x="67843" y="211442"/>
                  </a:lnTo>
                  <a:lnTo>
                    <a:pt x="60210" y="211442"/>
                  </a:lnTo>
                  <a:lnTo>
                    <a:pt x="56616" y="213220"/>
                  </a:lnTo>
                  <a:lnTo>
                    <a:pt x="53924" y="215900"/>
                  </a:lnTo>
                  <a:lnTo>
                    <a:pt x="46583" y="223380"/>
                  </a:lnTo>
                  <a:lnTo>
                    <a:pt x="37401" y="230276"/>
                  </a:lnTo>
                  <a:lnTo>
                    <a:pt x="26365" y="235343"/>
                  </a:lnTo>
                  <a:lnTo>
                    <a:pt x="13487" y="237312"/>
                  </a:lnTo>
                  <a:lnTo>
                    <a:pt x="6299" y="237312"/>
                  </a:lnTo>
                  <a:lnTo>
                    <a:pt x="457" y="243103"/>
                  </a:lnTo>
                  <a:lnTo>
                    <a:pt x="457" y="257378"/>
                  </a:lnTo>
                  <a:lnTo>
                    <a:pt x="6299" y="263182"/>
                  </a:lnTo>
                  <a:lnTo>
                    <a:pt x="13487" y="263182"/>
                  </a:lnTo>
                  <a:lnTo>
                    <a:pt x="26771" y="261861"/>
                  </a:lnTo>
                  <a:lnTo>
                    <a:pt x="39649" y="257937"/>
                  </a:lnTo>
                  <a:lnTo>
                    <a:pt x="52019" y="251510"/>
                  </a:lnTo>
                  <a:lnTo>
                    <a:pt x="63804" y="242658"/>
                  </a:lnTo>
                  <a:lnTo>
                    <a:pt x="75387" y="251510"/>
                  </a:lnTo>
                  <a:lnTo>
                    <a:pt x="87782" y="257937"/>
                  </a:lnTo>
                  <a:lnTo>
                    <a:pt x="100761" y="261861"/>
                  </a:lnTo>
                  <a:lnTo>
                    <a:pt x="114122" y="263182"/>
                  </a:lnTo>
                  <a:lnTo>
                    <a:pt x="127419" y="261861"/>
                  </a:lnTo>
                  <a:lnTo>
                    <a:pt x="140296" y="257937"/>
                  </a:lnTo>
                  <a:lnTo>
                    <a:pt x="152666" y="251510"/>
                  </a:lnTo>
                  <a:lnTo>
                    <a:pt x="164439" y="242658"/>
                  </a:lnTo>
                  <a:lnTo>
                    <a:pt x="176034" y="251510"/>
                  </a:lnTo>
                  <a:lnTo>
                    <a:pt x="188429" y="257937"/>
                  </a:lnTo>
                  <a:lnTo>
                    <a:pt x="201409" y="261861"/>
                  </a:lnTo>
                  <a:lnTo>
                    <a:pt x="214769" y="263182"/>
                  </a:lnTo>
                  <a:lnTo>
                    <a:pt x="228066" y="261861"/>
                  </a:lnTo>
                  <a:lnTo>
                    <a:pt x="240931" y="257937"/>
                  </a:lnTo>
                  <a:lnTo>
                    <a:pt x="253301" y="251510"/>
                  </a:lnTo>
                  <a:lnTo>
                    <a:pt x="265087" y="242658"/>
                  </a:lnTo>
                  <a:lnTo>
                    <a:pt x="276669" y="251510"/>
                  </a:lnTo>
                  <a:lnTo>
                    <a:pt x="289064" y="257937"/>
                  </a:lnTo>
                  <a:lnTo>
                    <a:pt x="302044" y="261861"/>
                  </a:lnTo>
                  <a:lnTo>
                    <a:pt x="315404" y="263182"/>
                  </a:lnTo>
                  <a:lnTo>
                    <a:pt x="328701" y="261861"/>
                  </a:lnTo>
                  <a:lnTo>
                    <a:pt x="341579" y="257937"/>
                  </a:lnTo>
                  <a:lnTo>
                    <a:pt x="353949" y="251510"/>
                  </a:lnTo>
                  <a:lnTo>
                    <a:pt x="365721" y="242658"/>
                  </a:lnTo>
                  <a:lnTo>
                    <a:pt x="377317" y="251510"/>
                  </a:lnTo>
                  <a:lnTo>
                    <a:pt x="389712" y="257937"/>
                  </a:lnTo>
                  <a:lnTo>
                    <a:pt x="402691" y="261861"/>
                  </a:lnTo>
                  <a:lnTo>
                    <a:pt x="416052" y="263182"/>
                  </a:lnTo>
                  <a:lnTo>
                    <a:pt x="423240" y="263182"/>
                  </a:lnTo>
                  <a:lnTo>
                    <a:pt x="429082" y="257378"/>
                  </a:lnTo>
                  <a:lnTo>
                    <a:pt x="429082" y="250240"/>
                  </a:lnTo>
                  <a:close/>
                </a:path>
              </a:pathLst>
            </a:custGeom>
            <a:solidFill>
              <a:srgbClr val="F5A316"/>
            </a:solidFill>
          </p:spPr>
          <p:txBody>
            <a:bodyPr wrap="square" lIns="0" tIns="0" rIns="0" bIns="0" rtlCol="0"/>
            <a:lstStyle/>
            <a:p>
              <a:endParaRPr/>
            </a:p>
          </p:txBody>
        </p:sp>
      </p:grpSp>
      <p:sp>
        <p:nvSpPr>
          <p:cNvPr id="50" name="object 50"/>
          <p:cNvSpPr txBox="1"/>
          <p:nvPr/>
        </p:nvSpPr>
        <p:spPr>
          <a:xfrm>
            <a:off x="12261409" y="8115170"/>
            <a:ext cx="650875" cy="246379"/>
          </a:xfrm>
          <a:prstGeom prst="rect">
            <a:avLst/>
          </a:prstGeom>
        </p:spPr>
        <p:txBody>
          <a:bodyPr vert="horz" wrap="square" lIns="0" tIns="12065" rIns="0" bIns="0" rtlCol="0">
            <a:spAutoFit/>
          </a:bodyPr>
          <a:lstStyle/>
          <a:p>
            <a:pPr marL="12700">
              <a:lnSpc>
                <a:spcPct val="100000"/>
              </a:lnSpc>
              <a:spcBef>
                <a:spcPts val="95"/>
              </a:spcBef>
            </a:pPr>
            <a:r>
              <a:rPr sz="1450" spc="-10" dirty="0">
                <a:solidFill>
                  <a:srgbClr val="737373"/>
                </a:solidFill>
                <a:latin typeface="Roboto"/>
                <a:cs typeface="Roboto"/>
              </a:rPr>
              <a:t>Termas</a:t>
            </a:r>
            <a:endParaRPr sz="1450">
              <a:latin typeface="Roboto"/>
              <a:cs typeface="Roboto"/>
            </a:endParaRPr>
          </a:p>
        </p:txBody>
      </p:sp>
      <p:grpSp>
        <p:nvGrpSpPr>
          <p:cNvPr id="51" name="object 51"/>
          <p:cNvGrpSpPr/>
          <p:nvPr/>
        </p:nvGrpSpPr>
        <p:grpSpPr>
          <a:xfrm>
            <a:off x="4388942" y="1417381"/>
            <a:ext cx="13696950" cy="8202295"/>
            <a:chOff x="4388942" y="1417381"/>
            <a:chExt cx="13696950" cy="8202295"/>
          </a:xfrm>
        </p:grpSpPr>
        <p:sp>
          <p:nvSpPr>
            <p:cNvPr id="52" name="object 52"/>
            <p:cNvSpPr/>
            <p:nvPr/>
          </p:nvSpPr>
          <p:spPr>
            <a:xfrm>
              <a:off x="4388942" y="8933367"/>
              <a:ext cx="410845" cy="285750"/>
            </a:xfrm>
            <a:custGeom>
              <a:avLst/>
              <a:gdLst/>
              <a:ahLst/>
              <a:cxnLst/>
              <a:rect l="l" t="t" r="r" b="b"/>
              <a:pathLst>
                <a:path w="410845" h="285750">
                  <a:moveTo>
                    <a:pt x="170761" y="213869"/>
                  </a:moveTo>
                  <a:lnTo>
                    <a:pt x="154847" y="213869"/>
                  </a:lnTo>
                  <a:lnTo>
                    <a:pt x="196404" y="106265"/>
                  </a:lnTo>
                  <a:lnTo>
                    <a:pt x="113074" y="72932"/>
                  </a:lnTo>
                  <a:lnTo>
                    <a:pt x="111203" y="68563"/>
                  </a:lnTo>
                  <a:lnTo>
                    <a:pt x="112694" y="64691"/>
                  </a:lnTo>
                  <a:lnTo>
                    <a:pt x="134228" y="30737"/>
                  </a:lnTo>
                  <a:lnTo>
                    <a:pt x="165773" y="8557"/>
                  </a:lnTo>
                  <a:lnTo>
                    <a:pt x="203181" y="0"/>
                  </a:lnTo>
                  <a:lnTo>
                    <a:pt x="242307" y="6913"/>
                  </a:lnTo>
                  <a:lnTo>
                    <a:pt x="242677" y="7058"/>
                  </a:lnTo>
                  <a:lnTo>
                    <a:pt x="254803" y="15032"/>
                  </a:lnTo>
                  <a:lnTo>
                    <a:pt x="204271" y="15032"/>
                  </a:lnTo>
                  <a:lnTo>
                    <a:pt x="193204" y="15997"/>
                  </a:lnTo>
                  <a:lnTo>
                    <a:pt x="147084" y="38961"/>
                  </a:lnTo>
                  <a:lnTo>
                    <a:pt x="129470" y="63305"/>
                  </a:lnTo>
                  <a:lnTo>
                    <a:pt x="173923" y="81092"/>
                  </a:lnTo>
                  <a:lnTo>
                    <a:pt x="190190" y="81092"/>
                  </a:lnTo>
                  <a:lnTo>
                    <a:pt x="187714" y="86601"/>
                  </a:lnTo>
                  <a:lnTo>
                    <a:pt x="229700" y="103393"/>
                  </a:lnTo>
                  <a:lnTo>
                    <a:pt x="245269" y="103393"/>
                  </a:lnTo>
                  <a:lnTo>
                    <a:pt x="243472" y="108902"/>
                  </a:lnTo>
                  <a:lnTo>
                    <a:pt x="250651" y="111774"/>
                  </a:lnTo>
                  <a:lnTo>
                    <a:pt x="210190" y="111774"/>
                  </a:lnTo>
                  <a:lnTo>
                    <a:pt x="170761" y="213869"/>
                  </a:lnTo>
                  <a:close/>
                </a:path>
                <a:path w="410845" h="285750">
                  <a:moveTo>
                    <a:pt x="190190" y="81092"/>
                  </a:moveTo>
                  <a:lnTo>
                    <a:pt x="173923" y="81092"/>
                  </a:lnTo>
                  <a:lnTo>
                    <a:pt x="180904" y="65561"/>
                  </a:lnTo>
                  <a:lnTo>
                    <a:pt x="204516" y="27135"/>
                  </a:lnTo>
                  <a:lnTo>
                    <a:pt x="215415" y="15550"/>
                  </a:lnTo>
                  <a:lnTo>
                    <a:pt x="204271" y="15032"/>
                  </a:lnTo>
                  <a:lnTo>
                    <a:pt x="254803" y="15032"/>
                  </a:lnTo>
                  <a:lnTo>
                    <a:pt x="263998" y="21079"/>
                  </a:lnTo>
                  <a:lnTo>
                    <a:pt x="237255" y="21079"/>
                  </a:lnTo>
                  <a:lnTo>
                    <a:pt x="234605" y="21106"/>
                  </a:lnTo>
                  <a:lnTo>
                    <a:pt x="201168" y="58856"/>
                  </a:lnTo>
                  <a:lnTo>
                    <a:pt x="194206" y="72156"/>
                  </a:lnTo>
                  <a:lnTo>
                    <a:pt x="190190" y="81092"/>
                  </a:lnTo>
                  <a:close/>
                </a:path>
                <a:path w="410845" h="285750">
                  <a:moveTo>
                    <a:pt x="245269" y="103393"/>
                  </a:moveTo>
                  <a:lnTo>
                    <a:pt x="229700" y="103393"/>
                  </a:lnTo>
                  <a:lnTo>
                    <a:pt x="234617" y="88317"/>
                  </a:lnTo>
                  <a:lnTo>
                    <a:pt x="238412" y="73750"/>
                  </a:lnTo>
                  <a:lnTo>
                    <a:pt x="241028" y="59975"/>
                  </a:lnTo>
                  <a:lnTo>
                    <a:pt x="242305" y="48200"/>
                  </a:lnTo>
                  <a:lnTo>
                    <a:pt x="242396" y="35445"/>
                  </a:lnTo>
                  <a:lnTo>
                    <a:pt x="241105" y="27528"/>
                  </a:lnTo>
                  <a:lnTo>
                    <a:pt x="239177" y="22934"/>
                  </a:lnTo>
                  <a:lnTo>
                    <a:pt x="237255" y="21079"/>
                  </a:lnTo>
                  <a:lnTo>
                    <a:pt x="263998" y="21079"/>
                  </a:lnTo>
                  <a:lnTo>
                    <a:pt x="276113" y="29045"/>
                  </a:lnTo>
                  <a:lnTo>
                    <a:pt x="278222" y="32161"/>
                  </a:lnTo>
                  <a:lnTo>
                    <a:pt x="256947" y="32161"/>
                  </a:lnTo>
                  <a:lnTo>
                    <a:pt x="257397" y="36696"/>
                  </a:lnTo>
                  <a:lnTo>
                    <a:pt x="257503" y="39503"/>
                  </a:lnTo>
                  <a:lnTo>
                    <a:pt x="257549" y="42857"/>
                  </a:lnTo>
                  <a:lnTo>
                    <a:pt x="257179" y="48200"/>
                  </a:lnTo>
                  <a:lnTo>
                    <a:pt x="255688" y="62042"/>
                  </a:lnTo>
                  <a:lnTo>
                    <a:pt x="252855" y="76977"/>
                  </a:lnTo>
                  <a:lnTo>
                    <a:pt x="248758" y="92699"/>
                  </a:lnTo>
                  <a:lnTo>
                    <a:pt x="245269" y="103393"/>
                  </a:lnTo>
                  <a:close/>
                </a:path>
                <a:path w="410845" h="285750">
                  <a:moveTo>
                    <a:pt x="301511" y="126693"/>
                  </a:moveTo>
                  <a:lnTo>
                    <a:pt x="287939" y="126693"/>
                  </a:lnTo>
                  <a:lnTo>
                    <a:pt x="290944" y="111774"/>
                  </a:lnTo>
                  <a:lnTo>
                    <a:pt x="291332" y="96658"/>
                  </a:lnTo>
                  <a:lnTo>
                    <a:pt x="279237" y="57174"/>
                  </a:lnTo>
                  <a:lnTo>
                    <a:pt x="256947" y="32161"/>
                  </a:lnTo>
                  <a:lnTo>
                    <a:pt x="278222" y="32161"/>
                  </a:lnTo>
                  <a:lnTo>
                    <a:pt x="297912" y="61256"/>
                  </a:lnTo>
                  <a:lnTo>
                    <a:pt x="306253" y="99435"/>
                  </a:lnTo>
                  <a:lnTo>
                    <a:pt x="301511" y="126693"/>
                  </a:lnTo>
                  <a:close/>
                </a:path>
                <a:path w="410845" h="285750">
                  <a:moveTo>
                    <a:pt x="293520" y="145103"/>
                  </a:moveTo>
                  <a:lnTo>
                    <a:pt x="210190" y="111774"/>
                  </a:lnTo>
                  <a:lnTo>
                    <a:pt x="250651" y="111774"/>
                  </a:lnTo>
                  <a:lnTo>
                    <a:pt x="287939" y="126693"/>
                  </a:lnTo>
                  <a:lnTo>
                    <a:pt x="301511" y="126693"/>
                  </a:lnTo>
                  <a:lnTo>
                    <a:pt x="299313" y="139328"/>
                  </a:lnTo>
                  <a:lnTo>
                    <a:pt x="297818" y="143200"/>
                  </a:lnTo>
                  <a:lnTo>
                    <a:pt x="293520" y="145103"/>
                  </a:lnTo>
                  <a:close/>
                </a:path>
                <a:path w="410845" h="285750">
                  <a:moveTo>
                    <a:pt x="227435" y="285462"/>
                  </a:moveTo>
                  <a:lnTo>
                    <a:pt x="7080" y="282399"/>
                  </a:lnTo>
                  <a:lnTo>
                    <a:pt x="5832" y="282048"/>
                  </a:lnTo>
                  <a:lnTo>
                    <a:pt x="1199" y="279301"/>
                  </a:lnTo>
                  <a:lnTo>
                    <a:pt x="0" y="274691"/>
                  </a:lnTo>
                  <a:lnTo>
                    <a:pt x="2057" y="271095"/>
                  </a:lnTo>
                  <a:lnTo>
                    <a:pt x="23297" y="244428"/>
                  </a:lnTo>
                  <a:lnTo>
                    <a:pt x="51734" y="224483"/>
                  </a:lnTo>
                  <a:lnTo>
                    <a:pt x="85373" y="212301"/>
                  </a:lnTo>
                  <a:lnTo>
                    <a:pt x="122217" y="208923"/>
                  </a:lnTo>
                  <a:lnTo>
                    <a:pt x="130467" y="209456"/>
                  </a:lnTo>
                  <a:lnTo>
                    <a:pt x="138669" y="210460"/>
                  </a:lnTo>
                  <a:lnTo>
                    <a:pt x="146802" y="211932"/>
                  </a:lnTo>
                  <a:lnTo>
                    <a:pt x="154847" y="213869"/>
                  </a:lnTo>
                  <a:lnTo>
                    <a:pt x="170761" y="213869"/>
                  </a:lnTo>
                  <a:lnTo>
                    <a:pt x="168969" y="218509"/>
                  </a:lnTo>
                  <a:lnTo>
                    <a:pt x="175611" y="221085"/>
                  </a:lnTo>
                  <a:lnTo>
                    <a:pt x="181617" y="223977"/>
                  </a:lnTo>
                  <a:lnTo>
                    <a:pt x="121669" y="223977"/>
                  </a:lnTo>
                  <a:lnTo>
                    <a:pt x="92348" y="226206"/>
                  </a:lnTo>
                  <a:lnTo>
                    <a:pt x="65177" y="234635"/>
                  </a:lnTo>
                  <a:lnTo>
                    <a:pt x="41404" y="248626"/>
                  </a:lnTo>
                  <a:lnTo>
                    <a:pt x="22278" y="267540"/>
                  </a:lnTo>
                  <a:lnTo>
                    <a:pt x="213841" y="270207"/>
                  </a:lnTo>
                  <a:lnTo>
                    <a:pt x="260148" y="270207"/>
                  </a:lnTo>
                  <a:lnTo>
                    <a:pt x="254071" y="275067"/>
                  </a:lnTo>
                  <a:lnTo>
                    <a:pt x="249377" y="278645"/>
                  </a:lnTo>
                  <a:lnTo>
                    <a:pt x="243702" y="282001"/>
                  </a:lnTo>
                  <a:lnTo>
                    <a:pt x="236577" y="284489"/>
                  </a:lnTo>
                  <a:lnTo>
                    <a:pt x="227435" y="285462"/>
                  </a:lnTo>
                  <a:close/>
                </a:path>
                <a:path w="410845" h="285750">
                  <a:moveTo>
                    <a:pt x="260148" y="270207"/>
                  </a:moveTo>
                  <a:lnTo>
                    <a:pt x="213841" y="270207"/>
                  </a:lnTo>
                  <a:lnTo>
                    <a:pt x="196294" y="251735"/>
                  </a:lnTo>
                  <a:lnTo>
                    <a:pt x="174326" y="237434"/>
                  </a:lnTo>
                  <a:lnTo>
                    <a:pt x="149072" y="227962"/>
                  </a:lnTo>
                  <a:lnTo>
                    <a:pt x="121669" y="223977"/>
                  </a:lnTo>
                  <a:lnTo>
                    <a:pt x="181617" y="223977"/>
                  </a:lnTo>
                  <a:lnTo>
                    <a:pt x="213006" y="246553"/>
                  </a:lnTo>
                  <a:lnTo>
                    <a:pt x="231634" y="270111"/>
                  </a:lnTo>
                  <a:lnTo>
                    <a:pt x="260267" y="270111"/>
                  </a:lnTo>
                  <a:close/>
                </a:path>
                <a:path w="410845" h="285750">
                  <a:moveTo>
                    <a:pt x="260267" y="270111"/>
                  </a:moveTo>
                  <a:lnTo>
                    <a:pt x="231634" y="270111"/>
                  </a:lnTo>
                  <a:lnTo>
                    <a:pt x="237329" y="269278"/>
                  </a:lnTo>
                  <a:lnTo>
                    <a:pt x="244903" y="263226"/>
                  </a:lnTo>
                  <a:lnTo>
                    <a:pt x="249587" y="259647"/>
                  </a:lnTo>
                  <a:lnTo>
                    <a:pt x="255264" y="256291"/>
                  </a:lnTo>
                  <a:lnTo>
                    <a:pt x="262395" y="253804"/>
                  </a:lnTo>
                  <a:lnTo>
                    <a:pt x="271439" y="252832"/>
                  </a:lnTo>
                  <a:lnTo>
                    <a:pt x="280484" y="253804"/>
                  </a:lnTo>
                  <a:lnTo>
                    <a:pt x="287614" y="256291"/>
                  </a:lnTo>
                  <a:lnTo>
                    <a:pt x="293292" y="259647"/>
                  </a:lnTo>
                  <a:lnTo>
                    <a:pt x="297976" y="263226"/>
                  </a:lnTo>
                  <a:lnTo>
                    <a:pt x="303818" y="267897"/>
                  </a:lnTo>
                  <a:lnTo>
                    <a:pt x="263036" y="267897"/>
                  </a:lnTo>
                  <a:lnTo>
                    <a:pt x="260267" y="270111"/>
                  </a:lnTo>
                  <a:close/>
                </a:path>
                <a:path w="410845" h="285750">
                  <a:moveTo>
                    <a:pt x="347758" y="270397"/>
                  </a:moveTo>
                  <a:lnTo>
                    <a:pt x="323782" y="270397"/>
                  </a:lnTo>
                  <a:lnTo>
                    <a:pt x="332753" y="263226"/>
                  </a:lnTo>
                  <a:lnTo>
                    <a:pt x="337444" y="259647"/>
                  </a:lnTo>
                  <a:lnTo>
                    <a:pt x="343119" y="256291"/>
                  </a:lnTo>
                  <a:lnTo>
                    <a:pt x="350243" y="253804"/>
                  </a:lnTo>
                  <a:lnTo>
                    <a:pt x="359284" y="252832"/>
                  </a:lnTo>
                  <a:lnTo>
                    <a:pt x="368329" y="253804"/>
                  </a:lnTo>
                  <a:lnTo>
                    <a:pt x="375459" y="256291"/>
                  </a:lnTo>
                  <a:lnTo>
                    <a:pt x="381137" y="259647"/>
                  </a:lnTo>
                  <a:lnTo>
                    <a:pt x="385821" y="263226"/>
                  </a:lnTo>
                  <a:lnTo>
                    <a:pt x="391660" y="267897"/>
                  </a:lnTo>
                  <a:lnTo>
                    <a:pt x="350886" y="267897"/>
                  </a:lnTo>
                  <a:lnTo>
                    <a:pt x="347758" y="270397"/>
                  </a:lnTo>
                  <a:close/>
                </a:path>
                <a:path w="410845" h="285750">
                  <a:moveTo>
                    <a:pt x="315384" y="285462"/>
                  </a:moveTo>
                  <a:lnTo>
                    <a:pt x="279882" y="267897"/>
                  </a:lnTo>
                  <a:lnTo>
                    <a:pt x="303818" y="267897"/>
                  </a:lnTo>
                  <a:lnTo>
                    <a:pt x="306946" y="270397"/>
                  </a:lnTo>
                  <a:lnTo>
                    <a:pt x="347758" y="270397"/>
                  </a:lnTo>
                  <a:lnTo>
                    <a:pt x="341916" y="275067"/>
                  </a:lnTo>
                  <a:lnTo>
                    <a:pt x="337225" y="278645"/>
                  </a:lnTo>
                  <a:lnTo>
                    <a:pt x="331551" y="282001"/>
                  </a:lnTo>
                  <a:lnTo>
                    <a:pt x="324427" y="284489"/>
                  </a:lnTo>
                  <a:lnTo>
                    <a:pt x="315384" y="285462"/>
                  </a:lnTo>
                  <a:close/>
                </a:path>
                <a:path w="410845" h="285750">
                  <a:moveTo>
                    <a:pt x="407310" y="285462"/>
                  </a:moveTo>
                  <a:lnTo>
                    <a:pt x="403224" y="285462"/>
                  </a:lnTo>
                  <a:lnTo>
                    <a:pt x="394180" y="284489"/>
                  </a:lnTo>
                  <a:lnTo>
                    <a:pt x="387051" y="282001"/>
                  </a:lnTo>
                  <a:lnTo>
                    <a:pt x="381376" y="278645"/>
                  </a:lnTo>
                  <a:lnTo>
                    <a:pt x="376692" y="275067"/>
                  </a:lnTo>
                  <a:lnTo>
                    <a:pt x="367722" y="267897"/>
                  </a:lnTo>
                  <a:lnTo>
                    <a:pt x="391660" y="267897"/>
                  </a:lnTo>
                  <a:lnTo>
                    <a:pt x="394786" y="270397"/>
                  </a:lnTo>
                  <a:lnTo>
                    <a:pt x="407310" y="270397"/>
                  </a:lnTo>
                  <a:lnTo>
                    <a:pt x="410625" y="273772"/>
                  </a:lnTo>
                  <a:lnTo>
                    <a:pt x="410625" y="282088"/>
                  </a:lnTo>
                  <a:lnTo>
                    <a:pt x="407310" y="285462"/>
                  </a:lnTo>
                  <a:close/>
                </a:path>
              </a:pathLst>
            </a:custGeom>
            <a:solidFill>
              <a:srgbClr val="0090AE"/>
            </a:solidFill>
          </p:spPr>
          <p:txBody>
            <a:bodyPr wrap="square" lIns="0" tIns="0" rIns="0" bIns="0" rtlCol="0"/>
            <a:lstStyle/>
            <a:p>
              <a:endParaRPr/>
            </a:p>
          </p:txBody>
        </p:sp>
        <p:sp>
          <p:nvSpPr>
            <p:cNvPr id="53" name="object 53"/>
            <p:cNvSpPr/>
            <p:nvPr/>
          </p:nvSpPr>
          <p:spPr>
            <a:xfrm>
              <a:off x="13560655" y="1417381"/>
              <a:ext cx="4525010" cy="8202295"/>
            </a:xfrm>
            <a:custGeom>
              <a:avLst/>
              <a:gdLst/>
              <a:ahLst/>
              <a:cxnLst/>
              <a:rect l="l" t="t" r="r" b="b"/>
              <a:pathLst>
                <a:path w="4525009" h="8202295">
                  <a:moveTo>
                    <a:pt x="0" y="0"/>
                  </a:moveTo>
                  <a:lnTo>
                    <a:pt x="4524672" y="0"/>
                  </a:lnTo>
                  <a:lnTo>
                    <a:pt x="4524672" y="8201805"/>
                  </a:lnTo>
                  <a:lnTo>
                    <a:pt x="0" y="8201805"/>
                  </a:lnTo>
                  <a:lnTo>
                    <a:pt x="0" y="0"/>
                  </a:lnTo>
                  <a:close/>
                </a:path>
              </a:pathLst>
            </a:custGeom>
            <a:solidFill>
              <a:srgbClr val="21408B"/>
            </a:solidFill>
          </p:spPr>
          <p:txBody>
            <a:bodyPr wrap="square" lIns="0" tIns="0" rIns="0" bIns="0" rtlCol="0"/>
            <a:lstStyle/>
            <a:p>
              <a:endParaRPr/>
            </a:p>
          </p:txBody>
        </p:sp>
        <p:sp>
          <p:nvSpPr>
            <p:cNvPr id="54" name="object 54"/>
            <p:cNvSpPr/>
            <p:nvPr/>
          </p:nvSpPr>
          <p:spPr>
            <a:xfrm>
              <a:off x="15571920" y="5890544"/>
              <a:ext cx="590550" cy="525145"/>
            </a:xfrm>
            <a:custGeom>
              <a:avLst/>
              <a:gdLst/>
              <a:ahLst/>
              <a:cxnLst/>
              <a:rect l="l" t="t" r="r" b="b"/>
              <a:pathLst>
                <a:path w="590550" h="525145">
                  <a:moveTo>
                    <a:pt x="74660" y="524607"/>
                  </a:moveTo>
                  <a:lnTo>
                    <a:pt x="57489" y="521325"/>
                  </a:lnTo>
                  <a:lnTo>
                    <a:pt x="42511" y="511481"/>
                  </a:lnTo>
                  <a:lnTo>
                    <a:pt x="32647" y="496531"/>
                  </a:lnTo>
                  <a:lnTo>
                    <a:pt x="29359" y="479394"/>
                  </a:lnTo>
                  <a:lnTo>
                    <a:pt x="32647" y="462257"/>
                  </a:lnTo>
                  <a:lnTo>
                    <a:pt x="42511" y="447308"/>
                  </a:lnTo>
                  <a:lnTo>
                    <a:pt x="59515" y="430337"/>
                  </a:lnTo>
                  <a:lnTo>
                    <a:pt x="36317" y="425343"/>
                  </a:lnTo>
                  <a:lnTo>
                    <a:pt x="17402" y="412393"/>
                  </a:lnTo>
                  <a:lnTo>
                    <a:pt x="4666" y="393345"/>
                  </a:lnTo>
                  <a:lnTo>
                    <a:pt x="0" y="370053"/>
                  </a:lnTo>
                  <a:lnTo>
                    <a:pt x="4757" y="346613"/>
                  </a:lnTo>
                  <a:lnTo>
                    <a:pt x="17735" y="327448"/>
                  </a:lnTo>
                  <a:lnTo>
                    <a:pt x="36989" y="314515"/>
                  </a:lnTo>
                  <a:lnTo>
                    <a:pt x="60578" y="309770"/>
                  </a:lnTo>
                  <a:lnTo>
                    <a:pt x="180317" y="309770"/>
                  </a:lnTo>
                  <a:lnTo>
                    <a:pt x="275436" y="214837"/>
                  </a:lnTo>
                  <a:lnTo>
                    <a:pt x="60578" y="214837"/>
                  </a:lnTo>
                  <a:lnTo>
                    <a:pt x="36989" y="210091"/>
                  </a:lnTo>
                  <a:lnTo>
                    <a:pt x="17735" y="197158"/>
                  </a:lnTo>
                  <a:lnTo>
                    <a:pt x="4757" y="177994"/>
                  </a:lnTo>
                  <a:lnTo>
                    <a:pt x="0" y="154553"/>
                  </a:lnTo>
                  <a:lnTo>
                    <a:pt x="4757" y="131113"/>
                  </a:lnTo>
                  <a:lnTo>
                    <a:pt x="17735" y="111948"/>
                  </a:lnTo>
                  <a:lnTo>
                    <a:pt x="36989" y="99015"/>
                  </a:lnTo>
                  <a:lnTo>
                    <a:pt x="60578" y="94270"/>
                  </a:lnTo>
                  <a:lnTo>
                    <a:pt x="396238" y="94270"/>
                  </a:lnTo>
                  <a:lnTo>
                    <a:pt x="477541" y="13126"/>
                  </a:lnTo>
                  <a:lnTo>
                    <a:pt x="492519" y="3281"/>
                  </a:lnTo>
                  <a:lnTo>
                    <a:pt x="509690" y="0"/>
                  </a:lnTo>
                  <a:lnTo>
                    <a:pt x="526860" y="3281"/>
                  </a:lnTo>
                  <a:lnTo>
                    <a:pt x="541839" y="13126"/>
                  </a:lnTo>
                  <a:lnTo>
                    <a:pt x="551703" y="28075"/>
                  </a:lnTo>
                  <a:lnTo>
                    <a:pt x="554991" y="45212"/>
                  </a:lnTo>
                  <a:lnTo>
                    <a:pt x="551703" y="62349"/>
                  </a:lnTo>
                  <a:lnTo>
                    <a:pt x="541839" y="77298"/>
                  </a:lnTo>
                  <a:lnTo>
                    <a:pt x="524834" y="94270"/>
                  </a:lnTo>
                  <a:lnTo>
                    <a:pt x="530148" y="94270"/>
                  </a:lnTo>
                  <a:lnTo>
                    <a:pt x="553709" y="99015"/>
                  </a:lnTo>
                  <a:lnTo>
                    <a:pt x="572903" y="111948"/>
                  </a:lnTo>
                  <a:lnTo>
                    <a:pt x="585820" y="131113"/>
                  </a:lnTo>
                  <a:lnTo>
                    <a:pt x="590549" y="154553"/>
                  </a:lnTo>
                  <a:lnTo>
                    <a:pt x="585820" y="177994"/>
                  </a:lnTo>
                  <a:lnTo>
                    <a:pt x="572903" y="197158"/>
                  </a:lnTo>
                  <a:lnTo>
                    <a:pt x="553709" y="210091"/>
                  </a:lnTo>
                  <a:lnTo>
                    <a:pt x="530148" y="214837"/>
                  </a:lnTo>
                  <a:lnTo>
                    <a:pt x="403855" y="214837"/>
                  </a:lnTo>
                  <a:lnTo>
                    <a:pt x="380103" y="238570"/>
                  </a:lnTo>
                  <a:lnTo>
                    <a:pt x="332665" y="286036"/>
                  </a:lnTo>
                  <a:lnTo>
                    <a:pt x="308913" y="309770"/>
                  </a:lnTo>
                  <a:lnTo>
                    <a:pt x="530148" y="309770"/>
                  </a:lnTo>
                  <a:lnTo>
                    <a:pt x="553709" y="314515"/>
                  </a:lnTo>
                  <a:lnTo>
                    <a:pt x="572903" y="327448"/>
                  </a:lnTo>
                  <a:lnTo>
                    <a:pt x="585820" y="346613"/>
                  </a:lnTo>
                  <a:lnTo>
                    <a:pt x="590549" y="370053"/>
                  </a:lnTo>
                  <a:lnTo>
                    <a:pt x="585820" y="393568"/>
                  </a:lnTo>
                  <a:lnTo>
                    <a:pt x="572903" y="412725"/>
                  </a:lnTo>
                  <a:lnTo>
                    <a:pt x="553709" y="425616"/>
                  </a:lnTo>
                  <a:lnTo>
                    <a:pt x="530148" y="430337"/>
                  </a:lnTo>
                  <a:lnTo>
                    <a:pt x="187934" y="430337"/>
                  </a:lnTo>
                  <a:lnTo>
                    <a:pt x="167636" y="450623"/>
                  </a:lnTo>
                  <a:lnTo>
                    <a:pt x="127107" y="491195"/>
                  </a:lnTo>
                  <a:lnTo>
                    <a:pt x="106809" y="511481"/>
                  </a:lnTo>
                  <a:lnTo>
                    <a:pt x="91830" y="521325"/>
                  </a:lnTo>
                  <a:lnTo>
                    <a:pt x="74660" y="524607"/>
                  </a:lnTo>
                  <a:close/>
                </a:path>
              </a:pathLst>
            </a:custGeom>
            <a:solidFill>
              <a:srgbClr val="FFFFFF"/>
            </a:solidFill>
          </p:spPr>
          <p:txBody>
            <a:bodyPr wrap="square" lIns="0" tIns="0" rIns="0" bIns="0" rtlCol="0"/>
            <a:lstStyle/>
            <a:p>
              <a:endParaRPr/>
            </a:p>
          </p:txBody>
        </p:sp>
      </p:grpSp>
      <p:sp>
        <p:nvSpPr>
          <p:cNvPr id="55" name="object 55"/>
          <p:cNvSpPr txBox="1"/>
          <p:nvPr/>
        </p:nvSpPr>
        <p:spPr>
          <a:xfrm>
            <a:off x="4351671" y="9268079"/>
            <a:ext cx="473075" cy="246379"/>
          </a:xfrm>
          <a:prstGeom prst="rect">
            <a:avLst/>
          </a:prstGeom>
        </p:spPr>
        <p:txBody>
          <a:bodyPr vert="horz" wrap="square" lIns="0" tIns="12065" rIns="0" bIns="0" rtlCol="0">
            <a:spAutoFit/>
          </a:bodyPr>
          <a:lstStyle/>
          <a:p>
            <a:pPr marL="12700">
              <a:lnSpc>
                <a:spcPct val="100000"/>
              </a:lnSpc>
              <a:spcBef>
                <a:spcPts val="95"/>
              </a:spcBef>
            </a:pPr>
            <a:r>
              <a:rPr sz="1450" spc="-10" dirty="0">
                <a:solidFill>
                  <a:srgbClr val="737373"/>
                </a:solidFill>
                <a:latin typeface="Roboto"/>
                <a:cs typeface="Roboto"/>
              </a:rPr>
              <a:t>Playa</a:t>
            </a:r>
            <a:endParaRPr sz="1450">
              <a:latin typeface="Roboto"/>
              <a:cs typeface="Roboto"/>
            </a:endParaRPr>
          </a:p>
        </p:txBody>
      </p:sp>
      <p:sp>
        <p:nvSpPr>
          <p:cNvPr id="56" name="object 56"/>
          <p:cNvSpPr txBox="1"/>
          <p:nvPr/>
        </p:nvSpPr>
        <p:spPr>
          <a:xfrm>
            <a:off x="14853896" y="6641547"/>
            <a:ext cx="1886585" cy="760730"/>
          </a:xfrm>
          <a:prstGeom prst="rect">
            <a:avLst/>
          </a:prstGeom>
        </p:spPr>
        <p:txBody>
          <a:bodyPr vert="horz" wrap="square" lIns="0" tIns="33655" rIns="0" bIns="0" rtlCol="0">
            <a:spAutoFit/>
          </a:bodyPr>
          <a:lstStyle/>
          <a:p>
            <a:pPr marL="314325" marR="5080" indent="-302260">
              <a:lnSpc>
                <a:spcPts val="2850"/>
              </a:lnSpc>
              <a:spcBef>
                <a:spcPts val="265"/>
              </a:spcBef>
            </a:pPr>
            <a:r>
              <a:rPr sz="2450" b="1" dirty="0">
                <a:solidFill>
                  <a:srgbClr val="FFFFFF"/>
                </a:solidFill>
                <a:latin typeface="Roboto"/>
                <a:cs typeface="Roboto"/>
              </a:rPr>
              <a:t>Desarrollo</a:t>
            </a:r>
            <a:r>
              <a:rPr sz="2450" b="1" spc="-15" dirty="0">
                <a:solidFill>
                  <a:srgbClr val="FFFFFF"/>
                </a:solidFill>
                <a:latin typeface="Roboto"/>
                <a:cs typeface="Roboto"/>
              </a:rPr>
              <a:t> </a:t>
            </a:r>
            <a:r>
              <a:rPr sz="2450" b="1" spc="-25" dirty="0">
                <a:solidFill>
                  <a:srgbClr val="FFFFFF"/>
                </a:solidFill>
                <a:latin typeface="Roboto"/>
                <a:cs typeface="Roboto"/>
              </a:rPr>
              <a:t>de </a:t>
            </a:r>
            <a:r>
              <a:rPr sz="2450" b="1" spc="-10" dirty="0">
                <a:solidFill>
                  <a:srgbClr val="FFFFFF"/>
                </a:solidFill>
                <a:latin typeface="Roboto"/>
                <a:cs typeface="Roboto"/>
              </a:rPr>
              <a:t>producto</a:t>
            </a:r>
            <a:endParaRPr sz="2450">
              <a:latin typeface="Roboto"/>
              <a:cs typeface="Roboto"/>
            </a:endParaRPr>
          </a:p>
        </p:txBody>
      </p:sp>
      <p:sp>
        <p:nvSpPr>
          <p:cNvPr id="57" name="object 57"/>
          <p:cNvSpPr txBox="1"/>
          <p:nvPr/>
        </p:nvSpPr>
        <p:spPr>
          <a:xfrm>
            <a:off x="14238099" y="7954433"/>
            <a:ext cx="3258820" cy="669290"/>
          </a:xfrm>
          <a:prstGeom prst="rect">
            <a:avLst/>
          </a:prstGeom>
        </p:spPr>
        <p:txBody>
          <a:bodyPr vert="horz" wrap="square" lIns="0" tIns="8255" rIns="0" bIns="0" rtlCol="0">
            <a:spAutoFit/>
          </a:bodyPr>
          <a:lstStyle/>
          <a:p>
            <a:pPr marL="196850" marR="5080" indent="-184785">
              <a:lnSpc>
                <a:spcPct val="101200"/>
              </a:lnSpc>
              <a:spcBef>
                <a:spcPts val="65"/>
              </a:spcBef>
            </a:pPr>
            <a:r>
              <a:rPr sz="2100" spc="-25" dirty="0">
                <a:solidFill>
                  <a:srgbClr val="FFFFFF"/>
                </a:solidFill>
                <a:latin typeface="Roboto"/>
                <a:cs typeface="Roboto"/>
              </a:rPr>
              <a:t>Necesidad</a:t>
            </a:r>
            <a:r>
              <a:rPr sz="2100" spc="-70" dirty="0">
                <a:solidFill>
                  <a:srgbClr val="FFFFFF"/>
                </a:solidFill>
                <a:latin typeface="Roboto"/>
                <a:cs typeface="Roboto"/>
              </a:rPr>
              <a:t> </a:t>
            </a:r>
            <a:r>
              <a:rPr sz="2100" dirty="0">
                <a:solidFill>
                  <a:srgbClr val="FFFFFF"/>
                </a:solidFill>
                <a:latin typeface="Roboto"/>
                <a:cs typeface="Roboto"/>
              </a:rPr>
              <a:t>de</a:t>
            </a:r>
            <a:r>
              <a:rPr sz="2100" spc="-70" dirty="0">
                <a:solidFill>
                  <a:srgbClr val="FFFFFF"/>
                </a:solidFill>
                <a:latin typeface="Roboto"/>
                <a:cs typeface="Roboto"/>
              </a:rPr>
              <a:t> </a:t>
            </a:r>
            <a:r>
              <a:rPr sz="2100" spc="-30" dirty="0">
                <a:solidFill>
                  <a:srgbClr val="FFFFFF"/>
                </a:solidFill>
                <a:latin typeface="Roboto"/>
                <a:cs typeface="Roboto"/>
              </a:rPr>
              <a:t>rutas</a:t>
            </a:r>
            <a:r>
              <a:rPr sz="2100" spc="-70" dirty="0">
                <a:solidFill>
                  <a:srgbClr val="FFFFFF"/>
                </a:solidFill>
                <a:latin typeface="Roboto"/>
                <a:cs typeface="Roboto"/>
              </a:rPr>
              <a:t> </a:t>
            </a:r>
            <a:r>
              <a:rPr sz="2100" dirty="0">
                <a:solidFill>
                  <a:srgbClr val="FFFFFF"/>
                </a:solidFill>
                <a:latin typeface="Roboto"/>
                <a:cs typeface="Roboto"/>
              </a:rPr>
              <a:t>de</a:t>
            </a:r>
            <a:r>
              <a:rPr sz="2100" spc="-65" dirty="0">
                <a:solidFill>
                  <a:srgbClr val="FFFFFF"/>
                </a:solidFill>
                <a:latin typeface="Roboto"/>
                <a:cs typeface="Roboto"/>
              </a:rPr>
              <a:t> </a:t>
            </a:r>
            <a:r>
              <a:rPr sz="2100" b="1" spc="-20" dirty="0">
                <a:solidFill>
                  <a:srgbClr val="FFFFFF"/>
                </a:solidFill>
                <a:latin typeface="Roboto"/>
                <a:cs typeface="Roboto"/>
              </a:rPr>
              <a:t>nivel </a:t>
            </a:r>
            <a:r>
              <a:rPr sz="2100" b="1" spc="-10" dirty="0">
                <a:solidFill>
                  <a:srgbClr val="FFFFFF"/>
                </a:solidFill>
                <a:latin typeface="Roboto"/>
                <a:cs typeface="Roboto"/>
              </a:rPr>
              <a:t>exportable</a:t>
            </a:r>
            <a:r>
              <a:rPr sz="2100" b="1" spc="-75" dirty="0">
                <a:solidFill>
                  <a:srgbClr val="FFFFFF"/>
                </a:solidFill>
                <a:latin typeface="Roboto"/>
                <a:cs typeface="Roboto"/>
              </a:rPr>
              <a:t> </a:t>
            </a:r>
            <a:r>
              <a:rPr sz="2100" b="1" spc="-10" dirty="0">
                <a:solidFill>
                  <a:srgbClr val="FFFFFF"/>
                </a:solidFill>
                <a:latin typeface="Roboto"/>
                <a:cs typeface="Roboto"/>
              </a:rPr>
              <a:t>internacional</a:t>
            </a:r>
            <a:endParaRPr sz="2100">
              <a:latin typeface="Roboto"/>
              <a:cs typeface="Roboto"/>
            </a:endParaRPr>
          </a:p>
        </p:txBody>
      </p:sp>
      <p:sp>
        <p:nvSpPr>
          <p:cNvPr id="58" name="object 58"/>
          <p:cNvSpPr txBox="1"/>
          <p:nvPr/>
        </p:nvSpPr>
        <p:spPr>
          <a:xfrm>
            <a:off x="14541034" y="2282467"/>
            <a:ext cx="2653030" cy="866140"/>
          </a:xfrm>
          <a:prstGeom prst="rect">
            <a:avLst/>
          </a:prstGeom>
        </p:spPr>
        <p:txBody>
          <a:bodyPr vert="horz" wrap="square" lIns="0" tIns="6985" rIns="0" bIns="0" rtlCol="0">
            <a:spAutoFit/>
          </a:bodyPr>
          <a:lstStyle/>
          <a:p>
            <a:pPr marL="12700" marR="5080" indent="413384">
              <a:lnSpc>
                <a:spcPts val="3379"/>
              </a:lnSpc>
              <a:spcBef>
                <a:spcPts val="55"/>
              </a:spcBef>
            </a:pPr>
            <a:r>
              <a:rPr sz="2700" b="1" spc="45" dirty="0">
                <a:solidFill>
                  <a:srgbClr val="FFFFFF"/>
                </a:solidFill>
                <a:latin typeface="Arial"/>
                <a:cs typeface="Arial"/>
              </a:rPr>
              <a:t>Desafíos</a:t>
            </a:r>
            <a:r>
              <a:rPr sz="2700" b="1" dirty="0">
                <a:solidFill>
                  <a:srgbClr val="FFFFFF"/>
                </a:solidFill>
                <a:latin typeface="Arial"/>
                <a:cs typeface="Arial"/>
              </a:rPr>
              <a:t> </a:t>
            </a:r>
            <a:r>
              <a:rPr sz="2700" b="1" spc="145" dirty="0">
                <a:solidFill>
                  <a:srgbClr val="FFFFFF"/>
                </a:solidFill>
                <a:latin typeface="Arial"/>
                <a:cs typeface="Arial"/>
              </a:rPr>
              <a:t>y </a:t>
            </a:r>
            <a:r>
              <a:rPr sz="2700" b="1" spc="125" dirty="0">
                <a:solidFill>
                  <a:srgbClr val="FFFFFF"/>
                </a:solidFill>
                <a:latin typeface="Arial"/>
                <a:cs typeface="Arial"/>
              </a:rPr>
              <a:t>oportunidades</a:t>
            </a:r>
            <a:endParaRPr sz="2700">
              <a:latin typeface="Arial"/>
              <a:cs typeface="Arial"/>
            </a:endParaRPr>
          </a:p>
        </p:txBody>
      </p:sp>
      <p:sp>
        <p:nvSpPr>
          <p:cNvPr id="59" name="object 59"/>
          <p:cNvSpPr txBox="1"/>
          <p:nvPr/>
        </p:nvSpPr>
        <p:spPr>
          <a:xfrm>
            <a:off x="4190012" y="1601922"/>
            <a:ext cx="2160905" cy="405130"/>
          </a:xfrm>
          <a:prstGeom prst="rect">
            <a:avLst/>
          </a:prstGeom>
        </p:spPr>
        <p:txBody>
          <a:bodyPr vert="horz" wrap="square" lIns="0" tIns="17780" rIns="0" bIns="0" rtlCol="0">
            <a:spAutoFit/>
          </a:bodyPr>
          <a:lstStyle/>
          <a:p>
            <a:pPr marL="12700">
              <a:lnSpc>
                <a:spcPct val="100000"/>
              </a:lnSpc>
              <a:spcBef>
                <a:spcPts val="140"/>
              </a:spcBef>
            </a:pPr>
            <a:r>
              <a:rPr sz="2450" b="1" spc="45" dirty="0">
                <a:solidFill>
                  <a:srgbClr val="FFFFFF"/>
                </a:solidFill>
                <a:latin typeface="Arial"/>
                <a:cs typeface="Arial"/>
              </a:rPr>
              <a:t>Posicionados</a:t>
            </a:r>
            <a:endParaRPr sz="2450">
              <a:latin typeface="Arial"/>
              <a:cs typeface="Arial"/>
            </a:endParaRPr>
          </a:p>
        </p:txBody>
      </p:sp>
      <p:sp>
        <p:nvSpPr>
          <p:cNvPr id="60" name="object 60"/>
          <p:cNvSpPr txBox="1"/>
          <p:nvPr/>
        </p:nvSpPr>
        <p:spPr>
          <a:xfrm>
            <a:off x="10572070" y="1601922"/>
            <a:ext cx="1799589" cy="405130"/>
          </a:xfrm>
          <a:prstGeom prst="rect">
            <a:avLst/>
          </a:prstGeom>
        </p:spPr>
        <p:txBody>
          <a:bodyPr vert="horz" wrap="square" lIns="0" tIns="17780" rIns="0" bIns="0" rtlCol="0">
            <a:spAutoFit/>
          </a:bodyPr>
          <a:lstStyle/>
          <a:p>
            <a:pPr marL="12700">
              <a:lnSpc>
                <a:spcPct val="100000"/>
              </a:lnSpc>
              <a:spcBef>
                <a:spcPts val="140"/>
              </a:spcBef>
            </a:pPr>
            <a:r>
              <a:rPr sz="2450" b="1" spc="120" dirty="0">
                <a:solidFill>
                  <a:srgbClr val="FFFFFF"/>
                </a:solidFill>
                <a:latin typeface="Arial"/>
                <a:cs typeface="Arial"/>
              </a:rPr>
              <a:t>Emergente</a:t>
            </a:r>
            <a:endParaRPr sz="2450">
              <a:latin typeface="Arial"/>
              <a:cs typeface="Arial"/>
            </a:endParaRPr>
          </a:p>
        </p:txBody>
      </p:sp>
      <p:sp>
        <p:nvSpPr>
          <p:cNvPr id="61" name="object 61"/>
          <p:cNvSpPr txBox="1">
            <a:spLocks noGrp="1"/>
          </p:cNvSpPr>
          <p:nvPr>
            <p:ph type="title"/>
          </p:nvPr>
        </p:nvSpPr>
        <p:spPr>
          <a:xfrm>
            <a:off x="637985" y="384150"/>
            <a:ext cx="4356735" cy="482600"/>
          </a:xfrm>
          <a:prstGeom prst="rect">
            <a:avLst/>
          </a:prstGeom>
        </p:spPr>
        <p:txBody>
          <a:bodyPr vert="horz" wrap="square" lIns="0" tIns="12700" rIns="0" bIns="0" rtlCol="0">
            <a:spAutoFit/>
          </a:bodyPr>
          <a:lstStyle/>
          <a:p>
            <a:pPr marL="12700">
              <a:lnSpc>
                <a:spcPct val="100000"/>
              </a:lnSpc>
              <a:spcBef>
                <a:spcPts val="100"/>
              </a:spcBef>
            </a:pPr>
            <a:r>
              <a:rPr dirty="0"/>
              <a:t>06.</a:t>
            </a:r>
            <a:r>
              <a:rPr spc="-90" dirty="0"/>
              <a:t> </a:t>
            </a:r>
            <a:r>
              <a:rPr dirty="0"/>
              <a:t>Oferta</a:t>
            </a:r>
            <a:r>
              <a:rPr spc="-85" dirty="0"/>
              <a:t> </a:t>
            </a:r>
            <a:r>
              <a:rPr dirty="0"/>
              <a:t>para</a:t>
            </a:r>
            <a:r>
              <a:rPr spc="-90" dirty="0"/>
              <a:t> </a:t>
            </a:r>
            <a:r>
              <a:rPr spc="-10" dirty="0"/>
              <a:t>marketing</a:t>
            </a:r>
          </a:p>
        </p:txBody>
      </p:sp>
      <p:sp>
        <p:nvSpPr>
          <p:cNvPr id="62" name="object 62"/>
          <p:cNvSpPr txBox="1"/>
          <p:nvPr/>
        </p:nvSpPr>
        <p:spPr>
          <a:xfrm>
            <a:off x="8319408" y="2838612"/>
            <a:ext cx="1755139" cy="831215"/>
          </a:xfrm>
          <a:prstGeom prst="rect">
            <a:avLst/>
          </a:prstGeom>
        </p:spPr>
        <p:txBody>
          <a:bodyPr vert="vert270" wrap="square" lIns="0" tIns="0" rIns="0" bIns="0" rtlCol="0">
            <a:spAutoFit/>
          </a:bodyPr>
          <a:lstStyle/>
          <a:p>
            <a:pPr marL="12700">
              <a:lnSpc>
                <a:spcPts val="13200"/>
              </a:lnSpc>
            </a:pPr>
            <a:r>
              <a:rPr sz="11600" b="1" dirty="0">
                <a:solidFill>
                  <a:srgbClr val="E3112B"/>
                </a:solidFill>
                <a:latin typeface="Roboto"/>
                <a:cs typeface="Roboto"/>
              </a:rPr>
              <a:t>+</a:t>
            </a:r>
            <a:endParaRPr sz="11600">
              <a:latin typeface="Roboto"/>
              <a:cs typeface="Roboto"/>
            </a:endParaRPr>
          </a:p>
        </p:txBody>
      </p:sp>
      <p:sp>
        <p:nvSpPr>
          <p:cNvPr id="63" name="object 63"/>
          <p:cNvSpPr txBox="1"/>
          <p:nvPr/>
        </p:nvSpPr>
        <p:spPr>
          <a:xfrm>
            <a:off x="1145433" y="4468105"/>
            <a:ext cx="358775" cy="1430655"/>
          </a:xfrm>
          <a:prstGeom prst="rect">
            <a:avLst/>
          </a:prstGeom>
        </p:spPr>
        <p:txBody>
          <a:bodyPr vert="vert270" wrap="square" lIns="0" tIns="0" rIns="0" bIns="0" rtlCol="0">
            <a:spAutoFit/>
          </a:bodyPr>
          <a:lstStyle/>
          <a:p>
            <a:pPr marL="12700">
              <a:lnSpc>
                <a:spcPts val="2410"/>
              </a:lnSpc>
            </a:pPr>
            <a:r>
              <a:rPr sz="2100" b="1" spc="-10" dirty="0">
                <a:solidFill>
                  <a:srgbClr val="FFFFFF"/>
                </a:solidFill>
                <a:latin typeface="Arial"/>
                <a:cs typeface="Arial"/>
              </a:rPr>
              <a:t>DESTINOS</a:t>
            </a:r>
            <a:endParaRPr sz="2100">
              <a:latin typeface="Arial"/>
              <a:cs typeface="Arial"/>
            </a:endParaRPr>
          </a:p>
        </p:txBody>
      </p:sp>
      <p:sp>
        <p:nvSpPr>
          <p:cNvPr id="64" name="object 64"/>
          <p:cNvSpPr txBox="1"/>
          <p:nvPr/>
        </p:nvSpPr>
        <p:spPr>
          <a:xfrm>
            <a:off x="1145448" y="7318183"/>
            <a:ext cx="358775" cy="2044700"/>
          </a:xfrm>
          <a:prstGeom prst="rect">
            <a:avLst/>
          </a:prstGeom>
        </p:spPr>
        <p:txBody>
          <a:bodyPr vert="vert270" wrap="square" lIns="0" tIns="0" rIns="0" bIns="0" rtlCol="0">
            <a:spAutoFit/>
          </a:bodyPr>
          <a:lstStyle/>
          <a:p>
            <a:pPr marL="12700">
              <a:lnSpc>
                <a:spcPts val="2410"/>
              </a:lnSpc>
            </a:pPr>
            <a:r>
              <a:rPr sz="2100" b="1" spc="-10" dirty="0">
                <a:solidFill>
                  <a:srgbClr val="FFFFFF"/>
                </a:solidFill>
                <a:latin typeface="Arial"/>
                <a:cs typeface="Arial"/>
              </a:rPr>
              <a:t>EXPERIENCIAS</a:t>
            </a:r>
            <a:endParaRPr sz="2100">
              <a:latin typeface="Arial"/>
              <a:cs typeface="Arial"/>
            </a:endParaRPr>
          </a:p>
        </p:txBody>
      </p:sp>
      <p:sp>
        <p:nvSpPr>
          <p:cNvPr id="65" name="object 65"/>
          <p:cNvSpPr txBox="1"/>
          <p:nvPr/>
        </p:nvSpPr>
        <p:spPr>
          <a:xfrm>
            <a:off x="10790573" y="4056245"/>
            <a:ext cx="1046480" cy="431165"/>
          </a:xfrm>
          <a:prstGeom prst="rect">
            <a:avLst/>
          </a:prstGeom>
        </p:spPr>
        <p:txBody>
          <a:bodyPr vert="horz" wrap="square" lIns="0" tIns="23495" rIns="0" bIns="0" rtlCol="0">
            <a:spAutoFit/>
          </a:bodyPr>
          <a:lstStyle/>
          <a:p>
            <a:pPr marL="45085" marR="5080" indent="-33020">
              <a:lnSpc>
                <a:spcPts val="1580"/>
              </a:lnSpc>
              <a:spcBef>
                <a:spcPts val="185"/>
              </a:spcBef>
            </a:pPr>
            <a:r>
              <a:rPr sz="1350" spc="-30" dirty="0">
                <a:solidFill>
                  <a:srgbClr val="737373"/>
                </a:solidFill>
                <a:latin typeface="Roboto"/>
                <a:cs typeface="Roboto"/>
              </a:rPr>
              <a:t>Ruta</a:t>
            </a:r>
            <a:r>
              <a:rPr sz="1350" spc="-50" dirty="0">
                <a:solidFill>
                  <a:srgbClr val="737373"/>
                </a:solidFill>
                <a:latin typeface="Roboto"/>
                <a:cs typeface="Roboto"/>
              </a:rPr>
              <a:t> </a:t>
            </a:r>
            <a:r>
              <a:rPr sz="1350" spc="-10" dirty="0">
                <a:solidFill>
                  <a:srgbClr val="737373"/>
                </a:solidFill>
                <a:latin typeface="Roboto"/>
                <a:cs typeface="Roboto"/>
              </a:rPr>
              <a:t>Parques Patagonicos</a:t>
            </a:r>
            <a:endParaRPr sz="1350">
              <a:latin typeface="Roboto"/>
              <a:cs typeface="Roboto"/>
            </a:endParaRPr>
          </a:p>
        </p:txBody>
      </p:sp>
      <p:sp>
        <p:nvSpPr>
          <p:cNvPr id="66" name="object 66"/>
          <p:cNvSpPr txBox="1"/>
          <p:nvPr/>
        </p:nvSpPr>
        <p:spPr>
          <a:xfrm>
            <a:off x="5565663" y="6608162"/>
            <a:ext cx="1646555" cy="313690"/>
          </a:xfrm>
          <a:prstGeom prst="rect">
            <a:avLst/>
          </a:prstGeom>
        </p:spPr>
        <p:txBody>
          <a:bodyPr vert="horz" wrap="square" lIns="0" tIns="17780" rIns="0" bIns="0" rtlCol="0">
            <a:spAutoFit/>
          </a:bodyPr>
          <a:lstStyle/>
          <a:p>
            <a:pPr marL="12700">
              <a:lnSpc>
                <a:spcPct val="100000"/>
              </a:lnSpc>
              <a:spcBef>
                <a:spcPts val="140"/>
              </a:spcBef>
            </a:pPr>
            <a:r>
              <a:rPr sz="1850" b="1" spc="40" dirty="0">
                <a:solidFill>
                  <a:srgbClr val="FFFFFF"/>
                </a:solidFill>
                <a:latin typeface="Arial"/>
                <a:cs typeface="Arial"/>
              </a:rPr>
              <a:t>Posicionados</a:t>
            </a:r>
            <a:endParaRPr sz="1850">
              <a:latin typeface="Arial"/>
              <a:cs typeface="Arial"/>
            </a:endParaRPr>
          </a:p>
        </p:txBody>
      </p:sp>
      <p:sp>
        <p:nvSpPr>
          <p:cNvPr id="67" name="object 67"/>
          <p:cNvSpPr txBox="1"/>
          <p:nvPr/>
        </p:nvSpPr>
        <p:spPr>
          <a:xfrm>
            <a:off x="2071469" y="6626428"/>
            <a:ext cx="1238885" cy="313690"/>
          </a:xfrm>
          <a:prstGeom prst="rect">
            <a:avLst/>
          </a:prstGeom>
        </p:spPr>
        <p:txBody>
          <a:bodyPr vert="horz" wrap="square" lIns="0" tIns="17780" rIns="0" bIns="0" rtlCol="0">
            <a:spAutoFit/>
          </a:bodyPr>
          <a:lstStyle/>
          <a:p>
            <a:pPr marL="12700">
              <a:lnSpc>
                <a:spcPct val="100000"/>
              </a:lnSpc>
              <a:spcBef>
                <a:spcPts val="140"/>
              </a:spcBef>
            </a:pPr>
            <a:r>
              <a:rPr sz="1850" b="1" spc="95" dirty="0">
                <a:solidFill>
                  <a:srgbClr val="FFFFFF"/>
                </a:solidFill>
                <a:latin typeface="Arial"/>
                <a:cs typeface="Arial"/>
              </a:rPr>
              <a:t>Mercados</a:t>
            </a:r>
            <a:endParaRPr sz="1850">
              <a:latin typeface="Arial"/>
              <a:cs typeface="Arial"/>
            </a:endParaRPr>
          </a:p>
        </p:txBody>
      </p:sp>
      <p:sp>
        <p:nvSpPr>
          <p:cNvPr id="68" name="object 68"/>
          <p:cNvSpPr txBox="1"/>
          <p:nvPr/>
        </p:nvSpPr>
        <p:spPr>
          <a:xfrm>
            <a:off x="10694244" y="6626428"/>
            <a:ext cx="1489710" cy="313690"/>
          </a:xfrm>
          <a:prstGeom prst="rect">
            <a:avLst/>
          </a:prstGeom>
        </p:spPr>
        <p:txBody>
          <a:bodyPr vert="horz" wrap="square" lIns="0" tIns="17780" rIns="0" bIns="0" rtlCol="0">
            <a:spAutoFit/>
          </a:bodyPr>
          <a:lstStyle/>
          <a:p>
            <a:pPr marL="12700">
              <a:lnSpc>
                <a:spcPct val="100000"/>
              </a:lnSpc>
              <a:spcBef>
                <a:spcPts val="140"/>
              </a:spcBef>
            </a:pPr>
            <a:r>
              <a:rPr sz="1850" b="1" spc="70" dirty="0">
                <a:solidFill>
                  <a:srgbClr val="FFFFFF"/>
                </a:solidFill>
                <a:latin typeface="Arial"/>
                <a:cs typeface="Arial"/>
              </a:rPr>
              <a:t>Emergentes</a:t>
            </a:r>
            <a:endParaRPr sz="1850">
              <a:latin typeface="Arial"/>
              <a:cs typeface="Arial"/>
            </a:endParaRPr>
          </a:p>
        </p:txBody>
      </p:sp>
      <p:sp>
        <p:nvSpPr>
          <p:cNvPr id="69" name="object 69"/>
          <p:cNvSpPr txBox="1"/>
          <p:nvPr/>
        </p:nvSpPr>
        <p:spPr>
          <a:xfrm>
            <a:off x="2222296" y="7415831"/>
            <a:ext cx="672465" cy="246379"/>
          </a:xfrm>
          <a:prstGeom prst="rect">
            <a:avLst/>
          </a:prstGeom>
        </p:spPr>
        <p:txBody>
          <a:bodyPr vert="horz" wrap="square" lIns="0" tIns="12065" rIns="0" bIns="0" rtlCol="0">
            <a:spAutoFit/>
          </a:bodyPr>
          <a:lstStyle/>
          <a:p>
            <a:pPr marL="12700">
              <a:lnSpc>
                <a:spcPct val="100000"/>
              </a:lnSpc>
              <a:spcBef>
                <a:spcPts val="95"/>
              </a:spcBef>
            </a:pPr>
            <a:r>
              <a:rPr sz="1450" b="1" spc="-10" dirty="0">
                <a:solidFill>
                  <a:srgbClr val="FFFFFF"/>
                </a:solidFill>
                <a:latin typeface="Roboto"/>
                <a:cs typeface="Roboto"/>
              </a:rPr>
              <a:t>Lejanos</a:t>
            </a:r>
            <a:endParaRPr sz="1450">
              <a:latin typeface="Roboto"/>
              <a:cs typeface="Roboto"/>
            </a:endParaRPr>
          </a:p>
        </p:txBody>
      </p:sp>
      <p:sp>
        <p:nvSpPr>
          <p:cNvPr id="70" name="object 70"/>
          <p:cNvSpPr txBox="1"/>
          <p:nvPr/>
        </p:nvSpPr>
        <p:spPr>
          <a:xfrm>
            <a:off x="2071469" y="8283337"/>
            <a:ext cx="944244" cy="246379"/>
          </a:xfrm>
          <a:prstGeom prst="rect">
            <a:avLst/>
          </a:prstGeom>
        </p:spPr>
        <p:txBody>
          <a:bodyPr vert="horz" wrap="square" lIns="0" tIns="12065" rIns="0" bIns="0" rtlCol="0">
            <a:spAutoFit/>
          </a:bodyPr>
          <a:lstStyle/>
          <a:p>
            <a:pPr marL="12700">
              <a:lnSpc>
                <a:spcPct val="100000"/>
              </a:lnSpc>
              <a:spcBef>
                <a:spcPts val="95"/>
              </a:spcBef>
            </a:pPr>
            <a:r>
              <a:rPr sz="1450" b="1" spc="-10" dirty="0">
                <a:solidFill>
                  <a:srgbClr val="FFFFFF"/>
                </a:solidFill>
                <a:latin typeface="Roboto"/>
                <a:cs typeface="Roboto"/>
              </a:rPr>
              <a:t>Regionales</a:t>
            </a:r>
            <a:endParaRPr sz="1450">
              <a:latin typeface="Roboto"/>
              <a:cs typeface="Roboto"/>
            </a:endParaRPr>
          </a:p>
        </p:txBody>
      </p:sp>
      <p:sp>
        <p:nvSpPr>
          <p:cNvPr id="71" name="object 71"/>
          <p:cNvSpPr txBox="1"/>
          <p:nvPr/>
        </p:nvSpPr>
        <p:spPr>
          <a:xfrm>
            <a:off x="2113281" y="9133101"/>
            <a:ext cx="876300" cy="246379"/>
          </a:xfrm>
          <a:prstGeom prst="rect">
            <a:avLst/>
          </a:prstGeom>
        </p:spPr>
        <p:txBody>
          <a:bodyPr vert="horz" wrap="square" lIns="0" tIns="12065" rIns="0" bIns="0" rtlCol="0">
            <a:spAutoFit/>
          </a:bodyPr>
          <a:lstStyle/>
          <a:p>
            <a:pPr marL="12700">
              <a:lnSpc>
                <a:spcPct val="100000"/>
              </a:lnSpc>
              <a:spcBef>
                <a:spcPts val="95"/>
              </a:spcBef>
            </a:pPr>
            <a:r>
              <a:rPr sz="1450" b="1" spc="-10" dirty="0">
                <a:solidFill>
                  <a:srgbClr val="FFFFFF"/>
                </a:solidFill>
                <a:latin typeface="Roboto"/>
                <a:cs typeface="Roboto"/>
              </a:rPr>
              <a:t>Limítrofes</a:t>
            </a:r>
            <a:endParaRPr sz="1450">
              <a:latin typeface="Roboto"/>
              <a:cs typeface="Roboto"/>
            </a:endParaRPr>
          </a:p>
        </p:txBody>
      </p:sp>
      <p:grpSp>
        <p:nvGrpSpPr>
          <p:cNvPr id="72" name="object 72"/>
          <p:cNvGrpSpPr/>
          <p:nvPr/>
        </p:nvGrpSpPr>
        <p:grpSpPr>
          <a:xfrm>
            <a:off x="15307645" y="237491"/>
            <a:ext cx="2752090" cy="4199255"/>
            <a:chOff x="15307645" y="237491"/>
            <a:chExt cx="2752090" cy="4199255"/>
          </a:xfrm>
        </p:grpSpPr>
        <p:sp>
          <p:nvSpPr>
            <p:cNvPr id="73" name="object 73"/>
            <p:cNvSpPr/>
            <p:nvPr/>
          </p:nvSpPr>
          <p:spPr>
            <a:xfrm>
              <a:off x="15307640" y="3420681"/>
              <a:ext cx="1059815" cy="1016000"/>
            </a:xfrm>
            <a:custGeom>
              <a:avLst/>
              <a:gdLst/>
              <a:ahLst/>
              <a:cxnLst/>
              <a:rect l="l" t="t" r="r" b="b"/>
              <a:pathLst>
                <a:path w="1059815" h="1016000">
                  <a:moveTo>
                    <a:pt x="143840" y="328930"/>
                  </a:moveTo>
                  <a:lnTo>
                    <a:pt x="38887" y="196850"/>
                  </a:lnTo>
                  <a:lnTo>
                    <a:pt x="23672" y="189230"/>
                  </a:lnTo>
                  <a:lnTo>
                    <a:pt x="15265" y="190500"/>
                  </a:lnTo>
                  <a:lnTo>
                    <a:pt x="7708" y="194310"/>
                  </a:lnTo>
                  <a:lnTo>
                    <a:pt x="2247" y="201930"/>
                  </a:lnTo>
                  <a:lnTo>
                    <a:pt x="0" y="209550"/>
                  </a:lnTo>
                  <a:lnTo>
                    <a:pt x="1016" y="218440"/>
                  </a:lnTo>
                  <a:lnTo>
                    <a:pt x="5359" y="226060"/>
                  </a:lnTo>
                  <a:lnTo>
                    <a:pt x="104940" y="341630"/>
                  </a:lnTo>
                  <a:lnTo>
                    <a:pt x="111887" y="346710"/>
                  </a:lnTo>
                  <a:lnTo>
                    <a:pt x="120027" y="349250"/>
                  </a:lnTo>
                  <a:lnTo>
                    <a:pt x="128422" y="347980"/>
                  </a:lnTo>
                  <a:lnTo>
                    <a:pt x="136118" y="344170"/>
                  </a:lnTo>
                  <a:lnTo>
                    <a:pt x="141579" y="336550"/>
                  </a:lnTo>
                  <a:lnTo>
                    <a:pt x="143840" y="328930"/>
                  </a:lnTo>
                  <a:close/>
                </a:path>
                <a:path w="1059815" h="1016000">
                  <a:moveTo>
                    <a:pt x="334530" y="214630"/>
                  </a:moveTo>
                  <a:lnTo>
                    <a:pt x="279958" y="63500"/>
                  </a:lnTo>
                  <a:lnTo>
                    <a:pt x="260108" y="48260"/>
                  </a:lnTo>
                  <a:lnTo>
                    <a:pt x="251460" y="49530"/>
                  </a:lnTo>
                  <a:lnTo>
                    <a:pt x="243992" y="54610"/>
                  </a:lnTo>
                  <a:lnTo>
                    <a:pt x="239014" y="60960"/>
                  </a:lnTo>
                  <a:lnTo>
                    <a:pt x="236982" y="69850"/>
                  </a:lnTo>
                  <a:lnTo>
                    <a:pt x="238379" y="78740"/>
                  </a:lnTo>
                  <a:lnTo>
                    <a:pt x="291693" y="220980"/>
                  </a:lnTo>
                  <a:lnTo>
                    <a:pt x="296379" y="228600"/>
                  </a:lnTo>
                  <a:lnTo>
                    <a:pt x="303301" y="233680"/>
                  </a:lnTo>
                  <a:lnTo>
                    <a:pt x="311543" y="236220"/>
                  </a:lnTo>
                  <a:lnTo>
                    <a:pt x="320192" y="234950"/>
                  </a:lnTo>
                  <a:lnTo>
                    <a:pt x="327609" y="229870"/>
                  </a:lnTo>
                  <a:lnTo>
                    <a:pt x="332511" y="222250"/>
                  </a:lnTo>
                  <a:lnTo>
                    <a:pt x="334530" y="214630"/>
                  </a:lnTo>
                  <a:close/>
                </a:path>
                <a:path w="1059815" h="1016000">
                  <a:moveTo>
                    <a:pt x="350799" y="593090"/>
                  </a:moveTo>
                  <a:lnTo>
                    <a:pt x="350621" y="580390"/>
                  </a:lnTo>
                  <a:lnTo>
                    <a:pt x="344284" y="570230"/>
                  </a:lnTo>
                  <a:lnTo>
                    <a:pt x="332600" y="565150"/>
                  </a:lnTo>
                  <a:lnTo>
                    <a:pt x="247103" y="552450"/>
                  </a:lnTo>
                  <a:lnTo>
                    <a:pt x="238252" y="534670"/>
                  </a:lnTo>
                  <a:lnTo>
                    <a:pt x="208546" y="474980"/>
                  </a:lnTo>
                  <a:lnTo>
                    <a:pt x="200101" y="466090"/>
                  </a:lnTo>
                  <a:lnTo>
                    <a:pt x="188760" y="462280"/>
                  </a:lnTo>
                  <a:lnTo>
                    <a:pt x="177431" y="464820"/>
                  </a:lnTo>
                  <a:lnTo>
                    <a:pt x="168986" y="474980"/>
                  </a:lnTo>
                  <a:lnTo>
                    <a:pt x="130429" y="552450"/>
                  </a:lnTo>
                  <a:lnTo>
                    <a:pt x="44589" y="565150"/>
                  </a:lnTo>
                  <a:lnTo>
                    <a:pt x="33172" y="570230"/>
                  </a:lnTo>
                  <a:lnTo>
                    <a:pt x="26695" y="580390"/>
                  </a:lnTo>
                  <a:lnTo>
                    <a:pt x="26060" y="591820"/>
                  </a:lnTo>
                  <a:lnTo>
                    <a:pt x="32181" y="603250"/>
                  </a:lnTo>
                  <a:lnTo>
                    <a:pt x="94208" y="664210"/>
                  </a:lnTo>
                  <a:lnTo>
                    <a:pt x="79794" y="749300"/>
                  </a:lnTo>
                  <a:lnTo>
                    <a:pt x="81292" y="762000"/>
                  </a:lnTo>
                  <a:lnTo>
                    <a:pt x="88722" y="770890"/>
                  </a:lnTo>
                  <a:lnTo>
                    <a:pt x="99745" y="775970"/>
                  </a:lnTo>
                  <a:lnTo>
                    <a:pt x="111988" y="773430"/>
                  </a:lnTo>
                  <a:lnTo>
                    <a:pt x="188760" y="732790"/>
                  </a:lnTo>
                  <a:lnTo>
                    <a:pt x="264198" y="772160"/>
                  </a:lnTo>
                  <a:lnTo>
                    <a:pt x="277304" y="775970"/>
                  </a:lnTo>
                  <a:lnTo>
                    <a:pt x="288594" y="770890"/>
                  </a:lnTo>
                  <a:lnTo>
                    <a:pt x="295973" y="762000"/>
                  </a:lnTo>
                  <a:lnTo>
                    <a:pt x="297395" y="749300"/>
                  </a:lnTo>
                  <a:lnTo>
                    <a:pt x="294601" y="732790"/>
                  </a:lnTo>
                  <a:lnTo>
                    <a:pt x="291147" y="712470"/>
                  </a:lnTo>
                  <a:lnTo>
                    <a:pt x="282981" y="664210"/>
                  </a:lnTo>
                  <a:lnTo>
                    <a:pt x="343992" y="603250"/>
                  </a:lnTo>
                  <a:lnTo>
                    <a:pt x="350799" y="593090"/>
                  </a:lnTo>
                  <a:close/>
                </a:path>
                <a:path w="1059815" h="1016000">
                  <a:moveTo>
                    <a:pt x="551865" y="21590"/>
                  </a:moveTo>
                  <a:lnTo>
                    <a:pt x="550113" y="12700"/>
                  </a:lnTo>
                  <a:lnTo>
                    <a:pt x="545338" y="6350"/>
                  </a:lnTo>
                  <a:lnTo>
                    <a:pt x="538289" y="1270"/>
                  </a:lnTo>
                  <a:lnTo>
                    <a:pt x="529742" y="0"/>
                  </a:lnTo>
                  <a:lnTo>
                    <a:pt x="521195" y="1270"/>
                  </a:lnTo>
                  <a:lnTo>
                    <a:pt x="514146" y="6350"/>
                  </a:lnTo>
                  <a:lnTo>
                    <a:pt x="509371" y="12700"/>
                  </a:lnTo>
                  <a:lnTo>
                    <a:pt x="507619" y="21590"/>
                  </a:lnTo>
                  <a:lnTo>
                    <a:pt x="507619" y="173990"/>
                  </a:lnTo>
                  <a:lnTo>
                    <a:pt x="509320" y="182880"/>
                  </a:lnTo>
                  <a:lnTo>
                    <a:pt x="514019" y="190500"/>
                  </a:lnTo>
                  <a:lnTo>
                    <a:pt x="521055" y="194310"/>
                  </a:lnTo>
                  <a:lnTo>
                    <a:pt x="529742" y="196850"/>
                  </a:lnTo>
                  <a:lnTo>
                    <a:pt x="538429" y="194310"/>
                  </a:lnTo>
                  <a:lnTo>
                    <a:pt x="545452" y="190500"/>
                  </a:lnTo>
                  <a:lnTo>
                    <a:pt x="550151" y="182880"/>
                  </a:lnTo>
                  <a:lnTo>
                    <a:pt x="551865" y="173990"/>
                  </a:lnTo>
                  <a:lnTo>
                    <a:pt x="551865" y="21590"/>
                  </a:lnTo>
                  <a:close/>
                </a:path>
                <a:path w="1059815" h="1016000">
                  <a:moveTo>
                    <a:pt x="692302" y="394970"/>
                  </a:moveTo>
                  <a:lnTo>
                    <a:pt x="692137" y="383540"/>
                  </a:lnTo>
                  <a:lnTo>
                    <a:pt x="685888" y="373380"/>
                  </a:lnTo>
                  <a:lnTo>
                    <a:pt x="674243" y="367030"/>
                  </a:lnTo>
                  <a:lnTo>
                    <a:pt x="588416" y="354330"/>
                  </a:lnTo>
                  <a:lnTo>
                    <a:pt x="579564" y="336550"/>
                  </a:lnTo>
                  <a:lnTo>
                    <a:pt x="549859" y="276860"/>
                  </a:lnTo>
                  <a:lnTo>
                    <a:pt x="541413" y="267970"/>
                  </a:lnTo>
                  <a:lnTo>
                    <a:pt x="530072" y="264160"/>
                  </a:lnTo>
                  <a:lnTo>
                    <a:pt x="518744" y="267970"/>
                  </a:lnTo>
                  <a:lnTo>
                    <a:pt x="510298" y="276860"/>
                  </a:lnTo>
                  <a:lnTo>
                    <a:pt x="471741" y="354330"/>
                  </a:lnTo>
                  <a:lnTo>
                    <a:pt x="386245" y="367030"/>
                  </a:lnTo>
                  <a:lnTo>
                    <a:pt x="374827" y="372110"/>
                  </a:lnTo>
                  <a:lnTo>
                    <a:pt x="368350" y="382270"/>
                  </a:lnTo>
                  <a:lnTo>
                    <a:pt x="367715" y="393700"/>
                  </a:lnTo>
                  <a:lnTo>
                    <a:pt x="373837" y="405130"/>
                  </a:lnTo>
                  <a:lnTo>
                    <a:pt x="435864" y="466090"/>
                  </a:lnTo>
                  <a:lnTo>
                    <a:pt x="421449" y="551180"/>
                  </a:lnTo>
                  <a:lnTo>
                    <a:pt x="423075" y="563880"/>
                  </a:lnTo>
                  <a:lnTo>
                    <a:pt x="430504" y="572770"/>
                  </a:lnTo>
                  <a:lnTo>
                    <a:pt x="441439" y="577850"/>
                  </a:lnTo>
                  <a:lnTo>
                    <a:pt x="453631" y="575310"/>
                  </a:lnTo>
                  <a:lnTo>
                    <a:pt x="530415" y="534670"/>
                  </a:lnTo>
                  <a:lnTo>
                    <a:pt x="605853" y="574040"/>
                  </a:lnTo>
                  <a:lnTo>
                    <a:pt x="618959" y="577850"/>
                  </a:lnTo>
                  <a:lnTo>
                    <a:pt x="630237" y="572770"/>
                  </a:lnTo>
                  <a:lnTo>
                    <a:pt x="637628" y="563880"/>
                  </a:lnTo>
                  <a:lnTo>
                    <a:pt x="639038" y="551180"/>
                  </a:lnTo>
                  <a:lnTo>
                    <a:pt x="636244" y="534670"/>
                  </a:lnTo>
                  <a:lnTo>
                    <a:pt x="633018" y="515620"/>
                  </a:lnTo>
                  <a:lnTo>
                    <a:pt x="624624" y="466090"/>
                  </a:lnTo>
                  <a:lnTo>
                    <a:pt x="685647" y="406400"/>
                  </a:lnTo>
                  <a:lnTo>
                    <a:pt x="692302" y="394970"/>
                  </a:lnTo>
                  <a:close/>
                </a:path>
                <a:path w="1059815" h="1016000">
                  <a:moveTo>
                    <a:pt x="719264" y="801370"/>
                  </a:moveTo>
                  <a:lnTo>
                    <a:pt x="719086" y="788670"/>
                  </a:lnTo>
                  <a:lnTo>
                    <a:pt x="712749" y="778510"/>
                  </a:lnTo>
                  <a:lnTo>
                    <a:pt x="701065" y="773430"/>
                  </a:lnTo>
                  <a:lnTo>
                    <a:pt x="596798" y="758190"/>
                  </a:lnTo>
                  <a:lnTo>
                    <a:pt x="579272" y="722630"/>
                  </a:lnTo>
                  <a:lnTo>
                    <a:pt x="549859" y="662940"/>
                  </a:lnTo>
                  <a:lnTo>
                    <a:pt x="541426" y="654050"/>
                  </a:lnTo>
                  <a:lnTo>
                    <a:pt x="530161" y="651510"/>
                  </a:lnTo>
                  <a:lnTo>
                    <a:pt x="519023" y="654050"/>
                  </a:lnTo>
                  <a:lnTo>
                    <a:pt x="510971" y="664210"/>
                  </a:lnTo>
                  <a:lnTo>
                    <a:pt x="464032" y="758190"/>
                  </a:lnTo>
                  <a:lnTo>
                    <a:pt x="359422" y="773430"/>
                  </a:lnTo>
                  <a:lnTo>
                    <a:pt x="348005" y="778510"/>
                  </a:lnTo>
                  <a:lnTo>
                    <a:pt x="341528" y="788670"/>
                  </a:lnTo>
                  <a:lnTo>
                    <a:pt x="340893" y="801370"/>
                  </a:lnTo>
                  <a:lnTo>
                    <a:pt x="347014" y="811530"/>
                  </a:lnTo>
                  <a:lnTo>
                    <a:pt x="422452" y="885190"/>
                  </a:lnTo>
                  <a:lnTo>
                    <a:pt x="404685" y="990600"/>
                  </a:lnTo>
                  <a:lnTo>
                    <a:pt x="406171" y="1002030"/>
                  </a:lnTo>
                  <a:lnTo>
                    <a:pt x="413613" y="1012190"/>
                  </a:lnTo>
                  <a:lnTo>
                    <a:pt x="424624" y="1016000"/>
                  </a:lnTo>
                  <a:lnTo>
                    <a:pt x="436867" y="1013460"/>
                  </a:lnTo>
                  <a:lnTo>
                    <a:pt x="530415" y="963930"/>
                  </a:lnTo>
                  <a:lnTo>
                    <a:pt x="622617" y="1013460"/>
                  </a:lnTo>
                  <a:lnTo>
                    <a:pt x="635723" y="1016000"/>
                  </a:lnTo>
                  <a:lnTo>
                    <a:pt x="647001" y="1012190"/>
                  </a:lnTo>
                  <a:lnTo>
                    <a:pt x="654392" y="1002030"/>
                  </a:lnTo>
                  <a:lnTo>
                    <a:pt x="655802" y="990600"/>
                  </a:lnTo>
                  <a:lnTo>
                    <a:pt x="651306" y="963930"/>
                  </a:lnTo>
                  <a:lnTo>
                    <a:pt x="649389" y="952500"/>
                  </a:lnTo>
                  <a:lnTo>
                    <a:pt x="638035" y="885190"/>
                  </a:lnTo>
                  <a:lnTo>
                    <a:pt x="712470" y="812800"/>
                  </a:lnTo>
                  <a:lnTo>
                    <a:pt x="719264" y="801370"/>
                  </a:lnTo>
                  <a:close/>
                </a:path>
                <a:path w="1059815" h="1016000">
                  <a:moveTo>
                    <a:pt x="823175" y="69850"/>
                  </a:moveTo>
                  <a:lnTo>
                    <a:pt x="821143" y="60960"/>
                  </a:lnTo>
                  <a:lnTo>
                    <a:pt x="816165" y="54610"/>
                  </a:lnTo>
                  <a:lnTo>
                    <a:pt x="808697" y="49530"/>
                  </a:lnTo>
                  <a:lnTo>
                    <a:pt x="800049" y="48260"/>
                  </a:lnTo>
                  <a:lnTo>
                    <a:pt x="791806" y="50800"/>
                  </a:lnTo>
                  <a:lnTo>
                    <a:pt x="784885" y="55880"/>
                  </a:lnTo>
                  <a:lnTo>
                    <a:pt x="780199" y="63500"/>
                  </a:lnTo>
                  <a:lnTo>
                    <a:pt x="726884" y="205740"/>
                  </a:lnTo>
                  <a:lnTo>
                    <a:pt x="725487" y="214630"/>
                  </a:lnTo>
                  <a:lnTo>
                    <a:pt x="727519" y="222250"/>
                  </a:lnTo>
                  <a:lnTo>
                    <a:pt x="732497" y="229870"/>
                  </a:lnTo>
                  <a:lnTo>
                    <a:pt x="739965" y="234950"/>
                  </a:lnTo>
                  <a:lnTo>
                    <a:pt x="748614" y="236220"/>
                  </a:lnTo>
                  <a:lnTo>
                    <a:pt x="756856" y="233680"/>
                  </a:lnTo>
                  <a:lnTo>
                    <a:pt x="763778" y="228600"/>
                  </a:lnTo>
                  <a:lnTo>
                    <a:pt x="768464" y="220980"/>
                  </a:lnTo>
                  <a:lnTo>
                    <a:pt x="821766" y="78740"/>
                  </a:lnTo>
                  <a:lnTo>
                    <a:pt x="823175" y="69850"/>
                  </a:lnTo>
                  <a:close/>
                </a:path>
                <a:path w="1059815" h="1016000">
                  <a:moveTo>
                    <a:pt x="1033424" y="624840"/>
                  </a:moveTo>
                  <a:lnTo>
                    <a:pt x="1033246" y="612140"/>
                  </a:lnTo>
                  <a:lnTo>
                    <a:pt x="1026909" y="601980"/>
                  </a:lnTo>
                  <a:lnTo>
                    <a:pt x="1015225" y="596900"/>
                  </a:lnTo>
                  <a:lnTo>
                    <a:pt x="929728" y="584200"/>
                  </a:lnTo>
                  <a:lnTo>
                    <a:pt x="920877" y="566420"/>
                  </a:lnTo>
                  <a:lnTo>
                    <a:pt x="891171" y="506730"/>
                  </a:lnTo>
                  <a:lnTo>
                    <a:pt x="882726" y="497840"/>
                  </a:lnTo>
                  <a:lnTo>
                    <a:pt x="871347" y="494030"/>
                  </a:lnTo>
                  <a:lnTo>
                    <a:pt x="859917" y="496570"/>
                  </a:lnTo>
                  <a:lnTo>
                    <a:pt x="851281" y="506730"/>
                  </a:lnTo>
                  <a:lnTo>
                    <a:pt x="812723" y="584200"/>
                  </a:lnTo>
                  <a:lnTo>
                    <a:pt x="727227" y="596900"/>
                  </a:lnTo>
                  <a:lnTo>
                    <a:pt x="715810" y="601980"/>
                  </a:lnTo>
                  <a:lnTo>
                    <a:pt x="709320" y="612140"/>
                  </a:lnTo>
                  <a:lnTo>
                    <a:pt x="708698" y="623570"/>
                  </a:lnTo>
                  <a:lnTo>
                    <a:pt x="714819" y="635000"/>
                  </a:lnTo>
                  <a:lnTo>
                    <a:pt x="776846" y="695960"/>
                  </a:lnTo>
                  <a:lnTo>
                    <a:pt x="762431" y="781050"/>
                  </a:lnTo>
                  <a:lnTo>
                    <a:pt x="763917" y="793750"/>
                  </a:lnTo>
                  <a:lnTo>
                    <a:pt x="771347" y="802640"/>
                  </a:lnTo>
                  <a:lnTo>
                    <a:pt x="782370" y="806450"/>
                  </a:lnTo>
                  <a:lnTo>
                    <a:pt x="794613" y="805180"/>
                  </a:lnTo>
                  <a:lnTo>
                    <a:pt x="871397" y="764540"/>
                  </a:lnTo>
                  <a:lnTo>
                    <a:pt x="946835" y="803910"/>
                  </a:lnTo>
                  <a:lnTo>
                    <a:pt x="959942" y="807720"/>
                  </a:lnTo>
                  <a:lnTo>
                    <a:pt x="971219" y="802640"/>
                  </a:lnTo>
                  <a:lnTo>
                    <a:pt x="978611" y="793750"/>
                  </a:lnTo>
                  <a:lnTo>
                    <a:pt x="980020" y="781050"/>
                  </a:lnTo>
                  <a:lnTo>
                    <a:pt x="977226" y="764540"/>
                  </a:lnTo>
                  <a:lnTo>
                    <a:pt x="973785" y="744220"/>
                  </a:lnTo>
                  <a:lnTo>
                    <a:pt x="965606" y="695960"/>
                  </a:lnTo>
                  <a:lnTo>
                    <a:pt x="1026629" y="636270"/>
                  </a:lnTo>
                  <a:lnTo>
                    <a:pt x="1033424" y="624840"/>
                  </a:lnTo>
                  <a:close/>
                </a:path>
                <a:path w="1059815" h="1016000">
                  <a:moveTo>
                    <a:pt x="1059688" y="209550"/>
                  </a:moveTo>
                  <a:lnTo>
                    <a:pt x="1057427" y="201930"/>
                  </a:lnTo>
                  <a:lnTo>
                    <a:pt x="1052106" y="194310"/>
                  </a:lnTo>
                  <a:lnTo>
                    <a:pt x="1044549" y="190500"/>
                  </a:lnTo>
                  <a:lnTo>
                    <a:pt x="1036142" y="189230"/>
                  </a:lnTo>
                  <a:lnTo>
                    <a:pt x="1027925" y="191770"/>
                  </a:lnTo>
                  <a:lnTo>
                    <a:pt x="1020927" y="196850"/>
                  </a:lnTo>
                  <a:lnTo>
                    <a:pt x="921346" y="312420"/>
                  </a:lnTo>
                  <a:lnTo>
                    <a:pt x="917003" y="320040"/>
                  </a:lnTo>
                  <a:lnTo>
                    <a:pt x="915987" y="328930"/>
                  </a:lnTo>
                  <a:lnTo>
                    <a:pt x="918235" y="336550"/>
                  </a:lnTo>
                  <a:lnTo>
                    <a:pt x="923696" y="344170"/>
                  </a:lnTo>
                  <a:lnTo>
                    <a:pt x="931392" y="347980"/>
                  </a:lnTo>
                  <a:lnTo>
                    <a:pt x="939787" y="349250"/>
                  </a:lnTo>
                  <a:lnTo>
                    <a:pt x="947928" y="346710"/>
                  </a:lnTo>
                  <a:lnTo>
                    <a:pt x="954874" y="341630"/>
                  </a:lnTo>
                  <a:lnTo>
                    <a:pt x="1054455" y="226060"/>
                  </a:lnTo>
                  <a:lnTo>
                    <a:pt x="1058760" y="218440"/>
                  </a:lnTo>
                  <a:lnTo>
                    <a:pt x="1059688" y="209550"/>
                  </a:lnTo>
                  <a:close/>
                </a:path>
              </a:pathLst>
            </a:custGeom>
            <a:solidFill>
              <a:srgbClr val="FFFFFF"/>
            </a:solidFill>
          </p:spPr>
          <p:txBody>
            <a:bodyPr wrap="square" lIns="0" tIns="0" rIns="0" bIns="0" rtlCol="0"/>
            <a:lstStyle/>
            <a:p>
              <a:endParaRPr/>
            </a:p>
          </p:txBody>
        </p:sp>
        <p:pic>
          <p:nvPicPr>
            <p:cNvPr id="74" name="object 74"/>
            <p:cNvPicPr/>
            <p:nvPr/>
          </p:nvPicPr>
          <p:blipFill>
            <a:blip r:embed="rId14" cstate="print"/>
            <a:stretch>
              <a:fillRect/>
            </a:stretch>
          </p:blipFill>
          <p:spPr>
            <a:xfrm>
              <a:off x="17316448" y="237491"/>
              <a:ext cx="742949" cy="819149"/>
            </a:xfrm>
            <a:prstGeom prst="rect">
              <a:avLst/>
            </a:prstGeom>
          </p:spPr>
        </p:pic>
      </p:grpSp>
      <p:sp>
        <p:nvSpPr>
          <p:cNvPr id="75" name="object 75"/>
          <p:cNvSpPr txBox="1"/>
          <p:nvPr/>
        </p:nvSpPr>
        <p:spPr>
          <a:xfrm>
            <a:off x="14634996" y="4656012"/>
            <a:ext cx="2379980" cy="956944"/>
          </a:xfrm>
          <a:prstGeom prst="rect">
            <a:avLst/>
          </a:prstGeom>
        </p:spPr>
        <p:txBody>
          <a:bodyPr vert="horz" wrap="square" lIns="0" tIns="12065" rIns="0" bIns="0" rtlCol="0">
            <a:spAutoFit/>
          </a:bodyPr>
          <a:lstStyle/>
          <a:p>
            <a:pPr algn="ctr">
              <a:lnSpc>
                <a:spcPct val="100000"/>
              </a:lnSpc>
              <a:spcBef>
                <a:spcPts val="95"/>
              </a:spcBef>
            </a:pPr>
            <a:r>
              <a:rPr sz="2450" b="1" spc="-10" dirty="0">
                <a:solidFill>
                  <a:srgbClr val="FFFFFF"/>
                </a:solidFill>
                <a:latin typeface="Roboto"/>
                <a:cs typeface="Roboto"/>
              </a:rPr>
              <a:t>Posicionamiento</a:t>
            </a:r>
            <a:endParaRPr sz="2450">
              <a:latin typeface="Roboto"/>
              <a:cs typeface="Roboto"/>
            </a:endParaRPr>
          </a:p>
          <a:p>
            <a:pPr marL="106680" marR="40005" indent="-18415" algn="ctr">
              <a:lnSpc>
                <a:spcPts val="1650"/>
              </a:lnSpc>
              <a:spcBef>
                <a:spcPts val="1145"/>
              </a:spcBef>
            </a:pPr>
            <a:r>
              <a:rPr sz="1400" spc="-20" dirty="0">
                <a:solidFill>
                  <a:srgbClr val="FFFFFF"/>
                </a:solidFill>
                <a:latin typeface="Roboto"/>
                <a:cs typeface="Roboto"/>
              </a:rPr>
              <a:t>NATURALEZA</a:t>
            </a:r>
            <a:r>
              <a:rPr sz="1400" spc="-15" dirty="0">
                <a:solidFill>
                  <a:srgbClr val="FFFFFF"/>
                </a:solidFill>
                <a:latin typeface="Roboto"/>
                <a:cs typeface="Roboto"/>
              </a:rPr>
              <a:t> </a:t>
            </a:r>
            <a:r>
              <a:rPr sz="1400" dirty="0">
                <a:solidFill>
                  <a:srgbClr val="FFFFFF"/>
                </a:solidFill>
                <a:latin typeface="Roboto"/>
                <a:cs typeface="Roboto"/>
              </a:rPr>
              <a:t>Y</a:t>
            </a:r>
            <a:r>
              <a:rPr sz="1400" spc="-15" dirty="0">
                <a:solidFill>
                  <a:srgbClr val="FFFFFF"/>
                </a:solidFill>
                <a:latin typeface="Roboto"/>
                <a:cs typeface="Roboto"/>
              </a:rPr>
              <a:t> </a:t>
            </a:r>
            <a:r>
              <a:rPr sz="1400" spc="-10" dirty="0">
                <a:solidFill>
                  <a:srgbClr val="FFFFFF"/>
                </a:solidFill>
                <a:latin typeface="Roboto"/>
                <a:cs typeface="Roboto"/>
              </a:rPr>
              <a:t>AVENTURA </a:t>
            </a:r>
            <a:r>
              <a:rPr sz="1400" dirty="0">
                <a:solidFill>
                  <a:srgbClr val="FFFFFF"/>
                </a:solidFill>
                <a:latin typeface="Roboto"/>
                <a:cs typeface="Roboto"/>
              </a:rPr>
              <a:t>EN</a:t>
            </a:r>
            <a:r>
              <a:rPr sz="1400" spc="-35" dirty="0">
                <a:solidFill>
                  <a:srgbClr val="FFFFFF"/>
                </a:solidFill>
                <a:latin typeface="Roboto"/>
                <a:cs typeface="Roboto"/>
              </a:rPr>
              <a:t> </a:t>
            </a:r>
            <a:r>
              <a:rPr sz="1400" b="1" spc="-20" dirty="0">
                <a:solidFill>
                  <a:srgbClr val="FFFFFF"/>
                </a:solidFill>
                <a:latin typeface="Roboto"/>
                <a:cs typeface="Roboto"/>
              </a:rPr>
              <a:t>PARQUES</a:t>
            </a:r>
            <a:r>
              <a:rPr sz="1400" b="1" spc="-35" dirty="0">
                <a:solidFill>
                  <a:srgbClr val="FFFFFF"/>
                </a:solidFill>
                <a:latin typeface="Roboto"/>
                <a:cs typeface="Roboto"/>
              </a:rPr>
              <a:t> </a:t>
            </a:r>
            <a:r>
              <a:rPr sz="1400" b="1" spc="-10" dirty="0">
                <a:solidFill>
                  <a:srgbClr val="FFFFFF"/>
                </a:solidFill>
                <a:latin typeface="Roboto"/>
                <a:cs typeface="Roboto"/>
              </a:rPr>
              <a:t>NACIONALES</a:t>
            </a:r>
            <a:endParaRPr sz="1400">
              <a:latin typeface="Roboto"/>
              <a:cs typeface="Roboto"/>
            </a:endParaRPr>
          </a:p>
        </p:txBody>
      </p:sp>
      <p:sp>
        <p:nvSpPr>
          <p:cNvPr id="76" name="object 76"/>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77" name="object 77"/>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14</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16551"/>
            <a:ext cx="18288000" cy="10270490"/>
          </a:xfrm>
          <a:custGeom>
            <a:avLst/>
            <a:gdLst/>
            <a:ahLst/>
            <a:cxnLst/>
            <a:rect l="l" t="t" r="r" b="b"/>
            <a:pathLst>
              <a:path w="18288000" h="10270490">
                <a:moveTo>
                  <a:pt x="18287999" y="10270448"/>
                </a:moveTo>
                <a:lnTo>
                  <a:pt x="0" y="10270448"/>
                </a:lnTo>
                <a:lnTo>
                  <a:pt x="0" y="0"/>
                </a:lnTo>
                <a:lnTo>
                  <a:pt x="18287999" y="0"/>
                </a:lnTo>
                <a:lnTo>
                  <a:pt x="18287999" y="10270448"/>
                </a:lnTo>
                <a:close/>
              </a:path>
            </a:pathLst>
          </a:custGeom>
          <a:solidFill>
            <a:srgbClr val="F5A316"/>
          </a:solidFill>
        </p:spPr>
        <p:txBody>
          <a:bodyPr wrap="square" lIns="0" tIns="0" rIns="0" bIns="0" rtlCol="0"/>
          <a:lstStyle/>
          <a:p>
            <a:endParaRPr/>
          </a:p>
        </p:txBody>
      </p:sp>
      <p:sp>
        <p:nvSpPr>
          <p:cNvPr id="3" name="object 3"/>
          <p:cNvSpPr/>
          <p:nvPr/>
        </p:nvSpPr>
        <p:spPr>
          <a:xfrm>
            <a:off x="201329" y="181841"/>
            <a:ext cx="17897475" cy="9886950"/>
          </a:xfrm>
          <a:custGeom>
            <a:avLst/>
            <a:gdLst/>
            <a:ahLst/>
            <a:cxnLst/>
            <a:rect l="l" t="t" r="r" b="b"/>
            <a:pathLst>
              <a:path w="17897475" h="9886950">
                <a:moveTo>
                  <a:pt x="0" y="0"/>
                </a:moveTo>
                <a:lnTo>
                  <a:pt x="17897461" y="0"/>
                </a:lnTo>
                <a:lnTo>
                  <a:pt x="17897461" y="9886950"/>
                </a:lnTo>
                <a:lnTo>
                  <a:pt x="0" y="9886950"/>
                </a:lnTo>
                <a:lnTo>
                  <a:pt x="0" y="0"/>
                </a:lnTo>
              </a:path>
            </a:pathLst>
          </a:custGeom>
          <a:ln w="38110">
            <a:solidFill>
              <a:srgbClr val="FFFFFF"/>
            </a:solidFill>
          </a:ln>
        </p:spPr>
        <p:txBody>
          <a:bodyPr wrap="square" lIns="0" tIns="0" rIns="0" bIns="0" rtlCol="0"/>
          <a:lstStyle/>
          <a:p>
            <a:endParaRPr/>
          </a:p>
        </p:txBody>
      </p:sp>
      <p:sp>
        <p:nvSpPr>
          <p:cNvPr id="4" name="object 4"/>
          <p:cNvSpPr txBox="1">
            <a:spLocks noGrp="1"/>
          </p:cNvSpPr>
          <p:nvPr>
            <p:ph type="title"/>
          </p:nvPr>
        </p:nvSpPr>
        <p:spPr>
          <a:xfrm>
            <a:off x="7383053" y="4305147"/>
            <a:ext cx="3522345" cy="868044"/>
          </a:xfrm>
          <a:prstGeom prst="rect">
            <a:avLst/>
          </a:prstGeom>
        </p:spPr>
        <p:txBody>
          <a:bodyPr vert="horz" wrap="square" lIns="0" tIns="15875" rIns="0" bIns="0" rtlCol="0">
            <a:spAutoFit/>
          </a:bodyPr>
          <a:lstStyle/>
          <a:p>
            <a:pPr marL="12700">
              <a:lnSpc>
                <a:spcPct val="100000"/>
              </a:lnSpc>
              <a:spcBef>
                <a:spcPts val="125"/>
              </a:spcBef>
            </a:pPr>
            <a:r>
              <a:rPr sz="5500" b="1" spc="65" dirty="0">
                <a:latin typeface="Arial"/>
                <a:cs typeface="Arial"/>
              </a:rPr>
              <a:t>Estrategia</a:t>
            </a:r>
            <a:endParaRPr sz="5500">
              <a:latin typeface="Arial"/>
              <a:cs typeface="Aria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29"/>
            <a:ext cx="17954625" cy="9604375"/>
            <a:chOff x="166956" y="184829"/>
            <a:chExt cx="17954625" cy="9604375"/>
          </a:xfrm>
        </p:grpSpPr>
        <p:sp>
          <p:nvSpPr>
            <p:cNvPr id="3" name="object 3"/>
            <p:cNvSpPr/>
            <p:nvPr/>
          </p:nvSpPr>
          <p:spPr>
            <a:xfrm>
              <a:off x="166956" y="1113691"/>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sp>
          <p:nvSpPr>
            <p:cNvPr id="5" name="object 5"/>
            <p:cNvSpPr/>
            <p:nvPr/>
          </p:nvSpPr>
          <p:spPr>
            <a:xfrm>
              <a:off x="1338280" y="1996952"/>
              <a:ext cx="16264255" cy="2664460"/>
            </a:xfrm>
            <a:custGeom>
              <a:avLst/>
              <a:gdLst/>
              <a:ahLst/>
              <a:cxnLst/>
              <a:rect l="l" t="t" r="r" b="b"/>
              <a:pathLst>
                <a:path w="16264255" h="2664460">
                  <a:moveTo>
                    <a:pt x="16264220" y="2664441"/>
                  </a:moveTo>
                  <a:lnTo>
                    <a:pt x="0" y="2664441"/>
                  </a:lnTo>
                  <a:lnTo>
                    <a:pt x="8132465" y="0"/>
                  </a:lnTo>
                  <a:lnTo>
                    <a:pt x="16264220" y="2664208"/>
                  </a:lnTo>
                  <a:lnTo>
                    <a:pt x="16264220" y="2664441"/>
                  </a:lnTo>
                  <a:close/>
                </a:path>
              </a:pathLst>
            </a:custGeom>
            <a:solidFill>
              <a:srgbClr val="0090AE"/>
            </a:solidFill>
          </p:spPr>
          <p:txBody>
            <a:bodyPr wrap="square" lIns="0" tIns="0" rIns="0" bIns="0" rtlCol="0"/>
            <a:lstStyle/>
            <a:p>
              <a:endParaRPr/>
            </a:p>
          </p:txBody>
        </p:sp>
        <p:sp>
          <p:nvSpPr>
            <p:cNvPr id="6" name="object 6"/>
            <p:cNvSpPr/>
            <p:nvPr/>
          </p:nvSpPr>
          <p:spPr>
            <a:xfrm>
              <a:off x="4960564" y="1996952"/>
              <a:ext cx="9059545" cy="1488440"/>
            </a:xfrm>
            <a:custGeom>
              <a:avLst/>
              <a:gdLst/>
              <a:ahLst/>
              <a:cxnLst/>
              <a:rect l="l" t="t" r="r" b="b"/>
              <a:pathLst>
                <a:path w="9059544" h="1488439">
                  <a:moveTo>
                    <a:pt x="9059548" y="1488236"/>
                  </a:moveTo>
                  <a:lnTo>
                    <a:pt x="0" y="1488236"/>
                  </a:lnTo>
                  <a:lnTo>
                    <a:pt x="4529774" y="0"/>
                  </a:lnTo>
                  <a:lnTo>
                    <a:pt x="9059548" y="1488236"/>
                  </a:lnTo>
                  <a:close/>
                </a:path>
              </a:pathLst>
            </a:custGeom>
            <a:solidFill>
              <a:srgbClr val="21408B"/>
            </a:solidFill>
          </p:spPr>
          <p:txBody>
            <a:bodyPr wrap="square" lIns="0" tIns="0" rIns="0" bIns="0" rtlCol="0"/>
            <a:lstStyle/>
            <a:p>
              <a:endParaRPr/>
            </a:p>
          </p:txBody>
        </p:sp>
        <p:sp>
          <p:nvSpPr>
            <p:cNvPr id="7" name="object 7"/>
            <p:cNvSpPr/>
            <p:nvPr/>
          </p:nvSpPr>
          <p:spPr>
            <a:xfrm>
              <a:off x="1337473" y="4671431"/>
              <a:ext cx="16266794" cy="4830445"/>
            </a:xfrm>
            <a:custGeom>
              <a:avLst/>
              <a:gdLst/>
              <a:ahLst/>
              <a:cxnLst/>
              <a:rect l="l" t="t" r="r" b="b"/>
              <a:pathLst>
                <a:path w="16266794" h="4830445">
                  <a:moveTo>
                    <a:pt x="16266318" y="4830067"/>
                  </a:moveTo>
                  <a:lnTo>
                    <a:pt x="0" y="4830067"/>
                  </a:lnTo>
                  <a:lnTo>
                    <a:pt x="0" y="0"/>
                  </a:lnTo>
                  <a:lnTo>
                    <a:pt x="16266318" y="0"/>
                  </a:lnTo>
                  <a:lnTo>
                    <a:pt x="16266318" y="4830067"/>
                  </a:lnTo>
                  <a:close/>
                </a:path>
              </a:pathLst>
            </a:custGeom>
            <a:solidFill>
              <a:srgbClr val="FFFFFF"/>
            </a:solidFill>
          </p:spPr>
          <p:txBody>
            <a:bodyPr wrap="square" lIns="0" tIns="0" rIns="0" bIns="0" rtlCol="0"/>
            <a:lstStyle/>
            <a:p>
              <a:endParaRPr/>
            </a:p>
          </p:txBody>
        </p:sp>
        <p:sp>
          <p:nvSpPr>
            <p:cNvPr id="8" name="object 8"/>
            <p:cNvSpPr/>
            <p:nvPr/>
          </p:nvSpPr>
          <p:spPr>
            <a:xfrm>
              <a:off x="2478671" y="4119892"/>
              <a:ext cx="13513435" cy="1083945"/>
            </a:xfrm>
            <a:custGeom>
              <a:avLst/>
              <a:gdLst/>
              <a:ahLst/>
              <a:cxnLst/>
              <a:rect l="l" t="t" r="r" b="b"/>
              <a:pathLst>
                <a:path w="13513435" h="1083945">
                  <a:moveTo>
                    <a:pt x="3246844" y="427824"/>
                  </a:moveTo>
                  <a:lnTo>
                    <a:pt x="3229699" y="344487"/>
                  </a:lnTo>
                  <a:lnTo>
                    <a:pt x="3213722" y="299872"/>
                  </a:lnTo>
                  <a:lnTo>
                    <a:pt x="3193465" y="257022"/>
                  </a:lnTo>
                  <a:lnTo>
                    <a:pt x="3169081" y="216255"/>
                  </a:lnTo>
                  <a:lnTo>
                    <a:pt x="3140684" y="177901"/>
                  </a:lnTo>
                  <a:lnTo>
                    <a:pt x="3108414" y="142278"/>
                  </a:lnTo>
                  <a:lnTo>
                    <a:pt x="3072790" y="110007"/>
                  </a:lnTo>
                  <a:lnTo>
                    <a:pt x="3034436" y="81610"/>
                  </a:lnTo>
                  <a:lnTo>
                    <a:pt x="2993669" y="57226"/>
                  </a:lnTo>
                  <a:lnTo>
                    <a:pt x="2950819" y="36969"/>
                  </a:lnTo>
                  <a:lnTo>
                    <a:pt x="2906204" y="20993"/>
                  </a:lnTo>
                  <a:lnTo>
                    <a:pt x="2860141" y="9410"/>
                  </a:lnTo>
                  <a:lnTo>
                    <a:pt x="2812935" y="2374"/>
                  </a:lnTo>
                  <a:lnTo>
                    <a:pt x="2764929" y="0"/>
                  </a:lnTo>
                  <a:lnTo>
                    <a:pt x="485775" y="0"/>
                  </a:lnTo>
                  <a:lnTo>
                    <a:pt x="437769" y="2374"/>
                  </a:lnTo>
                  <a:lnTo>
                    <a:pt x="390563" y="9410"/>
                  </a:lnTo>
                  <a:lnTo>
                    <a:pt x="344500" y="20993"/>
                  </a:lnTo>
                  <a:lnTo>
                    <a:pt x="299885" y="36969"/>
                  </a:lnTo>
                  <a:lnTo>
                    <a:pt x="257035" y="57226"/>
                  </a:lnTo>
                  <a:lnTo>
                    <a:pt x="216268" y="81610"/>
                  </a:lnTo>
                  <a:lnTo>
                    <a:pt x="177914" y="110007"/>
                  </a:lnTo>
                  <a:lnTo>
                    <a:pt x="142290" y="142278"/>
                  </a:lnTo>
                  <a:lnTo>
                    <a:pt x="110020" y="177901"/>
                  </a:lnTo>
                  <a:lnTo>
                    <a:pt x="81622" y="216255"/>
                  </a:lnTo>
                  <a:lnTo>
                    <a:pt x="57238" y="257022"/>
                  </a:lnTo>
                  <a:lnTo>
                    <a:pt x="36982" y="299872"/>
                  </a:lnTo>
                  <a:lnTo>
                    <a:pt x="21005" y="344487"/>
                  </a:lnTo>
                  <a:lnTo>
                    <a:pt x="9423" y="390563"/>
                  </a:lnTo>
                  <a:lnTo>
                    <a:pt x="2387" y="437756"/>
                  </a:lnTo>
                  <a:lnTo>
                    <a:pt x="0" y="485775"/>
                  </a:lnTo>
                  <a:lnTo>
                    <a:pt x="0" y="597776"/>
                  </a:lnTo>
                  <a:lnTo>
                    <a:pt x="2387" y="645795"/>
                  </a:lnTo>
                  <a:lnTo>
                    <a:pt x="9423" y="692988"/>
                  </a:lnTo>
                  <a:lnTo>
                    <a:pt x="21005" y="739051"/>
                  </a:lnTo>
                  <a:lnTo>
                    <a:pt x="36982" y="783678"/>
                  </a:lnTo>
                  <a:lnTo>
                    <a:pt x="57238" y="826528"/>
                  </a:lnTo>
                  <a:lnTo>
                    <a:pt x="81622" y="867283"/>
                  </a:lnTo>
                  <a:lnTo>
                    <a:pt x="110020" y="905637"/>
                  </a:lnTo>
                  <a:lnTo>
                    <a:pt x="142290" y="941273"/>
                  </a:lnTo>
                  <a:lnTo>
                    <a:pt x="177914" y="973543"/>
                  </a:lnTo>
                  <a:lnTo>
                    <a:pt x="216268" y="1001941"/>
                  </a:lnTo>
                  <a:lnTo>
                    <a:pt x="257035" y="1026325"/>
                  </a:lnTo>
                  <a:lnTo>
                    <a:pt x="299885" y="1046568"/>
                  </a:lnTo>
                  <a:lnTo>
                    <a:pt x="344500" y="1062558"/>
                  </a:lnTo>
                  <a:lnTo>
                    <a:pt x="390563" y="1074127"/>
                  </a:lnTo>
                  <a:lnTo>
                    <a:pt x="437769" y="1081176"/>
                  </a:lnTo>
                  <a:lnTo>
                    <a:pt x="485775" y="1083551"/>
                  </a:lnTo>
                  <a:lnTo>
                    <a:pt x="2764929" y="1083551"/>
                  </a:lnTo>
                  <a:lnTo>
                    <a:pt x="2812935" y="1081176"/>
                  </a:lnTo>
                  <a:lnTo>
                    <a:pt x="2860141" y="1074127"/>
                  </a:lnTo>
                  <a:lnTo>
                    <a:pt x="2906204" y="1062558"/>
                  </a:lnTo>
                  <a:lnTo>
                    <a:pt x="2950819" y="1046568"/>
                  </a:lnTo>
                  <a:lnTo>
                    <a:pt x="2993669" y="1026325"/>
                  </a:lnTo>
                  <a:lnTo>
                    <a:pt x="3034436" y="1001941"/>
                  </a:lnTo>
                  <a:lnTo>
                    <a:pt x="3072790" y="973543"/>
                  </a:lnTo>
                  <a:lnTo>
                    <a:pt x="3108414" y="941273"/>
                  </a:lnTo>
                  <a:lnTo>
                    <a:pt x="3140684" y="905637"/>
                  </a:lnTo>
                  <a:lnTo>
                    <a:pt x="3169081" y="867283"/>
                  </a:lnTo>
                  <a:lnTo>
                    <a:pt x="3193465" y="826528"/>
                  </a:lnTo>
                  <a:lnTo>
                    <a:pt x="3213722" y="783678"/>
                  </a:lnTo>
                  <a:lnTo>
                    <a:pt x="3229699" y="739051"/>
                  </a:lnTo>
                  <a:lnTo>
                    <a:pt x="3241281" y="692988"/>
                  </a:lnTo>
                  <a:lnTo>
                    <a:pt x="3246844" y="655713"/>
                  </a:lnTo>
                  <a:lnTo>
                    <a:pt x="3246844" y="427824"/>
                  </a:lnTo>
                  <a:close/>
                </a:path>
                <a:path w="13513435" h="1083945">
                  <a:moveTo>
                    <a:pt x="8250136" y="427824"/>
                  </a:moveTo>
                  <a:lnTo>
                    <a:pt x="8232991" y="344487"/>
                  </a:lnTo>
                  <a:lnTo>
                    <a:pt x="8217014" y="299872"/>
                  </a:lnTo>
                  <a:lnTo>
                    <a:pt x="8196758" y="257022"/>
                  </a:lnTo>
                  <a:lnTo>
                    <a:pt x="8172374" y="216255"/>
                  </a:lnTo>
                  <a:lnTo>
                    <a:pt x="8143976" y="177901"/>
                  </a:lnTo>
                  <a:lnTo>
                    <a:pt x="8111706" y="142278"/>
                  </a:lnTo>
                  <a:lnTo>
                    <a:pt x="8076082" y="110007"/>
                  </a:lnTo>
                  <a:lnTo>
                    <a:pt x="8037728" y="81610"/>
                  </a:lnTo>
                  <a:lnTo>
                    <a:pt x="7996961" y="57226"/>
                  </a:lnTo>
                  <a:lnTo>
                    <a:pt x="7954111" y="36969"/>
                  </a:lnTo>
                  <a:lnTo>
                    <a:pt x="7909496" y="20993"/>
                  </a:lnTo>
                  <a:lnTo>
                    <a:pt x="7863433" y="9410"/>
                  </a:lnTo>
                  <a:lnTo>
                    <a:pt x="7816228" y="2374"/>
                  </a:lnTo>
                  <a:lnTo>
                    <a:pt x="7768222" y="0"/>
                  </a:lnTo>
                  <a:lnTo>
                    <a:pt x="5489067" y="0"/>
                  </a:lnTo>
                  <a:lnTo>
                    <a:pt x="5441061" y="2374"/>
                  </a:lnTo>
                  <a:lnTo>
                    <a:pt x="5393855" y="9410"/>
                  </a:lnTo>
                  <a:lnTo>
                    <a:pt x="5347792" y="20993"/>
                  </a:lnTo>
                  <a:lnTo>
                    <a:pt x="5303177" y="36969"/>
                  </a:lnTo>
                  <a:lnTo>
                    <a:pt x="5260327" y="57226"/>
                  </a:lnTo>
                  <a:lnTo>
                    <a:pt x="5219560" y="81610"/>
                  </a:lnTo>
                  <a:lnTo>
                    <a:pt x="5181206" y="110007"/>
                  </a:lnTo>
                  <a:lnTo>
                    <a:pt x="5145583" y="142278"/>
                  </a:lnTo>
                  <a:lnTo>
                    <a:pt x="5113312" y="177901"/>
                  </a:lnTo>
                  <a:lnTo>
                    <a:pt x="5084915" y="216255"/>
                  </a:lnTo>
                  <a:lnTo>
                    <a:pt x="5060531" y="257022"/>
                  </a:lnTo>
                  <a:lnTo>
                    <a:pt x="5040274" y="299872"/>
                  </a:lnTo>
                  <a:lnTo>
                    <a:pt x="5024298" y="344487"/>
                  </a:lnTo>
                  <a:lnTo>
                    <a:pt x="5012715" y="390563"/>
                  </a:lnTo>
                  <a:lnTo>
                    <a:pt x="5005679" y="437756"/>
                  </a:lnTo>
                  <a:lnTo>
                    <a:pt x="5003292" y="485775"/>
                  </a:lnTo>
                  <a:lnTo>
                    <a:pt x="5003292" y="597776"/>
                  </a:lnTo>
                  <a:lnTo>
                    <a:pt x="5005679" y="645795"/>
                  </a:lnTo>
                  <a:lnTo>
                    <a:pt x="5012715" y="692988"/>
                  </a:lnTo>
                  <a:lnTo>
                    <a:pt x="5024298" y="739051"/>
                  </a:lnTo>
                  <a:lnTo>
                    <a:pt x="5040274" y="783678"/>
                  </a:lnTo>
                  <a:lnTo>
                    <a:pt x="5060531" y="826528"/>
                  </a:lnTo>
                  <a:lnTo>
                    <a:pt x="5084915" y="867283"/>
                  </a:lnTo>
                  <a:lnTo>
                    <a:pt x="5113312" y="905637"/>
                  </a:lnTo>
                  <a:lnTo>
                    <a:pt x="5145583" y="941273"/>
                  </a:lnTo>
                  <a:lnTo>
                    <a:pt x="5181206" y="973543"/>
                  </a:lnTo>
                  <a:lnTo>
                    <a:pt x="5219560" y="1001941"/>
                  </a:lnTo>
                  <a:lnTo>
                    <a:pt x="5260327" y="1026325"/>
                  </a:lnTo>
                  <a:lnTo>
                    <a:pt x="5303177" y="1046568"/>
                  </a:lnTo>
                  <a:lnTo>
                    <a:pt x="5347792" y="1062558"/>
                  </a:lnTo>
                  <a:lnTo>
                    <a:pt x="5393855" y="1074127"/>
                  </a:lnTo>
                  <a:lnTo>
                    <a:pt x="5441061" y="1081176"/>
                  </a:lnTo>
                  <a:lnTo>
                    <a:pt x="5489067" y="1083551"/>
                  </a:lnTo>
                  <a:lnTo>
                    <a:pt x="7768222" y="1083551"/>
                  </a:lnTo>
                  <a:lnTo>
                    <a:pt x="7816228" y="1081176"/>
                  </a:lnTo>
                  <a:lnTo>
                    <a:pt x="7863433" y="1074127"/>
                  </a:lnTo>
                  <a:lnTo>
                    <a:pt x="7909496" y="1062558"/>
                  </a:lnTo>
                  <a:lnTo>
                    <a:pt x="7954111" y="1046568"/>
                  </a:lnTo>
                  <a:lnTo>
                    <a:pt x="7996961" y="1026325"/>
                  </a:lnTo>
                  <a:lnTo>
                    <a:pt x="8037728" y="1001941"/>
                  </a:lnTo>
                  <a:lnTo>
                    <a:pt x="8076082" y="973543"/>
                  </a:lnTo>
                  <a:lnTo>
                    <a:pt x="8111706" y="941273"/>
                  </a:lnTo>
                  <a:lnTo>
                    <a:pt x="8143976" y="905637"/>
                  </a:lnTo>
                  <a:lnTo>
                    <a:pt x="8172374" y="867283"/>
                  </a:lnTo>
                  <a:lnTo>
                    <a:pt x="8196758" y="826528"/>
                  </a:lnTo>
                  <a:lnTo>
                    <a:pt x="8217014" y="783678"/>
                  </a:lnTo>
                  <a:lnTo>
                    <a:pt x="8232991" y="739051"/>
                  </a:lnTo>
                  <a:lnTo>
                    <a:pt x="8244573" y="692988"/>
                  </a:lnTo>
                  <a:lnTo>
                    <a:pt x="8250136" y="655713"/>
                  </a:lnTo>
                  <a:lnTo>
                    <a:pt x="8250136" y="427824"/>
                  </a:lnTo>
                  <a:close/>
                </a:path>
                <a:path w="13513435" h="1083945">
                  <a:moveTo>
                    <a:pt x="13513283" y="441490"/>
                  </a:moveTo>
                  <a:lnTo>
                    <a:pt x="13506056" y="390563"/>
                  </a:lnTo>
                  <a:lnTo>
                    <a:pt x="13494474" y="344487"/>
                  </a:lnTo>
                  <a:lnTo>
                    <a:pt x="13478497" y="299872"/>
                  </a:lnTo>
                  <a:lnTo>
                    <a:pt x="13458241" y="257022"/>
                  </a:lnTo>
                  <a:lnTo>
                    <a:pt x="13433857" y="216255"/>
                  </a:lnTo>
                  <a:lnTo>
                    <a:pt x="13405460" y="177901"/>
                  </a:lnTo>
                  <a:lnTo>
                    <a:pt x="13373189" y="142278"/>
                  </a:lnTo>
                  <a:lnTo>
                    <a:pt x="13337553" y="110007"/>
                  </a:lnTo>
                  <a:lnTo>
                    <a:pt x="13299199" y="81610"/>
                  </a:lnTo>
                  <a:lnTo>
                    <a:pt x="13258445" y="57226"/>
                  </a:lnTo>
                  <a:lnTo>
                    <a:pt x="13215595" y="36969"/>
                  </a:lnTo>
                  <a:lnTo>
                    <a:pt x="13170980" y="20993"/>
                  </a:lnTo>
                  <a:lnTo>
                    <a:pt x="13124904" y="9410"/>
                  </a:lnTo>
                  <a:lnTo>
                    <a:pt x="13077711" y="2374"/>
                  </a:lnTo>
                  <a:lnTo>
                    <a:pt x="13029692" y="0"/>
                  </a:lnTo>
                  <a:lnTo>
                    <a:pt x="10149472" y="0"/>
                  </a:lnTo>
                  <a:lnTo>
                    <a:pt x="10101453" y="2374"/>
                  </a:lnTo>
                  <a:lnTo>
                    <a:pt x="10054260" y="9410"/>
                  </a:lnTo>
                  <a:lnTo>
                    <a:pt x="10008184" y="20993"/>
                  </a:lnTo>
                  <a:lnTo>
                    <a:pt x="9963569" y="36969"/>
                  </a:lnTo>
                  <a:lnTo>
                    <a:pt x="9920719" y="57226"/>
                  </a:lnTo>
                  <a:lnTo>
                    <a:pt x="9879952" y="81610"/>
                  </a:lnTo>
                  <a:lnTo>
                    <a:pt x="9841598" y="110007"/>
                  </a:lnTo>
                  <a:lnTo>
                    <a:pt x="9805975" y="142278"/>
                  </a:lnTo>
                  <a:lnTo>
                    <a:pt x="9773704" y="177901"/>
                  </a:lnTo>
                  <a:lnTo>
                    <a:pt x="9745307" y="216255"/>
                  </a:lnTo>
                  <a:lnTo>
                    <a:pt x="9720923" y="257022"/>
                  </a:lnTo>
                  <a:lnTo>
                    <a:pt x="9700666" y="299872"/>
                  </a:lnTo>
                  <a:lnTo>
                    <a:pt x="9684690" y="344487"/>
                  </a:lnTo>
                  <a:lnTo>
                    <a:pt x="9673107" y="390563"/>
                  </a:lnTo>
                  <a:lnTo>
                    <a:pt x="9666072" y="437756"/>
                  </a:lnTo>
                  <a:lnTo>
                    <a:pt x="9663697" y="485775"/>
                  </a:lnTo>
                  <a:lnTo>
                    <a:pt x="9663697" y="597776"/>
                  </a:lnTo>
                  <a:lnTo>
                    <a:pt x="9666072" y="645795"/>
                  </a:lnTo>
                  <a:lnTo>
                    <a:pt x="9673107" y="692988"/>
                  </a:lnTo>
                  <a:lnTo>
                    <a:pt x="9684690" y="739051"/>
                  </a:lnTo>
                  <a:lnTo>
                    <a:pt x="9700666" y="783678"/>
                  </a:lnTo>
                  <a:lnTo>
                    <a:pt x="9720923" y="826528"/>
                  </a:lnTo>
                  <a:lnTo>
                    <a:pt x="9745307" y="867283"/>
                  </a:lnTo>
                  <a:lnTo>
                    <a:pt x="9773704" y="905637"/>
                  </a:lnTo>
                  <a:lnTo>
                    <a:pt x="9805975" y="941273"/>
                  </a:lnTo>
                  <a:lnTo>
                    <a:pt x="9841598" y="973543"/>
                  </a:lnTo>
                  <a:lnTo>
                    <a:pt x="9879952" y="1001941"/>
                  </a:lnTo>
                  <a:lnTo>
                    <a:pt x="9920719" y="1026325"/>
                  </a:lnTo>
                  <a:lnTo>
                    <a:pt x="9963569" y="1046568"/>
                  </a:lnTo>
                  <a:lnTo>
                    <a:pt x="10008184" y="1062558"/>
                  </a:lnTo>
                  <a:lnTo>
                    <a:pt x="10054260" y="1074127"/>
                  </a:lnTo>
                  <a:lnTo>
                    <a:pt x="10101453" y="1081176"/>
                  </a:lnTo>
                  <a:lnTo>
                    <a:pt x="10149472" y="1083551"/>
                  </a:lnTo>
                  <a:lnTo>
                    <a:pt x="13029692" y="1083551"/>
                  </a:lnTo>
                  <a:lnTo>
                    <a:pt x="13077711" y="1081176"/>
                  </a:lnTo>
                  <a:lnTo>
                    <a:pt x="13124904" y="1074127"/>
                  </a:lnTo>
                  <a:lnTo>
                    <a:pt x="13170980" y="1062558"/>
                  </a:lnTo>
                  <a:lnTo>
                    <a:pt x="13215595" y="1046568"/>
                  </a:lnTo>
                  <a:lnTo>
                    <a:pt x="13258445" y="1026325"/>
                  </a:lnTo>
                  <a:lnTo>
                    <a:pt x="13299199" y="1001941"/>
                  </a:lnTo>
                  <a:lnTo>
                    <a:pt x="13337553" y="973543"/>
                  </a:lnTo>
                  <a:lnTo>
                    <a:pt x="13373189" y="941273"/>
                  </a:lnTo>
                  <a:lnTo>
                    <a:pt x="13405460" y="905637"/>
                  </a:lnTo>
                  <a:lnTo>
                    <a:pt x="13433857" y="867283"/>
                  </a:lnTo>
                  <a:lnTo>
                    <a:pt x="13458241" y="826528"/>
                  </a:lnTo>
                  <a:lnTo>
                    <a:pt x="13478497" y="783678"/>
                  </a:lnTo>
                  <a:lnTo>
                    <a:pt x="13494474" y="739051"/>
                  </a:lnTo>
                  <a:lnTo>
                    <a:pt x="13506056" y="692988"/>
                  </a:lnTo>
                  <a:lnTo>
                    <a:pt x="13513092" y="645795"/>
                  </a:lnTo>
                  <a:lnTo>
                    <a:pt x="13513283" y="642048"/>
                  </a:lnTo>
                  <a:lnTo>
                    <a:pt x="13513283" y="441490"/>
                  </a:lnTo>
                  <a:close/>
                </a:path>
              </a:pathLst>
            </a:custGeom>
            <a:solidFill>
              <a:srgbClr val="21408B"/>
            </a:solidFill>
          </p:spPr>
          <p:txBody>
            <a:bodyPr wrap="square" lIns="0" tIns="0" rIns="0" bIns="0" rtlCol="0"/>
            <a:lstStyle/>
            <a:p>
              <a:endParaRPr/>
            </a:p>
          </p:txBody>
        </p:sp>
        <p:sp>
          <p:nvSpPr>
            <p:cNvPr id="9" name="object 9"/>
            <p:cNvSpPr/>
            <p:nvPr/>
          </p:nvSpPr>
          <p:spPr>
            <a:xfrm>
              <a:off x="3805652" y="3766221"/>
              <a:ext cx="539750" cy="539750"/>
            </a:xfrm>
            <a:custGeom>
              <a:avLst/>
              <a:gdLst/>
              <a:ahLst/>
              <a:cxnLst/>
              <a:rect l="l" t="t" r="r" b="b"/>
              <a:pathLst>
                <a:path w="539750" h="539750">
                  <a:moveTo>
                    <a:pt x="269807" y="539602"/>
                  </a:moveTo>
                  <a:lnTo>
                    <a:pt x="221304" y="535256"/>
                  </a:lnTo>
                  <a:lnTo>
                    <a:pt x="175659" y="522723"/>
                  </a:lnTo>
                  <a:lnTo>
                    <a:pt x="133627" y="502767"/>
                  </a:lnTo>
                  <a:lnTo>
                    <a:pt x="95971" y="476149"/>
                  </a:lnTo>
                  <a:lnTo>
                    <a:pt x="63453" y="443631"/>
                  </a:lnTo>
                  <a:lnTo>
                    <a:pt x="36835" y="405975"/>
                  </a:lnTo>
                  <a:lnTo>
                    <a:pt x="16879" y="363944"/>
                  </a:lnTo>
                  <a:lnTo>
                    <a:pt x="4346" y="318298"/>
                  </a:lnTo>
                  <a:lnTo>
                    <a:pt x="0" y="269801"/>
                  </a:lnTo>
                  <a:lnTo>
                    <a:pt x="4346" y="221304"/>
                  </a:lnTo>
                  <a:lnTo>
                    <a:pt x="16879" y="175659"/>
                  </a:lnTo>
                  <a:lnTo>
                    <a:pt x="36835" y="133627"/>
                  </a:lnTo>
                  <a:lnTo>
                    <a:pt x="63453" y="95971"/>
                  </a:lnTo>
                  <a:lnTo>
                    <a:pt x="95971" y="63454"/>
                  </a:lnTo>
                  <a:lnTo>
                    <a:pt x="133627" y="36835"/>
                  </a:lnTo>
                  <a:lnTo>
                    <a:pt x="175659" y="16879"/>
                  </a:lnTo>
                  <a:lnTo>
                    <a:pt x="221304" y="4346"/>
                  </a:lnTo>
                  <a:lnTo>
                    <a:pt x="269801" y="0"/>
                  </a:lnTo>
                  <a:lnTo>
                    <a:pt x="318298" y="4346"/>
                  </a:lnTo>
                  <a:lnTo>
                    <a:pt x="363944" y="16879"/>
                  </a:lnTo>
                  <a:lnTo>
                    <a:pt x="405975" y="36835"/>
                  </a:lnTo>
                  <a:lnTo>
                    <a:pt x="443631" y="63454"/>
                  </a:lnTo>
                  <a:lnTo>
                    <a:pt x="476149" y="95971"/>
                  </a:lnTo>
                  <a:lnTo>
                    <a:pt x="502767" y="133627"/>
                  </a:lnTo>
                  <a:lnTo>
                    <a:pt x="522723" y="175659"/>
                  </a:lnTo>
                  <a:lnTo>
                    <a:pt x="535256" y="221304"/>
                  </a:lnTo>
                  <a:lnTo>
                    <a:pt x="539603" y="269801"/>
                  </a:lnTo>
                  <a:lnTo>
                    <a:pt x="535256" y="318298"/>
                  </a:lnTo>
                  <a:lnTo>
                    <a:pt x="522723" y="363944"/>
                  </a:lnTo>
                  <a:lnTo>
                    <a:pt x="502767" y="405975"/>
                  </a:lnTo>
                  <a:lnTo>
                    <a:pt x="476149" y="443631"/>
                  </a:lnTo>
                  <a:lnTo>
                    <a:pt x="443631" y="476149"/>
                  </a:lnTo>
                  <a:lnTo>
                    <a:pt x="405975" y="502767"/>
                  </a:lnTo>
                  <a:lnTo>
                    <a:pt x="363944" y="522723"/>
                  </a:lnTo>
                  <a:lnTo>
                    <a:pt x="318298" y="535256"/>
                  </a:lnTo>
                  <a:lnTo>
                    <a:pt x="269807" y="539602"/>
                  </a:lnTo>
                  <a:close/>
                </a:path>
              </a:pathLst>
            </a:custGeom>
            <a:solidFill>
              <a:srgbClr val="FFFFFF"/>
            </a:solidFill>
          </p:spPr>
          <p:txBody>
            <a:bodyPr wrap="square" lIns="0" tIns="0" rIns="0" bIns="0" rtlCol="0"/>
            <a:lstStyle/>
            <a:p>
              <a:endParaRPr/>
            </a:p>
          </p:txBody>
        </p:sp>
        <p:sp>
          <p:nvSpPr>
            <p:cNvPr id="10" name="object 10"/>
            <p:cNvSpPr/>
            <p:nvPr/>
          </p:nvSpPr>
          <p:spPr>
            <a:xfrm>
              <a:off x="3907383" y="3845546"/>
              <a:ext cx="333375" cy="379730"/>
            </a:xfrm>
            <a:custGeom>
              <a:avLst/>
              <a:gdLst/>
              <a:ahLst/>
              <a:cxnLst/>
              <a:rect l="l" t="t" r="r" b="b"/>
              <a:pathLst>
                <a:path w="333375" h="379729">
                  <a:moveTo>
                    <a:pt x="4483" y="313651"/>
                  </a:moveTo>
                  <a:lnTo>
                    <a:pt x="4279" y="313867"/>
                  </a:lnTo>
                  <a:lnTo>
                    <a:pt x="3886" y="314325"/>
                  </a:lnTo>
                  <a:lnTo>
                    <a:pt x="4013" y="314566"/>
                  </a:lnTo>
                  <a:lnTo>
                    <a:pt x="4381" y="314553"/>
                  </a:lnTo>
                  <a:lnTo>
                    <a:pt x="4457" y="314134"/>
                  </a:lnTo>
                  <a:lnTo>
                    <a:pt x="4483" y="313651"/>
                  </a:lnTo>
                  <a:close/>
                </a:path>
                <a:path w="333375" h="379729">
                  <a:moveTo>
                    <a:pt x="9690" y="230301"/>
                  </a:moveTo>
                  <a:lnTo>
                    <a:pt x="9652" y="230124"/>
                  </a:lnTo>
                  <a:lnTo>
                    <a:pt x="9436" y="229920"/>
                  </a:lnTo>
                  <a:lnTo>
                    <a:pt x="9309" y="230009"/>
                  </a:lnTo>
                  <a:lnTo>
                    <a:pt x="9245" y="230187"/>
                  </a:lnTo>
                  <a:lnTo>
                    <a:pt x="9296" y="230327"/>
                  </a:lnTo>
                  <a:lnTo>
                    <a:pt x="9321" y="230492"/>
                  </a:lnTo>
                  <a:lnTo>
                    <a:pt x="9563" y="230733"/>
                  </a:lnTo>
                  <a:lnTo>
                    <a:pt x="9690" y="230670"/>
                  </a:lnTo>
                  <a:lnTo>
                    <a:pt x="9690" y="230454"/>
                  </a:lnTo>
                  <a:lnTo>
                    <a:pt x="9690" y="230301"/>
                  </a:lnTo>
                  <a:close/>
                </a:path>
                <a:path w="333375" h="379729">
                  <a:moveTo>
                    <a:pt x="23914" y="371005"/>
                  </a:moveTo>
                  <a:lnTo>
                    <a:pt x="23812" y="370611"/>
                  </a:lnTo>
                  <a:lnTo>
                    <a:pt x="23685" y="370700"/>
                  </a:lnTo>
                  <a:lnTo>
                    <a:pt x="23774" y="371094"/>
                  </a:lnTo>
                  <a:lnTo>
                    <a:pt x="23914" y="371005"/>
                  </a:lnTo>
                  <a:close/>
                </a:path>
                <a:path w="333375" h="379729">
                  <a:moveTo>
                    <a:pt x="38735" y="223278"/>
                  </a:moveTo>
                  <a:lnTo>
                    <a:pt x="38696" y="222948"/>
                  </a:lnTo>
                  <a:lnTo>
                    <a:pt x="38557" y="222872"/>
                  </a:lnTo>
                  <a:lnTo>
                    <a:pt x="38328" y="223062"/>
                  </a:lnTo>
                  <a:lnTo>
                    <a:pt x="38227" y="223253"/>
                  </a:lnTo>
                  <a:lnTo>
                    <a:pt x="38150" y="223685"/>
                  </a:lnTo>
                  <a:lnTo>
                    <a:pt x="38290" y="223951"/>
                  </a:lnTo>
                  <a:lnTo>
                    <a:pt x="38557" y="223761"/>
                  </a:lnTo>
                  <a:lnTo>
                    <a:pt x="38646" y="223456"/>
                  </a:lnTo>
                  <a:lnTo>
                    <a:pt x="38735" y="223278"/>
                  </a:lnTo>
                  <a:close/>
                </a:path>
                <a:path w="333375" h="379729">
                  <a:moveTo>
                    <a:pt x="41998" y="222072"/>
                  </a:moveTo>
                  <a:lnTo>
                    <a:pt x="41884" y="221488"/>
                  </a:lnTo>
                  <a:lnTo>
                    <a:pt x="41795" y="221297"/>
                  </a:lnTo>
                  <a:lnTo>
                    <a:pt x="41579" y="220941"/>
                  </a:lnTo>
                  <a:lnTo>
                    <a:pt x="41427" y="220980"/>
                  </a:lnTo>
                  <a:lnTo>
                    <a:pt x="41122" y="222224"/>
                  </a:lnTo>
                  <a:lnTo>
                    <a:pt x="40805" y="223139"/>
                  </a:lnTo>
                  <a:lnTo>
                    <a:pt x="40322" y="224180"/>
                  </a:lnTo>
                  <a:lnTo>
                    <a:pt x="40297" y="224370"/>
                  </a:lnTo>
                  <a:lnTo>
                    <a:pt x="40500" y="224434"/>
                  </a:lnTo>
                  <a:lnTo>
                    <a:pt x="40741" y="224447"/>
                  </a:lnTo>
                  <a:lnTo>
                    <a:pt x="41998" y="222072"/>
                  </a:lnTo>
                  <a:close/>
                </a:path>
                <a:path w="333375" h="379729">
                  <a:moveTo>
                    <a:pt x="44716" y="229870"/>
                  </a:moveTo>
                  <a:lnTo>
                    <a:pt x="43840" y="228600"/>
                  </a:lnTo>
                  <a:lnTo>
                    <a:pt x="42506" y="227330"/>
                  </a:lnTo>
                  <a:lnTo>
                    <a:pt x="41275" y="228600"/>
                  </a:lnTo>
                  <a:lnTo>
                    <a:pt x="40982" y="228600"/>
                  </a:lnTo>
                  <a:lnTo>
                    <a:pt x="40716" y="229870"/>
                  </a:lnTo>
                  <a:lnTo>
                    <a:pt x="40551" y="228600"/>
                  </a:lnTo>
                  <a:lnTo>
                    <a:pt x="40170" y="228600"/>
                  </a:lnTo>
                  <a:lnTo>
                    <a:pt x="40640" y="227330"/>
                  </a:lnTo>
                  <a:lnTo>
                    <a:pt x="40957" y="227330"/>
                  </a:lnTo>
                  <a:lnTo>
                    <a:pt x="40932" y="226060"/>
                  </a:lnTo>
                  <a:lnTo>
                    <a:pt x="41021" y="224790"/>
                  </a:lnTo>
                  <a:lnTo>
                    <a:pt x="39814" y="226060"/>
                  </a:lnTo>
                  <a:lnTo>
                    <a:pt x="39814" y="231140"/>
                  </a:lnTo>
                  <a:lnTo>
                    <a:pt x="39420" y="231140"/>
                  </a:lnTo>
                  <a:lnTo>
                    <a:pt x="39293" y="229870"/>
                  </a:lnTo>
                  <a:lnTo>
                    <a:pt x="39598"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93" y="220980"/>
                  </a:lnTo>
                  <a:lnTo>
                    <a:pt x="37325" y="219710"/>
                  </a:lnTo>
                  <a:lnTo>
                    <a:pt x="37592" y="219710"/>
                  </a:lnTo>
                  <a:lnTo>
                    <a:pt x="38163" y="220980"/>
                  </a:lnTo>
                  <a:lnTo>
                    <a:pt x="38849" y="220980"/>
                  </a:lnTo>
                  <a:lnTo>
                    <a:pt x="39776" y="222250"/>
                  </a:lnTo>
                  <a:lnTo>
                    <a:pt x="40271" y="222250"/>
                  </a:lnTo>
                  <a:lnTo>
                    <a:pt x="40944" y="220980"/>
                  </a:lnTo>
                  <a:lnTo>
                    <a:pt x="40220" y="220980"/>
                  </a:lnTo>
                  <a:lnTo>
                    <a:pt x="39700" y="219710"/>
                  </a:lnTo>
                  <a:lnTo>
                    <a:pt x="38176" y="219710"/>
                  </a:lnTo>
                  <a:lnTo>
                    <a:pt x="38265" y="218440"/>
                  </a:lnTo>
                  <a:lnTo>
                    <a:pt x="38633" y="217170"/>
                  </a:lnTo>
                  <a:lnTo>
                    <a:pt x="39001" y="215900"/>
                  </a:lnTo>
                  <a:lnTo>
                    <a:pt x="38735" y="214630"/>
                  </a:lnTo>
                  <a:lnTo>
                    <a:pt x="37236" y="214630"/>
                  </a:lnTo>
                  <a:lnTo>
                    <a:pt x="36715" y="213360"/>
                  </a:lnTo>
                  <a:lnTo>
                    <a:pt x="36309" y="212090"/>
                  </a:lnTo>
                  <a:lnTo>
                    <a:pt x="35471" y="213360"/>
                  </a:lnTo>
                  <a:lnTo>
                    <a:pt x="35255" y="213360"/>
                  </a:lnTo>
                  <a:lnTo>
                    <a:pt x="35407" y="214630"/>
                  </a:lnTo>
                  <a:lnTo>
                    <a:pt x="35725" y="215900"/>
                  </a:lnTo>
                  <a:lnTo>
                    <a:pt x="35712" y="224790"/>
                  </a:lnTo>
                  <a:lnTo>
                    <a:pt x="35712" y="226060"/>
                  </a:lnTo>
                  <a:lnTo>
                    <a:pt x="35661" y="224790"/>
                  </a:lnTo>
                  <a:lnTo>
                    <a:pt x="35712" y="215900"/>
                  </a:lnTo>
                  <a:lnTo>
                    <a:pt x="35306" y="215900"/>
                  </a:lnTo>
                  <a:lnTo>
                    <a:pt x="35229" y="217170"/>
                  </a:lnTo>
                  <a:lnTo>
                    <a:pt x="34709" y="217170"/>
                  </a:lnTo>
                  <a:lnTo>
                    <a:pt x="34759" y="215900"/>
                  </a:lnTo>
                  <a:lnTo>
                    <a:pt x="34772" y="214630"/>
                  </a:lnTo>
                  <a:lnTo>
                    <a:pt x="34163" y="213360"/>
                  </a:lnTo>
                  <a:lnTo>
                    <a:pt x="33832" y="213360"/>
                  </a:lnTo>
                  <a:lnTo>
                    <a:pt x="33832" y="226060"/>
                  </a:lnTo>
                  <a:lnTo>
                    <a:pt x="33388" y="226060"/>
                  </a:lnTo>
                  <a:lnTo>
                    <a:pt x="33172" y="224790"/>
                  </a:lnTo>
                  <a:lnTo>
                    <a:pt x="31496" y="224790"/>
                  </a:lnTo>
                  <a:lnTo>
                    <a:pt x="31229" y="223520"/>
                  </a:lnTo>
                  <a:lnTo>
                    <a:pt x="32118" y="223520"/>
                  </a:lnTo>
                  <a:lnTo>
                    <a:pt x="32550" y="222250"/>
                  </a:lnTo>
                  <a:lnTo>
                    <a:pt x="32981" y="223520"/>
                  </a:lnTo>
                  <a:lnTo>
                    <a:pt x="33464" y="223520"/>
                  </a:lnTo>
                  <a:lnTo>
                    <a:pt x="33604" y="224790"/>
                  </a:lnTo>
                  <a:lnTo>
                    <a:pt x="33832" y="226060"/>
                  </a:lnTo>
                  <a:lnTo>
                    <a:pt x="33832" y="213360"/>
                  </a:lnTo>
                  <a:lnTo>
                    <a:pt x="32778" y="213360"/>
                  </a:lnTo>
                  <a:lnTo>
                    <a:pt x="32054" y="214630"/>
                  </a:lnTo>
                  <a:lnTo>
                    <a:pt x="30010" y="214630"/>
                  </a:lnTo>
                  <a:lnTo>
                    <a:pt x="29806" y="213360"/>
                  </a:lnTo>
                  <a:lnTo>
                    <a:pt x="29222" y="213360"/>
                  </a:lnTo>
                  <a:lnTo>
                    <a:pt x="28613" y="212090"/>
                  </a:lnTo>
                  <a:lnTo>
                    <a:pt x="27355" y="213360"/>
                  </a:lnTo>
                  <a:lnTo>
                    <a:pt x="27038" y="213360"/>
                  </a:lnTo>
                  <a:lnTo>
                    <a:pt x="27292" y="214630"/>
                  </a:lnTo>
                  <a:lnTo>
                    <a:pt x="27762" y="215900"/>
                  </a:lnTo>
                  <a:lnTo>
                    <a:pt x="27152" y="215900"/>
                  </a:lnTo>
                  <a:lnTo>
                    <a:pt x="27038" y="217170"/>
                  </a:lnTo>
                  <a:lnTo>
                    <a:pt x="26263" y="217170"/>
                  </a:lnTo>
                  <a:lnTo>
                    <a:pt x="26327" y="215900"/>
                  </a:lnTo>
                  <a:lnTo>
                    <a:pt x="26314" y="214630"/>
                  </a:lnTo>
                  <a:lnTo>
                    <a:pt x="25412" y="213360"/>
                  </a:lnTo>
                  <a:lnTo>
                    <a:pt x="24650" y="213360"/>
                  </a:lnTo>
                  <a:lnTo>
                    <a:pt x="24650" y="224790"/>
                  </a:lnTo>
                  <a:lnTo>
                    <a:pt x="24384" y="224790"/>
                  </a:lnTo>
                  <a:lnTo>
                    <a:pt x="24638" y="226060"/>
                  </a:lnTo>
                  <a:lnTo>
                    <a:pt x="23990" y="226060"/>
                  </a:lnTo>
                  <a:lnTo>
                    <a:pt x="24066" y="224790"/>
                  </a:lnTo>
                  <a:lnTo>
                    <a:pt x="22796" y="224790"/>
                  </a:lnTo>
                  <a:lnTo>
                    <a:pt x="22606" y="226060"/>
                  </a:lnTo>
                  <a:lnTo>
                    <a:pt x="21234" y="226060"/>
                  </a:lnTo>
                  <a:lnTo>
                    <a:pt x="20891" y="224790"/>
                  </a:lnTo>
                  <a:lnTo>
                    <a:pt x="20447" y="224790"/>
                  </a:lnTo>
                  <a:lnTo>
                    <a:pt x="20993" y="223520"/>
                  </a:lnTo>
                  <a:lnTo>
                    <a:pt x="22415" y="223520"/>
                  </a:lnTo>
                  <a:lnTo>
                    <a:pt x="23075" y="222250"/>
                  </a:lnTo>
                  <a:lnTo>
                    <a:pt x="23723" y="223520"/>
                  </a:lnTo>
                  <a:lnTo>
                    <a:pt x="24434" y="223520"/>
                  </a:lnTo>
                  <a:lnTo>
                    <a:pt x="24650" y="224790"/>
                  </a:lnTo>
                  <a:lnTo>
                    <a:pt x="24650" y="213360"/>
                  </a:lnTo>
                  <a:lnTo>
                    <a:pt x="23329" y="213360"/>
                  </a:lnTo>
                  <a:lnTo>
                    <a:pt x="21869" y="214630"/>
                  </a:lnTo>
                  <a:lnTo>
                    <a:pt x="20967" y="215900"/>
                  </a:lnTo>
                  <a:lnTo>
                    <a:pt x="19748" y="217170"/>
                  </a:lnTo>
                  <a:lnTo>
                    <a:pt x="19545" y="217170"/>
                  </a:lnTo>
                  <a:lnTo>
                    <a:pt x="17907" y="214630"/>
                  </a:lnTo>
                  <a:lnTo>
                    <a:pt x="16802" y="215900"/>
                  </a:lnTo>
                  <a:lnTo>
                    <a:pt x="16471" y="218440"/>
                  </a:lnTo>
                  <a:lnTo>
                    <a:pt x="16408"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63" y="232410"/>
                  </a:lnTo>
                  <a:lnTo>
                    <a:pt x="9156" y="233680"/>
                  </a:lnTo>
                  <a:lnTo>
                    <a:pt x="7480" y="234950"/>
                  </a:lnTo>
                  <a:lnTo>
                    <a:pt x="7696" y="236220"/>
                  </a:lnTo>
                  <a:lnTo>
                    <a:pt x="6769" y="237490"/>
                  </a:lnTo>
                  <a:lnTo>
                    <a:pt x="5207" y="237490"/>
                  </a:lnTo>
                  <a:lnTo>
                    <a:pt x="4686" y="238760"/>
                  </a:lnTo>
                  <a:lnTo>
                    <a:pt x="3937" y="241300"/>
                  </a:lnTo>
                  <a:lnTo>
                    <a:pt x="1714" y="243840"/>
                  </a:lnTo>
                  <a:lnTo>
                    <a:pt x="800" y="243840"/>
                  </a:lnTo>
                  <a:lnTo>
                    <a:pt x="1193" y="245110"/>
                  </a:lnTo>
                  <a:lnTo>
                    <a:pt x="4064" y="245110"/>
                  </a:lnTo>
                  <a:lnTo>
                    <a:pt x="44500" y="245110"/>
                  </a:lnTo>
                  <a:lnTo>
                    <a:pt x="44500" y="243840"/>
                  </a:lnTo>
                  <a:lnTo>
                    <a:pt x="43903" y="241300"/>
                  </a:lnTo>
                  <a:lnTo>
                    <a:pt x="43726" y="240030"/>
                  </a:lnTo>
                  <a:lnTo>
                    <a:pt x="42659" y="240030"/>
                  </a:lnTo>
                  <a:lnTo>
                    <a:pt x="43180" y="238760"/>
                  </a:lnTo>
                  <a:lnTo>
                    <a:pt x="43662" y="238760"/>
                  </a:lnTo>
                  <a:lnTo>
                    <a:pt x="44030" y="236220"/>
                  </a:lnTo>
                  <a:lnTo>
                    <a:pt x="44018" y="234950"/>
                  </a:lnTo>
                  <a:lnTo>
                    <a:pt x="44145" y="233680"/>
                  </a:lnTo>
                  <a:lnTo>
                    <a:pt x="44259" y="232410"/>
                  </a:lnTo>
                  <a:lnTo>
                    <a:pt x="43624" y="232410"/>
                  </a:lnTo>
                  <a:lnTo>
                    <a:pt x="41135" y="232410"/>
                  </a:lnTo>
                  <a:lnTo>
                    <a:pt x="41135" y="234950"/>
                  </a:lnTo>
                  <a:lnTo>
                    <a:pt x="40538" y="234950"/>
                  </a:lnTo>
                  <a:lnTo>
                    <a:pt x="40551" y="233680"/>
                  </a:lnTo>
                  <a:lnTo>
                    <a:pt x="41071" y="233680"/>
                  </a:lnTo>
                  <a:lnTo>
                    <a:pt x="41135" y="234950"/>
                  </a:lnTo>
                  <a:lnTo>
                    <a:pt x="41135" y="232410"/>
                  </a:lnTo>
                  <a:lnTo>
                    <a:pt x="40640" y="232410"/>
                  </a:lnTo>
                  <a:lnTo>
                    <a:pt x="40894" y="231140"/>
                  </a:lnTo>
                  <a:lnTo>
                    <a:pt x="41363" y="231140"/>
                  </a:lnTo>
                  <a:lnTo>
                    <a:pt x="42506" y="229870"/>
                  </a:lnTo>
                  <a:lnTo>
                    <a:pt x="43167" y="229870"/>
                  </a:lnTo>
                  <a:lnTo>
                    <a:pt x="43865" y="231140"/>
                  </a:lnTo>
                  <a:lnTo>
                    <a:pt x="43624" y="232410"/>
                  </a:lnTo>
                  <a:lnTo>
                    <a:pt x="44704" y="231140"/>
                  </a:lnTo>
                  <a:lnTo>
                    <a:pt x="44716" y="229870"/>
                  </a:lnTo>
                  <a:close/>
                </a:path>
                <a:path w="333375" h="379729">
                  <a:moveTo>
                    <a:pt x="50495" y="279133"/>
                  </a:moveTo>
                  <a:lnTo>
                    <a:pt x="50355" y="278917"/>
                  </a:lnTo>
                  <a:lnTo>
                    <a:pt x="50152" y="278815"/>
                  </a:lnTo>
                  <a:lnTo>
                    <a:pt x="50139" y="279171"/>
                  </a:lnTo>
                  <a:lnTo>
                    <a:pt x="50266" y="279222"/>
                  </a:lnTo>
                  <a:lnTo>
                    <a:pt x="50482" y="279234"/>
                  </a:lnTo>
                  <a:close/>
                </a:path>
                <a:path w="333375" h="379729">
                  <a:moveTo>
                    <a:pt x="52184" y="294322"/>
                  </a:moveTo>
                  <a:lnTo>
                    <a:pt x="52019" y="294411"/>
                  </a:lnTo>
                  <a:lnTo>
                    <a:pt x="51790" y="294563"/>
                  </a:lnTo>
                  <a:lnTo>
                    <a:pt x="52070" y="294398"/>
                  </a:lnTo>
                  <a:close/>
                </a:path>
                <a:path w="333375" h="379729">
                  <a:moveTo>
                    <a:pt x="52895" y="295744"/>
                  </a:moveTo>
                  <a:lnTo>
                    <a:pt x="52844" y="296506"/>
                  </a:lnTo>
                  <a:lnTo>
                    <a:pt x="52844" y="296748"/>
                  </a:lnTo>
                  <a:lnTo>
                    <a:pt x="52870" y="296456"/>
                  </a:lnTo>
                  <a:lnTo>
                    <a:pt x="52895" y="295935"/>
                  </a:lnTo>
                  <a:lnTo>
                    <a:pt x="52895" y="295744"/>
                  </a:lnTo>
                  <a:close/>
                </a:path>
                <a:path w="333375" h="379729">
                  <a:moveTo>
                    <a:pt x="53073" y="294640"/>
                  </a:moveTo>
                  <a:lnTo>
                    <a:pt x="53035" y="295363"/>
                  </a:lnTo>
                  <a:lnTo>
                    <a:pt x="53073" y="294640"/>
                  </a:lnTo>
                  <a:close/>
                </a:path>
                <a:path w="333375" h="379729">
                  <a:moveTo>
                    <a:pt x="53213" y="297446"/>
                  </a:moveTo>
                  <a:lnTo>
                    <a:pt x="53200" y="297180"/>
                  </a:lnTo>
                  <a:lnTo>
                    <a:pt x="53213" y="297446"/>
                  </a:lnTo>
                  <a:close/>
                </a:path>
                <a:path w="333375" h="379729">
                  <a:moveTo>
                    <a:pt x="53263" y="296799"/>
                  </a:moveTo>
                  <a:lnTo>
                    <a:pt x="53200" y="295998"/>
                  </a:lnTo>
                  <a:lnTo>
                    <a:pt x="53174" y="295681"/>
                  </a:lnTo>
                  <a:lnTo>
                    <a:pt x="53136" y="295198"/>
                  </a:lnTo>
                  <a:lnTo>
                    <a:pt x="53174" y="295922"/>
                  </a:lnTo>
                  <a:lnTo>
                    <a:pt x="53200" y="296354"/>
                  </a:lnTo>
                  <a:lnTo>
                    <a:pt x="53225" y="296621"/>
                  </a:lnTo>
                  <a:lnTo>
                    <a:pt x="53263" y="296799"/>
                  </a:lnTo>
                  <a:close/>
                </a:path>
                <a:path w="333375" h="379729">
                  <a:moveTo>
                    <a:pt x="53530" y="297688"/>
                  </a:moveTo>
                  <a:lnTo>
                    <a:pt x="53517" y="297180"/>
                  </a:lnTo>
                  <a:lnTo>
                    <a:pt x="53530" y="297688"/>
                  </a:lnTo>
                  <a:close/>
                </a:path>
                <a:path w="333375" h="379729">
                  <a:moveTo>
                    <a:pt x="53619" y="295478"/>
                  </a:moveTo>
                  <a:lnTo>
                    <a:pt x="53581" y="295338"/>
                  </a:lnTo>
                  <a:lnTo>
                    <a:pt x="53467" y="295033"/>
                  </a:lnTo>
                  <a:lnTo>
                    <a:pt x="53555" y="295313"/>
                  </a:lnTo>
                  <a:lnTo>
                    <a:pt x="53619" y="295478"/>
                  </a:lnTo>
                  <a:close/>
                </a:path>
                <a:path w="333375" h="379729">
                  <a:moveTo>
                    <a:pt x="53682" y="372071"/>
                  </a:moveTo>
                  <a:close/>
                </a:path>
                <a:path w="333375" h="379729">
                  <a:moveTo>
                    <a:pt x="54051" y="294690"/>
                  </a:moveTo>
                  <a:close/>
                </a:path>
                <a:path w="333375" h="379729">
                  <a:moveTo>
                    <a:pt x="54838" y="294855"/>
                  </a:moveTo>
                  <a:lnTo>
                    <a:pt x="54775" y="294640"/>
                  </a:lnTo>
                  <a:lnTo>
                    <a:pt x="54838" y="294855"/>
                  </a:lnTo>
                  <a:close/>
                </a:path>
                <a:path w="333375" h="379729">
                  <a:moveTo>
                    <a:pt x="54965" y="294157"/>
                  </a:moveTo>
                  <a:lnTo>
                    <a:pt x="54825" y="294017"/>
                  </a:lnTo>
                  <a:lnTo>
                    <a:pt x="54914" y="294208"/>
                  </a:lnTo>
                  <a:close/>
                </a:path>
                <a:path w="333375" h="379729">
                  <a:moveTo>
                    <a:pt x="55270" y="295389"/>
                  </a:moveTo>
                  <a:close/>
                </a:path>
                <a:path w="333375" h="379729">
                  <a:moveTo>
                    <a:pt x="55295" y="295427"/>
                  </a:moveTo>
                  <a:close/>
                </a:path>
                <a:path w="333375" h="379729">
                  <a:moveTo>
                    <a:pt x="55308" y="295452"/>
                  </a:moveTo>
                  <a:close/>
                </a:path>
                <a:path w="333375" h="379729">
                  <a:moveTo>
                    <a:pt x="55880" y="292874"/>
                  </a:moveTo>
                  <a:lnTo>
                    <a:pt x="55346" y="292100"/>
                  </a:lnTo>
                  <a:lnTo>
                    <a:pt x="55880" y="292874"/>
                  </a:lnTo>
                  <a:close/>
                </a:path>
                <a:path w="333375" h="379729">
                  <a:moveTo>
                    <a:pt x="56273" y="293370"/>
                  </a:moveTo>
                  <a:lnTo>
                    <a:pt x="55880" y="292874"/>
                  </a:lnTo>
                  <a:lnTo>
                    <a:pt x="56222" y="293370"/>
                  </a:lnTo>
                  <a:close/>
                </a:path>
                <a:path w="333375" h="379729">
                  <a:moveTo>
                    <a:pt x="61607" y="280873"/>
                  </a:moveTo>
                  <a:lnTo>
                    <a:pt x="61252" y="280835"/>
                  </a:lnTo>
                  <a:lnTo>
                    <a:pt x="61226" y="280974"/>
                  </a:lnTo>
                  <a:lnTo>
                    <a:pt x="61163" y="281127"/>
                  </a:lnTo>
                  <a:lnTo>
                    <a:pt x="61239" y="281419"/>
                  </a:lnTo>
                  <a:lnTo>
                    <a:pt x="61391" y="281419"/>
                  </a:lnTo>
                  <a:lnTo>
                    <a:pt x="61493" y="281254"/>
                  </a:lnTo>
                  <a:lnTo>
                    <a:pt x="61569" y="281000"/>
                  </a:lnTo>
                  <a:lnTo>
                    <a:pt x="61607" y="280873"/>
                  </a:lnTo>
                  <a:close/>
                </a:path>
                <a:path w="333375" h="379729">
                  <a:moveTo>
                    <a:pt x="70370" y="266611"/>
                  </a:moveTo>
                  <a:lnTo>
                    <a:pt x="70281" y="266458"/>
                  </a:lnTo>
                  <a:lnTo>
                    <a:pt x="70256" y="266331"/>
                  </a:lnTo>
                  <a:lnTo>
                    <a:pt x="69964" y="266306"/>
                  </a:lnTo>
                  <a:lnTo>
                    <a:pt x="69850" y="266471"/>
                  </a:lnTo>
                  <a:lnTo>
                    <a:pt x="69799" y="266687"/>
                  </a:lnTo>
                  <a:lnTo>
                    <a:pt x="70002" y="266979"/>
                  </a:lnTo>
                  <a:lnTo>
                    <a:pt x="70218" y="266877"/>
                  </a:lnTo>
                  <a:lnTo>
                    <a:pt x="70332" y="266687"/>
                  </a:lnTo>
                  <a:close/>
                </a:path>
                <a:path w="333375" h="379729">
                  <a:moveTo>
                    <a:pt x="75057" y="260680"/>
                  </a:moveTo>
                  <a:lnTo>
                    <a:pt x="74942" y="260527"/>
                  </a:lnTo>
                  <a:lnTo>
                    <a:pt x="74752" y="260540"/>
                  </a:lnTo>
                  <a:lnTo>
                    <a:pt x="74625" y="260515"/>
                  </a:lnTo>
                  <a:lnTo>
                    <a:pt x="74599" y="260654"/>
                  </a:lnTo>
                  <a:lnTo>
                    <a:pt x="74536" y="260832"/>
                  </a:lnTo>
                  <a:lnTo>
                    <a:pt x="74625" y="260997"/>
                  </a:lnTo>
                  <a:lnTo>
                    <a:pt x="74828" y="260972"/>
                  </a:lnTo>
                  <a:lnTo>
                    <a:pt x="74955" y="260997"/>
                  </a:lnTo>
                  <a:lnTo>
                    <a:pt x="74968" y="260858"/>
                  </a:lnTo>
                  <a:lnTo>
                    <a:pt x="75057" y="260680"/>
                  </a:lnTo>
                  <a:close/>
                </a:path>
                <a:path w="333375" h="379729">
                  <a:moveTo>
                    <a:pt x="87096" y="240080"/>
                  </a:moveTo>
                  <a:lnTo>
                    <a:pt x="87007" y="239928"/>
                  </a:lnTo>
                  <a:lnTo>
                    <a:pt x="86702" y="239966"/>
                  </a:lnTo>
                  <a:lnTo>
                    <a:pt x="86588" y="240093"/>
                  </a:lnTo>
                  <a:lnTo>
                    <a:pt x="86461" y="240157"/>
                  </a:lnTo>
                  <a:lnTo>
                    <a:pt x="86614" y="240423"/>
                  </a:lnTo>
                  <a:lnTo>
                    <a:pt x="86868" y="240550"/>
                  </a:lnTo>
                  <a:lnTo>
                    <a:pt x="87020" y="240449"/>
                  </a:lnTo>
                  <a:lnTo>
                    <a:pt x="87096" y="240080"/>
                  </a:lnTo>
                  <a:close/>
                </a:path>
                <a:path w="333375" h="379729">
                  <a:moveTo>
                    <a:pt x="93243" y="229997"/>
                  </a:moveTo>
                  <a:lnTo>
                    <a:pt x="92976" y="229870"/>
                  </a:lnTo>
                  <a:lnTo>
                    <a:pt x="93218" y="230124"/>
                  </a:lnTo>
                  <a:lnTo>
                    <a:pt x="93243" y="229997"/>
                  </a:lnTo>
                  <a:close/>
                </a:path>
                <a:path w="333375" h="379729">
                  <a:moveTo>
                    <a:pt x="102323" y="215861"/>
                  </a:moveTo>
                  <a:lnTo>
                    <a:pt x="102184" y="215620"/>
                  </a:lnTo>
                  <a:lnTo>
                    <a:pt x="101930" y="215455"/>
                  </a:lnTo>
                  <a:lnTo>
                    <a:pt x="101803" y="215722"/>
                  </a:lnTo>
                  <a:lnTo>
                    <a:pt x="101917" y="215988"/>
                  </a:lnTo>
                  <a:lnTo>
                    <a:pt x="102082" y="216052"/>
                  </a:lnTo>
                  <a:lnTo>
                    <a:pt x="102209" y="215925"/>
                  </a:lnTo>
                  <a:close/>
                </a:path>
                <a:path w="333375" h="379729">
                  <a:moveTo>
                    <a:pt x="137248" y="255333"/>
                  </a:moveTo>
                  <a:lnTo>
                    <a:pt x="137198" y="254977"/>
                  </a:lnTo>
                  <a:lnTo>
                    <a:pt x="136982" y="254838"/>
                  </a:lnTo>
                  <a:lnTo>
                    <a:pt x="136779" y="254927"/>
                  </a:lnTo>
                  <a:lnTo>
                    <a:pt x="136652" y="255117"/>
                  </a:lnTo>
                  <a:lnTo>
                    <a:pt x="136550" y="255257"/>
                  </a:lnTo>
                  <a:lnTo>
                    <a:pt x="136652" y="255397"/>
                  </a:lnTo>
                  <a:lnTo>
                    <a:pt x="136969" y="255397"/>
                  </a:lnTo>
                  <a:lnTo>
                    <a:pt x="137109" y="255358"/>
                  </a:lnTo>
                  <a:lnTo>
                    <a:pt x="137248" y="255333"/>
                  </a:lnTo>
                  <a:close/>
                </a:path>
                <a:path w="333375" h="379729">
                  <a:moveTo>
                    <a:pt x="139903" y="250418"/>
                  </a:moveTo>
                  <a:lnTo>
                    <a:pt x="139763" y="250329"/>
                  </a:lnTo>
                  <a:lnTo>
                    <a:pt x="139598" y="250431"/>
                  </a:lnTo>
                  <a:lnTo>
                    <a:pt x="139471" y="250634"/>
                  </a:lnTo>
                  <a:lnTo>
                    <a:pt x="139369" y="250774"/>
                  </a:lnTo>
                  <a:lnTo>
                    <a:pt x="139661" y="250837"/>
                  </a:lnTo>
                  <a:lnTo>
                    <a:pt x="139890" y="250748"/>
                  </a:lnTo>
                  <a:lnTo>
                    <a:pt x="139903" y="250418"/>
                  </a:lnTo>
                  <a:close/>
                </a:path>
                <a:path w="333375" h="379729">
                  <a:moveTo>
                    <a:pt x="181317" y="109689"/>
                  </a:moveTo>
                  <a:lnTo>
                    <a:pt x="181254" y="109512"/>
                  </a:lnTo>
                  <a:lnTo>
                    <a:pt x="181076" y="109499"/>
                  </a:lnTo>
                  <a:lnTo>
                    <a:pt x="180936" y="109588"/>
                  </a:lnTo>
                  <a:lnTo>
                    <a:pt x="180898" y="109715"/>
                  </a:lnTo>
                  <a:lnTo>
                    <a:pt x="180898" y="110045"/>
                  </a:lnTo>
                  <a:lnTo>
                    <a:pt x="181025" y="110096"/>
                  </a:lnTo>
                  <a:lnTo>
                    <a:pt x="181165" y="109956"/>
                  </a:lnTo>
                  <a:lnTo>
                    <a:pt x="181317" y="109689"/>
                  </a:lnTo>
                  <a:close/>
                </a:path>
                <a:path w="333375" h="379729">
                  <a:moveTo>
                    <a:pt x="222999" y="128524"/>
                  </a:moveTo>
                  <a:close/>
                </a:path>
                <a:path w="333375" h="379729">
                  <a:moveTo>
                    <a:pt x="223659" y="128206"/>
                  </a:moveTo>
                  <a:lnTo>
                    <a:pt x="223469" y="128409"/>
                  </a:lnTo>
                  <a:lnTo>
                    <a:pt x="223227" y="128447"/>
                  </a:lnTo>
                  <a:lnTo>
                    <a:pt x="223012" y="128549"/>
                  </a:lnTo>
                  <a:lnTo>
                    <a:pt x="223342" y="129184"/>
                  </a:lnTo>
                  <a:lnTo>
                    <a:pt x="223481" y="128587"/>
                  </a:lnTo>
                  <a:lnTo>
                    <a:pt x="223659" y="128206"/>
                  </a:lnTo>
                  <a:close/>
                </a:path>
                <a:path w="333375" h="379729">
                  <a:moveTo>
                    <a:pt x="223812" y="127990"/>
                  </a:moveTo>
                  <a:lnTo>
                    <a:pt x="223697" y="128117"/>
                  </a:lnTo>
                  <a:lnTo>
                    <a:pt x="223812" y="127990"/>
                  </a:lnTo>
                  <a:close/>
                </a:path>
                <a:path w="333375" h="379729">
                  <a:moveTo>
                    <a:pt x="317665" y="1676"/>
                  </a:moveTo>
                  <a:lnTo>
                    <a:pt x="317588" y="1447"/>
                  </a:lnTo>
                  <a:lnTo>
                    <a:pt x="317449" y="1371"/>
                  </a:lnTo>
                  <a:lnTo>
                    <a:pt x="317284" y="1536"/>
                  </a:lnTo>
                  <a:lnTo>
                    <a:pt x="317360" y="1765"/>
                  </a:lnTo>
                  <a:lnTo>
                    <a:pt x="317500" y="1841"/>
                  </a:lnTo>
                  <a:lnTo>
                    <a:pt x="317665" y="1676"/>
                  </a:lnTo>
                  <a:close/>
                </a:path>
                <a:path w="333375" h="379729">
                  <a:moveTo>
                    <a:pt x="328155" y="3263"/>
                  </a:moveTo>
                  <a:lnTo>
                    <a:pt x="328104" y="3111"/>
                  </a:lnTo>
                  <a:lnTo>
                    <a:pt x="327901" y="3009"/>
                  </a:lnTo>
                  <a:lnTo>
                    <a:pt x="327812" y="3213"/>
                  </a:lnTo>
                  <a:lnTo>
                    <a:pt x="327863" y="3352"/>
                  </a:lnTo>
                  <a:lnTo>
                    <a:pt x="328053" y="3467"/>
                  </a:lnTo>
                  <a:lnTo>
                    <a:pt x="328155" y="3263"/>
                  </a:lnTo>
                  <a:close/>
                </a:path>
                <a:path w="333375" h="379729">
                  <a:moveTo>
                    <a:pt x="333375" y="9918"/>
                  </a:moveTo>
                  <a:lnTo>
                    <a:pt x="333336" y="9321"/>
                  </a:lnTo>
                  <a:lnTo>
                    <a:pt x="333133" y="9182"/>
                  </a:lnTo>
                  <a:lnTo>
                    <a:pt x="332828" y="9232"/>
                  </a:lnTo>
                  <a:lnTo>
                    <a:pt x="332308" y="9321"/>
                  </a:lnTo>
                  <a:lnTo>
                    <a:pt x="331724" y="9588"/>
                  </a:lnTo>
                  <a:lnTo>
                    <a:pt x="331812" y="10452"/>
                  </a:lnTo>
                  <a:lnTo>
                    <a:pt x="331558" y="10617"/>
                  </a:lnTo>
                  <a:lnTo>
                    <a:pt x="330161" y="10883"/>
                  </a:lnTo>
                  <a:lnTo>
                    <a:pt x="329793" y="11150"/>
                  </a:lnTo>
                  <a:lnTo>
                    <a:pt x="329692" y="11430"/>
                  </a:lnTo>
                  <a:lnTo>
                    <a:pt x="328396" y="11430"/>
                  </a:lnTo>
                  <a:lnTo>
                    <a:pt x="328968" y="10160"/>
                  </a:lnTo>
                  <a:lnTo>
                    <a:pt x="326415" y="10160"/>
                  </a:lnTo>
                  <a:lnTo>
                    <a:pt x="327418" y="8890"/>
                  </a:lnTo>
                  <a:lnTo>
                    <a:pt x="328993" y="7708"/>
                  </a:lnTo>
                  <a:lnTo>
                    <a:pt x="329247" y="8039"/>
                  </a:lnTo>
                  <a:lnTo>
                    <a:pt x="329349" y="8318"/>
                  </a:lnTo>
                  <a:lnTo>
                    <a:pt x="330060" y="7823"/>
                  </a:lnTo>
                  <a:lnTo>
                    <a:pt x="329971" y="7620"/>
                  </a:lnTo>
                  <a:lnTo>
                    <a:pt x="329704" y="7327"/>
                  </a:lnTo>
                  <a:lnTo>
                    <a:pt x="329501" y="7239"/>
                  </a:lnTo>
                  <a:lnTo>
                    <a:pt x="329171" y="7340"/>
                  </a:lnTo>
                  <a:lnTo>
                    <a:pt x="328968" y="7493"/>
                  </a:lnTo>
                  <a:lnTo>
                    <a:pt x="327787" y="6350"/>
                  </a:lnTo>
                  <a:lnTo>
                    <a:pt x="329006" y="6350"/>
                  </a:lnTo>
                  <a:lnTo>
                    <a:pt x="328536" y="5080"/>
                  </a:lnTo>
                  <a:lnTo>
                    <a:pt x="329044" y="3810"/>
                  </a:lnTo>
                  <a:lnTo>
                    <a:pt x="330771" y="3810"/>
                  </a:lnTo>
                  <a:lnTo>
                    <a:pt x="330454" y="2540"/>
                  </a:lnTo>
                  <a:lnTo>
                    <a:pt x="328739" y="3810"/>
                  </a:lnTo>
                  <a:lnTo>
                    <a:pt x="325678" y="3810"/>
                  </a:lnTo>
                  <a:lnTo>
                    <a:pt x="325005" y="2540"/>
                  </a:lnTo>
                  <a:lnTo>
                    <a:pt x="324726" y="2540"/>
                  </a:lnTo>
                  <a:lnTo>
                    <a:pt x="324726" y="15240"/>
                  </a:lnTo>
                  <a:lnTo>
                    <a:pt x="322986" y="15240"/>
                  </a:lnTo>
                  <a:lnTo>
                    <a:pt x="322897" y="16510"/>
                  </a:lnTo>
                  <a:lnTo>
                    <a:pt x="322491" y="16510"/>
                  </a:lnTo>
                  <a:lnTo>
                    <a:pt x="322643" y="15240"/>
                  </a:lnTo>
                  <a:lnTo>
                    <a:pt x="323329" y="13970"/>
                  </a:lnTo>
                  <a:lnTo>
                    <a:pt x="324205" y="13970"/>
                  </a:lnTo>
                  <a:lnTo>
                    <a:pt x="324726" y="15240"/>
                  </a:lnTo>
                  <a:lnTo>
                    <a:pt x="324726" y="2540"/>
                  </a:lnTo>
                  <a:lnTo>
                    <a:pt x="323303" y="2540"/>
                  </a:lnTo>
                  <a:lnTo>
                    <a:pt x="323303" y="5080"/>
                  </a:lnTo>
                  <a:lnTo>
                    <a:pt x="322872" y="5080"/>
                  </a:lnTo>
                  <a:lnTo>
                    <a:pt x="323011" y="3810"/>
                  </a:lnTo>
                  <a:lnTo>
                    <a:pt x="323253"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78" y="3810"/>
                  </a:lnTo>
                  <a:lnTo>
                    <a:pt x="296887" y="3810"/>
                  </a:lnTo>
                  <a:lnTo>
                    <a:pt x="294246" y="5080"/>
                  </a:lnTo>
                  <a:lnTo>
                    <a:pt x="292887" y="6350"/>
                  </a:lnTo>
                  <a:lnTo>
                    <a:pt x="291541"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75" y="29210"/>
                  </a:lnTo>
                  <a:lnTo>
                    <a:pt x="258889" y="31750"/>
                  </a:lnTo>
                  <a:lnTo>
                    <a:pt x="256552" y="31750"/>
                  </a:lnTo>
                  <a:lnTo>
                    <a:pt x="256120" y="34290"/>
                  </a:lnTo>
                  <a:lnTo>
                    <a:pt x="254304" y="35560"/>
                  </a:lnTo>
                  <a:lnTo>
                    <a:pt x="250215" y="39370"/>
                  </a:lnTo>
                  <a:lnTo>
                    <a:pt x="248462" y="39370"/>
                  </a:lnTo>
                  <a:lnTo>
                    <a:pt x="246354" y="43180"/>
                  </a:lnTo>
                  <a:lnTo>
                    <a:pt x="244881" y="44450"/>
                  </a:lnTo>
                  <a:lnTo>
                    <a:pt x="242354" y="45720"/>
                  </a:lnTo>
                  <a:lnTo>
                    <a:pt x="241503" y="45720"/>
                  </a:lnTo>
                  <a:lnTo>
                    <a:pt x="241922" y="48260"/>
                  </a:lnTo>
                  <a:lnTo>
                    <a:pt x="238975" y="48260"/>
                  </a:lnTo>
                  <a:lnTo>
                    <a:pt x="237324" y="52070"/>
                  </a:lnTo>
                  <a:lnTo>
                    <a:pt x="234772" y="53340"/>
                  </a:lnTo>
                  <a:lnTo>
                    <a:pt x="232397" y="55880"/>
                  </a:lnTo>
                  <a:lnTo>
                    <a:pt x="231381" y="57150"/>
                  </a:lnTo>
                  <a:lnTo>
                    <a:pt x="227774" y="58420"/>
                  </a:lnTo>
                  <a:lnTo>
                    <a:pt x="227545" y="60960"/>
                  </a:lnTo>
                  <a:lnTo>
                    <a:pt x="225425" y="62230"/>
                  </a:lnTo>
                  <a:lnTo>
                    <a:pt x="225425" y="63500"/>
                  </a:lnTo>
                  <a:lnTo>
                    <a:pt x="223367" y="63500"/>
                  </a:lnTo>
                  <a:lnTo>
                    <a:pt x="222910" y="64770"/>
                  </a:lnTo>
                  <a:lnTo>
                    <a:pt x="222681" y="66040"/>
                  </a:lnTo>
                  <a:lnTo>
                    <a:pt x="221957" y="67310"/>
                  </a:lnTo>
                  <a:lnTo>
                    <a:pt x="219989" y="68580"/>
                  </a:lnTo>
                  <a:lnTo>
                    <a:pt x="218490" y="68580"/>
                  </a:lnTo>
                  <a:lnTo>
                    <a:pt x="216941" y="71120"/>
                  </a:lnTo>
                  <a:lnTo>
                    <a:pt x="215734" y="72390"/>
                  </a:lnTo>
                  <a:lnTo>
                    <a:pt x="214960" y="74930"/>
                  </a:lnTo>
                  <a:lnTo>
                    <a:pt x="214058" y="74930"/>
                  </a:lnTo>
                  <a:lnTo>
                    <a:pt x="212229" y="76200"/>
                  </a:lnTo>
                  <a:lnTo>
                    <a:pt x="210172" y="78740"/>
                  </a:lnTo>
                  <a:lnTo>
                    <a:pt x="208470" y="80010"/>
                  </a:lnTo>
                  <a:lnTo>
                    <a:pt x="207327" y="81280"/>
                  </a:lnTo>
                  <a:lnTo>
                    <a:pt x="205422" y="83820"/>
                  </a:lnTo>
                  <a:lnTo>
                    <a:pt x="204876" y="85090"/>
                  </a:lnTo>
                  <a:lnTo>
                    <a:pt x="203962" y="86360"/>
                  </a:lnTo>
                  <a:lnTo>
                    <a:pt x="201498" y="87630"/>
                  </a:lnTo>
                  <a:lnTo>
                    <a:pt x="200304" y="88900"/>
                  </a:lnTo>
                  <a:lnTo>
                    <a:pt x="199796" y="90170"/>
                  </a:lnTo>
                  <a:lnTo>
                    <a:pt x="197345" y="90170"/>
                  </a:lnTo>
                  <a:lnTo>
                    <a:pt x="197993" y="91440"/>
                  </a:lnTo>
                  <a:lnTo>
                    <a:pt x="197904" y="93980"/>
                  </a:lnTo>
                  <a:lnTo>
                    <a:pt x="195478" y="93980"/>
                  </a:lnTo>
                  <a:lnTo>
                    <a:pt x="195262" y="95250"/>
                  </a:lnTo>
                  <a:lnTo>
                    <a:pt x="193408" y="96520"/>
                  </a:lnTo>
                  <a:lnTo>
                    <a:pt x="192760" y="97790"/>
                  </a:lnTo>
                  <a:lnTo>
                    <a:pt x="192354" y="99060"/>
                  </a:lnTo>
                  <a:lnTo>
                    <a:pt x="190055" y="100330"/>
                  </a:lnTo>
                  <a:lnTo>
                    <a:pt x="188785" y="100330"/>
                  </a:lnTo>
                  <a:lnTo>
                    <a:pt x="189611" y="101600"/>
                  </a:lnTo>
                  <a:lnTo>
                    <a:pt x="189496"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96"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34"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28" y="133350"/>
                  </a:lnTo>
                  <a:lnTo>
                    <a:pt x="163144" y="134620"/>
                  </a:lnTo>
                  <a:lnTo>
                    <a:pt x="162712" y="135890"/>
                  </a:lnTo>
                  <a:lnTo>
                    <a:pt x="162864" y="137160"/>
                  </a:lnTo>
                  <a:lnTo>
                    <a:pt x="159270" y="137160"/>
                  </a:lnTo>
                  <a:lnTo>
                    <a:pt x="159270" y="148590"/>
                  </a:lnTo>
                  <a:lnTo>
                    <a:pt x="159194" y="149860"/>
                  </a:lnTo>
                  <a:lnTo>
                    <a:pt x="158229" y="149860"/>
                  </a:lnTo>
                  <a:lnTo>
                    <a:pt x="158394" y="148590"/>
                  </a:lnTo>
                  <a:lnTo>
                    <a:pt x="159270" y="148590"/>
                  </a:lnTo>
                  <a:lnTo>
                    <a:pt x="159270" y="137160"/>
                  </a:lnTo>
                  <a:lnTo>
                    <a:pt x="158851" y="137160"/>
                  </a:lnTo>
                  <a:lnTo>
                    <a:pt x="159092" y="140970"/>
                  </a:lnTo>
                  <a:lnTo>
                    <a:pt x="156210" y="140970"/>
                  </a:lnTo>
                  <a:lnTo>
                    <a:pt x="156032" y="144780"/>
                  </a:lnTo>
                  <a:lnTo>
                    <a:pt x="154787" y="146050"/>
                  </a:lnTo>
                  <a:lnTo>
                    <a:pt x="152069"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55"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69"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66" y="170180"/>
                  </a:lnTo>
                  <a:lnTo>
                    <a:pt x="134277" y="171450"/>
                  </a:lnTo>
                  <a:lnTo>
                    <a:pt x="133248" y="171450"/>
                  </a:lnTo>
                  <a:lnTo>
                    <a:pt x="134239" y="173990"/>
                  </a:lnTo>
                  <a:lnTo>
                    <a:pt x="133273" y="175260"/>
                  </a:lnTo>
                  <a:lnTo>
                    <a:pt x="130822" y="176530"/>
                  </a:lnTo>
                  <a:lnTo>
                    <a:pt x="129857" y="179070"/>
                  </a:lnTo>
                  <a:lnTo>
                    <a:pt x="127190" y="180340"/>
                  </a:lnTo>
                  <a:lnTo>
                    <a:pt x="126936" y="180340"/>
                  </a:lnTo>
                  <a:lnTo>
                    <a:pt x="126873" y="182880"/>
                  </a:lnTo>
                  <a:lnTo>
                    <a:pt x="125831" y="185420"/>
                  </a:lnTo>
                  <a:lnTo>
                    <a:pt x="126009" y="187960"/>
                  </a:lnTo>
                  <a:lnTo>
                    <a:pt x="124587" y="187960"/>
                  </a:lnTo>
                  <a:lnTo>
                    <a:pt x="124002" y="189230"/>
                  </a:lnTo>
                  <a:lnTo>
                    <a:pt x="123228" y="187960"/>
                  </a:lnTo>
                  <a:lnTo>
                    <a:pt x="123037" y="189865"/>
                  </a:lnTo>
                  <a:lnTo>
                    <a:pt x="123037" y="269240"/>
                  </a:lnTo>
                  <a:lnTo>
                    <a:pt x="122669" y="269240"/>
                  </a:lnTo>
                  <a:lnTo>
                    <a:pt x="122872" y="267970"/>
                  </a:lnTo>
                  <a:lnTo>
                    <a:pt x="123037" y="269240"/>
                  </a:lnTo>
                  <a:lnTo>
                    <a:pt x="123037" y="189865"/>
                  </a:lnTo>
                  <a:lnTo>
                    <a:pt x="122974" y="190500"/>
                  </a:lnTo>
                  <a:lnTo>
                    <a:pt x="121780" y="190500"/>
                  </a:lnTo>
                  <a:lnTo>
                    <a:pt x="120370" y="191770"/>
                  </a:lnTo>
                  <a:lnTo>
                    <a:pt x="119684" y="191770"/>
                  </a:lnTo>
                  <a:lnTo>
                    <a:pt x="118198" y="193040"/>
                  </a:lnTo>
                  <a:lnTo>
                    <a:pt x="119761" y="193040"/>
                  </a:lnTo>
                  <a:lnTo>
                    <a:pt x="119176" y="194310"/>
                  </a:lnTo>
                  <a:lnTo>
                    <a:pt x="118033" y="195580"/>
                  </a:lnTo>
                  <a:lnTo>
                    <a:pt x="117906" y="198120"/>
                  </a:lnTo>
                  <a:lnTo>
                    <a:pt x="115493" y="198120"/>
                  </a:lnTo>
                  <a:lnTo>
                    <a:pt x="116395" y="200660"/>
                  </a:lnTo>
                  <a:lnTo>
                    <a:pt x="115404" y="200660"/>
                  </a:lnTo>
                  <a:lnTo>
                    <a:pt x="113461" y="201930"/>
                  </a:lnTo>
                  <a:lnTo>
                    <a:pt x="113017" y="203200"/>
                  </a:lnTo>
                  <a:lnTo>
                    <a:pt x="111671" y="204470"/>
                  </a:lnTo>
                  <a:lnTo>
                    <a:pt x="110871" y="205740"/>
                  </a:lnTo>
                  <a:lnTo>
                    <a:pt x="110642" y="207010"/>
                  </a:lnTo>
                  <a:lnTo>
                    <a:pt x="108140" y="207010"/>
                  </a:lnTo>
                  <a:lnTo>
                    <a:pt x="108813" y="208280"/>
                  </a:lnTo>
                  <a:lnTo>
                    <a:pt x="107721" y="210820"/>
                  </a:lnTo>
                  <a:lnTo>
                    <a:pt x="107391" y="212090"/>
                  </a:lnTo>
                  <a:lnTo>
                    <a:pt x="105460" y="212090"/>
                  </a:lnTo>
                  <a:lnTo>
                    <a:pt x="105956" y="214630"/>
                  </a:lnTo>
                  <a:lnTo>
                    <a:pt x="104559" y="215900"/>
                  </a:lnTo>
                  <a:lnTo>
                    <a:pt x="104787" y="217170"/>
                  </a:lnTo>
                  <a:lnTo>
                    <a:pt x="100672" y="217170"/>
                  </a:lnTo>
                  <a:lnTo>
                    <a:pt x="100291" y="218440"/>
                  </a:lnTo>
                  <a:lnTo>
                    <a:pt x="101041" y="222250"/>
                  </a:lnTo>
                  <a:lnTo>
                    <a:pt x="99339" y="222250"/>
                  </a:lnTo>
                  <a:lnTo>
                    <a:pt x="99415" y="226060"/>
                  </a:lnTo>
                  <a:lnTo>
                    <a:pt x="94805" y="226060"/>
                  </a:lnTo>
                  <a:lnTo>
                    <a:pt x="96177" y="228600"/>
                  </a:lnTo>
                  <a:lnTo>
                    <a:pt x="96151" y="229870"/>
                  </a:lnTo>
                  <a:lnTo>
                    <a:pt x="95402" y="229870"/>
                  </a:lnTo>
                  <a:lnTo>
                    <a:pt x="95694" y="231140"/>
                  </a:lnTo>
                  <a:lnTo>
                    <a:pt x="93281" y="230009"/>
                  </a:lnTo>
                  <a:lnTo>
                    <a:pt x="93294" y="230212"/>
                  </a:lnTo>
                  <a:lnTo>
                    <a:pt x="94170" y="231140"/>
                  </a:lnTo>
                  <a:lnTo>
                    <a:pt x="93535" y="233680"/>
                  </a:lnTo>
                  <a:lnTo>
                    <a:pt x="93294" y="230212"/>
                  </a:lnTo>
                  <a:lnTo>
                    <a:pt x="92697" y="232410"/>
                  </a:lnTo>
                  <a:lnTo>
                    <a:pt x="92824" y="232410"/>
                  </a:lnTo>
                  <a:lnTo>
                    <a:pt x="93472" y="234950"/>
                  </a:lnTo>
                  <a:lnTo>
                    <a:pt x="93510" y="236220"/>
                  </a:lnTo>
                  <a:lnTo>
                    <a:pt x="89954" y="237490"/>
                  </a:lnTo>
                  <a:lnTo>
                    <a:pt x="89496" y="237490"/>
                  </a:lnTo>
                  <a:lnTo>
                    <a:pt x="89052" y="242570"/>
                  </a:lnTo>
                  <a:lnTo>
                    <a:pt x="86563" y="241300"/>
                  </a:lnTo>
                  <a:lnTo>
                    <a:pt x="85801" y="242570"/>
                  </a:lnTo>
                  <a:lnTo>
                    <a:pt x="86004" y="243840"/>
                  </a:lnTo>
                  <a:lnTo>
                    <a:pt x="85318" y="245110"/>
                  </a:lnTo>
                  <a:lnTo>
                    <a:pt x="85178" y="247650"/>
                  </a:lnTo>
                  <a:lnTo>
                    <a:pt x="84251" y="248920"/>
                  </a:lnTo>
                  <a:lnTo>
                    <a:pt x="82092" y="248920"/>
                  </a:lnTo>
                  <a:lnTo>
                    <a:pt x="82804" y="251460"/>
                  </a:lnTo>
                  <a:lnTo>
                    <a:pt x="81267" y="251460"/>
                  </a:lnTo>
                  <a:lnTo>
                    <a:pt x="81254" y="251193"/>
                  </a:lnTo>
                  <a:lnTo>
                    <a:pt x="81216" y="251066"/>
                  </a:lnTo>
                  <a:lnTo>
                    <a:pt x="80848" y="251015"/>
                  </a:lnTo>
                  <a:lnTo>
                    <a:pt x="80848" y="251155"/>
                  </a:lnTo>
                  <a:lnTo>
                    <a:pt x="80797" y="251307"/>
                  </a:lnTo>
                  <a:lnTo>
                    <a:pt x="80962" y="251637"/>
                  </a:lnTo>
                  <a:lnTo>
                    <a:pt x="81165" y="251625"/>
                  </a:lnTo>
                  <a:lnTo>
                    <a:pt x="80645" y="254000"/>
                  </a:lnTo>
                  <a:lnTo>
                    <a:pt x="79502" y="252730"/>
                  </a:lnTo>
                  <a:lnTo>
                    <a:pt x="79489" y="254000"/>
                  </a:lnTo>
                  <a:lnTo>
                    <a:pt x="77330" y="255270"/>
                  </a:lnTo>
                  <a:lnTo>
                    <a:pt x="79019" y="256540"/>
                  </a:lnTo>
                  <a:lnTo>
                    <a:pt x="78879" y="256540"/>
                  </a:lnTo>
                  <a:lnTo>
                    <a:pt x="77482" y="257810"/>
                  </a:lnTo>
                  <a:lnTo>
                    <a:pt x="76771" y="259080"/>
                  </a:lnTo>
                  <a:lnTo>
                    <a:pt x="76288" y="261620"/>
                  </a:lnTo>
                  <a:lnTo>
                    <a:pt x="74803" y="261620"/>
                  </a:lnTo>
                  <a:lnTo>
                    <a:pt x="74523" y="262890"/>
                  </a:lnTo>
                  <a:lnTo>
                    <a:pt x="72936" y="265430"/>
                  </a:lnTo>
                  <a:lnTo>
                    <a:pt x="72453" y="266700"/>
                  </a:lnTo>
                  <a:lnTo>
                    <a:pt x="69494" y="269240"/>
                  </a:lnTo>
                  <a:lnTo>
                    <a:pt x="69532" y="271780"/>
                  </a:lnTo>
                  <a:lnTo>
                    <a:pt x="69151" y="270510"/>
                  </a:lnTo>
                  <a:lnTo>
                    <a:pt x="67894" y="273050"/>
                  </a:lnTo>
                  <a:lnTo>
                    <a:pt x="67398" y="274320"/>
                  </a:lnTo>
                  <a:lnTo>
                    <a:pt x="66319" y="274320"/>
                  </a:lnTo>
                  <a:lnTo>
                    <a:pt x="68237" y="275590"/>
                  </a:lnTo>
                  <a:lnTo>
                    <a:pt x="66446" y="275590"/>
                  </a:lnTo>
                  <a:lnTo>
                    <a:pt x="66446" y="364490"/>
                  </a:lnTo>
                  <a:lnTo>
                    <a:pt x="65684" y="365760"/>
                  </a:lnTo>
                  <a:lnTo>
                    <a:pt x="65036" y="365760"/>
                  </a:lnTo>
                  <a:lnTo>
                    <a:pt x="65786" y="364490"/>
                  </a:lnTo>
                  <a:lnTo>
                    <a:pt x="66446" y="364490"/>
                  </a:lnTo>
                  <a:lnTo>
                    <a:pt x="66446" y="275590"/>
                  </a:lnTo>
                  <a:lnTo>
                    <a:pt x="65836" y="275590"/>
                  </a:lnTo>
                  <a:lnTo>
                    <a:pt x="65303" y="276860"/>
                  </a:lnTo>
                  <a:lnTo>
                    <a:pt x="65455" y="278130"/>
                  </a:lnTo>
                  <a:lnTo>
                    <a:pt x="64033" y="279400"/>
                  </a:lnTo>
                  <a:lnTo>
                    <a:pt x="64630" y="281940"/>
                  </a:lnTo>
                  <a:lnTo>
                    <a:pt x="64312" y="281940"/>
                  </a:lnTo>
                  <a:lnTo>
                    <a:pt x="62128" y="280670"/>
                  </a:lnTo>
                  <a:lnTo>
                    <a:pt x="60325" y="283210"/>
                  </a:lnTo>
                  <a:lnTo>
                    <a:pt x="61810" y="285750"/>
                  </a:lnTo>
                  <a:lnTo>
                    <a:pt x="60210" y="287020"/>
                  </a:lnTo>
                  <a:lnTo>
                    <a:pt x="60236" y="288290"/>
                  </a:lnTo>
                  <a:lnTo>
                    <a:pt x="59550" y="288290"/>
                  </a:lnTo>
                  <a:lnTo>
                    <a:pt x="58166" y="289560"/>
                  </a:lnTo>
                  <a:lnTo>
                    <a:pt x="57950" y="289560"/>
                  </a:lnTo>
                  <a:lnTo>
                    <a:pt x="58229" y="290830"/>
                  </a:lnTo>
                  <a:lnTo>
                    <a:pt x="58635" y="292100"/>
                  </a:lnTo>
                  <a:lnTo>
                    <a:pt x="56972" y="292100"/>
                  </a:lnTo>
                  <a:lnTo>
                    <a:pt x="56845" y="292544"/>
                  </a:lnTo>
                  <a:lnTo>
                    <a:pt x="56845" y="370840"/>
                  </a:lnTo>
                  <a:lnTo>
                    <a:pt x="56781" y="372110"/>
                  </a:lnTo>
                  <a:lnTo>
                    <a:pt x="55638" y="372110"/>
                  </a:lnTo>
                  <a:lnTo>
                    <a:pt x="54889" y="373380"/>
                  </a:lnTo>
                  <a:lnTo>
                    <a:pt x="53924" y="374650"/>
                  </a:lnTo>
                  <a:lnTo>
                    <a:pt x="52730" y="374650"/>
                  </a:lnTo>
                  <a:lnTo>
                    <a:pt x="52400" y="375920"/>
                  </a:lnTo>
                  <a:lnTo>
                    <a:pt x="51269" y="375920"/>
                  </a:lnTo>
                  <a:lnTo>
                    <a:pt x="51523" y="374650"/>
                  </a:lnTo>
                  <a:lnTo>
                    <a:pt x="50723" y="374650"/>
                  </a:lnTo>
                  <a:lnTo>
                    <a:pt x="51358" y="373380"/>
                  </a:lnTo>
                  <a:lnTo>
                    <a:pt x="51803" y="372110"/>
                  </a:lnTo>
                  <a:lnTo>
                    <a:pt x="52070" y="373380"/>
                  </a:lnTo>
                  <a:lnTo>
                    <a:pt x="53251" y="373380"/>
                  </a:lnTo>
                  <a:lnTo>
                    <a:pt x="53543" y="372110"/>
                  </a:lnTo>
                  <a:lnTo>
                    <a:pt x="53403" y="372110"/>
                  </a:lnTo>
                  <a:lnTo>
                    <a:pt x="53454" y="370840"/>
                  </a:lnTo>
                  <a:lnTo>
                    <a:pt x="53644" y="370840"/>
                  </a:lnTo>
                  <a:lnTo>
                    <a:pt x="53682" y="372071"/>
                  </a:lnTo>
                  <a:lnTo>
                    <a:pt x="54864" y="370840"/>
                  </a:lnTo>
                  <a:lnTo>
                    <a:pt x="56845" y="370840"/>
                  </a:lnTo>
                  <a:lnTo>
                    <a:pt x="56845" y="292544"/>
                  </a:lnTo>
                  <a:lnTo>
                    <a:pt x="56603" y="293370"/>
                  </a:lnTo>
                  <a:lnTo>
                    <a:pt x="56807" y="294640"/>
                  </a:lnTo>
                  <a:lnTo>
                    <a:pt x="55499" y="294640"/>
                  </a:lnTo>
                  <a:lnTo>
                    <a:pt x="55600" y="295440"/>
                  </a:lnTo>
                  <a:lnTo>
                    <a:pt x="55791" y="295910"/>
                  </a:lnTo>
                  <a:lnTo>
                    <a:pt x="55651" y="295910"/>
                  </a:lnTo>
                  <a:lnTo>
                    <a:pt x="55562" y="295363"/>
                  </a:lnTo>
                  <a:lnTo>
                    <a:pt x="55257" y="294640"/>
                  </a:lnTo>
                  <a:lnTo>
                    <a:pt x="55587" y="295910"/>
                  </a:lnTo>
                  <a:lnTo>
                    <a:pt x="55232" y="295427"/>
                  </a:lnTo>
                  <a:lnTo>
                    <a:pt x="55118" y="295211"/>
                  </a:lnTo>
                  <a:lnTo>
                    <a:pt x="54940" y="294982"/>
                  </a:lnTo>
                  <a:lnTo>
                    <a:pt x="54838" y="294855"/>
                  </a:lnTo>
                  <a:lnTo>
                    <a:pt x="55143" y="295910"/>
                  </a:lnTo>
                  <a:lnTo>
                    <a:pt x="55587" y="298450"/>
                  </a:lnTo>
                  <a:lnTo>
                    <a:pt x="54051" y="294690"/>
                  </a:lnTo>
                  <a:lnTo>
                    <a:pt x="54127" y="295224"/>
                  </a:lnTo>
                  <a:lnTo>
                    <a:pt x="54076" y="295097"/>
                  </a:lnTo>
                  <a:lnTo>
                    <a:pt x="53886" y="294767"/>
                  </a:lnTo>
                  <a:lnTo>
                    <a:pt x="53975" y="295021"/>
                  </a:lnTo>
                  <a:lnTo>
                    <a:pt x="54076" y="295211"/>
                  </a:lnTo>
                  <a:lnTo>
                    <a:pt x="54152" y="295338"/>
                  </a:lnTo>
                  <a:lnTo>
                    <a:pt x="54457" y="297180"/>
                  </a:lnTo>
                  <a:lnTo>
                    <a:pt x="53911" y="295910"/>
                  </a:lnTo>
                  <a:lnTo>
                    <a:pt x="54038" y="297180"/>
                  </a:lnTo>
                  <a:lnTo>
                    <a:pt x="53530" y="295910"/>
                  </a:lnTo>
                  <a:lnTo>
                    <a:pt x="53860" y="297180"/>
                  </a:lnTo>
                  <a:lnTo>
                    <a:pt x="53594" y="297180"/>
                  </a:lnTo>
                  <a:lnTo>
                    <a:pt x="53886" y="298450"/>
                  </a:lnTo>
                  <a:lnTo>
                    <a:pt x="53873" y="299720"/>
                  </a:lnTo>
                  <a:lnTo>
                    <a:pt x="53530" y="297688"/>
                  </a:lnTo>
                  <a:lnTo>
                    <a:pt x="53606" y="300990"/>
                  </a:lnTo>
                  <a:lnTo>
                    <a:pt x="53479" y="299720"/>
                  </a:lnTo>
                  <a:lnTo>
                    <a:pt x="53213" y="297446"/>
                  </a:lnTo>
                  <a:lnTo>
                    <a:pt x="53251" y="299720"/>
                  </a:lnTo>
                  <a:lnTo>
                    <a:pt x="53035" y="295363"/>
                  </a:lnTo>
                  <a:lnTo>
                    <a:pt x="52844" y="299720"/>
                  </a:lnTo>
                  <a:lnTo>
                    <a:pt x="52844" y="297180"/>
                  </a:lnTo>
                  <a:lnTo>
                    <a:pt x="52793" y="298450"/>
                  </a:lnTo>
                  <a:lnTo>
                    <a:pt x="52692" y="299720"/>
                  </a:lnTo>
                  <a:lnTo>
                    <a:pt x="52539" y="299720"/>
                  </a:lnTo>
                  <a:lnTo>
                    <a:pt x="52679" y="297180"/>
                  </a:lnTo>
                  <a:lnTo>
                    <a:pt x="52336" y="299720"/>
                  </a:lnTo>
                  <a:lnTo>
                    <a:pt x="52006" y="298450"/>
                  </a:lnTo>
                  <a:lnTo>
                    <a:pt x="51638" y="298450"/>
                  </a:lnTo>
                  <a:lnTo>
                    <a:pt x="51422" y="297180"/>
                  </a:lnTo>
                  <a:lnTo>
                    <a:pt x="51714" y="297180"/>
                  </a:lnTo>
                  <a:lnTo>
                    <a:pt x="52717" y="295910"/>
                  </a:lnTo>
                  <a:lnTo>
                    <a:pt x="52514" y="295910"/>
                  </a:lnTo>
                  <a:lnTo>
                    <a:pt x="51879" y="294640"/>
                  </a:lnTo>
                  <a:lnTo>
                    <a:pt x="51460" y="294640"/>
                  </a:lnTo>
                  <a:lnTo>
                    <a:pt x="50990" y="293370"/>
                  </a:lnTo>
                  <a:lnTo>
                    <a:pt x="51181" y="292100"/>
                  </a:lnTo>
                  <a:lnTo>
                    <a:pt x="51358" y="290830"/>
                  </a:lnTo>
                  <a:lnTo>
                    <a:pt x="50609" y="290830"/>
                  </a:lnTo>
                  <a:lnTo>
                    <a:pt x="50558" y="292100"/>
                  </a:lnTo>
                  <a:lnTo>
                    <a:pt x="50507" y="377190"/>
                  </a:lnTo>
                  <a:lnTo>
                    <a:pt x="50380" y="377190"/>
                  </a:lnTo>
                  <a:lnTo>
                    <a:pt x="50406" y="375920"/>
                  </a:lnTo>
                  <a:lnTo>
                    <a:pt x="50507" y="377190"/>
                  </a:lnTo>
                  <a:lnTo>
                    <a:pt x="50507" y="292100"/>
                  </a:lnTo>
                  <a:lnTo>
                    <a:pt x="50393" y="291846"/>
                  </a:lnTo>
                  <a:lnTo>
                    <a:pt x="50393" y="299720"/>
                  </a:lnTo>
                  <a:lnTo>
                    <a:pt x="50038" y="299720"/>
                  </a:lnTo>
                  <a:lnTo>
                    <a:pt x="50279" y="298450"/>
                  </a:lnTo>
                  <a:lnTo>
                    <a:pt x="50393" y="299720"/>
                  </a:lnTo>
                  <a:lnTo>
                    <a:pt x="50393" y="291846"/>
                  </a:lnTo>
                  <a:lnTo>
                    <a:pt x="50101" y="290830"/>
                  </a:lnTo>
                  <a:lnTo>
                    <a:pt x="51015" y="289560"/>
                  </a:lnTo>
                  <a:lnTo>
                    <a:pt x="50063" y="287020"/>
                  </a:lnTo>
                  <a:lnTo>
                    <a:pt x="51320" y="287020"/>
                  </a:lnTo>
                  <a:lnTo>
                    <a:pt x="51155" y="285750"/>
                  </a:lnTo>
                  <a:lnTo>
                    <a:pt x="51422" y="285750"/>
                  </a:lnTo>
                  <a:lnTo>
                    <a:pt x="50444" y="284480"/>
                  </a:lnTo>
                  <a:lnTo>
                    <a:pt x="49784" y="283210"/>
                  </a:lnTo>
                  <a:lnTo>
                    <a:pt x="49301" y="283210"/>
                  </a:lnTo>
                  <a:lnTo>
                    <a:pt x="50342" y="281940"/>
                  </a:lnTo>
                  <a:lnTo>
                    <a:pt x="50203" y="280670"/>
                  </a:lnTo>
                  <a:lnTo>
                    <a:pt x="48869" y="279400"/>
                  </a:lnTo>
                  <a:lnTo>
                    <a:pt x="48590" y="278130"/>
                  </a:lnTo>
                  <a:lnTo>
                    <a:pt x="49885" y="276860"/>
                  </a:lnTo>
                  <a:lnTo>
                    <a:pt x="49085" y="275590"/>
                  </a:lnTo>
                  <a:lnTo>
                    <a:pt x="48856" y="273050"/>
                  </a:lnTo>
                  <a:lnTo>
                    <a:pt x="48552" y="273050"/>
                  </a:lnTo>
                  <a:lnTo>
                    <a:pt x="47307" y="270510"/>
                  </a:lnTo>
                  <a:lnTo>
                    <a:pt x="47231" y="269240"/>
                  </a:lnTo>
                  <a:lnTo>
                    <a:pt x="49047" y="269240"/>
                  </a:lnTo>
                  <a:lnTo>
                    <a:pt x="48666" y="267970"/>
                  </a:lnTo>
                  <a:lnTo>
                    <a:pt x="47929" y="265430"/>
                  </a:lnTo>
                  <a:lnTo>
                    <a:pt x="45885" y="264160"/>
                  </a:lnTo>
                  <a:lnTo>
                    <a:pt x="47752" y="264160"/>
                  </a:lnTo>
                  <a:lnTo>
                    <a:pt x="48056" y="262890"/>
                  </a:lnTo>
                  <a:lnTo>
                    <a:pt x="48348" y="261620"/>
                  </a:lnTo>
                  <a:lnTo>
                    <a:pt x="47028" y="261620"/>
                  </a:lnTo>
                  <a:lnTo>
                    <a:pt x="47891" y="260350"/>
                  </a:lnTo>
                  <a:lnTo>
                    <a:pt x="46634" y="257810"/>
                  </a:lnTo>
                  <a:lnTo>
                    <a:pt x="45656" y="256654"/>
                  </a:lnTo>
                  <a:lnTo>
                    <a:pt x="45656" y="264160"/>
                  </a:lnTo>
                  <a:lnTo>
                    <a:pt x="45059" y="264160"/>
                  </a:lnTo>
                  <a:lnTo>
                    <a:pt x="44627" y="262991"/>
                  </a:lnTo>
                  <a:lnTo>
                    <a:pt x="44615" y="265430"/>
                  </a:lnTo>
                  <a:lnTo>
                    <a:pt x="44157" y="265430"/>
                  </a:lnTo>
                  <a:lnTo>
                    <a:pt x="43662" y="264160"/>
                  </a:lnTo>
                  <a:lnTo>
                    <a:pt x="43116" y="264160"/>
                  </a:lnTo>
                  <a:lnTo>
                    <a:pt x="44589" y="263017"/>
                  </a:lnTo>
                  <a:lnTo>
                    <a:pt x="44589" y="262890"/>
                  </a:lnTo>
                  <a:lnTo>
                    <a:pt x="44767" y="262890"/>
                  </a:lnTo>
                  <a:lnTo>
                    <a:pt x="45529" y="262890"/>
                  </a:lnTo>
                  <a:lnTo>
                    <a:pt x="45656" y="264160"/>
                  </a:lnTo>
                  <a:lnTo>
                    <a:pt x="45656" y="256654"/>
                  </a:lnTo>
                  <a:lnTo>
                    <a:pt x="46761" y="255270"/>
                  </a:lnTo>
                  <a:lnTo>
                    <a:pt x="46532" y="254000"/>
                  </a:lnTo>
                  <a:lnTo>
                    <a:pt x="46926" y="254000"/>
                  </a:lnTo>
                  <a:lnTo>
                    <a:pt x="46050" y="251460"/>
                  </a:lnTo>
                  <a:lnTo>
                    <a:pt x="44970" y="250190"/>
                  </a:lnTo>
                  <a:lnTo>
                    <a:pt x="44970" y="248920"/>
                  </a:lnTo>
                  <a:lnTo>
                    <a:pt x="46037" y="248920"/>
                  </a:lnTo>
                  <a:lnTo>
                    <a:pt x="46609"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43" y="351790"/>
                  </a:lnTo>
                  <a:lnTo>
                    <a:pt x="13512" y="353060"/>
                  </a:lnTo>
                  <a:lnTo>
                    <a:pt x="13436" y="351790"/>
                  </a:lnTo>
                  <a:lnTo>
                    <a:pt x="12954" y="350520"/>
                  </a:lnTo>
                  <a:lnTo>
                    <a:pt x="13538" y="349250"/>
                  </a:lnTo>
                  <a:lnTo>
                    <a:pt x="13766" y="350520"/>
                  </a:lnTo>
                  <a:lnTo>
                    <a:pt x="14020" y="350520"/>
                  </a:lnTo>
                  <a:lnTo>
                    <a:pt x="14033" y="351790"/>
                  </a:lnTo>
                  <a:lnTo>
                    <a:pt x="14033" y="246380"/>
                  </a:lnTo>
                  <a:lnTo>
                    <a:pt x="7708" y="246380"/>
                  </a:lnTo>
                  <a:lnTo>
                    <a:pt x="7708" y="314960"/>
                  </a:lnTo>
                  <a:lnTo>
                    <a:pt x="7708" y="316230"/>
                  </a:lnTo>
                  <a:lnTo>
                    <a:pt x="7188" y="316230"/>
                  </a:lnTo>
                  <a:lnTo>
                    <a:pt x="7048" y="314960"/>
                  </a:lnTo>
                  <a:lnTo>
                    <a:pt x="7708" y="314960"/>
                  </a:lnTo>
                  <a:lnTo>
                    <a:pt x="7708" y="246380"/>
                  </a:lnTo>
                  <a:lnTo>
                    <a:pt x="5740" y="246380"/>
                  </a:lnTo>
                  <a:lnTo>
                    <a:pt x="5740" y="247650"/>
                  </a:lnTo>
                  <a:lnTo>
                    <a:pt x="5664" y="248348"/>
                  </a:lnTo>
                  <a:lnTo>
                    <a:pt x="5664" y="283210"/>
                  </a:lnTo>
                  <a:lnTo>
                    <a:pt x="5511" y="284480"/>
                  </a:lnTo>
                  <a:lnTo>
                    <a:pt x="5207" y="284480"/>
                  </a:lnTo>
                  <a:lnTo>
                    <a:pt x="5130" y="283210"/>
                  </a:lnTo>
                  <a:lnTo>
                    <a:pt x="5664" y="283210"/>
                  </a:lnTo>
                  <a:lnTo>
                    <a:pt x="5664" y="248348"/>
                  </a:lnTo>
                  <a:lnTo>
                    <a:pt x="5600" y="248920"/>
                  </a:lnTo>
                  <a:lnTo>
                    <a:pt x="4203" y="248920"/>
                  </a:lnTo>
                  <a:lnTo>
                    <a:pt x="4114" y="247650"/>
                  </a:lnTo>
                  <a:lnTo>
                    <a:pt x="5740" y="247650"/>
                  </a:lnTo>
                  <a:lnTo>
                    <a:pt x="5740" y="246380"/>
                  </a:lnTo>
                  <a:lnTo>
                    <a:pt x="3048" y="246380"/>
                  </a:lnTo>
                  <a:lnTo>
                    <a:pt x="3225" y="247650"/>
                  </a:lnTo>
                  <a:lnTo>
                    <a:pt x="2781" y="247650"/>
                  </a:lnTo>
                  <a:lnTo>
                    <a:pt x="2273" y="247650"/>
                  </a:lnTo>
                  <a:lnTo>
                    <a:pt x="1333" y="248920"/>
                  </a:lnTo>
                  <a:lnTo>
                    <a:pt x="2743" y="252730"/>
                  </a:lnTo>
                  <a:lnTo>
                    <a:pt x="2019" y="254000"/>
                  </a:lnTo>
                  <a:lnTo>
                    <a:pt x="2578" y="256540"/>
                  </a:lnTo>
                  <a:lnTo>
                    <a:pt x="1549" y="256540"/>
                  </a:lnTo>
                  <a:lnTo>
                    <a:pt x="2374" y="257810"/>
                  </a:lnTo>
                  <a:lnTo>
                    <a:pt x="3263" y="257810"/>
                  </a:lnTo>
                  <a:lnTo>
                    <a:pt x="3365" y="259080"/>
                  </a:lnTo>
                  <a:lnTo>
                    <a:pt x="2438" y="259080"/>
                  </a:lnTo>
                  <a:lnTo>
                    <a:pt x="2997" y="262890"/>
                  </a:lnTo>
                  <a:lnTo>
                    <a:pt x="0" y="264160"/>
                  </a:lnTo>
                  <a:lnTo>
                    <a:pt x="101" y="265430"/>
                  </a:lnTo>
                  <a:lnTo>
                    <a:pt x="1028" y="265430"/>
                  </a:lnTo>
                  <a:lnTo>
                    <a:pt x="1587" y="266700"/>
                  </a:lnTo>
                  <a:lnTo>
                    <a:pt x="2565" y="265430"/>
                  </a:lnTo>
                  <a:lnTo>
                    <a:pt x="2870" y="265430"/>
                  </a:lnTo>
                  <a:lnTo>
                    <a:pt x="3225" y="266700"/>
                  </a:lnTo>
                  <a:lnTo>
                    <a:pt x="1587" y="266700"/>
                  </a:lnTo>
                  <a:lnTo>
                    <a:pt x="1295" y="266700"/>
                  </a:lnTo>
                  <a:lnTo>
                    <a:pt x="2667" y="269240"/>
                  </a:lnTo>
                  <a:lnTo>
                    <a:pt x="2019"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67" y="283210"/>
                  </a:lnTo>
                  <a:lnTo>
                    <a:pt x="1168" y="287020"/>
                  </a:lnTo>
                  <a:lnTo>
                    <a:pt x="1638" y="288290"/>
                  </a:lnTo>
                  <a:lnTo>
                    <a:pt x="3276" y="289560"/>
                  </a:lnTo>
                  <a:lnTo>
                    <a:pt x="3505" y="290830"/>
                  </a:lnTo>
                  <a:lnTo>
                    <a:pt x="2095" y="292100"/>
                  </a:lnTo>
                  <a:lnTo>
                    <a:pt x="3175" y="293370"/>
                  </a:lnTo>
                  <a:lnTo>
                    <a:pt x="2095" y="295910"/>
                  </a:lnTo>
                  <a:lnTo>
                    <a:pt x="2222" y="297180"/>
                  </a:lnTo>
                  <a:lnTo>
                    <a:pt x="3327" y="300990"/>
                  </a:lnTo>
                  <a:lnTo>
                    <a:pt x="4165" y="306070"/>
                  </a:lnTo>
                  <a:lnTo>
                    <a:pt x="3987" y="309880"/>
                  </a:lnTo>
                  <a:lnTo>
                    <a:pt x="4572" y="312420"/>
                  </a:lnTo>
                  <a:lnTo>
                    <a:pt x="5245" y="314960"/>
                  </a:lnTo>
                  <a:lnTo>
                    <a:pt x="5130" y="318770"/>
                  </a:lnTo>
                  <a:lnTo>
                    <a:pt x="6629" y="321310"/>
                  </a:lnTo>
                  <a:lnTo>
                    <a:pt x="6667" y="322580"/>
                  </a:lnTo>
                  <a:lnTo>
                    <a:pt x="6540" y="325120"/>
                  </a:lnTo>
                  <a:lnTo>
                    <a:pt x="6477" y="328930"/>
                  </a:lnTo>
                  <a:lnTo>
                    <a:pt x="7251" y="330200"/>
                  </a:lnTo>
                  <a:lnTo>
                    <a:pt x="6794" y="331470"/>
                  </a:lnTo>
                  <a:lnTo>
                    <a:pt x="7010" y="332740"/>
                  </a:lnTo>
                  <a:lnTo>
                    <a:pt x="7823" y="334010"/>
                  </a:lnTo>
                  <a:lnTo>
                    <a:pt x="10147" y="339090"/>
                  </a:lnTo>
                  <a:lnTo>
                    <a:pt x="10337" y="340360"/>
                  </a:lnTo>
                  <a:lnTo>
                    <a:pt x="9410" y="344170"/>
                  </a:lnTo>
                  <a:lnTo>
                    <a:pt x="9156" y="345440"/>
                  </a:lnTo>
                  <a:lnTo>
                    <a:pt x="8851" y="345440"/>
                  </a:lnTo>
                  <a:lnTo>
                    <a:pt x="8801" y="346710"/>
                  </a:lnTo>
                  <a:lnTo>
                    <a:pt x="9563" y="347980"/>
                  </a:lnTo>
                  <a:lnTo>
                    <a:pt x="10248" y="347980"/>
                  </a:lnTo>
                  <a:lnTo>
                    <a:pt x="11760" y="346710"/>
                  </a:lnTo>
                  <a:lnTo>
                    <a:pt x="11747" y="347980"/>
                  </a:lnTo>
                  <a:lnTo>
                    <a:pt x="11404" y="350520"/>
                  </a:lnTo>
                  <a:lnTo>
                    <a:pt x="10960" y="351790"/>
                  </a:lnTo>
                  <a:lnTo>
                    <a:pt x="12712" y="354330"/>
                  </a:lnTo>
                  <a:lnTo>
                    <a:pt x="12954" y="355600"/>
                  </a:lnTo>
                  <a:lnTo>
                    <a:pt x="13449" y="356870"/>
                  </a:lnTo>
                  <a:lnTo>
                    <a:pt x="13639" y="358140"/>
                  </a:lnTo>
                  <a:lnTo>
                    <a:pt x="14986" y="358140"/>
                  </a:lnTo>
                  <a:lnTo>
                    <a:pt x="14986" y="359410"/>
                  </a:lnTo>
                  <a:lnTo>
                    <a:pt x="15760" y="360680"/>
                  </a:lnTo>
                  <a:lnTo>
                    <a:pt x="16802" y="361950"/>
                  </a:lnTo>
                  <a:lnTo>
                    <a:pt x="18415"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58" y="373380"/>
                  </a:lnTo>
                  <a:lnTo>
                    <a:pt x="25260" y="374650"/>
                  </a:lnTo>
                  <a:lnTo>
                    <a:pt x="27178" y="374650"/>
                  </a:lnTo>
                  <a:lnTo>
                    <a:pt x="28409" y="375920"/>
                  </a:lnTo>
                  <a:lnTo>
                    <a:pt x="29616" y="373380"/>
                  </a:lnTo>
                  <a:lnTo>
                    <a:pt x="29921" y="373380"/>
                  </a:lnTo>
                  <a:lnTo>
                    <a:pt x="30594" y="374650"/>
                  </a:lnTo>
                  <a:lnTo>
                    <a:pt x="30149" y="375920"/>
                  </a:lnTo>
                  <a:lnTo>
                    <a:pt x="31013" y="377190"/>
                  </a:lnTo>
                  <a:lnTo>
                    <a:pt x="33909" y="377190"/>
                  </a:lnTo>
                  <a:lnTo>
                    <a:pt x="34937" y="378460"/>
                  </a:lnTo>
                  <a:lnTo>
                    <a:pt x="35560" y="378460"/>
                  </a:lnTo>
                  <a:lnTo>
                    <a:pt x="36360" y="379730"/>
                  </a:lnTo>
                  <a:lnTo>
                    <a:pt x="40652" y="379730"/>
                  </a:lnTo>
                  <a:lnTo>
                    <a:pt x="40474" y="378460"/>
                  </a:lnTo>
                  <a:lnTo>
                    <a:pt x="41211" y="377253"/>
                  </a:lnTo>
                  <a:lnTo>
                    <a:pt x="42468"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42" y="370840"/>
                  </a:lnTo>
                  <a:lnTo>
                    <a:pt x="62268" y="369570"/>
                  </a:lnTo>
                  <a:lnTo>
                    <a:pt x="62750"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99" y="358140"/>
                  </a:lnTo>
                  <a:lnTo>
                    <a:pt x="75069" y="358140"/>
                  </a:lnTo>
                  <a:lnTo>
                    <a:pt x="75514" y="356870"/>
                  </a:lnTo>
                  <a:lnTo>
                    <a:pt x="75692" y="356870"/>
                  </a:lnTo>
                  <a:lnTo>
                    <a:pt x="76212" y="355600"/>
                  </a:lnTo>
                  <a:lnTo>
                    <a:pt x="76492" y="355600"/>
                  </a:lnTo>
                  <a:lnTo>
                    <a:pt x="76987" y="354330"/>
                  </a:lnTo>
                  <a:lnTo>
                    <a:pt x="77647" y="353060"/>
                  </a:lnTo>
                  <a:lnTo>
                    <a:pt x="78955" y="350520"/>
                  </a:lnTo>
                  <a:lnTo>
                    <a:pt x="79908" y="349250"/>
                  </a:lnTo>
                  <a:lnTo>
                    <a:pt x="80302" y="346710"/>
                  </a:lnTo>
                  <a:lnTo>
                    <a:pt x="81165" y="346710"/>
                  </a:lnTo>
                  <a:lnTo>
                    <a:pt x="81457" y="347980"/>
                  </a:lnTo>
                  <a:lnTo>
                    <a:pt x="81991" y="346710"/>
                  </a:lnTo>
                  <a:lnTo>
                    <a:pt x="82511" y="345440"/>
                  </a:lnTo>
                  <a:lnTo>
                    <a:pt x="82791" y="344170"/>
                  </a:lnTo>
                  <a:lnTo>
                    <a:pt x="84353" y="345440"/>
                  </a:lnTo>
                  <a:lnTo>
                    <a:pt x="84391" y="344170"/>
                  </a:lnTo>
                  <a:lnTo>
                    <a:pt x="84467" y="341630"/>
                  </a:lnTo>
                  <a:lnTo>
                    <a:pt x="85026" y="339090"/>
                  </a:lnTo>
                  <a:lnTo>
                    <a:pt x="87172" y="339090"/>
                  </a:lnTo>
                  <a:lnTo>
                    <a:pt x="88506" y="335280"/>
                  </a:lnTo>
                  <a:lnTo>
                    <a:pt x="90208" y="335280"/>
                  </a:lnTo>
                  <a:lnTo>
                    <a:pt x="90208" y="332740"/>
                  </a:lnTo>
                  <a:lnTo>
                    <a:pt x="90881" y="331470"/>
                  </a:lnTo>
                  <a:lnTo>
                    <a:pt x="92760" y="328930"/>
                  </a:lnTo>
                  <a:lnTo>
                    <a:pt x="93395" y="327660"/>
                  </a:lnTo>
                  <a:lnTo>
                    <a:pt x="93624" y="327660"/>
                  </a:lnTo>
                  <a:lnTo>
                    <a:pt x="93675" y="326390"/>
                  </a:lnTo>
                  <a:lnTo>
                    <a:pt x="94259" y="326390"/>
                  </a:lnTo>
                  <a:lnTo>
                    <a:pt x="94818" y="325120"/>
                  </a:lnTo>
                  <a:lnTo>
                    <a:pt x="95351" y="323850"/>
                  </a:lnTo>
                  <a:lnTo>
                    <a:pt x="96253" y="322580"/>
                  </a:lnTo>
                  <a:lnTo>
                    <a:pt x="97015" y="322580"/>
                  </a:lnTo>
                  <a:lnTo>
                    <a:pt x="96761" y="321310"/>
                  </a:lnTo>
                  <a:lnTo>
                    <a:pt x="97116" y="320040"/>
                  </a:lnTo>
                  <a:lnTo>
                    <a:pt x="99263" y="317500"/>
                  </a:lnTo>
                  <a:lnTo>
                    <a:pt x="99796" y="316230"/>
                  </a:lnTo>
                  <a:lnTo>
                    <a:pt x="100342" y="314960"/>
                  </a:lnTo>
                  <a:lnTo>
                    <a:pt x="100888" y="313690"/>
                  </a:lnTo>
                  <a:lnTo>
                    <a:pt x="101460" y="312420"/>
                  </a:lnTo>
                  <a:lnTo>
                    <a:pt x="102362" y="311150"/>
                  </a:lnTo>
                  <a:lnTo>
                    <a:pt x="101866" y="309880"/>
                  </a:lnTo>
                  <a:lnTo>
                    <a:pt x="103809" y="309880"/>
                  </a:lnTo>
                  <a:lnTo>
                    <a:pt x="103543" y="307340"/>
                  </a:lnTo>
                  <a:lnTo>
                    <a:pt x="104063" y="307340"/>
                  </a:lnTo>
                  <a:lnTo>
                    <a:pt x="105105" y="306070"/>
                  </a:lnTo>
                  <a:lnTo>
                    <a:pt x="105537" y="306070"/>
                  </a:lnTo>
                  <a:lnTo>
                    <a:pt x="105778" y="304800"/>
                  </a:lnTo>
                  <a:lnTo>
                    <a:pt x="107391" y="304800"/>
                  </a:lnTo>
                  <a:lnTo>
                    <a:pt x="107137" y="303530"/>
                  </a:lnTo>
                  <a:lnTo>
                    <a:pt x="107035" y="302260"/>
                  </a:lnTo>
                  <a:lnTo>
                    <a:pt x="107454"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64" y="294640"/>
                  </a:lnTo>
                  <a:lnTo>
                    <a:pt x="113004" y="294640"/>
                  </a:lnTo>
                  <a:lnTo>
                    <a:pt x="112864" y="293370"/>
                  </a:lnTo>
                  <a:lnTo>
                    <a:pt x="113169" y="293370"/>
                  </a:lnTo>
                  <a:lnTo>
                    <a:pt x="113093" y="292874"/>
                  </a:lnTo>
                  <a:lnTo>
                    <a:pt x="113042" y="290830"/>
                  </a:lnTo>
                  <a:lnTo>
                    <a:pt x="114160" y="290830"/>
                  </a:lnTo>
                  <a:lnTo>
                    <a:pt x="115887" y="289560"/>
                  </a:lnTo>
                  <a:lnTo>
                    <a:pt x="115404" y="289560"/>
                  </a:lnTo>
                  <a:lnTo>
                    <a:pt x="115074" y="288290"/>
                  </a:lnTo>
                  <a:lnTo>
                    <a:pt x="115023" y="287020"/>
                  </a:lnTo>
                  <a:lnTo>
                    <a:pt x="115201" y="287020"/>
                  </a:lnTo>
                  <a:lnTo>
                    <a:pt x="115379" y="288290"/>
                  </a:lnTo>
                  <a:lnTo>
                    <a:pt x="116370" y="288290"/>
                  </a:lnTo>
                  <a:lnTo>
                    <a:pt x="116217" y="287020"/>
                  </a:lnTo>
                  <a:lnTo>
                    <a:pt x="116928" y="287020"/>
                  </a:lnTo>
                  <a:lnTo>
                    <a:pt x="116547" y="285750"/>
                  </a:lnTo>
                  <a:lnTo>
                    <a:pt x="117906" y="285750"/>
                  </a:lnTo>
                  <a:lnTo>
                    <a:pt x="118694" y="284480"/>
                  </a:lnTo>
                  <a:lnTo>
                    <a:pt x="118211" y="284480"/>
                  </a:lnTo>
                  <a:lnTo>
                    <a:pt x="118148" y="284302"/>
                  </a:lnTo>
                  <a:lnTo>
                    <a:pt x="117754" y="283210"/>
                  </a:lnTo>
                  <a:lnTo>
                    <a:pt x="118325" y="283210"/>
                  </a:lnTo>
                  <a:lnTo>
                    <a:pt x="118148" y="284302"/>
                  </a:lnTo>
                  <a:lnTo>
                    <a:pt x="118948" y="283210"/>
                  </a:lnTo>
                  <a:lnTo>
                    <a:pt x="119113" y="283210"/>
                  </a:lnTo>
                  <a:lnTo>
                    <a:pt x="119075" y="281940"/>
                  </a:lnTo>
                  <a:lnTo>
                    <a:pt x="120624" y="281940"/>
                  </a:lnTo>
                  <a:lnTo>
                    <a:pt x="120980" y="280670"/>
                  </a:lnTo>
                  <a:lnTo>
                    <a:pt x="122174" y="280670"/>
                  </a:lnTo>
                  <a:lnTo>
                    <a:pt x="122034" y="279400"/>
                  </a:lnTo>
                  <a:lnTo>
                    <a:pt x="121488" y="278130"/>
                  </a:lnTo>
                  <a:lnTo>
                    <a:pt x="121843"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92" y="269240"/>
                  </a:lnTo>
                  <a:lnTo>
                    <a:pt x="126606" y="267970"/>
                  </a:lnTo>
                  <a:lnTo>
                    <a:pt x="126568" y="269240"/>
                  </a:lnTo>
                  <a:lnTo>
                    <a:pt x="127050" y="269240"/>
                  </a:lnTo>
                  <a:lnTo>
                    <a:pt x="126873" y="270510"/>
                  </a:lnTo>
                  <a:lnTo>
                    <a:pt x="127241" y="270510"/>
                  </a:lnTo>
                  <a:lnTo>
                    <a:pt x="127342" y="269240"/>
                  </a:lnTo>
                  <a:lnTo>
                    <a:pt x="127393" y="267970"/>
                  </a:lnTo>
                  <a:lnTo>
                    <a:pt x="128231" y="267970"/>
                  </a:lnTo>
                  <a:lnTo>
                    <a:pt x="128790"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73" y="259080"/>
                  </a:lnTo>
                  <a:lnTo>
                    <a:pt x="133146" y="257810"/>
                  </a:lnTo>
                  <a:lnTo>
                    <a:pt x="133350" y="257810"/>
                  </a:lnTo>
                  <a:lnTo>
                    <a:pt x="134912" y="256540"/>
                  </a:lnTo>
                  <a:lnTo>
                    <a:pt x="135432" y="255270"/>
                  </a:lnTo>
                  <a:lnTo>
                    <a:pt x="136296" y="254000"/>
                  </a:lnTo>
                  <a:lnTo>
                    <a:pt x="135496" y="254000"/>
                  </a:lnTo>
                  <a:lnTo>
                    <a:pt x="135826" y="252730"/>
                  </a:lnTo>
                  <a:lnTo>
                    <a:pt x="136982" y="252730"/>
                  </a:lnTo>
                  <a:lnTo>
                    <a:pt x="137502" y="251460"/>
                  </a:lnTo>
                  <a:lnTo>
                    <a:pt x="137922" y="251460"/>
                  </a:lnTo>
                  <a:lnTo>
                    <a:pt x="139522" y="250190"/>
                  </a:lnTo>
                  <a:lnTo>
                    <a:pt x="140881" y="248920"/>
                  </a:lnTo>
                  <a:lnTo>
                    <a:pt x="140296" y="247650"/>
                  </a:lnTo>
                  <a:lnTo>
                    <a:pt x="140728" y="246380"/>
                  </a:lnTo>
                  <a:lnTo>
                    <a:pt x="142443" y="245110"/>
                  </a:lnTo>
                  <a:lnTo>
                    <a:pt x="143738" y="243840"/>
                  </a:lnTo>
                  <a:lnTo>
                    <a:pt x="143256" y="242570"/>
                  </a:lnTo>
                  <a:lnTo>
                    <a:pt x="143383" y="242570"/>
                  </a:lnTo>
                  <a:lnTo>
                    <a:pt x="143471" y="241300"/>
                  </a:lnTo>
                  <a:lnTo>
                    <a:pt x="144932" y="241300"/>
                  </a:lnTo>
                  <a:lnTo>
                    <a:pt x="145300" y="240030"/>
                  </a:lnTo>
                  <a:lnTo>
                    <a:pt x="146672" y="240030"/>
                  </a:lnTo>
                  <a:lnTo>
                    <a:pt x="146850" y="238760"/>
                  </a:lnTo>
                  <a:lnTo>
                    <a:pt x="146240" y="238760"/>
                  </a:lnTo>
                  <a:lnTo>
                    <a:pt x="146469" y="237490"/>
                  </a:lnTo>
                  <a:lnTo>
                    <a:pt x="146824" y="236220"/>
                  </a:lnTo>
                  <a:lnTo>
                    <a:pt x="147421" y="234950"/>
                  </a:lnTo>
                  <a:lnTo>
                    <a:pt x="149606" y="234950"/>
                  </a:lnTo>
                  <a:lnTo>
                    <a:pt x="149072" y="233680"/>
                  </a:lnTo>
                  <a:lnTo>
                    <a:pt x="149136" y="232410"/>
                  </a:lnTo>
                  <a:lnTo>
                    <a:pt x="150215" y="232410"/>
                  </a:lnTo>
                  <a:lnTo>
                    <a:pt x="152006" y="231140"/>
                  </a:lnTo>
                  <a:lnTo>
                    <a:pt x="152196" y="231140"/>
                  </a:lnTo>
                  <a:lnTo>
                    <a:pt x="151663" y="229870"/>
                  </a:lnTo>
                  <a:lnTo>
                    <a:pt x="151498" y="228600"/>
                  </a:lnTo>
                  <a:lnTo>
                    <a:pt x="152514" y="228600"/>
                  </a:lnTo>
                  <a:lnTo>
                    <a:pt x="153009" y="227330"/>
                  </a:lnTo>
                  <a:lnTo>
                    <a:pt x="154724" y="227330"/>
                  </a:lnTo>
                  <a:lnTo>
                    <a:pt x="154914" y="226060"/>
                  </a:lnTo>
                  <a:lnTo>
                    <a:pt x="154813" y="224790"/>
                  </a:lnTo>
                  <a:lnTo>
                    <a:pt x="155244" y="224790"/>
                  </a:lnTo>
                  <a:lnTo>
                    <a:pt x="155651" y="223520"/>
                  </a:lnTo>
                  <a:lnTo>
                    <a:pt x="156629" y="223520"/>
                  </a:lnTo>
                  <a:lnTo>
                    <a:pt x="156933" y="222250"/>
                  </a:lnTo>
                  <a:lnTo>
                    <a:pt x="157530" y="220980"/>
                  </a:lnTo>
                  <a:lnTo>
                    <a:pt x="158051" y="219710"/>
                  </a:lnTo>
                  <a:lnTo>
                    <a:pt x="158940" y="219710"/>
                  </a:lnTo>
                  <a:lnTo>
                    <a:pt x="160007" y="217170"/>
                  </a:lnTo>
                  <a:lnTo>
                    <a:pt x="160502" y="215900"/>
                  </a:lnTo>
                  <a:lnTo>
                    <a:pt x="161785" y="215900"/>
                  </a:lnTo>
                  <a:lnTo>
                    <a:pt x="162941" y="212090"/>
                  </a:lnTo>
                  <a:lnTo>
                    <a:pt x="164287" y="210820"/>
                  </a:lnTo>
                  <a:lnTo>
                    <a:pt x="165328" y="208280"/>
                  </a:lnTo>
                  <a:lnTo>
                    <a:pt x="167284" y="207010"/>
                  </a:lnTo>
                  <a:lnTo>
                    <a:pt x="166865" y="205740"/>
                  </a:lnTo>
                  <a:lnTo>
                    <a:pt x="167132" y="205740"/>
                  </a:lnTo>
                  <a:lnTo>
                    <a:pt x="167601" y="204470"/>
                  </a:lnTo>
                  <a:lnTo>
                    <a:pt x="169684" y="203200"/>
                  </a:lnTo>
                  <a:lnTo>
                    <a:pt x="170738" y="200660"/>
                  </a:lnTo>
                  <a:lnTo>
                    <a:pt x="171970" y="198120"/>
                  </a:lnTo>
                  <a:lnTo>
                    <a:pt x="172593" y="198120"/>
                  </a:lnTo>
                  <a:lnTo>
                    <a:pt x="173062" y="196850"/>
                  </a:lnTo>
                  <a:lnTo>
                    <a:pt x="172923" y="194310"/>
                  </a:lnTo>
                  <a:lnTo>
                    <a:pt x="173977" y="195580"/>
                  </a:lnTo>
                  <a:lnTo>
                    <a:pt x="175323" y="194310"/>
                  </a:lnTo>
                  <a:lnTo>
                    <a:pt x="176022" y="194310"/>
                  </a:lnTo>
                  <a:lnTo>
                    <a:pt x="175755" y="193040"/>
                  </a:lnTo>
                  <a:lnTo>
                    <a:pt x="177101"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38" y="182880"/>
                  </a:lnTo>
                  <a:lnTo>
                    <a:pt x="183400" y="181610"/>
                  </a:lnTo>
                  <a:lnTo>
                    <a:pt x="184861" y="181610"/>
                  </a:lnTo>
                  <a:lnTo>
                    <a:pt x="184899" y="180340"/>
                  </a:lnTo>
                  <a:lnTo>
                    <a:pt x="185140" y="179070"/>
                  </a:lnTo>
                  <a:lnTo>
                    <a:pt x="186867" y="179070"/>
                  </a:lnTo>
                  <a:lnTo>
                    <a:pt x="186905"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21" y="167640"/>
                  </a:lnTo>
                  <a:lnTo>
                    <a:pt x="194716" y="166370"/>
                  </a:lnTo>
                  <a:lnTo>
                    <a:pt x="193916" y="166370"/>
                  </a:lnTo>
                  <a:lnTo>
                    <a:pt x="194652" y="165100"/>
                  </a:lnTo>
                  <a:lnTo>
                    <a:pt x="194741" y="166370"/>
                  </a:lnTo>
                  <a:lnTo>
                    <a:pt x="195211" y="166370"/>
                  </a:lnTo>
                  <a:lnTo>
                    <a:pt x="196062" y="165100"/>
                  </a:lnTo>
                  <a:lnTo>
                    <a:pt x="195859" y="165100"/>
                  </a:lnTo>
                  <a:lnTo>
                    <a:pt x="196049" y="163830"/>
                  </a:lnTo>
                  <a:lnTo>
                    <a:pt x="196430" y="163830"/>
                  </a:lnTo>
                  <a:lnTo>
                    <a:pt x="196811" y="162560"/>
                  </a:lnTo>
                  <a:lnTo>
                    <a:pt x="197154" y="162560"/>
                  </a:lnTo>
                  <a:lnTo>
                    <a:pt x="197408" y="161290"/>
                  </a:lnTo>
                  <a:lnTo>
                    <a:pt x="198678" y="160020"/>
                  </a:lnTo>
                  <a:lnTo>
                    <a:pt x="199694" y="160020"/>
                  </a:lnTo>
                  <a:lnTo>
                    <a:pt x="199910" y="158750"/>
                  </a:lnTo>
                  <a:lnTo>
                    <a:pt x="200596" y="157480"/>
                  </a:lnTo>
                  <a:lnTo>
                    <a:pt x="201269" y="157480"/>
                  </a:lnTo>
                  <a:lnTo>
                    <a:pt x="201739" y="154940"/>
                  </a:lnTo>
                  <a:lnTo>
                    <a:pt x="203530" y="154940"/>
                  </a:lnTo>
                  <a:lnTo>
                    <a:pt x="203466" y="153670"/>
                  </a:lnTo>
                  <a:lnTo>
                    <a:pt x="204139" y="153670"/>
                  </a:lnTo>
                  <a:lnTo>
                    <a:pt x="204203" y="152400"/>
                  </a:lnTo>
                  <a:lnTo>
                    <a:pt x="205498" y="152400"/>
                  </a:lnTo>
                  <a:lnTo>
                    <a:pt x="205003" y="151130"/>
                  </a:lnTo>
                  <a:lnTo>
                    <a:pt x="205092" y="149860"/>
                  </a:lnTo>
                  <a:lnTo>
                    <a:pt x="206527"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82" y="139700"/>
                  </a:lnTo>
                  <a:lnTo>
                    <a:pt x="213271" y="139700"/>
                  </a:lnTo>
                  <a:lnTo>
                    <a:pt x="213779" y="138430"/>
                  </a:lnTo>
                  <a:lnTo>
                    <a:pt x="215798" y="138430"/>
                  </a:lnTo>
                  <a:lnTo>
                    <a:pt x="216166" y="137160"/>
                  </a:lnTo>
                  <a:lnTo>
                    <a:pt x="216662" y="135890"/>
                  </a:lnTo>
                  <a:lnTo>
                    <a:pt x="217093" y="134620"/>
                  </a:lnTo>
                  <a:lnTo>
                    <a:pt x="217678" y="133350"/>
                  </a:lnTo>
                  <a:lnTo>
                    <a:pt x="219773" y="133350"/>
                  </a:lnTo>
                  <a:lnTo>
                    <a:pt x="220319" y="132080"/>
                  </a:lnTo>
                  <a:lnTo>
                    <a:pt x="221767" y="129540"/>
                  </a:lnTo>
                  <a:lnTo>
                    <a:pt x="222148" y="128270"/>
                  </a:lnTo>
                  <a:lnTo>
                    <a:pt x="222885" y="128270"/>
                  </a:lnTo>
                  <a:lnTo>
                    <a:pt x="222885" y="127000"/>
                  </a:lnTo>
                  <a:lnTo>
                    <a:pt x="224688" y="127000"/>
                  </a:lnTo>
                  <a:lnTo>
                    <a:pt x="224828" y="125730"/>
                  </a:lnTo>
                  <a:lnTo>
                    <a:pt x="225056" y="125730"/>
                  </a:lnTo>
                  <a:lnTo>
                    <a:pt x="225348" y="124460"/>
                  </a:lnTo>
                  <a:lnTo>
                    <a:pt x="225602" y="124460"/>
                  </a:lnTo>
                  <a:lnTo>
                    <a:pt x="226504" y="123190"/>
                  </a:lnTo>
                  <a:lnTo>
                    <a:pt x="227863" y="121920"/>
                  </a:lnTo>
                  <a:lnTo>
                    <a:pt x="228422" y="120650"/>
                  </a:lnTo>
                  <a:lnTo>
                    <a:pt x="229590" y="120650"/>
                  </a:lnTo>
                  <a:lnTo>
                    <a:pt x="229793" y="119380"/>
                  </a:lnTo>
                  <a:lnTo>
                    <a:pt x="230174" y="118110"/>
                  </a:lnTo>
                  <a:lnTo>
                    <a:pt x="230809" y="118110"/>
                  </a:lnTo>
                  <a:lnTo>
                    <a:pt x="231076" y="116840"/>
                  </a:lnTo>
                  <a:lnTo>
                    <a:pt x="231597" y="116840"/>
                  </a:lnTo>
                  <a:lnTo>
                    <a:pt x="231470" y="115570"/>
                  </a:lnTo>
                  <a:lnTo>
                    <a:pt x="233311"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85" y="95250"/>
                  </a:lnTo>
                  <a:lnTo>
                    <a:pt x="250393" y="93980"/>
                  </a:lnTo>
                  <a:lnTo>
                    <a:pt x="250926" y="92710"/>
                  </a:lnTo>
                  <a:lnTo>
                    <a:pt x="250723" y="92710"/>
                  </a:lnTo>
                  <a:lnTo>
                    <a:pt x="251091" y="91440"/>
                  </a:lnTo>
                  <a:lnTo>
                    <a:pt x="251320" y="91440"/>
                  </a:lnTo>
                  <a:lnTo>
                    <a:pt x="253098" y="90170"/>
                  </a:lnTo>
                  <a:lnTo>
                    <a:pt x="254063" y="88900"/>
                  </a:lnTo>
                  <a:lnTo>
                    <a:pt x="254901" y="87630"/>
                  </a:lnTo>
                  <a:lnTo>
                    <a:pt x="255524" y="88900"/>
                  </a:lnTo>
                  <a:lnTo>
                    <a:pt x="255638" y="87630"/>
                  </a:lnTo>
                  <a:lnTo>
                    <a:pt x="255854" y="86360"/>
                  </a:lnTo>
                  <a:lnTo>
                    <a:pt x="256616" y="86360"/>
                  </a:lnTo>
                  <a:lnTo>
                    <a:pt x="257670" y="85090"/>
                  </a:lnTo>
                  <a:lnTo>
                    <a:pt x="258356" y="85090"/>
                  </a:lnTo>
                  <a:lnTo>
                    <a:pt x="258445" y="83820"/>
                  </a:lnTo>
                  <a:lnTo>
                    <a:pt x="260108" y="83820"/>
                  </a:lnTo>
                  <a:lnTo>
                    <a:pt x="260299" y="82550"/>
                  </a:lnTo>
                  <a:lnTo>
                    <a:pt x="261264" y="81280"/>
                  </a:lnTo>
                  <a:lnTo>
                    <a:pt x="261327" y="80010"/>
                  </a:lnTo>
                  <a:lnTo>
                    <a:pt x="263601" y="78740"/>
                  </a:lnTo>
                  <a:lnTo>
                    <a:pt x="263829" y="78740"/>
                  </a:lnTo>
                  <a:lnTo>
                    <a:pt x="263664" y="77470"/>
                  </a:lnTo>
                  <a:lnTo>
                    <a:pt x="264985" y="77470"/>
                  </a:lnTo>
                  <a:lnTo>
                    <a:pt x="265353" y="76200"/>
                  </a:lnTo>
                  <a:lnTo>
                    <a:pt x="265480" y="76200"/>
                  </a:lnTo>
                  <a:lnTo>
                    <a:pt x="266014" y="74930"/>
                  </a:lnTo>
                  <a:lnTo>
                    <a:pt x="268185" y="74930"/>
                  </a:lnTo>
                  <a:lnTo>
                    <a:pt x="267639" y="73660"/>
                  </a:lnTo>
                  <a:lnTo>
                    <a:pt x="268173" y="72390"/>
                  </a:lnTo>
                  <a:lnTo>
                    <a:pt x="270167" y="72390"/>
                  </a:lnTo>
                  <a:lnTo>
                    <a:pt x="271335" y="69850"/>
                  </a:lnTo>
                  <a:lnTo>
                    <a:pt x="273329" y="68580"/>
                  </a:lnTo>
                  <a:lnTo>
                    <a:pt x="274980" y="66040"/>
                  </a:lnTo>
                  <a:lnTo>
                    <a:pt x="275475" y="66040"/>
                  </a:lnTo>
                  <a:lnTo>
                    <a:pt x="276263" y="64770"/>
                  </a:lnTo>
                  <a:lnTo>
                    <a:pt x="276529" y="64770"/>
                  </a:lnTo>
                  <a:lnTo>
                    <a:pt x="276402"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388" y="52070"/>
                  </a:lnTo>
                  <a:lnTo>
                    <a:pt x="287794" y="50800"/>
                  </a:lnTo>
                  <a:lnTo>
                    <a:pt x="288607" y="50800"/>
                  </a:lnTo>
                  <a:lnTo>
                    <a:pt x="289826" y="49530"/>
                  </a:lnTo>
                  <a:lnTo>
                    <a:pt x="288912" y="52070"/>
                  </a:lnTo>
                  <a:lnTo>
                    <a:pt x="290220" y="49530"/>
                  </a:lnTo>
                  <a:lnTo>
                    <a:pt x="292862" y="45720"/>
                  </a:lnTo>
                  <a:lnTo>
                    <a:pt x="293458" y="44450"/>
                  </a:lnTo>
                  <a:lnTo>
                    <a:pt x="293649" y="45720"/>
                  </a:lnTo>
                  <a:lnTo>
                    <a:pt x="294462" y="45720"/>
                  </a:lnTo>
                  <a:lnTo>
                    <a:pt x="294462" y="44450"/>
                  </a:lnTo>
                  <a:lnTo>
                    <a:pt x="294741" y="44450"/>
                  </a:lnTo>
                  <a:lnTo>
                    <a:pt x="295871" y="43180"/>
                  </a:lnTo>
                  <a:lnTo>
                    <a:pt x="296062" y="43180"/>
                  </a:lnTo>
                  <a:lnTo>
                    <a:pt x="295059" y="41910"/>
                  </a:lnTo>
                  <a:lnTo>
                    <a:pt x="297916" y="41910"/>
                  </a:lnTo>
                  <a:lnTo>
                    <a:pt x="297484" y="40640"/>
                  </a:lnTo>
                  <a:lnTo>
                    <a:pt x="296494" y="40640"/>
                  </a:lnTo>
                  <a:lnTo>
                    <a:pt x="297319"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34" y="27940"/>
                  </a:lnTo>
                  <a:lnTo>
                    <a:pt x="317385" y="22860"/>
                  </a:lnTo>
                  <a:lnTo>
                    <a:pt x="318757" y="22860"/>
                  </a:lnTo>
                  <a:lnTo>
                    <a:pt x="317474" y="21590"/>
                  </a:lnTo>
                  <a:lnTo>
                    <a:pt x="318744" y="21590"/>
                  </a:lnTo>
                  <a:lnTo>
                    <a:pt x="319176" y="22860"/>
                  </a:lnTo>
                  <a:lnTo>
                    <a:pt x="319671" y="21590"/>
                  </a:lnTo>
                  <a:lnTo>
                    <a:pt x="320179" y="20320"/>
                  </a:lnTo>
                  <a:lnTo>
                    <a:pt x="321970" y="19050"/>
                  </a:lnTo>
                  <a:lnTo>
                    <a:pt x="324878" y="17780"/>
                  </a:lnTo>
                  <a:lnTo>
                    <a:pt x="325755" y="17780"/>
                  </a:lnTo>
                  <a:lnTo>
                    <a:pt x="326644" y="16510"/>
                  </a:lnTo>
                  <a:lnTo>
                    <a:pt x="327545" y="15240"/>
                  </a:lnTo>
                  <a:lnTo>
                    <a:pt x="328434" y="15240"/>
                  </a:lnTo>
                  <a:lnTo>
                    <a:pt x="329704" y="13970"/>
                  </a:lnTo>
                  <a:lnTo>
                    <a:pt x="328244" y="13970"/>
                  </a:lnTo>
                  <a:lnTo>
                    <a:pt x="327850" y="14020"/>
                  </a:lnTo>
                  <a:lnTo>
                    <a:pt x="327507" y="14173"/>
                  </a:lnTo>
                  <a:lnTo>
                    <a:pt x="327672" y="14262"/>
                  </a:lnTo>
                  <a:lnTo>
                    <a:pt x="326110" y="15240"/>
                  </a:lnTo>
                  <a:lnTo>
                    <a:pt x="326326" y="13970"/>
                  </a:lnTo>
                  <a:lnTo>
                    <a:pt x="327469" y="13970"/>
                  </a:lnTo>
                  <a:lnTo>
                    <a:pt x="327977" y="12700"/>
                  </a:lnTo>
                  <a:lnTo>
                    <a:pt x="329996" y="12700"/>
                  </a:lnTo>
                  <a:lnTo>
                    <a:pt x="330377" y="13970"/>
                  </a:lnTo>
                  <a:lnTo>
                    <a:pt x="331533" y="12700"/>
                  </a:lnTo>
                  <a:lnTo>
                    <a:pt x="330441" y="12700"/>
                  </a:lnTo>
                  <a:lnTo>
                    <a:pt x="330352" y="12306"/>
                  </a:lnTo>
                  <a:lnTo>
                    <a:pt x="332041" y="11772"/>
                  </a:lnTo>
                  <a:lnTo>
                    <a:pt x="332587" y="9982"/>
                  </a:lnTo>
                  <a:lnTo>
                    <a:pt x="332994" y="9690"/>
                  </a:lnTo>
                  <a:lnTo>
                    <a:pt x="333375" y="9918"/>
                  </a:lnTo>
                  <a:close/>
                </a:path>
              </a:pathLst>
            </a:custGeom>
            <a:solidFill>
              <a:srgbClr val="D02929"/>
            </a:solidFill>
          </p:spPr>
          <p:txBody>
            <a:bodyPr wrap="square" lIns="0" tIns="0" rIns="0" bIns="0" rtlCol="0"/>
            <a:lstStyle/>
            <a:p>
              <a:endParaRPr/>
            </a:p>
          </p:txBody>
        </p:sp>
        <p:sp>
          <p:nvSpPr>
            <p:cNvPr id="11" name="object 11"/>
            <p:cNvSpPr/>
            <p:nvPr/>
          </p:nvSpPr>
          <p:spPr>
            <a:xfrm>
              <a:off x="8808945" y="3766221"/>
              <a:ext cx="539750" cy="539750"/>
            </a:xfrm>
            <a:custGeom>
              <a:avLst/>
              <a:gdLst/>
              <a:ahLst/>
              <a:cxnLst/>
              <a:rect l="l" t="t" r="r" b="b"/>
              <a:pathLst>
                <a:path w="539750" h="539750">
                  <a:moveTo>
                    <a:pt x="269806" y="539602"/>
                  </a:moveTo>
                  <a:lnTo>
                    <a:pt x="221303" y="535256"/>
                  </a:lnTo>
                  <a:lnTo>
                    <a:pt x="175658" y="522723"/>
                  </a:lnTo>
                  <a:lnTo>
                    <a:pt x="133627" y="502767"/>
                  </a:lnTo>
                  <a:lnTo>
                    <a:pt x="95971" y="476149"/>
                  </a:lnTo>
                  <a:lnTo>
                    <a:pt x="63453" y="443631"/>
                  </a:lnTo>
                  <a:lnTo>
                    <a:pt x="36835" y="405975"/>
                  </a:lnTo>
                  <a:lnTo>
                    <a:pt x="16879" y="363944"/>
                  </a:lnTo>
                  <a:lnTo>
                    <a:pt x="4346" y="318298"/>
                  </a:lnTo>
                  <a:lnTo>
                    <a:pt x="0" y="269806"/>
                  </a:lnTo>
                  <a:lnTo>
                    <a:pt x="4346" y="221304"/>
                  </a:lnTo>
                  <a:lnTo>
                    <a:pt x="16879" y="175659"/>
                  </a:lnTo>
                  <a:lnTo>
                    <a:pt x="36835" y="133627"/>
                  </a:lnTo>
                  <a:lnTo>
                    <a:pt x="63453" y="95971"/>
                  </a:lnTo>
                  <a:lnTo>
                    <a:pt x="95971" y="63454"/>
                  </a:lnTo>
                  <a:lnTo>
                    <a:pt x="133627" y="36835"/>
                  </a:lnTo>
                  <a:lnTo>
                    <a:pt x="175658" y="16879"/>
                  </a:lnTo>
                  <a:lnTo>
                    <a:pt x="221303" y="4346"/>
                  </a:lnTo>
                  <a:lnTo>
                    <a:pt x="269801" y="0"/>
                  </a:lnTo>
                  <a:lnTo>
                    <a:pt x="318298" y="4346"/>
                  </a:lnTo>
                  <a:lnTo>
                    <a:pt x="363943" y="16879"/>
                  </a:lnTo>
                  <a:lnTo>
                    <a:pt x="405975" y="36835"/>
                  </a:lnTo>
                  <a:lnTo>
                    <a:pt x="443631" y="63454"/>
                  </a:lnTo>
                  <a:lnTo>
                    <a:pt x="476148" y="95971"/>
                  </a:lnTo>
                  <a:lnTo>
                    <a:pt x="502767" y="133627"/>
                  </a:lnTo>
                  <a:lnTo>
                    <a:pt x="522723" y="175659"/>
                  </a:lnTo>
                  <a:lnTo>
                    <a:pt x="535255" y="221304"/>
                  </a:lnTo>
                  <a:lnTo>
                    <a:pt x="539602" y="269806"/>
                  </a:lnTo>
                  <a:lnTo>
                    <a:pt x="535255" y="318298"/>
                  </a:lnTo>
                  <a:lnTo>
                    <a:pt x="522723" y="363944"/>
                  </a:lnTo>
                  <a:lnTo>
                    <a:pt x="502767" y="405975"/>
                  </a:lnTo>
                  <a:lnTo>
                    <a:pt x="476148" y="443631"/>
                  </a:lnTo>
                  <a:lnTo>
                    <a:pt x="443631" y="476149"/>
                  </a:lnTo>
                  <a:lnTo>
                    <a:pt x="405975" y="502767"/>
                  </a:lnTo>
                  <a:lnTo>
                    <a:pt x="363943" y="522723"/>
                  </a:lnTo>
                  <a:lnTo>
                    <a:pt x="318298" y="535256"/>
                  </a:lnTo>
                  <a:lnTo>
                    <a:pt x="269806" y="539602"/>
                  </a:lnTo>
                  <a:close/>
                </a:path>
              </a:pathLst>
            </a:custGeom>
            <a:solidFill>
              <a:srgbClr val="FFFFFF"/>
            </a:solidFill>
          </p:spPr>
          <p:txBody>
            <a:bodyPr wrap="square" lIns="0" tIns="0" rIns="0" bIns="0" rtlCol="0"/>
            <a:lstStyle/>
            <a:p>
              <a:endParaRPr/>
            </a:p>
          </p:txBody>
        </p:sp>
        <p:sp>
          <p:nvSpPr>
            <p:cNvPr id="12" name="object 12"/>
            <p:cNvSpPr/>
            <p:nvPr/>
          </p:nvSpPr>
          <p:spPr>
            <a:xfrm>
              <a:off x="8910675" y="3845546"/>
              <a:ext cx="333375" cy="379730"/>
            </a:xfrm>
            <a:custGeom>
              <a:avLst/>
              <a:gdLst/>
              <a:ahLst/>
              <a:cxnLst/>
              <a:rect l="l" t="t" r="r" b="b"/>
              <a:pathLst>
                <a:path w="333375" h="379729">
                  <a:moveTo>
                    <a:pt x="4483" y="313651"/>
                  </a:moveTo>
                  <a:lnTo>
                    <a:pt x="4279" y="313867"/>
                  </a:lnTo>
                  <a:lnTo>
                    <a:pt x="3886" y="314325"/>
                  </a:lnTo>
                  <a:lnTo>
                    <a:pt x="4013" y="314566"/>
                  </a:lnTo>
                  <a:lnTo>
                    <a:pt x="4381" y="314553"/>
                  </a:lnTo>
                  <a:lnTo>
                    <a:pt x="4457" y="314134"/>
                  </a:lnTo>
                  <a:lnTo>
                    <a:pt x="4483" y="313651"/>
                  </a:lnTo>
                  <a:close/>
                </a:path>
                <a:path w="333375" h="379729">
                  <a:moveTo>
                    <a:pt x="9690" y="230301"/>
                  </a:moveTo>
                  <a:lnTo>
                    <a:pt x="9652" y="230124"/>
                  </a:lnTo>
                  <a:lnTo>
                    <a:pt x="9436" y="229920"/>
                  </a:lnTo>
                  <a:lnTo>
                    <a:pt x="9309" y="230009"/>
                  </a:lnTo>
                  <a:lnTo>
                    <a:pt x="9245" y="230187"/>
                  </a:lnTo>
                  <a:lnTo>
                    <a:pt x="9296" y="230327"/>
                  </a:lnTo>
                  <a:lnTo>
                    <a:pt x="9321" y="230492"/>
                  </a:lnTo>
                  <a:lnTo>
                    <a:pt x="9563" y="230733"/>
                  </a:lnTo>
                  <a:lnTo>
                    <a:pt x="9690" y="230670"/>
                  </a:lnTo>
                  <a:lnTo>
                    <a:pt x="9690" y="230454"/>
                  </a:lnTo>
                  <a:lnTo>
                    <a:pt x="9690" y="230301"/>
                  </a:lnTo>
                  <a:close/>
                </a:path>
                <a:path w="333375" h="379729">
                  <a:moveTo>
                    <a:pt x="23914" y="371005"/>
                  </a:moveTo>
                  <a:lnTo>
                    <a:pt x="23812" y="370611"/>
                  </a:lnTo>
                  <a:lnTo>
                    <a:pt x="23685" y="370700"/>
                  </a:lnTo>
                  <a:lnTo>
                    <a:pt x="23774" y="371094"/>
                  </a:lnTo>
                  <a:lnTo>
                    <a:pt x="23914" y="371005"/>
                  </a:lnTo>
                  <a:close/>
                </a:path>
                <a:path w="333375" h="379729">
                  <a:moveTo>
                    <a:pt x="38735" y="223278"/>
                  </a:moveTo>
                  <a:lnTo>
                    <a:pt x="38696" y="222948"/>
                  </a:lnTo>
                  <a:lnTo>
                    <a:pt x="38557" y="222872"/>
                  </a:lnTo>
                  <a:lnTo>
                    <a:pt x="38328" y="223062"/>
                  </a:lnTo>
                  <a:lnTo>
                    <a:pt x="38227" y="223253"/>
                  </a:lnTo>
                  <a:lnTo>
                    <a:pt x="38150" y="223685"/>
                  </a:lnTo>
                  <a:lnTo>
                    <a:pt x="38290" y="223951"/>
                  </a:lnTo>
                  <a:lnTo>
                    <a:pt x="38557" y="223761"/>
                  </a:lnTo>
                  <a:lnTo>
                    <a:pt x="38646" y="223456"/>
                  </a:lnTo>
                  <a:lnTo>
                    <a:pt x="38735" y="223278"/>
                  </a:lnTo>
                  <a:close/>
                </a:path>
                <a:path w="333375" h="379729">
                  <a:moveTo>
                    <a:pt x="41998" y="222072"/>
                  </a:moveTo>
                  <a:lnTo>
                    <a:pt x="41884" y="221488"/>
                  </a:lnTo>
                  <a:lnTo>
                    <a:pt x="41795" y="221297"/>
                  </a:lnTo>
                  <a:lnTo>
                    <a:pt x="41579" y="220941"/>
                  </a:lnTo>
                  <a:lnTo>
                    <a:pt x="41427" y="220980"/>
                  </a:lnTo>
                  <a:lnTo>
                    <a:pt x="41122" y="222224"/>
                  </a:lnTo>
                  <a:lnTo>
                    <a:pt x="40805" y="223139"/>
                  </a:lnTo>
                  <a:lnTo>
                    <a:pt x="40322" y="224180"/>
                  </a:lnTo>
                  <a:lnTo>
                    <a:pt x="40297" y="224370"/>
                  </a:lnTo>
                  <a:lnTo>
                    <a:pt x="40500" y="224434"/>
                  </a:lnTo>
                  <a:lnTo>
                    <a:pt x="40741" y="224447"/>
                  </a:lnTo>
                  <a:lnTo>
                    <a:pt x="41998" y="222072"/>
                  </a:lnTo>
                  <a:close/>
                </a:path>
                <a:path w="333375" h="379729">
                  <a:moveTo>
                    <a:pt x="44716" y="229870"/>
                  </a:moveTo>
                  <a:lnTo>
                    <a:pt x="43840" y="228600"/>
                  </a:lnTo>
                  <a:lnTo>
                    <a:pt x="42506" y="227330"/>
                  </a:lnTo>
                  <a:lnTo>
                    <a:pt x="41275" y="228600"/>
                  </a:lnTo>
                  <a:lnTo>
                    <a:pt x="40982" y="228600"/>
                  </a:lnTo>
                  <a:lnTo>
                    <a:pt x="40716" y="229870"/>
                  </a:lnTo>
                  <a:lnTo>
                    <a:pt x="40551" y="228600"/>
                  </a:lnTo>
                  <a:lnTo>
                    <a:pt x="40170" y="228600"/>
                  </a:lnTo>
                  <a:lnTo>
                    <a:pt x="40640" y="227330"/>
                  </a:lnTo>
                  <a:lnTo>
                    <a:pt x="40957" y="227330"/>
                  </a:lnTo>
                  <a:lnTo>
                    <a:pt x="40932" y="226060"/>
                  </a:lnTo>
                  <a:lnTo>
                    <a:pt x="41021" y="224790"/>
                  </a:lnTo>
                  <a:lnTo>
                    <a:pt x="39814" y="226060"/>
                  </a:lnTo>
                  <a:lnTo>
                    <a:pt x="39814" y="231140"/>
                  </a:lnTo>
                  <a:lnTo>
                    <a:pt x="39420" y="231140"/>
                  </a:lnTo>
                  <a:lnTo>
                    <a:pt x="39293" y="229870"/>
                  </a:lnTo>
                  <a:lnTo>
                    <a:pt x="39598"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93" y="220980"/>
                  </a:lnTo>
                  <a:lnTo>
                    <a:pt x="37325" y="219710"/>
                  </a:lnTo>
                  <a:lnTo>
                    <a:pt x="37592" y="219710"/>
                  </a:lnTo>
                  <a:lnTo>
                    <a:pt x="38163" y="220980"/>
                  </a:lnTo>
                  <a:lnTo>
                    <a:pt x="38849" y="220980"/>
                  </a:lnTo>
                  <a:lnTo>
                    <a:pt x="39776" y="222250"/>
                  </a:lnTo>
                  <a:lnTo>
                    <a:pt x="40271" y="222250"/>
                  </a:lnTo>
                  <a:lnTo>
                    <a:pt x="40944" y="220980"/>
                  </a:lnTo>
                  <a:lnTo>
                    <a:pt x="40220" y="220980"/>
                  </a:lnTo>
                  <a:lnTo>
                    <a:pt x="39700" y="219710"/>
                  </a:lnTo>
                  <a:lnTo>
                    <a:pt x="38176" y="219710"/>
                  </a:lnTo>
                  <a:lnTo>
                    <a:pt x="38265" y="218440"/>
                  </a:lnTo>
                  <a:lnTo>
                    <a:pt x="38633" y="217170"/>
                  </a:lnTo>
                  <a:lnTo>
                    <a:pt x="39001" y="215900"/>
                  </a:lnTo>
                  <a:lnTo>
                    <a:pt x="38735" y="214630"/>
                  </a:lnTo>
                  <a:lnTo>
                    <a:pt x="37236" y="214630"/>
                  </a:lnTo>
                  <a:lnTo>
                    <a:pt x="36715" y="213360"/>
                  </a:lnTo>
                  <a:lnTo>
                    <a:pt x="36309" y="212090"/>
                  </a:lnTo>
                  <a:lnTo>
                    <a:pt x="35471" y="213360"/>
                  </a:lnTo>
                  <a:lnTo>
                    <a:pt x="35255" y="213360"/>
                  </a:lnTo>
                  <a:lnTo>
                    <a:pt x="35407" y="214630"/>
                  </a:lnTo>
                  <a:lnTo>
                    <a:pt x="35725" y="215900"/>
                  </a:lnTo>
                  <a:lnTo>
                    <a:pt x="35712" y="224790"/>
                  </a:lnTo>
                  <a:lnTo>
                    <a:pt x="35712" y="226060"/>
                  </a:lnTo>
                  <a:lnTo>
                    <a:pt x="35661" y="224790"/>
                  </a:lnTo>
                  <a:lnTo>
                    <a:pt x="35712" y="215900"/>
                  </a:lnTo>
                  <a:lnTo>
                    <a:pt x="35306" y="215900"/>
                  </a:lnTo>
                  <a:lnTo>
                    <a:pt x="35229" y="217170"/>
                  </a:lnTo>
                  <a:lnTo>
                    <a:pt x="34709" y="217170"/>
                  </a:lnTo>
                  <a:lnTo>
                    <a:pt x="34759" y="215900"/>
                  </a:lnTo>
                  <a:lnTo>
                    <a:pt x="34772" y="214630"/>
                  </a:lnTo>
                  <a:lnTo>
                    <a:pt x="34163" y="213360"/>
                  </a:lnTo>
                  <a:lnTo>
                    <a:pt x="33832" y="213360"/>
                  </a:lnTo>
                  <a:lnTo>
                    <a:pt x="33832" y="226060"/>
                  </a:lnTo>
                  <a:lnTo>
                    <a:pt x="33388" y="226060"/>
                  </a:lnTo>
                  <a:lnTo>
                    <a:pt x="33172" y="224790"/>
                  </a:lnTo>
                  <a:lnTo>
                    <a:pt x="31496" y="224790"/>
                  </a:lnTo>
                  <a:lnTo>
                    <a:pt x="31229" y="223520"/>
                  </a:lnTo>
                  <a:lnTo>
                    <a:pt x="32118" y="223520"/>
                  </a:lnTo>
                  <a:lnTo>
                    <a:pt x="32550" y="222250"/>
                  </a:lnTo>
                  <a:lnTo>
                    <a:pt x="32981" y="223520"/>
                  </a:lnTo>
                  <a:lnTo>
                    <a:pt x="33464" y="223520"/>
                  </a:lnTo>
                  <a:lnTo>
                    <a:pt x="33604" y="224790"/>
                  </a:lnTo>
                  <a:lnTo>
                    <a:pt x="33832" y="226060"/>
                  </a:lnTo>
                  <a:lnTo>
                    <a:pt x="33832" y="213360"/>
                  </a:lnTo>
                  <a:lnTo>
                    <a:pt x="32778" y="213360"/>
                  </a:lnTo>
                  <a:lnTo>
                    <a:pt x="32054" y="214630"/>
                  </a:lnTo>
                  <a:lnTo>
                    <a:pt x="30010" y="214630"/>
                  </a:lnTo>
                  <a:lnTo>
                    <a:pt x="29806" y="213360"/>
                  </a:lnTo>
                  <a:lnTo>
                    <a:pt x="29222" y="213360"/>
                  </a:lnTo>
                  <a:lnTo>
                    <a:pt x="28613" y="212090"/>
                  </a:lnTo>
                  <a:lnTo>
                    <a:pt x="27355" y="213360"/>
                  </a:lnTo>
                  <a:lnTo>
                    <a:pt x="27038" y="213360"/>
                  </a:lnTo>
                  <a:lnTo>
                    <a:pt x="27292" y="214630"/>
                  </a:lnTo>
                  <a:lnTo>
                    <a:pt x="27762" y="215900"/>
                  </a:lnTo>
                  <a:lnTo>
                    <a:pt x="27152" y="215900"/>
                  </a:lnTo>
                  <a:lnTo>
                    <a:pt x="27038" y="217170"/>
                  </a:lnTo>
                  <a:lnTo>
                    <a:pt x="26263" y="217170"/>
                  </a:lnTo>
                  <a:lnTo>
                    <a:pt x="26327" y="215900"/>
                  </a:lnTo>
                  <a:lnTo>
                    <a:pt x="26314" y="214630"/>
                  </a:lnTo>
                  <a:lnTo>
                    <a:pt x="25412" y="213360"/>
                  </a:lnTo>
                  <a:lnTo>
                    <a:pt x="24650" y="213360"/>
                  </a:lnTo>
                  <a:lnTo>
                    <a:pt x="24650" y="224790"/>
                  </a:lnTo>
                  <a:lnTo>
                    <a:pt x="24384" y="224790"/>
                  </a:lnTo>
                  <a:lnTo>
                    <a:pt x="24638" y="226060"/>
                  </a:lnTo>
                  <a:lnTo>
                    <a:pt x="23990" y="226060"/>
                  </a:lnTo>
                  <a:lnTo>
                    <a:pt x="24066" y="224790"/>
                  </a:lnTo>
                  <a:lnTo>
                    <a:pt x="22796" y="224790"/>
                  </a:lnTo>
                  <a:lnTo>
                    <a:pt x="22606" y="226060"/>
                  </a:lnTo>
                  <a:lnTo>
                    <a:pt x="21234" y="226060"/>
                  </a:lnTo>
                  <a:lnTo>
                    <a:pt x="20891" y="224790"/>
                  </a:lnTo>
                  <a:lnTo>
                    <a:pt x="20447" y="224790"/>
                  </a:lnTo>
                  <a:lnTo>
                    <a:pt x="20993" y="223520"/>
                  </a:lnTo>
                  <a:lnTo>
                    <a:pt x="22415" y="223520"/>
                  </a:lnTo>
                  <a:lnTo>
                    <a:pt x="23075" y="222250"/>
                  </a:lnTo>
                  <a:lnTo>
                    <a:pt x="23723" y="223520"/>
                  </a:lnTo>
                  <a:lnTo>
                    <a:pt x="24434" y="223520"/>
                  </a:lnTo>
                  <a:lnTo>
                    <a:pt x="24650" y="224790"/>
                  </a:lnTo>
                  <a:lnTo>
                    <a:pt x="24650" y="213360"/>
                  </a:lnTo>
                  <a:lnTo>
                    <a:pt x="23329" y="213360"/>
                  </a:lnTo>
                  <a:lnTo>
                    <a:pt x="21869" y="214630"/>
                  </a:lnTo>
                  <a:lnTo>
                    <a:pt x="20967" y="215900"/>
                  </a:lnTo>
                  <a:lnTo>
                    <a:pt x="19748" y="217170"/>
                  </a:lnTo>
                  <a:lnTo>
                    <a:pt x="19545" y="217170"/>
                  </a:lnTo>
                  <a:lnTo>
                    <a:pt x="17907" y="214630"/>
                  </a:lnTo>
                  <a:lnTo>
                    <a:pt x="16802" y="215900"/>
                  </a:lnTo>
                  <a:lnTo>
                    <a:pt x="16471" y="218440"/>
                  </a:lnTo>
                  <a:lnTo>
                    <a:pt x="16408"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63" y="232410"/>
                  </a:lnTo>
                  <a:lnTo>
                    <a:pt x="9156" y="233680"/>
                  </a:lnTo>
                  <a:lnTo>
                    <a:pt x="7480" y="234950"/>
                  </a:lnTo>
                  <a:lnTo>
                    <a:pt x="7696" y="236220"/>
                  </a:lnTo>
                  <a:lnTo>
                    <a:pt x="6769" y="237490"/>
                  </a:lnTo>
                  <a:lnTo>
                    <a:pt x="5207" y="237490"/>
                  </a:lnTo>
                  <a:lnTo>
                    <a:pt x="4686" y="238760"/>
                  </a:lnTo>
                  <a:lnTo>
                    <a:pt x="3937" y="241300"/>
                  </a:lnTo>
                  <a:lnTo>
                    <a:pt x="1714" y="243840"/>
                  </a:lnTo>
                  <a:lnTo>
                    <a:pt x="800" y="243840"/>
                  </a:lnTo>
                  <a:lnTo>
                    <a:pt x="1193" y="245110"/>
                  </a:lnTo>
                  <a:lnTo>
                    <a:pt x="4064" y="245110"/>
                  </a:lnTo>
                  <a:lnTo>
                    <a:pt x="44500" y="245110"/>
                  </a:lnTo>
                  <a:lnTo>
                    <a:pt x="44500" y="243840"/>
                  </a:lnTo>
                  <a:lnTo>
                    <a:pt x="43903" y="241300"/>
                  </a:lnTo>
                  <a:lnTo>
                    <a:pt x="43726" y="240030"/>
                  </a:lnTo>
                  <a:lnTo>
                    <a:pt x="42659" y="240030"/>
                  </a:lnTo>
                  <a:lnTo>
                    <a:pt x="43180" y="238760"/>
                  </a:lnTo>
                  <a:lnTo>
                    <a:pt x="43662" y="238760"/>
                  </a:lnTo>
                  <a:lnTo>
                    <a:pt x="44030" y="236220"/>
                  </a:lnTo>
                  <a:lnTo>
                    <a:pt x="44018" y="234950"/>
                  </a:lnTo>
                  <a:lnTo>
                    <a:pt x="44145" y="233680"/>
                  </a:lnTo>
                  <a:lnTo>
                    <a:pt x="44259" y="232410"/>
                  </a:lnTo>
                  <a:lnTo>
                    <a:pt x="43624" y="232410"/>
                  </a:lnTo>
                  <a:lnTo>
                    <a:pt x="41135" y="232410"/>
                  </a:lnTo>
                  <a:lnTo>
                    <a:pt x="41135" y="234950"/>
                  </a:lnTo>
                  <a:lnTo>
                    <a:pt x="40538" y="234950"/>
                  </a:lnTo>
                  <a:lnTo>
                    <a:pt x="40551" y="233680"/>
                  </a:lnTo>
                  <a:lnTo>
                    <a:pt x="41071" y="233680"/>
                  </a:lnTo>
                  <a:lnTo>
                    <a:pt x="41135" y="234950"/>
                  </a:lnTo>
                  <a:lnTo>
                    <a:pt x="41135" y="232410"/>
                  </a:lnTo>
                  <a:lnTo>
                    <a:pt x="40640" y="232410"/>
                  </a:lnTo>
                  <a:lnTo>
                    <a:pt x="40894" y="231140"/>
                  </a:lnTo>
                  <a:lnTo>
                    <a:pt x="41363" y="231140"/>
                  </a:lnTo>
                  <a:lnTo>
                    <a:pt x="42506" y="229870"/>
                  </a:lnTo>
                  <a:lnTo>
                    <a:pt x="43167" y="229870"/>
                  </a:lnTo>
                  <a:lnTo>
                    <a:pt x="43865" y="231140"/>
                  </a:lnTo>
                  <a:lnTo>
                    <a:pt x="43624" y="232410"/>
                  </a:lnTo>
                  <a:lnTo>
                    <a:pt x="44704" y="231140"/>
                  </a:lnTo>
                  <a:lnTo>
                    <a:pt x="44716" y="229870"/>
                  </a:lnTo>
                  <a:close/>
                </a:path>
                <a:path w="333375" h="379729">
                  <a:moveTo>
                    <a:pt x="50495" y="279133"/>
                  </a:moveTo>
                  <a:lnTo>
                    <a:pt x="50355" y="278917"/>
                  </a:lnTo>
                  <a:lnTo>
                    <a:pt x="50152" y="278815"/>
                  </a:lnTo>
                  <a:lnTo>
                    <a:pt x="50139" y="279171"/>
                  </a:lnTo>
                  <a:lnTo>
                    <a:pt x="50266" y="279222"/>
                  </a:lnTo>
                  <a:lnTo>
                    <a:pt x="50482" y="279234"/>
                  </a:lnTo>
                  <a:close/>
                </a:path>
                <a:path w="333375" h="379729">
                  <a:moveTo>
                    <a:pt x="52184" y="294322"/>
                  </a:moveTo>
                  <a:lnTo>
                    <a:pt x="52019" y="294411"/>
                  </a:lnTo>
                  <a:lnTo>
                    <a:pt x="51790" y="294563"/>
                  </a:lnTo>
                  <a:lnTo>
                    <a:pt x="52070" y="294398"/>
                  </a:lnTo>
                  <a:close/>
                </a:path>
                <a:path w="333375" h="379729">
                  <a:moveTo>
                    <a:pt x="52895" y="295744"/>
                  </a:moveTo>
                  <a:lnTo>
                    <a:pt x="52844" y="296506"/>
                  </a:lnTo>
                  <a:lnTo>
                    <a:pt x="52844" y="296748"/>
                  </a:lnTo>
                  <a:lnTo>
                    <a:pt x="52870" y="296456"/>
                  </a:lnTo>
                  <a:lnTo>
                    <a:pt x="52895" y="295935"/>
                  </a:lnTo>
                  <a:lnTo>
                    <a:pt x="52895" y="295744"/>
                  </a:lnTo>
                  <a:close/>
                </a:path>
                <a:path w="333375" h="379729">
                  <a:moveTo>
                    <a:pt x="53073" y="294640"/>
                  </a:moveTo>
                  <a:lnTo>
                    <a:pt x="53035" y="295363"/>
                  </a:lnTo>
                  <a:lnTo>
                    <a:pt x="53073" y="294640"/>
                  </a:lnTo>
                  <a:close/>
                </a:path>
                <a:path w="333375" h="379729">
                  <a:moveTo>
                    <a:pt x="53213" y="297446"/>
                  </a:moveTo>
                  <a:lnTo>
                    <a:pt x="53200" y="297180"/>
                  </a:lnTo>
                  <a:lnTo>
                    <a:pt x="53213" y="297446"/>
                  </a:lnTo>
                  <a:close/>
                </a:path>
                <a:path w="333375" h="379729">
                  <a:moveTo>
                    <a:pt x="53263" y="296799"/>
                  </a:moveTo>
                  <a:lnTo>
                    <a:pt x="53200" y="295998"/>
                  </a:lnTo>
                  <a:lnTo>
                    <a:pt x="53174" y="295681"/>
                  </a:lnTo>
                  <a:lnTo>
                    <a:pt x="53136" y="295198"/>
                  </a:lnTo>
                  <a:lnTo>
                    <a:pt x="53174" y="295922"/>
                  </a:lnTo>
                  <a:lnTo>
                    <a:pt x="53200" y="296354"/>
                  </a:lnTo>
                  <a:lnTo>
                    <a:pt x="53225" y="296621"/>
                  </a:lnTo>
                  <a:lnTo>
                    <a:pt x="53263" y="296799"/>
                  </a:lnTo>
                  <a:close/>
                </a:path>
                <a:path w="333375" h="379729">
                  <a:moveTo>
                    <a:pt x="53530" y="297688"/>
                  </a:moveTo>
                  <a:lnTo>
                    <a:pt x="53517" y="297180"/>
                  </a:lnTo>
                  <a:lnTo>
                    <a:pt x="53530" y="297688"/>
                  </a:lnTo>
                  <a:close/>
                </a:path>
                <a:path w="333375" h="379729">
                  <a:moveTo>
                    <a:pt x="53619" y="295478"/>
                  </a:moveTo>
                  <a:lnTo>
                    <a:pt x="53581" y="295338"/>
                  </a:lnTo>
                  <a:lnTo>
                    <a:pt x="53467" y="295033"/>
                  </a:lnTo>
                  <a:lnTo>
                    <a:pt x="53555" y="295313"/>
                  </a:lnTo>
                  <a:lnTo>
                    <a:pt x="53619" y="295478"/>
                  </a:lnTo>
                  <a:close/>
                </a:path>
                <a:path w="333375" h="379729">
                  <a:moveTo>
                    <a:pt x="53682" y="372071"/>
                  </a:moveTo>
                  <a:close/>
                </a:path>
                <a:path w="333375" h="379729">
                  <a:moveTo>
                    <a:pt x="54051" y="294690"/>
                  </a:moveTo>
                  <a:close/>
                </a:path>
                <a:path w="333375" h="379729">
                  <a:moveTo>
                    <a:pt x="54838" y="294855"/>
                  </a:moveTo>
                  <a:lnTo>
                    <a:pt x="54775" y="294640"/>
                  </a:lnTo>
                  <a:lnTo>
                    <a:pt x="54838" y="294855"/>
                  </a:lnTo>
                  <a:close/>
                </a:path>
                <a:path w="333375" h="379729">
                  <a:moveTo>
                    <a:pt x="54965" y="294157"/>
                  </a:moveTo>
                  <a:lnTo>
                    <a:pt x="54825" y="294017"/>
                  </a:lnTo>
                  <a:lnTo>
                    <a:pt x="54914" y="294208"/>
                  </a:lnTo>
                  <a:close/>
                </a:path>
                <a:path w="333375" h="379729">
                  <a:moveTo>
                    <a:pt x="55270" y="295389"/>
                  </a:moveTo>
                  <a:close/>
                </a:path>
                <a:path w="333375" h="379729">
                  <a:moveTo>
                    <a:pt x="55295" y="295427"/>
                  </a:moveTo>
                  <a:close/>
                </a:path>
                <a:path w="333375" h="379729">
                  <a:moveTo>
                    <a:pt x="55308" y="295452"/>
                  </a:moveTo>
                  <a:close/>
                </a:path>
                <a:path w="333375" h="379729">
                  <a:moveTo>
                    <a:pt x="55880" y="292874"/>
                  </a:moveTo>
                  <a:lnTo>
                    <a:pt x="55346" y="292100"/>
                  </a:lnTo>
                  <a:lnTo>
                    <a:pt x="55880" y="292874"/>
                  </a:lnTo>
                  <a:close/>
                </a:path>
                <a:path w="333375" h="379729">
                  <a:moveTo>
                    <a:pt x="56273" y="293370"/>
                  </a:moveTo>
                  <a:lnTo>
                    <a:pt x="55880" y="292874"/>
                  </a:lnTo>
                  <a:lnTo>
                    <a:pt x="56222" y="293370"/>
                  </a:lnTo>
                  <a:close/>
                </a:path>
                <a:path w="333375" h="379729">
                  <a:moveTo>
                    <a:pt x="61607" y="280873"/>
                  </a:moveTo>
                  <a:lnTo>
                    <a:pt x="61252" y="280835"/>
                  </a:lnTo>
                  <a:lnTo>
                    <a:pt x="61226" y="280974"/>
                  </a:lnTo>
                  <a:lnTo>
                    <a:pt x="61163" y="281127"/>
                  </a:lnTo>
                  <a:lnTo>
                    <a:pt x="61239" y="281419"/>
                  </a:lnTo>
                  <a:lnTo>
                    <a:pt x="61391" y="281419"/>
                  </a:lnTo>
                  <a:lnTo>
                    <a:pt x="61493" y="281254"/>
                  </a:lnTo>
                  <a:lnTo>
                    <a:pt x="61569" y="281000"/>
                  </a:lnTo>
                  <a:lnTo>
                    <a:pt x="61607" y="280873"/>
                  </a:lnTo>
                  <a:close/>
                </a:path>
                <a:path w="333375" h="379729">
                  <a:moveTo>
                    <a:pt x="70370" y="266611"/>
                  </a:moveTo>
                  <a:lnTo>
                    <a:pt x="70281" y="266458"/>
                  </a:lnTo>
                  <a:lnTo>
                    <a:pt x="70256" y="266331"/>
                  </a:lnTo>
                  <a:lnTo>
                    <a:pt x="69964" y="266306"/>
                  </a:lnTo>
                  <a:lnTo>
                    <a:pt x="69850" y="266471"/>
                  </a:lnTo>
                  <a:lnTo>
                    <a:pt x="69799" y="266687"/>
                  </a:lnTo>
                  <a:lnTo>
                    <a:pt x="70002" y="266979"/>
                  </a:lnTo>
                  <a:lnTo>
                    <a:pt x="70218" y="266877"/>
                  </a:lnTo>
                  <a:lnTo>
                    <a:pt x="70332" y="266687"/>
                  </a:lnTo>
                  <a:close/>
                </a:path>
                <a:path w="333375" h="379729">
                  <a:moveTo>
                    <a:pt x="75057" y="260680"/>
                  </a:moveTo>
                  <a:lnTo>
                    <a:pt x="74942" y="260527"/>
                  </a:lnTo>
                  <a:lnTo>
                    <a:pt x="74752" y="260540"/>
                  </a:lnTo>
                  <a:lnTo>
                    <a:pt x="74625" y="260515"/>
                  </a:lnTo>
                  <a:lnTo>
                    <a:pt x="74599" y="260654"/>
                  </a:lnTo>
                  <a:lnTo>
                    <a:pt x="74536" y="260832"/>
                  </a:lnTo>
                  <a:lnTo>
                    <a:pt x="74625" y="260997"/>
                  </a:lnTo>
                  <a:lnTo>
                    <a:pt x="74828" y="260972"/>
                  </a:lnTo>
                  <a:lnTo>
                    <a:pt x="74955" y="260997"/>
                  </a:lnTo>
                  <a:lnTo>
                    <a:pt x="74968" y="260858"/>
                  </a:lnTo>
                  <a:lnTo>
                    <a:pt x="75057" y="260680"/>
                  </a:lnTo>
                  <a:close/>
                </a:path>
                <a:path w="333375" h="379729">
                  <a:moveTo>
                    <a:pt x="87096" y="240080"/>
                  </a:moveTo>
                  <a:lnTo>
                    <a:pt x="87007" y="239928"/>
                  </a:lnTo>
                  <a:lnTo>
                    <a:pt x="86702" y="239966"/>
                  </a:lnTo>
                  <a:lnTo>
                    <a:pt x="86588" y="240093"/>
                  </a:lnTo>
                  <a:lnTo>
                    <a:pt x="86461" y="240157"/>
                  </a:lnTo>
                  <a:lnTo>
                    <a:pt x="86614" y="240423"/>
                  </a:lnTo>
                  <a:lnTo>
                    <a:pt x="86868" y="240550"/>
                  </a:lnTo>
                  <a:lnTo>
                    <a:pt x="87020" y="240449"/>
                  </a:lnTo>
                  <a:lnTo>
                    <a:pt x="87096" y="240080"/>
                  </a:lnTo>
                  <a:close/>
                </a:path>
                <a:path w="333375" h="379729">
                  <a:moveTo>
                    <a:pt x="93243" y="229997"/>
                  </a:moveTo>
                  <a:lnTo>
                    <a:pt x="92976" y="229870"/>
                  </a:lnTo>
                  <a:lnTo>
                    <a:pt x="93218" y="230124"/>
                  </a:lnTo>
                  <a:lnTo>
                    <a:pt x="93243" y="229997"/>
                  </a:lnTo>
                  <a:close/>
                </a:path>
                <a:path w="333375" h="379729">
                  <a:moveTo>
                    <a:pt x="102323" y="215861"/>
                  </a:moveTo>
                  <a:lnTo>
                    <a:pt x="102184" y="215620"/>
                  </a:lnTo>
                  <a:lnTo>
                    <a:pt x="101930" y="215455"/>
                  </a:lnTo>
                  <a:lnTo>
                    <a:pt x="101803" y="215722"/>
                  </a:lnTo>
                  <a:lnTo>
                    <a:pt x="101917" y="215988"/>
                  </a:lnTo>
                  <a:lnTo>
                    <a:pt x="102082" y="216052"/>
                  </a:lnTo>
                  <a:lnTo>
                    <a:pt x="102209" y="215925"/>
                  </a:lnTo>
                  <a:close/>
                </a:path>
                <a:path w="333375" h="379729">
                  <a:moveTo>
                    <a:pt x="137248" y="255333"/>
                  </a:moveTo>
                  <a:lnTo>
                    <a:pt x="137198" y="254977"/>
                  </a:lnTo>
                  <a:lnTo>
                    <a:pt x="136982" y="254838"/>
                  </a:lnTo>
                  <a:lnTo>
                    <a:pt x="136779" y="254927"/>
                  </a:lnTo>
                  <a:lnTo>
                    <a:pt x="136652" y="255117"/>
                  </a:lnTo>
                  <a:lnTo>
                    <a:pt x="136550" y="255257"/>
                  </a:lnTo>
                  <a:lnTo>
                    <a:pt x="136652" y="255397"/>
                  </a:lnTo>
                  <a:lnTo>
                    <a:pt x="136969" y="255397"/>
                  </a:lnTo>
                  <a:lnTo>
                    <a:pt x="137109" y="255358"/>
                  </a:lnTo>
                  <a:lnTo>
                    <a:pt x="137248" y="255333"/>
                  </a:lnTo>
                  <a:close/>
                </a:path>
                <a:path w="333375" h="379729">
                  <a:moveTo>
                    <a:pt x="139903" y="250418"/>
                  </a:moveTo>
                  <a:lnTo>
                    <a:pt x="139763" y="250329"/>
                  </a:lnTo>
                  <a:lnTo>
                    <a:pt x="139598" y="250431"/>
                  </a:lnTo>
                  <a:lnTo>
                    <a:pt x="139471" y="250634"/>
                  </a:lnTo>
                  <a:lnTo>
                    <a:pt x="139369" y="250774"/>
                  </a:lnTo>
                  <a:lnTo>
                    <a:pt x="139661" y="250837"/>
                  </a:lnTo>
                  <a:lnTo>
                    <a:pt x="139890" y="250748"/>
                  </a:lnTo>
                  <a:lnTo>
                    <a:pt x="139903" y="250418"/>
                  </a:lnTo>
                  <a:close/>
                </a:path>
                <a:path w="333375" h="379729">
                  <a:moveTo>
                    <a:pt x="181317" y="109689"/>
                  </a:moveTo>
                  <a:lnTo>
                    <a:pt x="181254" y="109512"/>
                  </a:lnTo>
                  <a:lnTo>
                    <a:pt x="181076" y="109499"/>
                  </a:lnTo>
                  <a:lnTo>
                    <a:pt x="180936" y="109588"/>
                  </a:lnTo>
                  <a:lnTo>
                    <a:pt x="180898" y="109715"/>
                  </a:lnTo>
                  <a:lnTo>
                    <a:pt x="180898" y="110045"/>
                  </a:lnTo>
                  <a:lnTo>
                    <a:pt x="181025" y="110096"/>
                  </a:lnTo>
                  <a:lnTo>
                    <a:pt x="181165" y="109956"/>
                  </a:lnTo>
                  <a:lnTo>
                    <a:pt x="181317" y="109689"/>
                  </a:lnTo>
                  <a:close/>
                </a:path>
                <a:path w="333375" h="379729">
                  <a:moveTo>
                    <a:pt x="222999" y="128524"/>
                  </a:moveTo>
                  <a:close/>
                </a:path>
                <a:path w="333375" h="379729">
                  <a:moveTo>
                    <a:pt x="223659" y="128206"/>
                  </a:moveTo>
                  <a:lnTo>
                    <a:pt x="223469" y="128409"/>
                  </a:lnTo>
                  <a:lnTo>
                    <a:pt x="223227" y="128447"/>
                  </a:lnTo>
                  <a:lnTo>
                    <a:pt x="223012" y="128549"/>
                  </a:lnTo>
                  <a:lnTo>
                    <a:pt x="223342" y="129184"/>
                  </a:lnTo>
                  <a:lnTo>
                    <a:pt x="223481" y="128587"/>
                  </a:lnTo>
                  <a:lnTo>
                    <a:pt x="223659" y="128206"/>
                  </a:lnTo>
                  <a:close/>
                </a:path>
                <a:path w="333375" h="379729">
                  <a:moveTo>
                    <a:pt x="223812" y="127990"/>
                  </a:moveTo>
                  <a:lnTo>
                    <a:pt x="223697" y="128117"/>
                  </a:lnTo>
                  <a:lnTo>
                    <a:pt x="223812" y="127990"/>
                  </a:lnTo>
                  <a:close/>
                </a:path>
                <a:path w="333375" h="379729">
                  <a:moveTo>
                    <a:pt x="317665" y="1676"/>
                  </a:moveTo>
                  <a:lnTo>
                    <a:pt x="317588" y="1447"/>
                  </a:lnTo>
                  <a:lnTo>
                    <a:pt x="317449" y="1371"/>
                  </a:lnTo>
                  <a:lnTo>
                    <a:pt x="317284" y="1536"/>
                  </a:lnTo>
                  <a:lnTo>
                    <a:pt x="317360" y="1765"/>
                  </a:lnTo>
                  <a:lnTo>
                    <a:pt x="317500" y="1841"/>
                  </a:lnTo>
                  <a:lnTo>
                    <a:pt x="317665" y="1676"/>
                  </a:lnTo>
                  <a:close/>
                </a:path>
                <a:path w="333375" h="379729">
                  <a:moveTo>
                    <a:pt x="328155" y="3263"/>
                  </a:moveTo>
                  <a:lnTo>
                    <a:pt x="328104" y="3111"/>
                  </a:lnTo>
                  <a:lnTo>
                    <a:pt x="327901" y="3009"/>
                  </a:lnTo>
                  <a:lnTo>
                    <a:pt x="327812" y="3213"/>
                  </a:lnTo>
                  <a:lnTo>
                    <a:pt x="327863" y="3352"/>
                  </a:lnTo>
                  <a:lnTo>
                    <a:pt x="328053" y="3467"/>
                  </a:lnTo>
                  <a:lnTo>
                    <a:pt x="328155" y="3263"/>
                  </a:lnTo>
                  <a:close/>
                </a:path>
                <a:path w="333375" h="379729">
                  <a:moveTo>
                    <a:pt x="333375" y="9918"/>
                  </a:moveTo>
                  <a:lnTo>
                    <a:pt x="333336" y="9321"/>
                  </a:lnTo>
                  <a:lnTo>
                    <a:pt x="333133" y="9182"/>
                  </a:lnTo>
                  <a:lnTo>
                    <a:pt x="332828" y="9232"/>
                  </a:lnTo>
                  <a:lnTo>
                    <a:pt x="332308" y="9321"/>
                  </a:lnTo>
                  <a:lnTo>
                    <a:pt x="331724" y="9588"/>
                  </a:lnTo>
                  <a:lnTo>
                    <a:pt x="331812" y="10452"/>
                  </a:lnTo>
                  <a:lnTo>
                    <a:pt x="331558" y="10617"/>
                  </a:lnTo>
                  <a:lnTo>
                    <a:pt x="330161" y="10883"/>
                  </a:lnTo>
                  <a:lnTo>
                    <a:pt x="329793" y="11150"/>
                  </a:lnTo>
                  <a:lnTo>
                    <a:pt x="329692" y="11430"/>
                  </a:lnTo>
                  <a:lnTo>
                    <a:pt x="328396" y="11430"/>
                  </a:lnTo>
                  <a:lnTo>
                    <a:pt x="328968" y="10160"/>
                  </a:lnTo>
                  <a:lnTo>
                    <a:pt x="326415" y="10160"/>
                  </a:lnTo>
                  <a:lnTo>
                    <a:pt x="327418" y="8890"/>
                  </a:lnTo>
                  <a:lnTo>
                    <a:pt x="328993" y="7708"/>
                  </a:lnTo>
                  <a:lnTo>
                    <a:pt x="329247" y="8039"/>
                  </a:lnTo>
                  <a:lnTo>
                    <a:pt x="329349" y="8318"/>
                  </a:lnTo>
                  <a:lnTo>
                    <a:pt x="330060" y="7823"/>
                  </a:lnTo>
                  <a:lnTo>
                    <a:pt x="329971" y="7620"/>
                  </a:lnTo>
                  <a:lnTo>
                    <a:pt x="329704" y="7327"/>
                  </a:lnTo>
                  <a:lnTo>
                    <a:pt x="329501" y="7239"/>
                  </a:lnTo>
                  <a:lnTo>
                    <a:pt x="329171" y="7340"/>
                  </a:lnTo>
                  <a:lnTo>
                    <a:pt x="328968" y="7493"/>
                  </a:lnTo>
                  <a:lnTo>
                    <a:pt x="327787" y="6350"/>
                  </a:lnTo>
                  <a:lnTo>
                    <a:pt x="329006" y="6350"/>
                  </a:lnTo>
                  <a:lnTo>
                    <a:pt x="328536" y="5080"/>
                  </a:lnTo>
                  <a:lnTo>
                    <a:pt x="329044" y="3810"/>
                  </a:lnTo>
                  <a:lnTo>
                    <a:pt x="330771" y="3810"/>
                  </a:lnTo>
                  <a:lnTo>
                    <a:pt x="330454" y="2540"/>
                  </a:lnTo>
                  <a:lnTo>
                    <a:pt x="328739" y="3810"/>
                  </a:lnTo>
                  <a:lnTo>
                    <a:pt x="325678" y="3810"/>
                  </a:lnTo>
                  <a:lnTo>
                    <a:pt x="325005" y="2540"/>
                  </a:lnTo>
                  <a:lnTo>
                    <a:pt x="324726" y="2540"/>
                  </a:lnTo>
                  <a:lnTo>
                    <a:pt x="324726" y="15240"/>
                  </a:lnTo>
                  <a:lnTo>
                    <a:pt x="322986" y="15240"/>
                  </a:lnTo>
                  <a:lnTo>
                    <a:pt x="322897" y="16510"/>
                  </a:lnTo>
                  <a:lnTo>
                    <a:pt x="322491" y="16510"/>
                  </a:lnTo>
                  <a:lnTo>
                    <a:pt x="322643" y="15240"/>
                  </a:lnTo>
                  <a:lnTo>
                    <a:pt x="323329" y="13970"/>
                  </a:lnTo>
                  <a:lnTo>
                    <a:pt x="324205" y="13970"/>
                  </a:lnTo>
                  <a:lnTo>
                    <a:pt x="324726" y="15240"/>
                  </a:lnTo>
                  <a:lnTo>
                    <a:pt x="324726" y="2540"/>
                  </a:lnTo>
                  <a:lnTo>
                    <a:pt x="323303" y="2540"/>
                  </a:lnTo>
                  <a:lnTo>
                    <a:pt x="323303" y="5080"/>
                  </a:lnTo>
                  <a:lnTo>
                    <a:pt x="322872" y="5080"/>
                  </a:lnTo>
                  <a:lnTo>
                    <a:pt x="323011" y="3810"/>
                  </a:lnTo>
                  <a:lnTo>
                    <a:pt x="323253"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78" y="3810"/>
                  </a:lnTo>
                  <a:lnTo>
                    <a:pt x="296887" y="3810"/>
                  </a:lnTo>
                  <a:lnTo>
                    <a:pt x="294246" y="5080"/>
                  </a:lnTo>
                  <a:lnTo>
                    <a:pt x="292887" y="6350"/>
                  </a:lnTo>
                  <a:lnTo>
                    <a:pt x="291541"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75" y="29210"/>
                  </a:lnTo>
                  <a:lnTo>
                    <a:pt x="258889" y="31750"/>
                  </a:lnTo>
                  <a:lnTo>
                    <a:pt x="256552" y="31750"/>
                  </a:lnTo>
                  <a:lnTo>
                    <a:pt x="256120" y="34290"/>
                  </a:lnTo>
                  <a:lnTo>
                    <a:pt x="254304" y="35560"/>
                  </a:lnTo>
                  <a:lnTo>
                    <a:pt x="250215" y="39370"/>
                  </a:lnTo>
                  <a:lnTo>
                    <a:pt x="248462" y="39370"/>
                  </a:lnTo>
                  <a:lnTo>
                    <a:pt x="246354" y="43180"/>
                  </a:lnTo>
                  <a:lnTo>
                    <a:pt x="244881" y="44450"/>
                  </a:lnTo>
                  <a:lnTo>
                    <a:pt x="242354" y="45720"/>
                  </a:lnTo>
                  <a:lnTo>
                    <a:pt x="241503" y="45720"/>
                  </a:lnTo>
                  <a:lnTo>
                    <a:pt x="241922" y="48260"/>
                  </a:lnTo>
                  <a:lnTo>
                    <a:pt x="238975" y="48260"/>
                  </a:lnTo>
                  <a:lnTo>
                    <a:pt x="237324" y="52070"/>
                  </a:lnTo>
                  <a:lnTo>
                    <a:pt x="234772" y="53340"/>
                  </a:lnTo>
                  <a:lnTo>
                    <a:pt x="232397" y="55880"/>
                  </a:lnTo>
                  <a:lnTo>
                    <a:pt x="231381" y="57150"/>
                  </a:lnTo>
                  <a:lnTo>
                    <a:pt x="227774" y="58420"/>
                  </a:lnTo>
                  <a:lnTo>
                    <a:pt x="227545" y="60960"/>
                  </a:lnTo>
                  <a:lnTo>
                    <a:pt x="225425" y="62230"/>
                  </a:lnTo>
                  <a:lnTo>
                    <a:pt x="225425" y="63500"/>
                  </a:lnTo>
                  <a:lnTo>
                    <a:pt x="223367" y="63500"/>
                  </a:lnTo>
                  <a:lnTo>
                    <a:pt x="222910" y="64770"/>
                  </a:lnTo>
                  <a:lnTo>
                    <a:pt x="222681" y="66040"/>
                  </a:lnTo>
                  <a:lnTo>
                    <a:pt x="221957" y="67310"/>
                  </a:lnTo>
                  <a:lnTo>
                    <a:pt x="219989" y="68580"/>
                  </a:lnTo>
                  <a:lnTo>
                    <a:pt x="218490" y="68580"/>
                  </a:lnTo>
                  <a:lnTo>
                    <a:pt x="216941" y="71120"/>
                  </a:lnTo>
                  <a:lnTo>
                    <a:pt x="215734" y="72390"/>
                  </a:lnTo>
                  <a:lnTo>
                    <a:pt x="214960" y="74930"/>
                  </a:lnTo>
                  <a:lnTo>
                    <a:pt x="214058" y="74930"/>
                  </a:lnTo>
                  <a:lnTo>
                    <a:pt x="212229" y="76200"/>
                  </a:lnTo>
                  <a:lnTo>
                    <a:pt x="210172" y="78740"/>
                  </a:lnTo>
                  <a:lnTo>
                    <a:pt x="208470" y="80010"/>
                  </a:lnTo>
                  <a:lnTo>
                    <a:pt x="207327" y="81280"/>
                  </a:lnTo>
                  <a:lnTo>
                    <a:pt x="205422" y="83820"/>
                  </a:lnTo>
                  <a:lnTo>
                    <a:pt x="204876" y="85090"/>
                  </a:lnTo>
                  <a:lnTo>
                    <a:pt x="203962" y="86360"/>
                  </a:lnTo>
                  <a:lnTo>
                    <a:pt x="201498" y="87630"/>
                  </a:lnTo>
                  <a:lnTo>
                    <a:pt x="200304" y="88900"/>
                  </a:lnTo>
                  <a:lnTo>
                    <a:pt x="199796" y="90170"/>
                  </a:lnTo>
                  <a:lnTo>
                    <a:pt x="197345" y="90170"/>
                  </a:lnTo>
                  <a:lnTo>
                    <a:pt x="197993" y="91440"/>
                  </a:lnTo>
                  <a:lnTo>
                    <a:pt x="197904" y="93980"/>
                  </a:lnTo>
                  <a:lnTo>
                    <a:pt x="195478" y="93980"/>
                  </a:lnTo>
                  <a:lnTo>
                    <a:pt x="195262" y="95250"/>
                  </a:lnTo>
                  <a:lnTo>
                    <a:pt x="193408" y="96520"/>
                  </a:lnTo>
                  <a:lnTo>
                    <a:pt x="192760" y="97790"/>
                  </a:lnTo>
                  <a:lnTo>
                    <a:pt x="192354" y="99060"/>
                  </a:lnTo>
                  <a:lnTo>
                    <a:pt x="190055" y="100330"/>
                  </a:lnTo>
                  <a:lnTo>
                    <a:pt x="188785" y="100330"/>
                  </a:lnTo>
                  <a:lnTo>
                    <a:pt x="189611" y="101600"/>
                  </a:lnTo>
                  <a:lnTo>
                    <a:pt x="189496"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96"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34"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28" y="133350"/>
                  </a:lnTo>
                  <a:lnTo>
                    <a:pt x="163144" y="134620"/>
                  </a:lnTo>
                  <a:lnTo>
                    <a:pt x="162712" y="135890"/>
                  </a:lnTo>
                  <a:lnTo>
                    <a:pt x="162864" y="137160"/>
                  </a:lnTo>
                  <a:lnTo>
                    <a:pt x="159270" y="137160"/>
                  </a:lnTo>
                  <a:lnTo>
                    <a:pt x="159270" y="148590"/>
                  </a:lnTo>
                  <a:lnTo>
                    <a:pt x="159194" y="149860"/>
                  </a:lnTo>
                  <a:lnTo>
                    <a:pt x="158229" y="149860"/>
                  </a:lnTo>
                  <a:lnTo>
                    <a:pt x="158394" y="148590"/>
                  </a:lnTo>
                  <a:lnTo>
                    <a:pt x="159270" y="148590"/>
                  </a:lnTo>
                  <a:lnTo>
                    <a:pt x="159270" y="137160"/>
                  </a:lnTo>
                  <a:lnTo>
                    <a:pt x="158851" y="137160"/>
                  </a:lnTo>
                  <a:lnTo>
                    <a:pt x="159092" y="140970"/>
                  </a:lnTo>
                  <a:lnTo>
                    <a:pt x="156210" y="140970"/>
                  </a:lnTo>
                  <a:lnTo>
                    <a:pt x="156032" y="144780"/>
                  </a:lnTo>
                  <a:lnTo>
                    <a:pt x="154787" y="146050"/>
                  </a:lnTo>
                  <a:lnTo>
                    <a:pt x="152069"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55"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69"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66" y="170180"/>
                  </a:lnTo>
                  <a:lnTo>
                    <a:pt x="134277" y="171450"/>
                  </a:lnTo>
                  <a:lnTo>
                    <a:pt x="133248" y="171450"/>
                  </a:lnTo>
                  <a:lnTo>
                    <a:pt x="134239" y="173990"/>
                  </a:lnTo>
                  <a:lnTo>
                    <a:pt x="133273" y="175260"/>
                  </a:lnTo>
                  <a:lnTo>
                    <a:pt x="130822" y="176530"/>
                  </a:lnTo>
                  <a:lnTo>
                    <a:pt x="129857" y="179070"/>
                  </a:lnTo>
                  <a:lnTo>
                    <a:pt x="127190" y="180340"/>
                  </a:lnTo>
                  <a:lnTo>
                    <a:pt x="126936" y="180340"/>
                  </a:lnTo>
                  <a:lnTo>
                    <a:pt x="126873" y="182880"/>
                  </a:lnTo>
                  <a:lnTo>
                    <a:pt x="125831" y="185420"/>
                  </a:lnTo>
                  <a:lnTo>
                    <a:pt x="126009" y="187960"/>
                  </a:lnTo>
                  <a:lnTo>
                    <a:pt x="124587" y="187960"/>
                  </a:lnTo>
                  <a:lnTo>
                    <a:pt x="124002" y="189230"/>
                  </a:lnTo>
                  <a:lnTo>
                    <a:pt x="123228" y="187960"/>
                  </a:lnTo>
                  <a:lnTo>
                    <a:pt x="123037" y="189865"/>
                  </a:lnTo>
                  <a:lnTo>
                    <a:pt x="123037" y="269240"/>
                  </a:lnTo>
                  <a:lnTo>
                    <a:pt x="122669" y="269240"/>
                  </a:lnTo>
                  <a:lnTo>
                    <a:pt x="122872" y="267970"/>
                  </a:lnTo>
                  <a:lnTo>
                    <a:pt x="123037" y="269240"/>
                  </a:lnTo>
                  <a:lnTo>
                    <a:pt x="123037" y="189865"/>
                  </a:lnTo>
                  <a:lnTo>
                    <a:pt x="122974" y="190500"/>
                  </a:lnTo>
                  <a:lnTo>
                    <a:pt x="121780" y="190500"/>
                  </a:lnTo>
                  <a:lnTo>
                    <a:pt x="120370" y="191770"/>
                  </a:lnTo>
                  <a:lnTo>
                    <a:pt x="119684" y="191770"/>
                  </a:lnTo>
                  <a:lnTo>
                    <a:pt x="118198" y="193040"/>
                  </a:lnTo>
                  <a:lnTo>
                    <a:pt x="119761" y="193040"/>
                  </a:lnTo>
                  <a:lnTo>
                    <a:pt x="119176" y="194310"/>
                  </a:lnTo>
                  <a:lnTo>
                    <a:pt x="118033" y="195580"/>
                  </a:lnTo>
                  <a:lnTo>
                    <a:pt x="117906" y="198120"/>
                  </a:lnTo>
                  <a:lnTo>
                    <a:pt x="115493" y="198120"/>
                  </a:lnTo>
                  <a:lnTo>
                    <a:pt x="116395" y="200660"/>
                  </a:lnTo>
                  <a:lnTo>
                    <a:pt x="115404" y="200660"/>
                  </a:lnTo>
                  <a:lnTo>
                    <a:pt x="113461" y="201930"/>
                  </a:lnTo>
                  <a:lnTo>
                    <a:pt x="113017" y="203200"/>
                  </a:lnTo>
                  <a:lnTo>
                    <a:pt x="111671" y="204470"/>
                  </a:lnTo>
                  <a:lnTo>
                    <a:pt x="110871" y="205740"/>
                  </a:lnTo>
                  <a:lnTo>
                    <a:pt x="110642" y="207010"/>
                  </a:lnTo>
                  <a:lnTo>
                    <a:pt x="108140" y="207010"/>
                  </a:lnTo>
                  <a:lnTo>
                    <a:pt x="108813" y="208280"/>
                  </a:lnTo>
                  <a:lnTo>
                    <a:pt x="107721" y="210820"/>
                  </a:lnTo>
                  <a:lnTo>
                    <a:pt x="107391" y="212090"/>
                  </a:lnTo>
                  <a:lnTo>
                    <a:pt x="105460" y="212090"/>
                  </a:lnTo>
                  <a:lnTo>
                    <a:pt x="105956" y="214630"/>
                  </a:lnTo>
                  <a:lnTo>
                    <a:pt x="104559" y="215900"/>
                  </a:lnTo>
                  <a:lnTo>
                    <a:pt x="104787" y="217170"/>
                  </a:lnTo>
                  <a:lnTo>
                    <a:pt x="100672" y="217170"/>
                  </a:lnTo>
                  <a:lnTo>
                    <a:pt x="100291" y="218440"/>
                  </a:lnTo>
                  <a:lnTo>
                    <a:pt x="101041" y="222250"/>
                  </a:lnTo>
                  <a:lnTo>
                    <a:pt x="99339" y="222250"/>
                  </a:lnTo>
                  <a:lnTo>
                    <a:pt x="99415" y="226060"/>
                  </a:lnTo>
                  <a:lnTo>
                    <a:pt x="94805" y="226060"/>
                  </a:lnTo>
                  <a:lnTo>
                    <a:pt x="96177" y="228600"/>
                  </a:lnTo>
                  <a:lnTo>
                    <a:pt x="96151" y="229870"/>
                  </a:lnTo>
                  <a:lnTo>
                    <a:pt x="95402" y="229870"/>
                  </a:lnTo>
                  <a:lnTo>
                    <a:pt x="95694" y="231140"/>
                  </a:lnTo>
                  <a:lnTo>
                    <a:pt x="93281" y="230009"/>
                  </a:lnTo>
                  <a:lnTo>
                    <a:pt x="93294" y="230212"/>
                  </a:lnTo>
                  <a:lnTo>
                    <a:pt x="94170" y="231140"/>
                  </a:lnTo>
                  <a:lnTo>
                    <a:pt x="93535" y="233680"/>
                  </a:lnTo>
                  <a:lnTo>
                    <a:pt x="93294" y="230212"/>
                  </a:lnTo>
                  <a:lnTo>
                    <a:pt x="92697" y="232410"/>
                  </a:lnTo>
                  <a:lnTo>
                    <a:pt x="92824" y="232410"/>
                  </a:lnTo>
                  <a:lnTo>
                    <a:pt x="93472" y="234950"/>
                  </a:lnTo>
                  <a:lnTo>
                    <a:pt x="93510" y="236220"/>
                  </a:lnTo>
                  <a:lnTo>
                    <a:pt x="89954" y="237490"/>
                  </a:lnTo>
                  <a:lnTo>
                    <a:pt x="89496" y="237490"/>
                  </a:lnTo>
                  <a:lnTo>
                    <a:pt x="89052" y="242570"/>
                  </a:lnTo>
                  <a:lnTo>
                    <a:pt x="86563" y="241300"/>
                  </a:lnTo>
                  <a:lnTo>
                    <a:pt x="85801" y="242570"/>
                  </a:lnTo>
                  <a:lnTo>
                    <a:pt x="86004" y="243840"/>
                  </a:lnTo>
                  <a:lnTo>
                    <a:pt x="85318" y="245110"/>
                  </a:lnTo>
                  <a:lnTo>
                    <a:pt x="85178" y="247650"/>
                  </a:lnTo>
                  <a:lnTo>
                    <a:pt x="84251" y="248920"/>
                  </a:lnTo>
                  <a:lnTo>
                    <a:pt x="82092" y="248920"/>
                  </a:lnTo>
                  <a:lnTo>
                    <a:pt x="82804" y="251460"/>
                  </a:lnTo>
                  <a:lnTo>
                    <a:pt x="81267" y="251460"/>
                  </a:lnTo>
                  <a:lnTo>
                    <a:pt x="81254" y="251193"/>
                  </a:lnTo>
                  <a:lnTo>
                    <a:pt x="81216" y="251066"/>
                  </a:lnTo>
                  <a:lnTo>
                    <a:pt x="80848" y="251015"/>
                  </a:lnTo>
                  <a:lnTo>
                    <a:pt x="80848" y="251155"/>
                  </a:lnTo>
                  <a:lnTo>
                    <a:pt x="80797" y="251307"/>
                  </a:lnTo>
                  <a:lnTo>
                    <a:pt x="80962" y="251637"/>
                  </a:lnTo>
                  <a:lnTo>
                    <a:pt x="81165" y="251625"/>
                  </a:lnTo>
                  <a:lnTo>
                    <a:pt x="80645" y="254000"/>
                  </a:lnTo>
                  <a:lnTo>
                    <a:pt x="79502" y="252730"/>
                  </a:lnTo>
                  <a:lnTo>
                    <a:pt x="79489" y="254000"/>
                  </a:lnTo>
                  <a:lnTo>
                    <a:pt x="77330" y="255270"/>
                  </a:lnTo>
                  <a:lnTo>
                    <a:pt x="79019" y="256540"/>
                  </a:lnTo>
                  <a:lnTo>
                    <a:pt x="78879" y="256540"/>
                  </a:lnTo>
                  <a:lnTo>
                    <a:pt x="77482" y="257810"/>
                  </a:lnTo>
                  <a:lnTo>
                    <a:pt x="76771" y="259080"/>
                  </a:lnTo>
                  <a:lnTo>
                    <a:pt x="76288" y="261620"/>
                  </a:lnTo>
                  <a:lnTo>
                    <a:pt x="74803" y="261620"/>
                  </a:lnTo>
                  <a:lnTo>
                    <a:pt x="74523" y="262890"/>
                  </a:lnTo>
                  <a:lnTo>
                    <a:pt x="72936" y="265430"/>
                  </a:lnTo>
                  <a:lnTo>
                    <a:pt x="72453" y="266700"/>
                  </a:lnTo>
                  <a:lnTo>
                    <a:pt x="69494" y="269240"/>
                  </a:lnTo>
                  <a:lnTo>
                    <a:pt x="69532" y="271780"/>
                  </a:lnTo>
                  <a:lnTo>
                    <a:pt x="69151" y="270510"/>
                  </a:lnTo>
                  <a:lnTo>
                    <a:pt x="67894" y="273050"/>
                  </a:lnTo>
                  <a:lnTo>
                    <a:pt x="67398" y="274320"/>
                  </a:lnTo>
                  <a:lnTo>
                    <a:pt x="66319" y="274320"/>
                  </a:lnTo>
                  <a:lnTo>
                    <a:pt x="68237" y="275590"/>
                  </a:lnTo>
                  <a:lnTo>
                    <a:pt x="66446" y="275590"/>
                  </a:lnTo>
                  <a:lnTo>
                    <a:pt x="66446" y="364490"/>
                  </a:lnTo>
                  <a:lnTo>
                    <a:pt x="65684" y="365760"/>
                  </a:lnTo>
                  <a:lnTo>
                    <a:pt x="65036" y="365760"/>
                  </a:lnTo>
                  <a:lnTo>
                    <a:pt x="65786" y="364490"/>
                  </a:lnTo>
                  <a:lnTo>
                    <a:pt x="66446" y="364490"/>
                  </a:lnTo>
                  <a:lnTo>
                    <a:pt x="66446" y="275590"/>
                  </a:lnTo>
                  <a:lnTo>
                    <a:pt x="65836" y="275590"/>
                  </a:lnTo>
                  <a:lnTo>
                    <a:pt x="65303" y="276860"/>
                  </a:lnTo>
                  <a:lnTo>
                    <a:pt x="65455" y="278130"/>
                  </a:lnTo>
                  <a:lnTo>
                    <a:pt x="64033" y="279400"/>
                  </a:lnTo>
                  <a:lnTo>
                    <a:pt x="64630" y="281940"/>
                  </a:lnTo>
                  <a:lnTo>
                    <a:pt x="64312" y="281940"/>
                  </a:lnTo>
                  <a:lnTo>
                    <a:pt x="62128" y="280670"/>
                  </a:lnTo>
                  <a:lnTo>
                    <a:pt x="60325" y="283210"/>
                  </a:lnTo>
                  <a:lnTo>
                    <a:pt x="61810" y="285750"/>
                  </a:lnTo>
                  <a:lnTo>
                    <a:pt x="60210" y="287020"/>
                  </a:lnTo>
                  <a:lnTo>
                    <a:pt x="60236" y="288290"/>
                  </a:lnTo>
                  <a:lnTo>
                    <a:pt x="59550" y="288290"/>
                  </a:lnTo>
                  <a:lnTo>
                    <a:pt x="58166" y="289560"/>
                  </a:lnTo>
                  <a:lnTo>
                    <a:pt x="57950" y="289560"/>
                  </a:lnTo>
                  <a:lnTo>
                    <a:pt x="58229" y="290830"/>
                  </a:lnTo>
                  <a:lnTo>
                    <a:pt x="58635" y="292100"/>
                  </a:lnTo>
                  <a:lnTo>
                    <a:pt x="56972" y="292100"/>
                  </a:lnTo>
                  <a:lnTo>
                    <a:pt x="56845" y="292544"/>
                  </a:lnTo>
                  <a:lnTo>
                    <a:pt x="56845" y="370840"/>
                  </a:lnTo>
                  <a:lnTo>
                    <a:pt x="56781" y="372110"/>
                  </a:lnTo>
                  <a:lnTo>
                    <a:pt x="55638" y="372110"/>
                  </a:lnTo>
                  <a:lnTo>
                    <a:pt x="54889" y="373380"/>
                  </a:lnTo>
                  <a:lnTo>
                    <a:pt x="53924" y="374650"/>
                  </a:lnTo>
                  <a:lnTo>
                    <a:pt x="52730" y="374650"/>
                  </a:lnTo>
                  <a:lnTo>
                    <a:pt x="52400" y="375920"/>
                  </a:lnTo>
                  <a:lnTo>
                    <a:pt x="51269" y="375920"/>
                  </a:lnTo>
                  <a:lnTo>
                    <a:pt x="51523" y="374650"/>
                  </a:lnTo>
                  <a:lnTo>
                    <a:pt x="50723" y="374650"/>
                  </a:lnTo>
                  <a:lnTo>
                    <a:pt x="51358" y="373380"/>
                  </a:lnTo>
                  <a:lnTo>
                    <a:pt x="51803" y="372110"/>
                  </a:lnTo>
                  <a:lnTo>
                    <a:pt x="52070" y="373380"/>
                  </a:lnTo>
                  <a:lnTo>
                    <a:pt x="53251" y="373380"/>
                  </a:lnTo>
                  <a:lnTo>
                    <a:pt x="53543" y="372110"/>
                  </a:lnTo>
                  <a:lnTo>
                    <a:pt x="53403" y="372110"/>
                  </a:lnTo>
                  <a:lnTo>
                    <a:pt x="53454" y="370840"/>
                  </a:lnTo>
                  <a:lnTo>
                    <a:pt x="53644" y="370840"/>
                  </a:lnTo>
                  <a:lnTo>
                    <a:pt x="53682" y="372071"/>
                  </a:lnTo>
                  <a:lnTo>
                    <a:pt x="54864" y="370840"/>
                  </a:lnTo>
                  <a:lnTo>
                    <a:pt x="56845" y="370840"/>
                  </a:lnTo>
                  <a:lnTo>
                    <a:pt x="56845" y="292544"/>
                  </a:lnTo>
                  <a:lnTo>
                    <a:pt x="56603" y="293370"/>
                  </a:lnTo>
                  <a:lnTo>
                    <a:pt x="56807" y="294640"/>
                  </a:lnTo>
                  <a:lnTo>
                    <a:pt x="55499" y="294640"/>
                  </a:lnTo>
                  <a:lnTo>
                    <a:pt x="55600" y="295440"/>
                  </a:lnTo>
                  <a:lnTo>
                    <a:pt x="55791" y="295910"/>
                  </a:lnTo>
                  <a:lnTo>
                    <a:pt x="55651" y="295910"/>
                  </a:lnTo>
                  <a:lnTo>
                    <a:pt x="55562" y="295363"/>
                  </a:lnTo>
                  <a:lnTo>
                    <a:pt x="55257" y="294640"/>
                  </a:lnTo>
                  <a:lnTo>
                    <a:pt x="55587" y="295910"/>
                  </a:lnTo>
                  <a:lnTo>
                    <a:pt x="55232" y="295427"/>
                  </a:lnTo>
                  <a:lnTo>
                    <a:pt x="55118" y="295211"/>
                  </a:lnTo>
                  <a:lnTo>
                    <a:pt x="54940" y="294982"/>
                  </a:lnTo>
                  <a:lnTo>
                    <a:pt x="54838" y="294855"/>
                  </a:lnTo>
                  <a:lnTo>
                    <a:pt x="55143" y="295910"/>
                  </a:lnTo>
                  <a:lnTo>
                    <a:pt x="55587" y="298450"/>
                  </a:lnTo>
                  <a:lnTo>
                    <a:pt x="54051" y="294690"/>
                  </a:lnTo>
                  <a:lnTo>
                    <a:pt x="54127" y="295224"/>
                  </a:lnTo>
                  <a:lnTo>
                    <a:pt x="54076" y="295097"/>
                  </a:lnTo>
                  <a:lnTo>
                    <a:pt x="53886" y="294767"/>
                  </a:lnTo>
                  <a:lnTo>
                    <a:pt x="53975" y="295021"/>
                  </a:lnTo>
                  <a:lnTo>
                    <a:pt x="54076" y="295211"/>
                  </a:lnTo>
                  <a:lnTo>
                    <a:pt x="54152" y="295338"/>
                  </a:lnTo>
                  <a:lnTo>
                    <a:pt x="54457" y="297180"/>
                  </a:lnTo>
                  <a:lnTo>
                    <a:pt x="53911" y="295910"/>
                  </a:lnTo>
                  <a:lnTo>
                    <a:pt x="54038" y="297180"/>
                  </a:lnTo>
                  <a:lnTo>
                    <a:pt x="53530" y="295910"/>
                  </a:lnTo>
                  <a:lnTo>
                    <a:pt x="53860" y="297180"/>
                  </a:lnTo>
                  <a:lnTo>
                    <a:pt x="53594" y="297180"/>
                  </a:lnTo>
                  <a:lnTo>
                    <a:pt x="53886" y="298450"/>
                  </a:lnTo>
                  <a:lnTo>
                    <a:pt x="53873" y="299720"/>
                  </a:lnTo>
                  <a:lnTo>
                    <a:pt x="53530" y="297688"/>
                  </a:lnTo>
                  <a:lnTo>
                    <a:pt x="53606" y="300990"/>
                  </a:lnTo>
                  <a:lnTo>
                    <a:pt x="53479" y="299720"/>
                  </a:lnTo>
                  <a:lnTo>
                    <a:pt x="53213" y="297446"/>
                  </a:lnTo>
                  <a:lnTo>
                    <a:pt x="53251" y="299720"/>
                  </a:lnTo>
                  <a:lnTo>
                    <a:pt x="53035" y="295363"/>
                  </a:lnTo>
                  <a:lnTo>
                    <a:pt x="52844" y="299720"/>
                  </a:lnTo>
                  <a:lnTo>
                    <a:pt x="52844" y="297180"/>
                  </a:lnTo>
                  <a:lnTo>
                    <a:pt x="52793" y="298450"/>
                  </a:lnTo>
                  <a:lnTo>
                    <a:pt x="52692" y="299720"/>
                  </a:lnTo>
                  <a:lnTo>
                    <a:pt x="52539" y="299720"/>
                  </a:lnTo>
                  <a:lnTo>
                    <a:pt x="52679" y="297180"/>
                  </a:lnTo>
                  <a:lnTo>
                    <a:pt x="52336" y="299720"/>
                  </a:lnTo>
                  <a:lnTo>
                    <a:pt x="52006" y="298450"/>
                  </a:lnTo>
                  <a:lnTo>
                    <a:pt x="51638" y="298450"/>
                  </a:lnTo>
                  <a:lnTo>
                    <a:pt x="51422" y="297180"/>
                  </a:lnTo>
                  <a:lnTo>
                    <a:pt x="51714" y="297180"/>
                  </a:lnTo>
                  <a:lnTo>
                    <a:pt x="52717" y="295910"/>
                  </a:lnTo>
                  <a:lnTo>
                    <a:pt x="52514" y="295910"/>
                  </a:lnTo>
                  <a:lnTo>
                    <a:pt x="51879" y="294640"/>
                  </a:lnTo>
                  <a:lnTo>
                    <a:pt x="51460" y="294640"/>
                  </a:lnTo>
                  <a:lnTo>
                    <a:pt x="50990" y="293370"/>
                  </a:lnTo>
                  <a:lnTo>
                    <a:pt x="51181" y="292100"/>
                  </a:lnTo>
                  <a:lnTo>
                    <a:pt x="51358" y="290830"/>
                  </a:lnTo>
                  <a:lnTo>
                    <a:pt x="50609" y="290830"/>
                  </a:lnTo>
                  <a:lnTo>
                    <a:pt x="50558" y="292100"/>
                  </a:lnTo>
                  <a:lnTo>
                    <a:pt x="50507" y="377190"/>
                  </a:lnTo>
                  <a:lnTo>
                    <a:pt x="50380" y="377190"/>
                  </a:lnTo>
                  <a:lnTo>
                    <a:pt x="50406" y="375920"/>
                  </a:lnTo>
                  <a:lnTo>
                    <a:pt x="50507" y="377190"/>
                  </a:lnTo>
                  <a:lnTo>
                    <a:pt x="50507" y="292100"/>
                  </a:lnTo>
                  <a:lnTo>
                    <a:pt x="50393" y="291846"/>
                  </a:lnTo>
                  <a:lnTo>
                    <a:pt x="50393" y="299720"/>
                  </a:lnTo>
                  <a:lnTo>
                    <a:pt x="50038" y="299720"/>
                  </a:lnTo>
                  <a:lnTo>
                    <a:pt x="50279" y="298450"/>
                  </a:lnTo>
                  <a:lnTo>
                    <a:pt x="50393" y="299720"/>
                  </a:lnTo>
                  <a:lnTo>
                    <a:pt x="50393" y="291846"/>
                  </a:lnTo>
                  <a:lnTo>
                    <a:pt x="50101" y="290830"/>
                  </a:lnTo>
                  <a:lnTo>
                    <a:pt x="51015" y="289560"/>
                  </a:lnTo>
                  <a:lnTo>
                    <a:pt x="50063" y="287020"/>
                  </a:lnTo>
                  <a:lnTo>
                    <a:pt x="51320" y="287020"/>
                  </a:lnTo>
                  <a:lnTo>
                    <a:pt x="51155" y="285750"/>
                  </a:lnTo>
                  <a:lnTo>
                    <a:pt x="51422" y="285750"/>
                  </a:lnTo>
                  <a:lnTo>
                    <a:pt x="50444" y="284480"/>
                  </a:lnTo>
                  <a:lnTo>
                    <a:pt x="49784" y="283210"/>
                  </a:lnTo>
                  <a:lnTo>
                    <a:pt x="49301" y="283210"/>
                  </a:lnTo>
                  <a:lnTo>
                    <a:pt x="50342" y="281940"/>
                  </a:lnTo>
                  <a:lnTo>
                    <a:pt x="50203" y="280670"/>
                  </a:lnTo>
                  <a:lnTo>
                    <a:pt x="48869" y="279400"/>
                  </a:lnTo>
                  <a:lnTo>
                    <a:pt x="48590" y="278130"/>
                  </a:lnTo>
                  <a:lnTo>
                    <a:pt x="49885" y="276860"/>
                  </a:lnTo>
                  <a:lnTo>
                    <a:pt x="49085" y="275590"/>
                  </a:lnTo>
                  <a:lnTo>
                    <a:pt x="48856" y="273050"/>
                  </a:lnTo>
                  <a:lnTo>
                    <a:pt x="48552" y="273050"/>
                  </a:lnTo>
                  <a:lnTo>
                    <a:pt x="47307" y="270510"/>
                  </a:lnTo>
                  <a:lnTo>
                    <a:pt x="47231" y="269240"/>
                  </a:lnTo>
                  <a:lnTo>
                    <a:pt x="49047" y="269240"/>
                  </a:lnTo>
                  <a:lnTo>
                    <a:pt x="48666" y="267970"/>
                  </a:lnTo>
                  <a:lnTo>
                    <a:pt x="47929" y="265430"/>
                  </a:lnTo>
                  <a:lnTo>
                    <a:pt x="45885" y="264160"/>
                  </a:lnTo>
                  <a:lnTo>
                    <a:pt x="47752" y="264160"/>
                  </a:lnTo>
                  <a:lnTo>
                    <a:pt x="48056" y="262890"/>
                  </a:lnTo>
                  <a:lnTo>
                    <a:pt x="48348" y="261620"/>
                  </a:lnTo>
                  <a:lnTo>
                    <a:pt x="47028" y="261620"/>
                  </a:lnTo>
                  <a:lnTo>
                    <a:pt x="47891" y="260350"/>
                  </a:lnTo>
                  <a:lnTo>
                    <a:pt x="46634" y="257810"/>
                  </a:lnTo>
                  <a:lnTo>
                    <a:pt x="45656" y="256654"/>
                  </a:lnTo>
                  <a:lnTo>
                    <a:pt x="45656" y="264160"/>
                  </a:lnTo>
                  <a:lnTo>
                    <a:pt x="45059" y="264160"/>
                  </a:lnTo>
                  <a:lnTo>
                    <a:pt x="44627" y="262991"/>
                  </a:lnTo>
                  <a:lnTo>
                    <a:pt x="44615" y="265430"/>
                  </a:lnTo>
                  <a:lnTo>
                    <a:pt x="44157" y="265430"/>
                  </a:lnTo>
                  <a:lnTo>
                    <a:pt x="43662" y="264160"/>
                  </a:lnTo>
                  <a:lnTo>
                    <a:pt x="43116" y="264160"/>
                  </a:lnTo>
                  <a:lnTo>
                    <a:pt x="44589" y="263017"/>
                  </a:lnTo>
                  <a:lnTo>
                    <a:pt x="44589" y="262890"/>
                  </a:lnTo>
                  <a:lnTo>
                    <a:pt x="44767" y="262890"/>
                  </a:lnTo>
                  <a:lnTo>
                    <a:pt x="45529" y="262890"/>
                  </a:lnTo>
                  <a:lnTo>
                    <a:pt x="45656" y="264160"/>
                  </a:lnTo>
                  <a:lnTo>
                    <a:pt x="45656" y="256654"/>
                  </a:lnTo>
                  <a:lnTo>
                    <a:pt x="46761" y="255270"/>
                  </a:lnTo>
                  <a:lnTo>
                    <a:pt x="46532" y="254000"/>
                  </a:lnTo>
                  <a:lnTo>
                    <a:pt x="46926" y="254000"/>
                  </a:lnTo>
                  <a:lnTo>
                    <a:pt x="46050" y="251460"/>
                  </a:lnTo>
                  <a:lnTo>
                    <a:pt x="44970" y="250190"/>
                  </a:lnTo>
                  <a:lnTo>
                    <a:pt x="44970" y="248920"/>
                  </a:lnTo>
                  <a:lnTo>
                    <a:pt x="46037" y="248920"/>
                  </a:lnTo>
                  <a:lnTo>
                    <a:pt x="46609"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43" y="351790"/>
                  </a:lnTo>
                  <a:lnTo>
                    <a:pt x="13512" y="353060"/>
                  </a:lnTo>
                  <a:lnTo>
                    <a:pt x="13436" y="351790"/>
                  </a:lnTo>
                  <a:lnTo>
                    <a:pt x="12954" y="350520"/>
                  </a:lnTo>
                  <a:lnTo>
                    <a:pt x="13538" y="349250"/>
                  </a:lnTo>
                  <a:lnTo>
                    <a:pt x="13766" y="350520"/>
                  </a:lnTo>
                  <a:lnTo>
                    <a:pt x="14020" y="350520"/>
                  </a:lnTo>
                  <a:lnTo>
                    <a:pt x="14033" y="351790"/>
                  </a:lnTo>
                  <a:lnTo>
                    <a:pt x="14033" y="246380"/>
                  </a:lnTo>
                  <a:lnTo>
                    <a:pt x="7708" y="246380"/>
                  </a:lnTo>
                  <a:lnTo>
                    <a:pt x="7708" y="314960"/>
                  </a:lnTo>
                  <a:lnTo>
                    <a:pt x="7708" y="316230"/>
                  </a:lnTo>
                  <a:lnTo>
                    <a:pt x="7188" y="316230"/>
                  </a:lnTo>
                  <a:lnTo>
                    <a:pt x="7048" y="314960"/>
                  </a:lnTo>
                  <a:lnTo>
                    <a:pt x="7708" y="314960"/>
                  </a:lnTo>
                  <a:lnTo>
                    <a:pt x="7708" y="246380"/>
                  </a:lnTo>
                  <a:lnTo>
                    <a:pt x="5740" y="246380"/>
                  </a:lnTo>
                  <a:lnTo>
                    <a:pt x="5740" y="247650"/>
                  </a:lnTo>
                  <a:lnTo>
                    <a:pt x="5664" y="248348"/>
                  </a:lnTo>
                  <a:lnTo>
                    <a:pt x="5664" y="283210"/>
                  </a:lnTo>
                  <a:lnTo>
                    <a:pt x="5511" y="284480"/>
                  </a:lnTo>
                  <a:lnTo>
                    <a:pt x="5207" y="284480"/>
                  </a:lnTo>
                  <a:lnTo>
                    <a:pt x="5130" y="283210"/>
                  </a:lnTo>
                  <a:lnTo>
                    <a:pt x="5664" y="283210"/>
                  </a:lnTo>
                  <a:lnTo>
                    <a:pt x="5664" y="248348"/>
                  </a:lnTo>
                  <a:lnTo>
                    <a:pt x="5600" y="248920"/>
                  </a:lnTo>
                  <a:lnTo>
                    <a:pt x="4203" y="248920"/>
                  </a:lnTo>
                  <a:lnTo>
                    <a:pt x="4114" y="247650"/>
                  </a:lnTo>
                  <a:lnTo>
                    <a:pt x="5740" y="247650"/>
                  </a:lnTo>
                  <a:lnTo>
                    <a:pt x="5740" y="246380"/>
                  </a:lnTo>
                  <a:lnTo>
                    <a:pt x="3048" y="246380"/>
                  </a:lnTo>
                  <a:lnTo>
                    <a:pt x="3225" y="247650"/>
                  </a:lnTo>
                  <a:lnTo>
                    <a:pt x="2781" y="247650"/>
                  </a:lnTo>
                  <a:lnTo>
                    <a:pt x="2273" y="247650"/>
                  </a:lnTo>
                  <a:lnTo>
                    <a:pt x="1333" y="248920"/>
                  </a:lnTo>
                  <a:lnTo>
                    <a:pt x="2743" y="252730"/>
                  </a:lnTo>
                  <a:lnTo>
                    <a:pt x="2019" y="254000"/>
                  </a:lnTo>
                  <a:lnTo>
                    <a:pt x="2578" y="256540"/>
                  </a:lnTo>
                  <a:lnTo>
                    <a:pt x="1549" y="256540"/>
                  </a:lnTo>
                  <a:lnTo>
                    <a:pt x="2374" y="257810"/>
                  </a:lnTo>
                  <a:lnTo>
                    <a:pt x="3263" y="257810"/>
                  </a:lnTo>
                  <a:lnTo>
                    <a:pt x="3365" y="259080"/>
                  </a:lnTo>
                  <a:lnTo>
                    <a:pt x="2438" y="259080"/>
                  </a:lnTo>
                  <a:lnTo>
                    <a:pt x="2997" y="262890"/>
                  </a:lnTo>
                  <a:lnTo>
                    <a:pt x="0" y="264160"/>
                  </a:lnTo>
                  <a:lnTo>
                    <a:pt x="101" y="265430"/>
                  </a:lnTo>
                  <a:lnTo>
                    <a:pt x="1028" y="265430"/>
                  </a:lnTo>
                  <a:lnTo>
                    <a:pt x="1587" y="266700"/>
                  </a:lnTo>
                  <a:lnTo>
                    <a:pt x="2565" y="265430"/>
                  </a:lnTo>
                  <a:lnTo>
                    <a:pt x="2870" y="265430"/>
                  </a:lnTo>
                  <a:lnTo>
                    <a:pt x="3225" y="266700"/>
                  </a:lnTo>
                  <a:lnTo>
                    <a:pt x="1587" y="266700"/>
                  </a:lnTo>
                  <a:lnTo>
                    <a:pt x="1295" y="266700"/>
                  </a:lnTo>
                  <a:lnTo>
                    <a:pt x="2667" y="269240"/>
                  </a:lnTo>
                  <a:lnTo>
                    <a:pt x="2019"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67" y="283210"/>
                  </a:lnTo>
                  <a:lnTo>
                    <a:pt x="1168" y="287020"/>
                  </a:lnTo>
                  <a:lnTo>
                    <a:pt x="1638" y="288290"/>
                  </a:lnTo>
                  <a:lnTo>
                    <a:pt x="3276" y="289560"/>
                  </a:lnTo>
                  <a:lnTo>
                    <a:pt x="3505" y="290830"/>
                  </a:lnTo>
                  <a:lnTo>
                    <a:pt x="2095" y="292100"/>
                  </a:lnTo>
                  <a:lnTo>
                    <a:pt x="3175" y="293370"/>
                  </a:lnTo>
                  <a:lnTo>
                    <a:pt x="2095" y="295910"/>
                  </a:lnTo>
                  <a:lnTo>
                    <a:pt x="2222" y="297180"/>
                  </a:lnTo>
                  <a:lnTo>
                    <a:pt x="3327" y="300990"/>
                  </a:lnTo>
                  <a:lnTo>
                    <a:pt x="4165" y="306070"/>
                  </a:lnTo>
                  <a:lnTo>
                    <a:pt x="3987" y="309880"/>
                  </a:lnTo>
                  <a:lnTo>
                    <a:pt x="4572" y="312420"/>
                  </a:lnTo>
                  <a:lnTo>
                    <a:pt x="5245" y="314960"/>
                  </a:lnTo>
                  <a:lnTo>
                    <a:pt x="5130" y="318770"/>
                  </a:lnTo>
                  <a:lnTo>
                    <a:pt x="6629" y="321310"/>
                  </a:lnTo>
                  <a:lnTo>
                    <a:pt x="6667" y="322580"/>
                  </a:lnTo>
                  <a:lnTo>
                    <a:pt x="6540" y="325120"/>
                  </a:lnTo>
                  <a:lnTo>
                    <a:pt x="6477" y="328930"/>
                  </a:lnTo>
                  <a:lnTo>
                    <a:pt x="7251" y="330200"/>
                  </a:lnTo>
                  <a:lnTo>
                    <a:pt x="6794" y="331470"/>
                  </a:lnTo>
                  <a:lnTo>
                    <a:pt x="7010" y="332740"/>
                  </a:lnTo>
                  <a:lnTo>
                    <a:pt x="7823" y="334010"/>
                  </a:lnTo>
                  <a:lnTo>
                    <a:pt x="10147" y="339090"/>
                  </a:lnTo>
                  <a:lnTo>
                    <a:pt x="10337" y="340360"/>
                  </a:lnTo>
                  <a:lnTo>
                    <a:pt x="9410" y="344170"/>
                  </a:lnTo>
                  <a:lnTo>
                    <a:pt x="9156" y="345440"/>
                  </a:lnTo>
                  <a:lnTo>
                    <a:pt x="8851" y="345440"/>
                  </a:lnTo>
                  <a:lnTo>
                    <a:pt x="8801" y="346710"/>
                  </a:lnTo>
                  <a:lnTo>
                    <a:pt x="9563" y="347980"/>
                  </a:lnTo>
                  <a:lnTo>
                    <a:pt x="10248" y="347980"/>
                  </a:lnTo>
                  <a:lnTo>
                    <a:pt x="11760" y="346710"/>
                  </a:lnTo>
                  <a:lnTo>
                    <a:pt x="11747" y="347980"/>
                  </a:lnTo>
                  <a:lnTo>
                    <a:pt x="11404" y="350520"/>
                  </a:lnTo>
                  <a:lnTo>
                    <a:pt x="10960" y="351790"/>
                  </a:lnTo>
                  <a:lnTo>
                    <a:pt x="12712" y="354330"/>
                  </a:lnTo>
                  <a:lnTo>
                    <a:pt x="12954" y="355600"/>
                  </a:lnTo>
                  <a:lnTo>
                    <a:pt x="13449" y="356870"/>
                  </a:lnTo>
                  <a:lnTo>
                    <a:pt x="13639" y="358140"/>
                  </a:lnTo>
                  <a:lnTo>
                    <a:pt x="14986" y="358140"/>
                  </a:lnTo>
                  <a:lnTo>
                    <a:pt x="14986" y="359410"/>
                  </a:lnTo>
                  <a:lnTo>
                    <a:pt x="15760" y="360680"/>
                  </a:lnTo>
                  <a:lnTo>
                    <a:pt x="16802" y="361950"/>
                  </a:lnTo>
                  <a:lnTo>
                    <a:pt x="18415"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58" y="373380"/>
                  </a:lnTo>
                  <a:lnTo>
                    <a:pt x="25260" y="374650"/>
                  </a:lnTo>
                  <a:lnTo>
                    <a:pt x="27178" y="374650"/>
                  </a:lnTo>
                  <a:lnTo>
                    <a:pt x="28409" y="375920"/>
                  </a:lnTo>
                  <a:lnTo>
                    <a:pt x="29616" y="373380"/>
                  </a:lnTo>
                  <a:lnTo>
                    <a:pt x="29921" y="373380"/>
                  </a:lnTo>
                  <a:lnTo>
                    <a:pt x="30594" y="374650"/>
                  </a:lnTo>
                  <a:lnTo>
                    <a:pt x="30149" y="375920"/>
                  </a:lnTo>
                  <a:lnTo>
                    <a:pt x="31013" y="377190"/>
                  </a:lnTo>
                  <a:lnTo>
                    <a:pt x="33909" y="377190"/>
                  </a:lnTo>
                  <a:lnTo>
                    <a:pt x="34937" y="378460"/>
                  </a:lnTo>
                  <a:lnTo>
                    <a:pt x="35560" y="378460"/>
                  </a:lnTo>
                  <a:lnTo>
                    <a:pt x="36360" y="379730"/>
                  </a:lnTo>
                  <a:lnTo>
                    <a:pt x="40652" y="379730"/>
                  </a:lnTo>
                  <a:lnTo>
                    <a:pt x="40474" y="378460"/>
                  </a:lnTo>
                  <a:lnTo>
                    <a:pt x="41211" y="377253"/>
                  </a:lnTo>
                  <a:lnTo>
                    <a:pt x="42468"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42" y="370840"/>
                  </a:lnTo>
                  <a:lnTo>
                    <a:pt x="62268" y="369570"/>
                  </a:lnTo>
                  <a:lnTo>
                    <a:pt x="62750"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99" y="358140"/>
                  </a:lnTo>
                  <a:lnTo>
                    <a:pt x="75069" y="358140"/>
                  </a:lnTo>
                  <a:lnTo>
                    <a:pt x="75514" y="356870"/>
                  </a:lnTo>
                  <a:lnTo>
                    <a:pt x="75692" y="356870"/>
                  </a:lnTo>
                  <a:lnTo>
                    <a:pt x="76212" y="355600"/>
                  </a:lnTo>
                  <a:lnTo>
                    <a:pt x="76492" y="355600"/>
                  </a:lnTo>
                  <a:lnTo>
                    <a:pt x="76987" y="354330"/>
                  </a:lnTo>
                  <a:lnTo>
                    <a:pt x="77647" y="353060"/>
                  </a:lnTo>
                  <a:lnTo>
                    <a:pt x="78955" y="350520"/>
                  </a:lnTo>
                  <a:lnTo>
                    <a:pt x="79908" y="349250"/>
                  </a:lnTo>
                  <a:lnTo>
                    <a:pt x="80302" y="346710"/>
                  </a:lnTo>
                  <a:lnTo>
                    <a:pt x="81165" y="346710"/>
                  </a:lnTo>
                  <a:lnTo>
                    <a:pt x="81457" y="347980"/>
                  </a:lnTo>
                  <a:lnTo>
                    <a:pt x="81991" y="346710"/>
                  </a:lnTo>
                  <a:lnTo>
                    <a:pt x="82511" y="345440"/>
                  </a:lnTo>
                  <a:lnTo>
                    <a:pt x="82791" y="344170"/>
                  </a:lnTo>
                  <a:lnTo>
                    <a:pt x="84353" y="345440"/>
                  </a:lnTo>
                  <a:lnTo>
                    <a:pt x="84391" y="344170"/>
                  </a:lnTo>
                  <a:lnTo>
                    <a:pt x="84467" y="341630"/>
                  </a:lnTo>
                  <a:lnTo>
                    <a:pt x="85026" y="339090"/>
                  </a:lnTo>
                  <a:lnTo>
                    <a:pt x="87172" y="339090"/>
                  </a:lnTo>
                  <a:lnTo>
                    <a:pt x="88506" y="335280"/>
                  </a:lnTo>
                  <a:lnTo>
                    <a:pt x="90208" y="335280"/>
                  </a:lnTo>
                  <a:lnTo>
                    <a:pt x="90208" y="332740"/>
                  </a:lnTo>
                  <a:lnTo>
                    <a:pt x="90881" y="331470"/>
                  </a:lnTo>
                  <a:lnTo>
                    <a:pt x="92760" y="328930"/>
                  </a:lnTo>
                  <a:lnTo>
                    <a:pt x="93395" y="327660"/>
                  </a:lnTo>
                  <a:lnTo>
                    <a:pt x="93624" y="327660"/>
                  </a:lnTo>
                  <a:lnTo>
                    <a:pt x="93675" y="326390"/>
                  </a:lnTo>
                  <a:lnTo>
                    <a:pt x="94259" y="326390"/>
                  </a:lnTo>
                  <a:lnTo>
                    <a:pt x="94818" y="325120"/>
                  </a:lnTo>
                  <a:lnTo>
                    <a:pt x="95351" y="323850"/>
                  </a:lnTo>
                  <a:lnTo>
                    <a:pt x="96253" y="322580"/>
                  </a:lnTo>
                  <a:lnTo>
                    <a:pt x="97015" y="322580"/>
                  </a:lnTo>
                  <a:lnTo>
                    <a:pt x="96761" y="321310"/>
                  </a:lnTo>
                  <a:lnTo>
                    <a:pt x="97116" y="320040"/>
                  </a:lnTo>
                  <a:lnTo>
                    <a:pt x="99263" y="317500"/>
                  </a:lnTo>
                  <a:lnTo>
                    <a:pt x="99796" y="316230"/>
                  </a:lnTo>
                  <a:lnTo>
                    <a:pt x="100342" y="314960"/>
                  </a:lnTo>
                  <a:lnTo>
                    <a:pt x="100888" y="313690"/>
                  </a:lnTo>
                  <a:lnTo>
                    <a:pt x="101460" y="312420"/>
                  </a:lnTo>
                  <a:lnTo>
                    <a:pt x="102362" y="311150"/>
                  </a:lnTo>
                  <a:lnTo>
                    <a:pt x="101866" y="309880"/>
                  </a:lnTo>
                  <a:lnTo>
                    <a:pt x="103809" y="309880"/>
                  </a:lnTo>
                  <a:lnTo>
                    <a:pt x="103543" y="307340"/>
                  </a:lnTo>
                  <a:lnTo>
                    <a:pt x="104063" y="307340"/>
                  </a:lnTo>
                  <a:lnTo>
                    <a:pt x="105105" y="306070"/>
                  </a:lnTo>
                  <a:lnTo>
                    <a:pt x="105537" y="306070"/>
                  </a:lnTo>
                  <a:lnTo>
                    <a:pt x="105778" y="304800"/>
                  </a:lnTo>
                  <a:lnTo>
                    <a:pt x="107391" y="304800"/>
                  </a:lnTo>
                  <a:lnTo>
                    <a:pt x="107137" y="303530"/>
                  </a:lnTo>
                  <a:lnTo>
                    <a:pt x="107035" y="302260"/>
                  </a:lnTo>
                  <a:lnTo>
                    <a:pt x="107454"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64" y="294640"/>
                  </a:lnTo>
                  <a:lnTo>
                    <a:pt x="113004" y="294640"/>
                  </a:lnTo>
                  <a:lnTo>
                    <a:pt x="112864" y="293370"/>
                  </a:lnTo>
                  <a:lnTo>
                    <a:pt x="113169" y="293370"/>
                  </a:lnTo>
                  <a:lnTo>
                    <a:pt x="113093" y="292874"/>
                  </a:lnTo>
                  <a:lnTo>
                    <a:pt x="113042" y="290830"/>
                  </a:lnTo>
                  <a:lnTo>
                    <a:pt x="114160" y="290830"/>
                  </a:lnTo>
                  <a:lnTo>
                    <a:pt x="115887" y="289560"/>
                  </a:lnTo>
                  <a:lnTo>
                    <a:pt x="115404" y="289560"/>
                  </a:lnTo>
                  <a:lnTo>
                    <a:pt x="115074" y="288290"/>
                  </a:lnTo>
                  <a:lnTo>
                    <a:pt x="115023" y="287020"/>
                  </a:lnTo>
                  <a:lnTo>
                    <a:pt x="115201" y="287020"/>
                  </a:lnTo>
                  <a:lnTo>
                    <a:pt x="115379" y="288290"/>
                  </a:lnTo>
                  <a:lnTo>
                    <a:pt x="116370" y="288290"/>
                  </a:lnTo>
                  <a:lnTo>
                    <a:pt x="116217" y="287020"/>
                  </a:lnTo>
                  <a:lnTo>
                    <a:pt x="116928" y="287020"/>
                  </a:lnTo>
                  <a:lnTo>
                    <a:pt x="116547" y="285750"/>
                  </a:lnTo>
                  <a:lnTo>
                    <a:pt x="117906" y="285750"/>
                  </a:lnTo>
                  <a:lnTo>
                    <a:pt x="118694" y="284480"/>
                  </a:lnTo>
                  <a:lnTo>
                    <a:pt x="118211" y="284480"/>
                  </a:lnTo>
                  <a:lnTo>
                    <a:pt x="118148" y="284302"/>
                  </a:lnTo>
                  <a:lnTo>
                    <a:pt x="117754" y="283210"/>
                  </a:lnTo>
                  <a:lnTo>
                    <a:pt x="118325" y="283210"/>
                  </a:lnTo>
                  <a:lnTo>
                    <a:pt x="118148" y="284302"/>
                  </a:lnTo>
                  <a:lnTo>
                    <a:pt x="118948" y="283210"/>
                  </a:lnTo>
                  <a:lnTo>
                    <a:pt x="119113" y="283210"/>
                  </a:lnTo>
                  <a:lnTo>
                    <a:pt x="119075" y="281940"/>
                  </a:lnTo>
                  <a:lnTo>
                    <a:pt x="120624" y="281940"/>
                  </a:lnTo>
                  <a:lnTo>
                    <a:pt x="120980" y="280670"/>
                  </a:lnTo>
                  <a:lnTo>
                    <a:pt x="122174" y="280670"/>
                  </a:lnTo>
                  <a:lnTo>
                    <a:pt x="122034" y="279400"/>
                  </a:lnTo>
                  <a:lnTo>
                    <a:pt x="121488" y="278130"/>
                  </a:lnTo>
                  <a:lnTo>
                    <a:pt x="121843"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92" y="269240"/>
                  </a:lnTo>
                  <a:lnTo>
                    <a:pt x="126606" y="267970"/>
                  </a:lnTo>
                  <a:lnTo>
                    <a:pt x="126568" y="269240"/>
                  </a:lnTo>
                  <a:lnTo>
                    <a:pt x="127050" y="269240"/>
                  </a:lnTo>
                  <a:lnTo>
                    <a:pt x="126873" y="270510"/>
                  </a:lnTo>
                  <a:lnTo>
                    <a:pt x="127241" y="270510"/>
                  </a:lnTo>
                  <a:lnTo>
                    <a:pt x="127342" y="269240"/>
                  </a:lnTo>
                  <a:lnTo>
                    <a:pt x="127393" y="267970"/>
                  </a:lnTo>
                  <a:lnTo>
                    <a:pt x="128231" y="267970"/>
                  </a:lnTo>
                  <a:lnTo>
                    <a:pt x="128790"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73" y="259080"/>
                  </a:lnTo>
                  <a:lnTo>
                    <a:pt x="133146" y="257810"/>
                  </a:lnTo>
                  <a:lnTo>
                    <a:pt x="133350" y="257810"/>
                  </a:lnTo>
                  <a:lnTo>
                    <a:pt x="134912" y="256540"/>
                  </a:lnTo>
                  <a:lnTo>
                    <a:pt x="135432" y="255270"/>
                  </a:lnTo>
                  <a:lnTo>
                    <a:pt x="136296" y="254000"/>
                  </a:lnTo>
                  <a:lnTo>
                    <a:pt x="135496" y="254000"/>
                  </a:lnTo>
                  <a:lnTo>
                    <a:pt x="135826" y="252730"/>
                  </a:lnTo>
                  <a:lnTo>
                    <a:pt x="136982" y="252730"/>
                  </a:lnTo>
                  <a:lnTo>
                    <a:pt x="137502" y="251460"/>
                  </a:lnTo>
                  <a:lnTo>
                    <a:pt x="137922" y="251460"/>
                  </a:lnTo>
                  <a:lnTo>
                    <a:pt x="139522" y="250190"/>
                  </a:lnTo>
                  <a:lnTo>
                    <a:pt x="140881" y="248920"/>
                  </a:lnTo>
                  <a:lnTo>
                    <a:pt x="140296" y="247650"/>
                  </a:lnTo>
                  <a:lnTo>
                    <a:pt x="140728" y="246380"/>
                  </a:lnTo>
                  <a:lnTo>
                    <a:pt x="142443" y="245110"/>
                  </a:lnTo>
                  <a:lnTo>
                    <a:pt x="143738" y="243840"/>
                  </a:lnTo>
                  <a:lnTo>
                    <a:pt x="143256" y="242570"/>
                  </a:lnTo>
                  <a:lnTo>
                    <a:pt x="143383" y="242570"/>
                  </a:lnTo>
                  <a:lnTo>
                    <a:pt x="143471" y="241300"/>
                  </a:lnTo>
                  <a:lnTo>
                    <a:pt x="144932" y="241300"/>
                  </a:lnTo>
                  <a:lnTo>
                    <a:pt x="145300" y="240030"/>
                  </a:lnTo>
                  <a:lnTo>
                    <a:pt x="146672" y="240030"/>
                  </a:lnTo>
                  <a:lnTo>
                    <a:pt x="146850" y="238760"/>
                  </a:lnTo>
                  <a:lnTo>
                    <a:pt x="146240" y="238760"/>
                  </a:lnTo>
                  <a:lnTo>
                    <a:pt x="146469" y="237490"/>
                  </a:lnTo>
                  <a:lnTo>
                    <a:pt x="146824" y="236220"/>
                  </a:lnTo>
                  <a:lnTo>
                    <a:pt x="147421" y="234950"/>
                  </a:lnTo>
                  <a:lnTo>
                    <a:pt x="149606" y="234950"/>
                  </a:lnTo>
                  <a:lnTo>
                    <a:pt x="149072" y="233680"/>
                  </a:lnTo>
                  <a:lnTo>
                    <a:pt x="149136" y="232410"/>
                  </a:lnTo>
                  <a:lnTo>
                    <a:pt x="150215" y="232410"/>
                  </a:lnTo>
                  <a:lnTo>
                    <a:pt x="152006" y="231140"/>
                  </a:lnTo>
                  <a:lnTo>
                    <a:pt x="152196" y="231140"/>
                  </a:lnTo>
                  <a:lnTo>
                    <a:pt x="151663" y="229870"/>
                  </a:lnTo>
                  <a:lnTo>
                    <a:pt x="151498" y="228600"/>
                  </a:lnTo>
                  <a:lnTo>
                    <a:pt x="152514" y="228600"/>
                  </a:lnTo>
                  <a:lnTo>
                    <a:pt x="153009" y="227330"/>
                  </a:lnTo>
                  <a:lnTo>
                    <a:pt x="154724" y="227330"/>
                  </a:lnTo>
                  <a:lnTo>
                    <a:pt x="154914" y="226060"/>
                  </a:lnTo>
                  <a:lnTo>
                    <a:pt x="154813" y="224790"/>
                  </a:lnTo>
                  <a:lnTo>
                    <a:pt x="155244" y="224790"/>
                  </a:lnTo>
                  <a:lnTo>
                    <a:pt x="155651" y="223520"/>
                  </a:lnTo>
                  <a:lnTo>
                    <a:pt x="156629" y="223520"/>
                  </a:lnTo>
                  <a:lnTo>
                    <a:pt x="156933" y="222250"/>
                  </a:lnTo>
                  <a:lnTo>
                    <a:pt x="157530" y="220980"/>
                  </a:lnTo>
                  <a:lnTo>
                    <a:pt x="158051" y="219710"/>
                  </a:lnTo>
                  <a:lnTo>
                    <a:pt x="158940" y="219710"/>
                  </a:lnTo>
                  <a:lnTo>
                    <a:pt x="160007" y="217170"/>
                  </a:lnTo>
                  <a:lnTo>
                    <a:pt x="160502" y="215900"/>
                  </a:lnTo>
                  <a:lnTo>
                    <a:pt x="161785" y="215900"/>
                  </a:lnTo>
                  <a:lnTo>
                    <a:pt x="162941" y="212090"/>
                  </a:lnTo>
                  <a:lnTo>
                    <a:pt x="164287" y="210820"/>
                  </a:lnTo>
                  <a:lnTo>
                    <a:pt x="165328" y="208280"/>
                  </a:lnTo>
                  <a:lnTo>
                    <a:pt x="167284" y="207010"/>
                  </a:lnTo>
                  <a:lnTo>
                    <a:pt x="166865" y="205740"/>
                  </a:lnTo>
                  <a:lnTo>
                    <a:pt x="167132" y="205740"/>
                  </a:lnTo>
                  <a:lnTo>
                    <a:pt x="167601" y="204470"/>
                  </a:lnTo>
                  <a:lnTo>
                    <a:pt x="169684" y="203200"/>
                  </a:lnTo>
                  <a:lnTo>
                    <a:pt x="170738" y="200660"/>
                  </a:lnTo>
                  <a:lnTo>
                    <a:pt x="171970" y="198120"/>
                  </a:lnTo>
                  <a:lnTo>
                    <a:pt x="172593" y="198120"/>
                  </a:lnTo>
                  <a:lnTo>
                    <a:pt x="173062" y="196850"/>
                  </a:lnTo>
                  <a:lnTo>
                    <a:pt x="172923" y="194310"/>
                  </a:lnTo>
                  <a:lnTo>
                    <a:pt x="173977" y="195580"/>
                  </a:lnTo>
                  <a:lnTo>
                    <a:pt x="175323" y="194310"/>
                  </a:lnTo>
                  <a:lnTo>
                    <a:pt x="176022" y="194310"/>
                  </a:lnTo>
                  <a:lnTo>
                    <a:pt x="175755" y="193040"/>
                  </a:lnTo>
                  <a:lnTo>
                    <a:pt x="177101"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38" y="182880"/>
                  </a:lnTo>
                  <a:lnTo>
                    <a:pt x="183400" y="181610"/>
                  </a:lnTo>
                  <a:lnTo>
                    <a:pt x="184861" y="181610"/>
                  </a:lnTo>
                  <a:lnTo>
                    <a:pt x="184899" y="180340"/>
                  </a:lnTo>
                  <a:lnTo>
                    <a:pt x="185140" y="179070"/>
                  </a:lnTo>
                  <a:lnTo>
                    <a:pt x="186867" y="179070"/>
                  </a:lnTo>
                  <a:lnTo>
                    <a:pt x="186905"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21" y="167640"/>
                  </a:lnTo>
                  <a:lnTo>
                    <a:pt x="194716" y="166370"/>
                  </a:lnTo>
                  <a:lnTo>
                    <a:pt x="193916" y="166370"/>
                  </a:lnTo>
                  <a:lnTo>
                    <a:pt x="194652" y="165100"/>
                  </a:lnTo>
                  <a:lnTo>
                    <a:pt x="194741" y="166370"/>
                  </a:lnTo>
                  <a:lnTo>
                    <a:pt x="195211" y="166370"/>
                  </a:lnTo>
                  <a:lnTo>
                    <a:pt x="196062" y="165100"/>
                  </a:lnTo>
                  <a:lnTo>
                    <a:pt x="195859" y="165100"/>
                  </a:lnTo>
                  <a:lnTo>
                    <a:pt x="196049" y="163830"/>
                  </a:lnTo>
                  <a:lnTo>
                    <a:pt x="196430" y="163830"/>
                  </a:lnTo>
                  <a:lnTo>
                    <a:pt x="196811" y="162560"/>
                  </a:lnTo>
                  <a:lnTo>
                    <a:pt x="197154" y="162560"/>
                  </a:lnTo>
                  <a:lnTo>
                    <a:pt x="197408" y="161290"/>
                  </a:lnTo>
                  <a:lnTo>
                    <a:pt x="198678" y="160020"/>
                  </a:lnTo>
                  <a:lnTo>
                    <a:pt x="199694" y="160020"/>
                  </a:lnTo>
                  <a:lnTo>
                    <a:pt x="199910" y="158750"/>
                  </a:lnTo>
                  <a:lnTo>
                    <a:pt x="200596" y="157480"/>
                  </a:lnTo>
                  <a:lnTo>
                    <a:pt x="201269" y="157480"/>
                  </a:lnTo>
                  <a:lnTo>
                    <a:pt x="201739" y="154940"/>
                  </a:lnTo>
                  <a:lnTo>
                    <a:pt x="203530" y="154940"/>
                  </a:lnTo>
                  <a:lnTo>
                    <a:pt x="203466" y="153670"/>
                  </a:lnTo>
                  <a:lnTo>
                    <a:pt x="204139" y="153670"/>
                  </a:lnTo>
                  <a:lnTo>
                    <a:pt x="204203" y="152400"/>
                  </a:lnTo>
                  <a:lnTo>
                    <a:pt x="205498" y="152400"/>
                  </a:lnTo>
                  <a:lnTo>
                    <a:pt x="205003" y="151130"/>
                  </a:lnTo>
                  <a:lnTo>
                    <a:pt x="205092" y="149860"/>
                  </a:lnTo>
                  <a:lnTo>
                    <a:pt x="206527"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82" y="139700"/>
                  </a:lnTo>
                  <a:lnTo>
                    <a:pt x="213271" y="139700"/>
                  </a:lnTo>
                  <a:lnTo>
                    <a:pt x="213779" y="138430"/>
                  </a:lnTo>
                  <a:lnTo>
                    <a:pt x="215798" y="138430"/>
                  </a:lnTo>
                  <a:lnTo>
                    <a:pt x="216166" y="137160"/>
                  </a:lnTo>
                  <a:lnTo>
                    <a:pt x="216662" y="135890"/>
                  </a:lnTo>
                  <a:lnTo>
                    <a:pt x="217093" y="134620"/>
                  </a:lnTo>
                  <a:lnTo>
                    <a:pt x="217678" y="133350"/>
                  </a:lnTo>
                  <a:lnTo>
                    <a:pt x="219773" y="133350"/>
                  </a:lnTo>
                  <a:lnTo>
                    <a:pt x="220319" y="132080"/>
                  </a:lnTo>
                  <a:lnTo>
                    <a:pt x="221767" y="129540"/>
                  </a:lnTo>
                  <a:lnTo>
                    <a:pt x="222148" y="128270"/>
                  </a:lnTo>
                  <a:lnTo>
                    <a:pt x="222885" y="128270"/>
                  </a:lnTo>
                  <a:lnTo>
                    <a:pt x="222885" y="127000"/>
                  </a:lnTo>
                  <a:lnTo>
                    <a:pt x="224688" y="127000"/>
                  </a:lnTo>
                  <a:lnTo>
                    <a:pt x="224828" y="125730"/>
                  </a:lnTo>
                  <a:lnTo>
                    <a:pt x="225056" y="125730"/>
                  </a:lnTo>
                  <a:lnTo>
                    <a:pt x="225348" y="124460"/>
                  </a:lnTo>
                  <a:lnTo>
                    <a:pt x="225602" y="124460"/>
                  </a:lnTo>
                  <a:lnTo>
                    <a:pt x="226504" y="123190"/>
                  </a:lnTo>
                  <a:lnTo>
                    <a:pt x="227863" y="121920"/>
                  </a:lnTo>
                  <a:lnTo>
                    <a:pt x="228422" y="120650"/>
                  </a:lnTo>
                  <a:lnTo>
                    <a:pt x="229590" y="120650"/>
                  </a:lnTo>
                  <a:lnTo>
                    <a:pt x="229793" y="119380"/>
                  </a:lnTo>
                  <a:lnTo>
                    <a:pt x="230174" y="118110"/>
                  </a:lnTo>
                  <a:lnTo>
                    <a:pt x="230809" y="118110"/>
                  </a:lnTo>
                  <a:lnTo>
                    <a:pt x="231076" y="116840"/>
                  </a:lnTo>
                  <a:lnTo>
                    <a:pt x="231597" y="116840"/>
                  </a:lnTo>
                  <a:lnTo>
                    <a:pt x="231470" y="115570"/>
                  </a:lnTo>
                  <a:lnTo>
                    <a:pt x="233311"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85" y="95250"/>
                  </a:lnTo>
                  <a:lnTo>
                    <a:pt x="250393" y="93980"/>
                  </a:lnTo>
                  <a:lnTo>
                    <a:pt x="250926" y="92710"/>
                  </a:lnTo>
                  <a:lnTo>
                    <a:pt x="250723" y="92710"/>
                  </a:lnTo>
                  <a:lnTo>
                    <a:pt x="251091" y="91440"/>
                  </a:lnTo>
                  <a:lnTo>
                    <a:pt x="251320" y="91440"/>
                  </a:lnTo>
                  <a:lnTo>
                    <a:pt x="253098" y="90170"/>
                  </a:lnTo>
                  <a:lnTo>
                    <a:pt x="254063" y="88900"/>
                  </a:lnTo>
                  <a:lnTo>
                    <a:pt x="254901" y="87630"/>
                  </a:lnTo>
                  <a:lnTo>
                    <a:pt x="255524" y="88900"/>
                  </a:lnTo>
                  <a:lnTo>
                    <a:pt x="255638" y="87630"/>
                  </a:lnTo>
                  <a:lnTo>
                    <a:pt x="255854" y="86360"/>
                  </a:lnTo>
                  <a:lnTo>
                    <a:pt x="256616" y="86360"/>
                  </a:lnTo>
                  <a:lnTo>
                    <a:pt x="257670" y="85090"/>
                  </a:lnTo>
                  <a:lnTo>
                    <a:pt x="258356" y="85090"/>
                  </a:lnTo>
                  <a:lnTo>
                    <a:pt x="258445" y="83820"/>
                  </a:lnTo>
                  <a:lnTo>
                    <a:pt x="260108" y="83820"/>
                  </a:lnTo>
                  <a:lnTo>
                    <a:pt x="260299" y="82550"/>
                  </a:lnTo>
                  <a:lnTo>
                    <a:pt x="261264" y="81280"/>
                  </a:lnTo>
                  <a:lnTo>
                    <a:pt x="261327" y="80010"/>
                  </a:lnTo>
                  <a:lnTo>
                    <a:pt x="263601" y="78740"/>
                  </a:lnTo>
                  <a:lnTo>
                    <a:pt x="263829" y="78740"/>
                  </a:lnTo>
                  <a:lnTo>
                    <a:pt x="263664" y="77470"/>
                  </a:lnTo>
                  <a:lnTo>
                    <a:pt x="264985" y="77470"/>
                  </a:lnTo>
                  <a:lnTo>
                    <a:pt x="265353" y="76200"/>
                  </a:lnTo>
                  <a:lnTo>
                    <a:pt x="265480" y="76200"/>
                  </a:lnTo>
                  <a:lnTo>
                    <a:pt x="266014" y="74930"/>
                  </a:lnTo>
                  <a:lnTo>
                    <a:pt x="268185" y="74930"/>
                  </a:lnTo>
                  <a:lnTo>
                    <a:pt x="267639" y="73660"/>
                  </a:lnTo>
                  <a:lnTo>
                    <a:pt x="268173" y="72390"/>
                  </a:lnTo>
                  <a:lnTo>
                    <a:pt x="270167" y="72390"/>
                  </a:lnTo>
                  <a:lnTo>
                    <a:pt x="271335" y="69850"/>
                  </a:lnTo>
                  <a:lnTo>
                    <a:pt x="273329" y="68580"/>
                  </a:lnTo>
                  <a:lnTo>
                    <a:pt x="274980" y="66040"/>
                  </a:lnTo>
                  <a:lnTo>
                    <a:pt x="275475" y="66040"/>
                  </a:lnTo>
                  <a:lnTo>
                    <a:pt x="276263" y="64770"/>
                  </a:lnTo>
                  <a:lnTo>
                    <a:pt x="276529" y="64770"/>
                  </a:lnTo>
                  <a:lnTo>
                    <a:pt x="276402"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388" y="52070"/>
                  </a:lnTo>
                  <a:lnTo>
                    <a:pt x="287794" y="50800"/>
                  </a:lnTo>
                  <a:lnTo>
                    <a:pt x="288607" y="50800"/>
                  </a:lnTo>
                  <a:lnTo>
                    <a:pt x="289826" y="49530"/>
                  </a:lnTo>
                  <a:lnTo>
                    <a:pt x="288912" y="52070"/>
                  </a:lnTo>
                  <a:lnTo>
                    <a:pt x="290220" y="49530"/>
                  </a:lnTo>
                  <a:lnTo>
                    <a:pt x="292862" y="45720"/>
                  </a:lnTo>
                  <a:lnTo>
                    <a:pt x="293458" y="44450"/>
                  </a:lnTo>
                  <a:lnTo>
                    <a:pt x="293649" y="45720"/>
                  </a:lnTo>
                  <a:lnTo>
                    <a:pt x="294462" y="45720"/>
                  </a:lnTo>
                  <a:lnTo>
                    <a:pt x="294462" y="44450"/>
                  </a:lnTo>
                  <a:lnTo>
                    <a:pt x="294741" y="44450"/>
                  </a:lnTo>
                  <a:lnTo>
                    <a:pt x="295871" y="43180"/>
                  </a:lnTo>
                  <a:lnTo>
                    <a:pt x="296062" y="43180"/>
                  </a:lnTo>
                  <a:lnTo>
                    <a:pt x="295059" y="41910"/>
                  </a:lnTo>
                  <a:lnTo>
                    <a:pt x="297916" y="41910"/>
                  </a:lnTo>
                  <a:lnTo>
                    <a:pt x="297484" y="40640"/>
                  </a:lnTo>
                  <a:lnTo>
                    <a:pt x="296494" y="40640"/>
                  </a:lnTo>
                  <a:lnTo>
                    <a:pt x="297319"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34" y="27940"/>
                  </a:lnTo>
                  <a:lnTo>
                    <a:pt x="317385" y="22860"/>
                  </a:lnTo>
                  <a:lnTo>
                    <a:pt x="318757" y="22860"/>
                  </a:lnTo>
                  <a:lnTo>
                    <a:pt x="317474" y="21590"/>
                  </a:lnTo>
                  <a:lnTo>
                    <a:pt x="318744" y="21590"/>
                  </a:lnTo>
                  <a:lnTo>
                    <a:pt x="319176" y="22860"/>
                  </a:lnTo>
                  <a:lnTo>
                    <a:pt x="319671" y="21590"/>
                  </a:lnTo>
                  <a:lnTo>
                    <a:pt x="320179" y="20320"/>
                  </a:lnTo>
                  <a:lnTo>
                    <a:pt x="321970" y="19050"/>
                  </a:lnTo>
                  <a:lnTo>
                    <a:pt x="324878" y="17780"/>
                  </a:lnTo>
                  <a:lnTo>
                    <a:pt x="325755" y="17780"/>
                  </a:lnTo>
                  <a:lnTo>
                    <a:pt x="326644" y="16510"/>
                  </a:lnTo>
                  <a:lnTo>
                    <a:pt x="327545" y="15240"/>
                  </a:lnTo>
                  <a:lnTo>
                    <a:pt x="328434" y="15240"/>
                  </a:lnTo>
                  <a:lnTo>
                    <a:pt x="329704" y="13970"/>
                  </a:lnTo>
                  <a:lnTo>
                    <a:pt x="328244" y="13970"/>
                  </a:lnTo>
                  <a:lnTo>
                    <a:pt x="327850" y="14020"/>
                  </a:lnTo>
                  <a:lnTo>
                    <a:pt x="327507" y="14173"/>
                  </a:lnTo>
                  <a:lnTo>
                    <a:pt x="327672" y="14262"/>
                  </a:lnTo>
                  <a:lnTo>
                    <a:pt x="326110" y="15240"/>
                  </a:lnTo>
                  <a:lnTo>
                    <a:pt x="326326" y="13970"/>
                  </a:lnTo>
                  <a:lnTo>
                    <a:pt x="327469" y="13970"/>
                  </a:lnTo>
                  <a:lnTo>
                    <a:pt x="327977" y="12700"/>
                  </a:lnTo>
                  <a:lnTo>
                    <a:pt x="329996" y="12700"/>
                  </a:lnTo>
                  <a:lnTo>
                    <a:pt x="330377" y="13970"/>
                  </a:lnTo>
                  <a:lnTo>
                    <a:pt x="331533" y="12700"/>
                  </a:lnTo>
                  <a:lnTo>
                    <a:pt x="330441" y="12700"/>
                  </a:lnTo>
                  <a:lnTo>
                    <a:pt x="330352" y="12306"/>
                  </a:lnTo>
                  <a:lnTo>
                    <a:pt x="332041" y="11772"/>
                  </a:lnTo>
                  <a:lnTo>
                    <a:pt x="332587" y="9982"/>
                  </a:lnTo>
                  <a:lnTo>
                    <a:pt x="332994" y="9690"/>
                  </a:lnTo>
                  <a:lnTo>
                    <a:pt x="333375" y="9918"/>
                  </a:lnTo>
                  <a:close/>
                </a:path>
              </a:pathLst>
            </a:custGeom>
            <a:solidFill>
              <a:srgbClr val="D02929"/>
            </a:solidFill>
          </p:spPr>
          <p:txBody>
            <a:bodyPr wrap="square" lIns="0" tIns="0" rIns="0" bIns="0" rtlCol="0"/>
            <a:lstStyle/>
            <a:p>
              <a:endParaRPr/>
            </a:p>
          </p:txBody>
        </p:sp>
        <p:sp>
          <p:nvSpPr>
            <p:cNvPr id="13" name="object 13"/>
            <p:cNvSpPr/>
            <p:nvPr/>
          </p:nvSpPr>
          <p:spPr>
            <a:xfrm>
              <a:off x="13782387" y="3766221"/>
              <a:ext cx="539750" cy="539750"/>
            </a:xfrm>
            <a:custGeom>
              <a:avLst/>
              <a:gdLst/>
              <a:ahLst/>
              <a:cxnLst/>
              <a:rect l="l" t="t" r="r" b="b"/>
              <a:pathLst>
                <a:path w="539750" h="539750">
                  <a:moveTo>
                    <a:pt x="269806" y="539602"/>
                  </a:moveTo>
                  <a:lnTo>
                    <a:pt x="221304" y="535256"/>
                  </a:lnTo>
                  <a:lnTo>
                    <a:pt x="175659" y="522723"/>
                  </a:lnTo>
                  <a:lnTo>
                    <a:pt x="133627" y="502767"/>
                  </a:lnTo>
                  <a:lnTo>
                    <a:pt x="95971" y="476149"/>
                  </a:lnTo>
                  <a:lnTo>
                    <a:pt x="63453" y="443631"/>
                  </a:lnTo>
                  <a:lnTo>
                    <a:pt x="36835" y="405975"/>
                  </a:lnTo>
                  <a:lnTo>
                    <a:pt x="16879" y="363944"/>
                  </a:lnTo>
                  <a:lnTo>
                    <a:pt x="4346" y="318298"/>
                  </a:lnTo>
                  <a:lnTo>
                    <a:pt x="0" y="269800"/>
                  </a:lnTo>
                  <a:lnTo>
                    <a:pt x="4346" y="221304"/>
                  </a:lnTo>
                  <a:lnTo>
                    <a:pt x="16879" y="175659"/>
                  </a:lnTo>
                  <a:lnTo>
                    <a:pt x="36835" y="133627"/>
                  </a:lnTo>
                  <a:lnTo>
                    <a:pt x="63453" y="95971"/>
                  </a:lnTo>
                  <a:lnTo>
                    <a:pt x="95971" y="63454"/>
                  </a:lnTo>
                  <a:lnTo>
                    <a:pt x="133627" y="36835"/>
                  </a:lnTo>
                  <a:lnTo>
                    <a:pt x="175659" y="16879"/>
                  </a:lnTo>
                  <a:lnTo>
                    <a:pt x="221304" y="4346"/>
                  </a:lnTo>
                  <a:lnTo>
                    <a:pt x="269801" y="0"/>
                  </a:lnTo>
                  <a:lnTo>
                    <a:pt x="318298" y="4346"/>
                  </a:lnTo>
                  <a:lnTo>
                    <a:pt x="363943" y="16879"/>
                  </a:lnTo>
                  <a:lnTo>
                    <a:pt x="405975" y="36835"/>
                  </a:lnTo>
                  <a:lnTo>
                    <a:pt x="443630" y="63454"/>
                  </a:lnTo>
                  <a:lnTo>
                    <a:pt x="476148" y="95971"/>
                  </a:lnTo>
                  <a:lnTo>
                    <a:pt x="502766" y="133627"/>
                  </a:lnTo>
                  <a:lnTo>
                    <a:pt x="522723" y="175659"/>
                  </a:lnTo>
                  <a:lnTo>
                    <a:pt x="535256" y="221304"/>
                  </a:lnTo>
                  <a:lnTo>
                    <a:pt x="539602" y="269801"/>
                  </a:lnTo>
                  <a:lnTo>
                    <a:pt x="535256" y="318298"/>
                  </a:lnTo>
                  <a:lnTo>
                    <a:pt x="522723" y="363944"/>
                  </a:lnTo>
                  <a:lnTo>
                    <a:pt x="502766" y="405975"/>
                  </a:lnTo>
                  <a:lnTo>
                    <a:pt x="476148" y="443631"/>
                  </a:lnTo>
                  <a:lnTo>
                    <a:pt x="443630" y="476149"/>
                  </a:lnTo>
                  <a:lnTo>
                    <a:pt x="405975" y="502767"/>
                  </a:lnTo>
                  <a:lnTo>
                    <a:pt x="363943" y="522723"/>
                  </a:lnTo>
                  <a:lnTo>
                    <a:pt x="318298" y="535256"/>
                  </a:lnTo>
                  <a:lnTo>
                    <a:pt x="269806" y="539602"/>
                  </a:lnTo>
                  <a:close/>
                </a:path>
              </a:pathLst>
            </a:custGeom>
            <a:solidFill>
              <a:srgbClr val="FFFFFF"/>
            </a:solidFill>
          </p:spPr>
          <p:txBody>
            <a:bodyPr wrap="square" lIns="0" tIns="0" rIns="0" bIns="0" rtlCol="0"/>
            <a:lstStyle/>
            <a:p>
              <a:endParaRPr/>
            </a:p>
          </p:txBody>
        </p:sp>
        <p:sp>
          <p:nvSpPr>
            <p:cNvPr id="14" name="object 14"/>
            <p:cNvSpPr/>
            <p:nvPr/>
          </p:nvSpPr>
          <p:spPr>
            <a:xfrm>
              <a:off x="13884122" y="3845546"/>
              <a:ext cx="333375" cy="379730"/>
            </a:xfrm>
            <a:custGeom>
              <a:avLst/>
              <a:gdLst/>
              <a:ahLst/>
              <a:cxnLst/>
              <a:rect l="l" t="t" r="r" b="b"/>
              <a:pathLst>
                <a:path w="333375" h="379729">
                  <a:moveTo>
                    <a:pt x="4483" y="313651"/>
                  </a:moveTo>
                  <a:lnTo>
                    <a:pt x="4279" y="313867"/>
                  </a:lnTo>
                  <a:lnTo>
                    <a:pt x="3873" y="314325"/>
                  </a:lnTo>
                  <a:lnTo>
                    <a:pt x="4000" y="314566"/>
                  </a:lnTo>
                  <a:lnTo>
                    <a:pt x="4368" y="314553"/>
                  </a:lnTo>
                  <a:lnTo>
                    <a:pt x="4445" y="314134"/>
                  </a:lnTo>
                  <a:lnTo>
                    <a:pt x="4483" y="313651"/>
                  </a:lnTo>
                  <a:close/>
                </a:path>
                <a:path w="333375" h="379729">
                  <a:moveTo>
                    <a:pt x="9690" y="230301"/>
                  </a:moveTo>
                  <a:lnTo>
                    <a:pt x="9652" y="230124"/>
                  </a:lnTo>
                  <a:lnTo>
                    <a:pt x="9436" y="229920"/>
                  </a:lnTo>
                  <a:lnTo>
                    <a:pt x="9296" y="230009"/>
                  </a:lnTo>
                  <a:lnTo>
                    <a:pt x="9245" y="230187"/>
                  </a:lnTo>
                  <a:lnTo>
                    <a:pt x="9296" y="230327"/>
                  </a:lnTo>
                  <a:lnTo>
                    <a:pt x="9321" y="230492"/>
                  </a:lnTo>
                  <a:lnTo>
                    <a:pt x="9550" y="230733"/>
                  </a:lnTo>
                  <a:lnTo>
                    <a:pt x="9690" y="230670"/>
                  </a:lnTo>
                  <a:lnTo>
                    <a:pt x="9690" y="230454"/>
                  </a:lnTo>
                  <a:lnTo>
                    <a:pt x="9690" y="230301"/>
                  </a:lnTo>
                  <a:close/>
                </a:path>
                <a:path w="333375" h="379729">
                  <a:moveTo>
                    <a:pt x="23914" y="371005"/>
                  </a:moveTo>
                  <a:lnTo>
                    <a:pt x="23812" y="370611"/>
                  </a:lnTo>
                  <a:lnTo>
                    <a:pt x="23685" y="370700"/>
                  </a:lnTo>
                  <a:lnTo>
                    <a:pt x="23761" y="371094"/>
                  </a:lnTo>
                  <a:lnTo>
                    <a:pt x="23914" y="371005"/>
                  </a:lnTo>
                  <a:close/>
                </a:path>
                <a:path w="333375" h="379729">
                  <a:moveTo>
                    <a:pt x="38735" y="223278"/>
                  </a:moveTo>
                  <a:lnTo>
                    <a:pt x="38684" y="222948"/>
                  </a:lnTo>
                  <a:lnTo>
                    <a:pt x="38544" y="222872"/>
                  </a:lnTo>
                  <a:lnTo>
                    <a:pt x="38328" y="223062"/>
                  </a:lnTo>
                  <a:lnTo>
                    <a:pt x="38214" y="223253"/>
                  </a:lnTo>
                  <a:lnTo>
                    <a:pt x="38138" y="223685"/>
                  </a:lnTo>
                  <a:lnTo>
                    <a:pt x="38290" y="223951"/>
                  </a:lnTo>
                  <a:lnTo>
                    <a:pt x="38544" y="223761"/>
                  </a:lnTo>
                  <a:lnTo>
                    <a:pt x="38633" y="223456"/>
                  </a:lnTo>
                  <a:lnTo>
                    <a:pt x="38735" y="223278"/>
                  </a:lnTo>
                  <a:close/>
                </a:path>
                <a:path w="333375" h="379729">
                  <a:moveTo>
                    <a:pt x="41986" y="222072"/>
                  </a:moveTo>
                  <a:lnTo>
                    <a:pt x="41884" y="221488"/>
                  </a:lnTo>
                  <a:lnTo>
                    <a:pt x="41783" y="221297"/>
                  </a:lnTo>
                  <a:lnTo>
                    <a:pt x="41567" y="220941"/>
                  </a:lnTo>
                  <a:lnTo>
                    <a:pt x="41427" y="220980"/>
                  </a:lnTo>
                  <a:lnTo>
                    <a:pt x="41122" y="222224"/>
                  </a:lnTo>
                  <a:lnTo>
                    <a:pt x="40805" y="223139"/>
                  </a:lnTo>
                  <a:lnTo>
                    <a:pt x="40322" y="224180"/>
                  </a:lnTo>
                  <a:lnTo>
                    <a:pt x="40297" y="224370"/>
                  </a:lnTo>
                  <a:lnTo>
                    <a:pt x="40500" y="224434"/>
                  </a:lnTo>
                  <a:lnTo>
                    <a:pt x="40741" y="224447"/>
                  </a:lnTo>
                  <a:lnTo>
                    <a:pt x="41986" y="222072"/>
                  </a:lnTo>
                  <a:close/>
                </a:path>
                <a:path w="333375" h="379729">
                  <a:moveTo>
                    <a:pt x="44704" y="229870"/>
                  </a:moveTo>
                  <a:lnTo>
                    <a:pt x="43840" y="228600"/>
                  </a:lnTo>
                  <a:lnTo>
                    <a:pt x="42506" y="227330"/>
                  </a:lnTo>
                  <a:lnTo>
                    <a:pt x="41275" y="228600"/>
                  </a:lnTo>
                  <a:lnTo>
                    <a:pt x="40982" y="228600"/>
                  </a:lnTo>
                  <a:lnTo>
                    <a:pt x="40703" y="229870"/>
                  </a:lnTo>
                  <a:lnTo>
                    <a:pt x="40538" y="228600"/>
                  </a:lnTo>
                  <a:lnTo>
                    <a:pt x="40157" y="228600"/>
                  </a:lnTo>
                  <a:lnTo>
                    <a:pt x="40627" y="227330"/>
                  </a:lnTo>
                  <a:lnTo>
                    <a:pt x="40944" y="227330"/>
                  </a:lnTo>
                  <a:lnTo>
                    <a:pt x="40932" y="226060"/>
                  </a:lnTo>
                  <a:lnTo>
                    <a:pt x="41008" y="224790"/>
                  </a:lnTo>
                  <a:lnTo>
                    <a:pt x="39814" y="226060"/>
                  </a:lnTo>
                  <a:lnTo>
                    <a:pt x="39814" y="231140"/>
                  </a:lnTo>
                  <a:lnTo>
                    <a:pt x="39420" y="231140"/>
                  </a:lnTo>
                  <a:lnTo>
                    <a:pt x="39281" y="229870"/>
                  </a:lnTo>
                  <a:lnTo>
                    <a:pt x="39585" y="229870"/>
                  </a:lnTo>
                  <a:lnTo>
                    <a:pt x="39814" y="231140"/>
                  </a:lnTo>
                  <a:lnTo>
                    <a:pt x="39814" y="226060"/>
                  </a:lnTo>
                  <a:lnTo>
                    <a:pt x="39281" y="226060"/>
                  </a:lnTo>
                  <a:lnTo>
                    <a:pt x="38328" y="224523"/>
                  </a:lnTo>
                  <a:lnTo>
                    <a:pt x="38328" y="231140"/>
                  </a:lnTo>
                  <a:lnTo>
                    <a:pt x="38188" y="232410"/>
                  </a:lnTo>
                  <a:lnTo>
                    <a:pt x="37973" y="232410"/>
                  </a:lnTo>
                  <a:lnTo>
                    <a:pt x="37973" y="231140"/>
                  </a:lnTo>
                  <a:lnTo>
                    <a:pt x="38328" y="231140"/>
                  </a:lnTo>
                  <a:lnTo>
                    <a:pt x="38328" y="224523"/>
                  </a:lnTo>
                  <a:lnTo>
                    <a:pt x="37719" y="223520"/>
                  </a:lnTo>
                  <a:lnTo>
                    <a:pt x="37592" y="222250"/>
                  </a:lnTo>
                  <a:lnTo>
                    <a:pt x="37045" y="220980"/>
                  </a:lnTo>
                  <a:lnTo>
                    <a:pt x="36880" y="220980"/>
                  </a:lnTo>
                  <a:lnTo>
                    <a:pt x="37325" y="219710"/>
                  </a:lnTo>
                  <a:lnTo>
                    <a:pt x="37579" y="219710"/>
                  </a:lnTo>
                  <a:lnTo>
                    <a:pt x="38163" y="220980"/>
                  </a:lnTo>
                  <a:lnTo>
                    <a:pt x="38849" y="220980"/>
                  </a:lnTo>
                  <a:lnTo>
                    <a:pt x="39776" y="222250"/>
                  </a:lnTo>
                  <a:lnTo>
                    <a:pt x="40271" y="222250"/>
                  </a:lnTo>
                  <a:lnTo>
                    <a:pt x="40944" y="220980"/>
                  </a:lnTo>
                  <a:lnTo>
                    <a:pt x="40208" y="220980"/>
                  </a:lnTo>
                  <a:lnTo>
                    <a:pt x="39700" y="219710"/>
                  </a:lnTo>
                  <a:lnTo>
                    <a:pt x="38163" y="219710"/>
                  </a:lnTo>
                  <a:lnTo>
                    <a:pt x="38265" y="218440"/>
                  </a:lnTo>
                  <a:lnTo>
                    <a:pt x="38633" y="217170"/>
                  </a:lnTo>
                  <a:lnTo>
                    <a:pt x="39001" y="215900"/>
                  </a:lnTo>
                  <a:lnTo>
                    <a:pt x="38735" y="214630"/>
                  </a:lnTo>
                  <a:lnTo>
                    <a:pt x="37223" y="214630"/>
                  </a:lnTo>
                  <a:lnTo>
                    <a:pt x="36703" y="213360"/>
                  </a:lnTo>
                  <a:lnTo>
                    <a:pt x="36309" y="212090"/>
                  </a:lnTo>
                  <a:lnTo>
                    <a:pt x="35458" y="213360"/>
                  </a:lnTo>
                  <a:lnTo>
                    <a:pt x="35242" y="213360"/>
                  </a:lnTo>
                  <a:lnTo>
                    <a:pt x="35394"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50" y="213360"/>
                  </a:lnTo>
                  <a:lnTo>
                    <a:pt x="33820" y="213360"/>
                  </a:lnTo>
                  <a:lnTo>
                    <a:pt x="33820" y="226060"/>
                  </a:lnTo>
                  <a:lnTo>
                    <a:pt x="33388" y="226060"/>
                  </a:lnTo>
                  <a:lnTo>
                    <a:pt x="33172" y="224790"/>
                  </a:lnTo>
                  <a:lnTo>
                    <a:pt x="31483" y="224790"/>
                  </a:lnTo>
                  <a:lnTo>
                    <a:pt x="31229" y="223520"/>
                  </a:lnTo>
                  <a:lnTo>
                    <a:pt x="32105" y="223520"/>
                  </a:lnTo>
                  <a:lnTo>
                    <a:pt x="32550" y="222250"/>
                  </a:lnTo>
                  <a:lnTo>
                    <a:pt x="32981" y="223520"/>
                  </a:lnTo>
                  <a:lnTo>
                    <a:pt x="33451" y="223520"/>
                  </a:lnTo>
                  <a:lnTo>
                    <a:pt x="33591" y="224790"/>
                  </a:lnTo>
                  <a:lnTo>
                    <a:pt x="33820" y="226060"/>
                  </a:lnTo>
                  <a:lnTo>
                    <a:pt x="33820" y="213360"/>
                  </a:lnTo>
                  <a:lnTo>
                    <a:pt x="32778" y="213360"/>
                  </a:lnTo>
                  <a:lnTo>
                    <a:pt x="32054" y="214630"/>
                  </a:lnTo>
                  <a:lnTo>
                    <a:pt x="30010" y="214630"/>
                  </a:lnTo>
                  <a:lnTo>
                    <a:pt x="29794" y="213360"/>
                  </a:lnTo>
                  <a:lnTo>
                    <a:pt x="29222" y="213360"/>
                  </a:lnTo>
                  <a:lnTo>
                    <a:pt x="28613" y="212090"/>
                  </a:lnTo>
                  <a:lnTo>
                    <a:pt x="27343" y="213360"/>
                  </a:lnTo>
                  <a:lnTo>
                    <a:pt x="27038" y="213360"/>
                  </a:lnTo>
                  <a:lnTo>
                    <a:pt x="27279" y="214630"/>
                  </a:lnTo>
                  <a:lnTo>
                    <a:pt x="27762" y="215900"/>
                  </a:lnTo>
                  <a:lnTo>
                    <a:pt x="27152" y="215900"/>
                  </a:lnTo>
                  <a:lnTo>
                    <a:pt x="27038" y="217170"/>
                  </a:lnTo>
                  <a:lnTo>
                    <a:pt x="26250" y="217170"/>
                  </a:lnTo>
                  <a:lnTo>
                    <a:pt x="26314" y="215900"/>
                  </a:lnTo>
                  <a:lnTo>
                    <a:pt x="26314" y="214630"/>
                  </a:lnTo>
                  <a:lnTo>
                    <a:pt x="25400" y="213360"/>
                  </a:lnTo>
                  <a:lnTo>
                    <a:pt x="24650" y="213360"/>
                  </a:lnTo>
                  <a:lnTo>
                    <a:pt x="24650" y="224790"/>
                  </a:lnTo>
                  <a:lnTo>
                    <a:pt x="24371" y="224790"/>
                  </a:lnTo>
                  <a:lnTo>
                    <a:pt x="24625" y="226060"/>
                  </a:lnTo>
                  <a:lnTo>
                    <a:pt x="23977" y="226060"/>
                  </a:lnTo>
                  <a:lnTo>
                    <a:pt x="24053" y="224790"/>
                  </a:lnTo>
                  <a:lnTo>
                    <a:pt x="22796" y="224790"/>
                  </a:lnTo>
                  <a:lnTo>
                    <a:pt x="22593" y="226060"/>
                  </a:lnTo>
                  <a:lnTo>
                    <a:pt x="21234" y="226060"/>
                  </a:lnTo>
                  <a:lnTo>
                    <a:pt x="20891" y="224790"/>
                  </a:lnTo>
                  <a:lnTo>
                    <a:pt x="20447" y="224790"/>
                  </a:lnTo>
                  <a:lnTo>
                    <a:pt x="20993" y="223520"/>
                  </a:lnTo>
                  <a:lnTo>
                    <a:pt x="22415" y="223520"/>
                  </a:lnTo>
                  <a:lnTo>
                    <a:pt x="23063" y="222250"/>
                  </a:lnTo>
                  <a:lnTo>
                    <a:pt x="23723" y="223520"/>
                  </a:lnTo>
                  <a:lnTo>
                    <a:pt x="24434" y="223520"/>
                  </a:lnTo>
                  <a:lnTo>
                    <a:pt x="24650" y="224790"/>
                  </a:lnTo>
                  <a:lnTo>
                    <a:pt x="24650" y="213360"/>
                  </a:lnTo>
                  <a:lnTo>
                    <a:pt x="23329" y="213360"/>
                  </a:lnTo>
                  <a:lnTo>
                    <a:pt x="21869" y="214630"/>
                  </a:lnTo>
                  <a:lnTo>
                    <a:pt x="20955" y="215900"/>
                  </a:lnTo>
                  <a:lnTo>
                    <a:pt x="19735" y="217170"/>
                  </a:lnTo>
                  <a:lnTo>
                    <a:pt x="19545" y="217170"/>
                  </a:lnTo>
                  <a:lnTo>
                    <a:pt x="17907" y="214630"/>
                  </a:lnTo>
                  <a:lnTo>
                    <a:pt x="16789" y="215900"/>
                  </a:lnTo>
                  <a:lnTo>
                    <a:pt x="16471" y="218440"/>
                  </a:lnTo>
                  <a:lnTo>
                    <a:pt x="16408" y="219710"/>
                  </a:lnTo>
                  <a:lnTo>
                    <a:pt x="13817" y="218440"/>
                  </a:lnTo>
                  <a:lnTo>
                    <a:pt x="13957" y="219710"/>
                  </a:lnTo>
                  <a:lnTo>
                    <a:pt x="14757" y="220980"/>
                  </a:lnTo>
                  <a:lnTo>
                    <a:pt x="15455" y="223520"/>
                  </a:lnTo>
                  <a:lnTo>
                    <a:pt x="15328" y="224790"/>
                  </a:lnTo>
                  <a:lnTo>
                    <a:pt x="14617" y="224790"/>
                  </a:lnTo>
                  <a:lnTo>
                    <a:pt x="14389" y="223520"/>
                  </a:lnTo>
                  <a:lnTo>
                    <a:pt x="14122" y="222250"/>
                  </a:lnTo>
                  <a:lnTo>
                    <a:pt x="12827" y="220980"/>
                  </a:lnTo>
                  <a:lnTo>
                    <a:pt x="11645" y="220980"/>
                  </a:lnTo>
                  <a:lnTo>
                    <a:pt x="11506" y="223520"/>
                  </a:lnTo>
                  <a:lnTo>
                    <a:pt x="13627" y="223520"/>
                  </a:lnTo>
                  <a:lnTo>
                    <a:pt x="12217" y="224790"/>
                  </a:lnTo>
                  <a:lnTo>
                    <a:pt x="10706" y="224790"/>
                  </a:lnTo>
                  <a:lnTo>
                    <a:pt x="11620" y="227330"/>
                  </a:lnTo>
                  <a:lnTo>
                    <a:pt x="11582" y="228600"/>
                  </a:lnTo>
                  <a:lnTo>
                    <a:pt x="11150" y="232410"/>
                  </a:lnTo>
                  <a:lnTo>
                    <a:pt x="9144" y="233680"/>
                  </a:lnTo>
                  <a:lnTo>
                    <a:pt x="7467" y="234950"/>
                  </a:lnTo>
                  <a:lnTo>
                    <a:pt x="7683" y="236220"/>
                  </a:lnTo>
                  <a:lnTo>
                    <a:pt x="6769" y="237490"/>
                  </a:lnTo>
                  <a:lnTo>
                    <a:pt x="5194" y="237490"/>
                  </a:lnTo>
                  <a:lnTo>
                    <a:pt x="4686" y="238760"/>
                  </a:lnTo>
                  <a:lnTo>
                    <a:pt x="3937" y="241300"/>
                  </a:lnTo>
                  <a:lnTo>
                    <a:pt x="1701" y="243840"/>
                  </a:lnTo>
                  <a:lnTo>
                    <a:pt x="787" y="243840"/>
                  </a:lnTo>
                  <a:lnTo>
                    <a:pt x="1193" y="245110"/>
                  </a:lnTo>
                  <a:lnTo>
                    <a:pt x="4051" y="245110"/>
                  </a:lnTo>
                  <a:lnTo>
                    <a:pt x="44488" y="245110"/>
                  </a:lnTo>
                  <a:lnTo>
                    <a:pt x="44500" y="243840"/>
                  </a:lnTo>
                  <a:lnTo>
                    <a:pt x="43891" y="241300"/>
                  </a:lnTo>
                  <a:lnTo>
                    <a:pt x="43726" y="240030"/>
                  </a:lnTo>
                  <a:lnTo>
                    <a:pt x="42646" y="240030"/>
                  </a:lnTo>
                  <a:lnTo>
                    <a:pt x="43167" y="238760"/>
                  </a:lnTo>
                  <a:lnTo>
                    <a:pt x="43662" y="238760"/>
                  </a:lnTo>
                  <a:lnTo>
                    <a:pt x="44018" y="236220"/>
                  </a:lnTo>
                  <a:lnTo>
                    <a:pt x="44018" y="234950"/>
                  </a:lnTo>
                  <a:lnTo>
                    <a:pt x="44132" y="233680"/>
                  </a:lnTo>
                  <a:lnTo>
                    <a:pt x="44259" y="232410"/>
                  </a:lnTo>
                  <a:lnTo>
                    <a:pt x="43624" y="232410"/>
                  </a:lnTo>
                  <a:lnTo>
                    <a:pt x="41122" y="232410"/>
                  </a:lnTo>
                  <a:lnTo>
                    <a:pt x="41122" y="234950"/>
                  </a:lnTo>
                  <a:lnTo>
                    <a:pt x="40525" y="234950"/>
                  </a:lnTo>
                  <a:lnTo>
                    <a:pt x="40538" y="233680"/>
                  </a:lnTo>
                  <a:lnTo>
                    <a:pt x="41071" y="233680"/>
                  </a:lnTo>
                  <a:lnTo>
                    <a:pt x="41122" y="234950"/>
                  </a:lnTo>
                  <a:lnTo>
                    <a:pt x="41122" y="232410"/>
                  </a:lnTo>
                  <a:lnTo>
                    <a:pt x="40627" y="232410"/>
                  </a:lnTo>
                  <a:lnTo>
                    <a:pt x="40894" y="231140"/>
                  </a:lnTo>
                  <a:lnTo>
                    <a:pt x="41363" y="231140"/>
                  </a:lnTo>
                  <a:lnTo>
                    <a:pt x="42494" y="229870"/>
                  </a:lnTo>
                  <a:lnTo>
                    <a:pt x="43167" y="229870"/>
                  </a:lnTo>
                  <a:lnTo>
                    <a:pt x="43853" y="231140"/>
                  </a:lnTo>
                  <a:lnTo>
                    <a:pt x="43624" y="232410"/>
                  </a:lnTo>
                  <a:lnTo>
                    <a:pt x="44704" y="231140"/>
                  </a:lnTo>
                  <a:lnTo>
                    <a:pt x="44704" y="229870"/>
                  </a:lnTo>
                  <a:close/>
                </a:path>
                <a:path w="333375" h="379729">
                  <a:moveTo>
                    <a:pt x="50495" y="279133"/>
                  </a:moveTo>
                  <a:lnTo>
                    <a:pt x="50355" y="278917"/>
                  </a:lnTo>
                  <a:lnTo>
                    <a:pt x="50139" y="278815"/>
                  </a:lnTo>
                  <a:lnTo>
                    <a:pt x="50139" y="279171"/>
                  </a:lnTo>
                  <a:lnTo>
                    <a:pt x="50330" y="279285"/>
                  </a:lnTo>
                  <a:lnTo>
                    <a:pt x="50482" y="279234"/>
                  </a:lnTo>
                  <a:close/>
                </a:path>
                <a:path w="333375" h="379729">
                  <a:moveTo>
                    <a:pt x="52171" y="294322"/>
                  </a:moveTo>
                  <a:lnTo>
                    <a:pt x="52006" y="294411"/>
                  </a:lnTo>
                  <a:lnTo>
                    <a:pt x="51790" y="294563"/>
                  </a:lnTo>
                  <a:lnTo>
                    <a:pt x="52070" y="294398"/>
                  </a:lnTo>
                  <a:close/>
                </a:path>
                <a:path w="333375" h="379729">
                  <a:moveTo>
                    <a:pt x="52895" y="295744"/>
                  </a:moveTo>
                  <a:lnTo>
                    <a:pt x="52844" y="296506"/>
                  </a:lnTo>
                  <a:lnTo>
                    <a:pt x="52895" y="295935"/>
                  </a:lnTo>
                  <a:lnTo>
                    <a:pt x="52895" y="295744"/>
                  </a:lnTo>
                  <a:close/>
                </a:path>
                <a:path w="333375" h="379729">
                  <a:moveTo>
                    <a:pt x="53060" y="294640"/>
                  </a:moveTo>
                  <a:lnTo>
                    <a:pt x="53035" y="295363"/>
                  </a:lnTo>
                  <a:lnTo>
                    <a:pt x="53060" y="294640"/>
                  </a:lnTo>
                  <a:close/>
                </a:path>
                <a:path w="333375" h="379729">
                  <a:moveTo>
                    <a:pt x="53200" y="297180"/>
                  </a:moveTo>
                  <a:lnTo>
                    <a:pt x="53200" y="297446"/>
                  </a:lnTo>
                  <a:lnTo>
                    <a:pt x="53200" y="297180"/>
                  </a:lnTo>
                  <a:close/>
                </a:path>
                <a:path w="333375" h="379729">
                  <a:moveTo>
                    <a:pt x="53251" y="296799"/>
                  </a:moveTo>
                  <a:lnTo>
                    <a:pt x="53200" y="295998"/>
                  </a:lnTo>
                  <a:lnTo>
                    <a:pt x="53174" y="295681"/>
                  </a:lnTo>
                  <a:lnTo>
                    <a:pt x="53136" y="295198"/>
                  </a:lnTo>
                  <a:lnTo>
                    <a:pt x="53174" y="295922"/>
                  </a:lnTo>
                  <a:lnTo>
                    <a:pt x="53200" y="296354"/>
                  </a:lnTo>
                  <a:lnTo>
                    <a:pt x="53225" y="296621"/>
                  </a:lnTo>
                  <a:lnTo>
                    <a:pt x="53251" y="296799"/>
                  </a:lnTo>
                  <a:close/>
                </a:path>
                <a:path w="333375" h="379729">
                  <a:moveTo>
                    <a:pt x="53517" y="297180"/>
                  </a:moveTo>
                  <a:lnTo>
                    <a:pt x="53517" y="297688"/>
                  </a:lnTo>
                  <a:lnTo>
                    <a:pt x="53517" y="297180"/>
                  </a:lnTo>
                  <a:close/>
                </a:path>
                <a:path w="333375" h="379729">
                  <a:moveTo>
                    <a:pt x="53606" y="295478"/>
                  </a:moveTo>
                  <a:lnTo>
                    <a:pt x="53581" y="295338"/>
                  </a:lnTo>
                  <a:lnTo>
                    <a:pt x="53467" y="295033"/>
                  </a:lnTo>
                  <a:lnTo>
                    <a:pt x="53543" y="295313"/>
                  </a:lnTo>
                  <a:lnTo>
                    <a:pt x="53606" y="295478"/>
                  </a:lnTo>
                  <a:close/>
                </a:path>
                <a:path w="333375" h="379729">
                  <a:moveTo>
                    <a:pt x="53670" y="372071"/>
                  </a:moveTo>
                  <a:close/>
                </a:path>
                <a:path w="333375" h="379729">
                  <a:moveTo>
                    <a:pt x="54051" y="294690"/>
                  </a:moveTo>
                  <a:close/>
                </a:path>
                <a:path w="333375" h="379729">
                  <a:moveTo>
                    <a:pt x="54838" y="294855"/>
                  </a:moveTo>
                  <a:lnTo>
                    <a:pt x="54775" y="294640"/>
                  </a:lnTo>
                  <a:lnTo>
                    <a:pt x="54838" y="294855"/>
                  </a:lnTo>
                  <a:close/>
                </a:path>
                <a:path w="333375" h="379729">
                  <a:moveTo>
                    <a:pt x="54952" y="294157"/>
                  </a:moveTo>
                  <a:lnTo>
                    <a:pt x="54825" y="294017"/>
                  </a:lnTo>
                  <a:lnTo>
                    <a:pt x="54914" y="294208"/>
                  </a:lnTo>
                  <a:close/>
                </a:path>
                <a:path w="333375" h="379729">
                  <a:moveTo>
                    <a:pt x="55283" y="295427"/>
                  </a:moveTo>
                  <a:close/>
                </a:path>
                <a:path w="333375" h="379729">
                  <a:moveTo>
                    <a:pt x="55308" y="295452"/>
                  </a:moveTo>
                  <a:close/>
                </a:path>
                <a:path w="333375" h="379729">
                  <a:moveTo>
                    <a:pt x="55880" y="292874"/>
                  </a:moveTo>
                  <a:lnTo>
                    <a:pt x="55346" y="292100"/>
                  </a:lnTo>
                  <a:lnTo>
                    <a:pt x="55880" y="292874"/>
                  </a:lnTo>
                  <a:close/>
                </a:path>
                <a:path w="333375" h="379729">
                  <a:moveTo>
                    <a:pt x="56261" y="293370"/>
                  </a:moveTo>
                  <a:lnTo>
                    <a:pt x="55880" y="292874"/>
                  </a:lnTo>
                  <a:lnTo>
                    <a:pt x="56222" y="293370"/>
                  </a:lnTo>
                  <a:close/>
                </a:path>
                <a:path w="333375" h="379729">
                  <a:moveTo>
                    <a:pt x="61607" y="280873"/>
                  </a:moveTo>
                  <a:lnTo>
                    <a:pt x="61239" y="280835"/>
                  </a:lnTo>
                  <a:lnTo>
                    <a:pt x="61226" y="280974"/>
                  </a:lnTo>
                  <a:lnTo>
                    <a:pt x="61150" y="281127"/>
                  </a:lnTo>
                  <a:lnTo>
                    <a:pt x="61239" y="281419"/>
                  </a:lnTo>
                  <a:lnTo>
                    <a:pt x="61391" y="281419"/>
                  </a:lnTo>
                  <a:lnTo>
                    <a:pt x="61493" y="281254"/>
                  </a:lnTo>
                  <a:lnTo>
                    <a:pt x="61569" y="281000"/>
                  </a:lnTo>
                  <a:lnTo>
                    <a:pt x="61607" y="280873"/>
                  </a:lnTo>
                  <a:close/>
                </a:path>
                <a:path w="333375" h="379729">
                  <a:moveTo>
                    <a:pt x="70370" y="266611"/>
                  </a:moveTo>
                  <a:lnTo>
                    <a:pt x="70281" y="266458"/>
                  </a:lnTo>
                  <a:lnTo>
                    <a:pt x="70243" y="266331"/>
                  </a:lnTo>
                  <a:lnTo>
                    <a:pt x="69964" y="266306"/>
                  </a:lnTo>
                  <a:lnTo>
                    <a:pt x="69850" y="266471"/>
                  </a:lnTo>
                  <a:lnTo>
                    <a:pt x="69786" y="266687"/>
                  </a:lnTo>
                  <a:lnTo>
                    <a:pt x="70002" y="266979"/>
                  </a:lnTo>
                  <a:lnTo>
                    <a:pt x="70205" y="266877"/>
                  </a:lnTo>
                  <a:lnTo>
                    <a:pt x="70332" y="266687"/>
                  </a:lnTo>
                  <a:close/>
                </a:path>
                <a:path w="333375" h="379729">
                  <a:moveTo>
                    <a:pt x="75044" y="260680"/>
                  </a:moveTo>
                  <a:lnTo>
                    <a:pt x="74930" y="260527"/>
                  </a:lnTo>
                  <a:lnTo>
                    <a:pt x="74752" y="260540"/>
                  </a:lnTo>
                  <a:lnTo>
                    <a:pt x="74625" y="260515"/>
                  </a:lnTo>
                  <a:lnTo>
                    <a:pt x="74599" y="260654"/>
                  </a:lnTo>
                  <a:lnTo>
                    <a:pt x="74523" y="260832"/>
                  </a:lnTo>
                  <a:lnTo>
                    <a:pt x="74625" y="260997"/>
                  </a:lnTo>
                  <a:lnTo>
                    <a:pt x="74815" y="260972"/>
                  </a:lnTo>
                  <a:lnTo>
                    <a:pt x="74942" y="260997"/>
                  </a:lnTo>
                  <a:lnTo>
                    <a:pt x="74968" y="260858"/>
                  </a:lnTo>
                  <a:lnTo>
                    <a:pt x="75044" y="260680"/>
                  </a:lnTo>
                  <a:close/>
                </a:path>
                <a:path w="333375" h="379729">
                  <a:moveTo>
                    <a:pt x="87096" y="240080"/>
                  </a:moveTo>
                  <a:lnTo>
                    <a:pt x="87007" y="239928"/>
                  </a:lnTo>
                  <a:lnTo>
                    <a:pt x="86702" y="239966"/>
                  </a:lnTo>
                  <a:lnTo>
                    <a:pt x="86588" y="240093"/>
                  </a:lnTo>
                  <a:lnTo>
                    <a:pt x="86461" y="240157"/>
                  </a:lnTo>
                  <a:lnTo>
                    <a:pt x="86601" y="240423"/>
                  </a:lnTo>
                  <a:lnTo>
                    <a:pt x="86868" y="240550"/>
                  </a:lnTo>
                  <a:lnTo>
                    <a:pt x="87007" y="240449"/>
                  </a:lnTo>
                  <a:lnTo>
                    <a:pt x="87096" y="240080"/>
                  </a:lnTo>
                  <a:close/>
                </a:path>
                <a:path w="333375" h="379729">
                  <a:moveTo>
                    <a:pt x="93243" y="229997"/>
                  </a:moveTo>
                  <a:lnTo>
                    <a:pt x="92964" y="229870"/>
                  </a:lnTo>
                  <a:lnTo>
                    <a:pt x="93205" y="230124"/>
                  </a:lnTo>
                  <a:lnTo>
                    <a:pt x="93243" y="229997"/>
                  </a:lnTo>
                  <a:close/>
                </a:path>
                <a:path w="333375" h="379729">
                  <a:moveTo>
                    <a:pt x="102311" y="215861"/>
                  </a:moveTo>
                  <a:lnTo>
                    <a:pt x="102184" y="215620"/>
                  </a:lnTo>
                  <a:lnTo>
                    <a:pt x="101930" y="215455"/>
                  </a:lnTo>
                  <a:lnTo>
                    <a:pt x="101803" y="215722"/>
                  </a:lnTo>
                  <a:lnTo>
                    <a:pt x="101904" y="215988"/>
                  </a:lnTo>
                  <a:lnTo>
                    <a:pt x="102082" y="216052"/>
                  </a:lnTo>
                  <a:lnTo>
                    <a:pt x="102209" y="215925"/>
                  </a:lnTo>
                  <a:close/>
                </a:path>
                <a:path w="333375" h="379729">
                  <a:moveTo>
                    <a:pt x="137236" y="255333"/>
                  </a:moveTo>
                  <a:lnTo>
                    <a:pt x="137198" y="254977"/>
                  </a:lnTo>
                  <a:lnTo>
                    <a:pt x="136969" y="254838"/>
                  </a:lnTo>
                  <a:lnTo>
                    <a:pt x="136779" y="254927"/>
                  </a:lnTo>
                  <a:lnTo>
                    <a:pt x="136652" y="255117"/>
                  </a:lnTo>
                  <a:lnTo>
                    <a:pt x="136550" y="255257"/>
                  </a:lnTo>
                  <a:lnTo>
                    <a:pt x="136639" y="255397"/>
                  </a:lnTo>
                  <a:lnTo>
                    <a:pt x="136956" y="255397"/>
                  </a:lnTo>
                  <a:lnTo>
                    <a:pt x="137096" y="255358"/>
                  </a:lnTo>
                  <a:lnTo>
                    <a:pt x="137236" y="255333"/>
                  </a:lnTo>
                  <a:close/>
                </a:path>
                <a:path w="333375" h="379729">
                  <a:moveTo>
                    <a:pt x="139903" y="250418"/>
                  </a:moveTo>
                  <a:lnTo>
                    <a:pt x="139750" y="250329"/>
                  </a:lnTo>
                  <a:lnTo>
                    <a:pt x="139585" y="250431"/>
                  </a:lnTo>
                  <a:lnTo>
                    <a:pt x="139458" y="250634"/>
                  </a:lnTo>
                  <a:lnTo>
                    <a:pt x="139369" y="250774"/>
                  </a:lnTo>
                  <a:lnTo>
                    <a:pt x="139661" y="250837"/>
                  </a:lnTo>
                  <a:lnTo>
                    <a:pt x="139877" y="250748"/>
                  </a:lnTo>
                  <a:lnTo>
                    <a:pt x="139903" y="250418"/>
                  </a:lnTo>
                  <a:close/>
                </a:path>
                <a:path w="333375" h="379729">
                  <a:moveTo>
                    <a:pt x="181305" y="109689"/>
                  </a:moveTo>
                  <a:lnTo>
                    <a:pt x="181254" y="109512"/>
                  </a:lnTo>
                  <a:lnTo>
                    <a:pt x="181076" y="109499"/>
                  </a:lnTo>
                  <a:lnTo>
                    <a:pt x="180936" y="109588"/>
                  </a:lnTo>
                  <a:lnTo>
                    <a:pt x="180886" y="109715"/>
                  </a:lnTo>
                  <a:lnTo>
                    <a:pt x="180886" y="110045"/>
                  </a:lnTo>
                  <a:lnTo>
                    <a:pt x="181013" y="110096"/>
                  </a:lnTo>
                  <a:lnTo>
                    <a:pt x="181152" y="109956"/>
                  </a:lnTo>
                  <a:lnTo>
                    <a:pt x="181305" y="109689"/>
                  </a:lnTo>
                  <a:close/>
                </a:path>
                <a:path w="333375" h="379729">
                  <a:moveTo>
                    <a:pt x="223012" y="128549"/>
                  </a:moveTo>
                  <a:close/>
                </a:path>
                <a:path w="333375" h="379729">
                  <a:moveTo>
                    <a:pt x="223659" y="128206"/>
                  </a:moveTo>
                  <a:lnTo>
                    <a:pt x="223456" y="128409"/>
                  </a:lnTo>
                  <a:lnTo>
                    <a:pt x="223227" y="128447"/>
                  </a:lnTo>
                  <a:lnTo>
                    <a:pt x="223012" y="128549"/>
                  </a:lnTo>
                  <a:lnTo>
                    <a:pt x="223342" y="129184"/>
                  </a:lnTo>
                  <a:lnTo>
                    <a:pt x="223481" y="128587"/>
                  </a:lnTo>
                  <a:lnTo>
                    <a:pt x="223659" y="128206"/>
                  </a:lnTo>
                  <a:close/>
                </a:path>
                <a:path w="333375" h="379729">
                  <a:moveTo>
                    <a:pt x="223812" y="128003"/>
                  </a:moveTo>
                  <a:lnTo>
                    <a:pt x="223659" y="128206"/>
                  </a:lnTo>
                  <a:lnTo>
                    <a:pt x="223812" y="128003"/>
                  </a:lnTo>
                  <a:close/>
                </a:path>
                <a:path w="333375" h="379729">
                  <a:moveTo>
                    <a:pt x="317665" y="1676"/>
                  </a:moveTo>
                  <a:lnTo>
                    <a:pt x="317588" y="1447"/>
                  </a:lnTo>
                  <a:lnTo>
                    <a:pt x="317449" y="1371"/>
                  </a:lnTo>
                  <a:lnTo>
                    <a:pt x="317284" y="1536"/>
                  </a:lnTo>
                  <a:lnTo>
                    <a:pt x="317360" y="1765"/>
                  </a:lnTo>
                  <a:lnTo>
                    <a:pt x="317487" y="1841"/>
                  </a:lnTo>
                  <a:lnTo>
                    <a:pt x="317665" y="1676"/>
                  </a:lnTo>
                  <a:close/>
                </a:path>
                <a:path w="333375" h="379729">
                  <a:moveTo>
                    <a:pt x="328155" y="3263"/>
                  </a:moveTo>
                  <a:lnTo>
                    <a:pt x="328104" y="3111"/>
                  </a:lnTo>
                  <a:lnTo>
                    <a:pt x="327977" y="3073"/>
                  </a:lnTo>
                  <a:lnTo>
                    <a:pt x="327799" y="3213"/>
                  </a:lnTo>
                  <a:lnTo>
                    <a:pt x="327850" y="3352"/>
                  </a:lnTo>
                  <a:lnTo>
                    <a:pt x="328041" y="3467"/>
                  </a:lnTo>
                  <a:lnTo>
                    <a:pt x="328155" y="3263"/>
                  </a:lnTo>
                  <a:close/>
                </a:path>
                <a:path w="333375" h="379729">
                  <a:moveTo>
                    <a:pt x="333375" y="9918"/>
                  </a:moveTo>
                  <a:lnTo>
                    <a:pt x="333324" y="9321"/>
                  </a:lnTo>
                  <a:lnTo>
                    <a:pt x="333133" y="9182"/>
                  </a:lnTo>
                  <a:lnTo>
                    <a:pt x="332828" y="9232"/>
                  </a:lnTo>
                  <a:lnTo>
                    <a:pt x="332308" y="9321"/>
                  </a:lnTo>
                  <a:lnTo>
                    <a:pt x="331724" y="9588"/>
                  </a:lnTo>
                  <a:lnTo>
                    <a:pt x="331800" y="10452"/>
                  </a:lnTo>
                  <a:lnTo>
                    <a:pt x="331558" y="10617"/>
                  </a:lnTo>
                  <a:lnTo>
                    <a:pt x="330161" y="10883"/>
                  </a:lnTo>
                  <a:lnTo>
                    <a:pt x="329793" y="11150"/>
                  </a:lnTo>
                  <a:lnTo>
                    <a:pt x="329692" y="11430"/>
                  </a:lnTo>
                  <a:lnTo>
                    <a:pt x="328396" y="11430"/>
                  </a:lnTo>
                  <a:lnTo>
                    <a:pt x="328955" y="10160"/>
                  </a:lnTo>
                  <a:lnTo>
                    <a:pt x="326402" y="10160"/>
                  </a:lnTo>
                  <a:lnTo>
                    <a:pt x="327406" y="8890"/>
                  </a:lnTo>
                  <a:lnTo>
                    <a:pt x="328993" y="7708"/>
                  </a:lnTo>
                  <a:lnTo>
                    <a:pt x="329234" y="8039"/>
                  </a:lnTo>
                  <a:lnTo>
                    <a:pt x="329336" y="8318"/>
                  </a:lnTo>
                  <a:lnTo>
                    <a:pt x="330047" y="7823"/>
                  </a:lnTo>
                  <a:lnTo>
                    <a:pt x="329971" y="7620"/>
                  </a:lnTo>
                  <a:lnTo>
                    <a:pt x="329692" y="7327"/>
                  </a:lnTo>
                  <a:lnTo>
                    <a:pt x="329501" y="7239"/>
                  </a:lnTo>
                  <a:lnTo>
                    <a:pt x="329171" y="7340"/>
                  </a:lnTo>
                  <a:lnTo>
                    <a:pt x="328968" y="7493"/>
                  </a:lnTo>
                  <a:lnTo>
                    <a:pt x="327774" y="6350"/>
                  </a:lnTo>
                  <a:lnTo>
                    <a:pt x="328993" y="6350"/>
                  </a:lnTo>
                  <a:lnTo>
                    <a:pt x="328523" y="5080"/>
                  </a:lnTo>
                  <a:lnTo>
                    <a:pt x="329044" y="3810"/>
                  </a:lnTo>
                  <a:lnTo>
                    <a:pt x="330758" y="3810"/>
                  </a:lnTo>
                  <a:lnTo>
                    <a:pt x="330454" y="2540"/>
                  </a:lnTo>
                  <a:lnTo>
                    <a:pt x="328726" y="3810"/>
                  </a:lnTo>
                  <a:lnTo>
                    <a:pt x="325678" y="3810"/>
                  </a:lnTo>
                  <a:lnTo>
                    <a:pt x="325005" y="2540"/>
                  </a:lnTo>
                  <a:lnTo>
                    <a:pt x="324713" y="2540"/>
                  </a:lnTo>
                  <a:lnTo>
                    <a:pt x="324713" y="15240"/>
                  </a:lnTo>
                  <a:lnTo>
                    <a:pt x="322973" y="15240"/>
                  </a:lnTo>
                  <a:lnTo>
                    <a:pt x="322897" y="16510"/>
                  </a:lnTo>
                  <a:lnTo>
                    <a:pt x="322478" y="16510"/>
                  </a:lnTo>
                  <a:lnTo>
                    <a:pt x="322643" y="15240"/>
                  </a:lnTo>
                  <a:lnTo>
                    <a:pt x="323316" y="13970"/>
                  </a:lnTo>
                  <a:lnTo>
                    <a:pt x="324205" y="13970"/>
                  </a:lnTo>
                  <a:lnTo>
                    <a:pt x="324713" y="15240"/>
                  </a:lnTo>
                  <a:lnTo>
                    <a:pt x="324713" y="2540"/>
                  </a:lnTo>
                  <a:lnTo>
                    <a:pt x="323291" y="2540"/>
                  </a:lnTo>
                  <a:lnTo>
                    <a:pt x="323291" y="5080"/>
                  </a:lnTo>
                  <a:lnTo>
                    <a:pt x="322872" y="5080"/>
                  </a:lnTo>
                  <a:lnTo>
                    <a:pt x="323011" y="3810"/>
                  </a:lnTo>
                  <a:lnTo>
                    <a:pt x="323253" y="3810"/>
                  </a:lnTo>
                  <a:lnTo>
                    <a:pt x="323291" y="5080"/>
                  </a:lnTo>
                  <a:lnTo>
                    <a:pt x="323291" y="2540"/>
                  </a:lnTo>
                  <a:lnTo>
                    <a:pt x="315214" y="2540"/>
                  </a:lnTo>
                  <a:lnTo>
                    <a:pt x="314248" y="1270"/>
                  </a:lnTo>
                  <a:lnTo>
                    <a:pt x="312699" y="1270"/>
                  </a:lnTo>
                  <a:lnTo>
                    <a:pt x="312699" y="2540"/>
                  </a:lnTo>
                  <a:lnTo>
                    <a:pt x="312585" y="3810"/>
                  </a:lnTo>
                  <a:lnTo>
                    <a:pt x="312115" y="3810"/>
                  </a:lnTo>
                  <a:lnTo>
                    <a:pt x="312166" y="2540"/>
                  </a:lnTo>
                  <a:lnTo>
                    <a:pt x="312699" y="2540"/>
                  </a:lnTo>
                  <a:lnTo>
                    <a:pt x="312699" y="1270"/>
                  </a:lnTo>
                  <a:lnTo>
                    <a:pt x="312140" y="1270"/>
                  </a:lnTo>
                  <a:lnTo>
                    <a:pt x="310616" y="0"/>
                  </a:lnTo>
                  <a:lnTo>
                    <a:pt x="307035" y="0"/>
                  </a:lnTo>
                  <a:lnTo>
                    <a:pt x="304952" y="1270"/>
                  </a:lnTo>
                  <a:lnTo>
                    <a:pt x="303847" y="2540"/>
                  </a:lnTo>
                  <a:lnTo>
                    <a:pt x="302361" y="1270"/>
                  </a:lnTo>
                  <a:lnTo>
                    <a:pt x="301955" y="1270"/>
                  </a:lnTo>
                  <a:lnTo>
                    <a:pt x="300659" y="2540"/>
                  </a:lnTo>
                  <a:lnTo>
                    <a:pt x="297865" y="3810"/>
                  </a:lnTo>
                  <a:lnTo>
                    <a:pt x="296887" y="3810"/>
                  </a:lnTo>
                  <a:lnTo>
                    <a:pt x="294233" y="5080"/>
                  </a:lnTo>
                  <a:lnTo>
                    <a:pt x="292887" y="6350"/>
                  </a:lnTo>
                  <a:lnTo>
                    <a:pt x="291528" y="6350"/>
                  </a:lnTo>
                  <a:lnTo>
                    <a:pt x="288861" y="8890"/>
                  </a:lnTo>
                  <a:lnTo>
                    <a:pt x="284962" y="10160"/>
                  </a:lnTo>
                  <a:lnTo>
                    <a:pt x="282943" y="12700"/>
                  </a:lnTo>
                  <a:lnTo>
                    <a:pt x="278828" y="15240"/>
                  </a:lnTo>
                  <a:lnTo>
                    <a:pt x="276809" y="15240"/>
                  </a:lnTo>
                  <a:lnTo>
                    <a:pt x="275386" y="17780"/>
                  </a:lnTo>
                  <a:lnTo>
                    <a:pt x="274421" y="19050"/>
                  </a:lnTo>
                  <a:lnTo>
                    <a:pt x="271399" y="20320"/>
                  </a:lnTo>
                  <a:lnTo>
                    <a:pt x="269900" y="22860"/>
                  </a:lnTo>
                  <a:lnTo>
                    <a:pt x="267817" y="24130"/>
                  </a:lnTo>
                  <a:lnTo>
                    <a:pt x="265823" y="24130"/>
                  </a:lnTo>
                  <a:lnTo>
                    <a:pt x="265176" y="26670"/>
                  </a:lnTo>
                  <a:lnTo>
                    <a:pt x="264337" y="26670"/>
                  </a:lnTo>
                  <a:lnTo>
                    <a:pt x="262458" y="29210"/>
                  </a:lnTo>
                  <a:lnTo>
                    <a:pt x="261175" y="29210"/>
                  </a:lnTo>
                  <a:lnTo>
                    <a:pt x="258876" y="31750"/>
                  </a:lnTo>
                  <a:lnTo>
                    <a:pt x="256552" y="31750"/>
                  </a:lnTo>
                  <a:lnTo>
                    <a:pt x="256120" y="34290"/>
                  </a:lnTo>
                  <a:lnTo>
                    <a:pt x="254292" y="35560"/>
                  </a:lnTo>
                  <a:lnTo>
                    <a:pt x="250215" y="39370"/>
                  </a:lnTo>
                  <a:lnTo>
                    <a:pt x="248462" y="39370"/>
                  </a:lnTo>
                  <a:lnTo>
                    <a:pt x="246341" y="43180"/>
                  </a:lnTo>
                  <a:lnTo>
                    <a:pt x="244868" y="44450"/>
                  </a:lnTo>
                  <a:lnTo>
                    <a:pt x="242341" y="45720"/>
                  </a:lnTo>
                  <a:lnTo>
                    <a:pt x="241490" y="45720"/>
                  </a:lnTo>
                  <a:lnTo>
                    <a:pt x="241909" y="48260"/>
                  </a:lnTo>
                  <a:lnTo>
                    <a:pt x="238963" y="48260"/>
                  </a:lnTo>
                  <a:lnTo>
                    <a:pt x="237312" y="52070"/>
                  </a:lnTo>
                  <a:lnTo>
                    <a:pt x="234772" y="53340"/>
                  </a:lnTo>
                  <a:lnTo>
                    <a:pt x="232397" y="55880"/>
                  </a:lnTo>
                  <a:lnTo>
                    <a:pt x="231381" y="57150"/>
                  </a:lnTo>
                  <a:lnTo>
                    <a:pt x="227761" y="58420"/>
                  </a:lnTo>
                  <a:lnTo>
                    <a:pt x="227533" y="60960"/>
                  </a:lnTo>
                  <a:lnTo>
                    <a:pt x="225412" y="62230"/>
                  </a:lnTo>
                  <a:lnTo>
                    <a:pt x="225412" y="63500"/>
                  </a:lnTo>
                  <a:lnTo>
                    <a:pt x="223367" y="63500"/>
                  </a:lnTo>
                  <a:lnTo>
                    <a:pt x="222897" y="64770"/>
                  </a:lnTo>
                  <a:lnTo>
                    <a:pt x="222681" y="66040"/>
                  </a:lnTo>
                  <a:lnTo>
                    <a:pt x="221957" y="67310"/>
                  </a:lnTo>
                  <a:lnTo>
                    <a:pt x="219989" y="68580"/>
                  </a:lnTo>
                  <a:lnTo>
                    <a:pt x="218490" y="68580"/>
                  </a:lnTo>
                  <a:lnTo>
                    <a:pt x="216928" y="71120"/>
                  </a:lnTo>
                  <a:lnTo>
                    <a:pt x="215722" y="72390"/>
                  </a:lnTo>
                  <a:lnTo>
                    <a:pt x="214960" y="74930"/>
                  </a:lnTo>
                  <a:lnTo>
                    <a:pt x="214058" y="74930"/>
                  </a:lnTo>
                  <a:lnTo>
                    <a:pt x="212229" y="76200"/>
                  </a:lnTo>
                  <a:lnTo>
                    <a:pt x="210172" y="78740"/>
                  </a:lnTo>
                  <a:lnTo>
                    <a:pt x="208457" y="80010"/>
                  </a:lnTo>
                  <a:lnTo>
                    <a:pt x="207327" y="81280"/>
                  </a:lnTo>
                  <a:lnTo>
                    <a:pt x="205409" y="83820"/>
                  </a:lnTo>
                  <a:lnTo>
                    <a:pt x="204863" y="85090"/>
                  </a:lnTo>
                  <a:lnTo>
                    <a:pt x="203949" y="86360"/>
                  </a:lnTo>
                  <a:lnTo>
                    <a:pt x="201485" y="87630"/>
                  </a:lnTo>
                  <a:lnTo>
                    <a:pt x="200291" y="88900"/>
                  </a:lnTo>
                  <a:lnTo>
                    <a:pt x="199796" y="90170"/>
                  </a:lnTo>
                  <a:lnTo>
                    <a:pt x="197345" y="90170"/>
                  </a:lnTo>
                  <a:lnTo>
                    <a:pt x="197980" y="91440"/>
                  </a:lnTo>
                  <a:lnTo>
                    <a:pt x="197904" y="93980"/>
                  </a:lnTo>
                  <a:lnTo>
                    <a:pt x="195465"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17" y="110490"/>
                  </a:lnTo>
                  <a:lnTo>
                    <a:pt x="179387" y="111760"/>
                  </a:lnTo>
                  <a:lnTo>
                    <a:pt x="180505" y="113030"/>
                  </a:lnTo>
                  <a:lnTo>
                    <a:pt x="180009" y="113030"/>
                  </a:lnTo>
                  <a:lnTo>
                    <a:pt x="176784" y="116840"/>
                  </a:lnTo>
                  <a:lnTo>
                    <a:pt x="175018" y="116840"/>
                  </a:lnTo>
                  <a:lnTo>
                    <a:pt x="174891" y="120650"/>
                  </a:lnTo>
                  <a:lnTo>
                    <a:pt x="172935" y="120650"/>
                  </a:lnTo>
                  <a:lnTo>
                    <a:pt x="172935" y="139700"/>
                  </a:lnTo>
                  <a:lnTo>
                    <a:pt x="171678" y="139700"/>
                  </a:lnTo>
                  <a:lnTo>
                    <a:pt x="171729" y="138430"/>
                  </a:lnTo>
                  <a:lnTo>
                    <a:pt x="172694" y="138430"/>
                  </a:lnTo>
                  <a:lnTo>
                    <a:pt x="172935" y="139700"/>
                  </a:lnTo>
                  <a:lnTo>
                    <a:pt x="172935" y="120650"/>
                  </a:lnTo>
                  <a:lnTo>
                    <a:pt x="172046" y="120650"/>
                  </a:lnTo>
                  <a:lnTo>
                    <a:pt x="171970" y="124460"/>
                  </a:lnTo>
                  <a:lnTo>
                    <a:pt x="170713" y="125247"/>
                  </a:lnTo>
                  <a:lnTo>
                    <a:pt x="170713"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56" y="137160"/>
                  </a:lnTo>
                  <a:lnTo>
                    <a:pt x="170408" y="135890"/>
                  </a:lnTo>
                  <a:lnTo>
                    <a:pt x="170713" y="137160"/>
                  </a:lnTo>
                  <a:lnTo>
                    <a:pt x="170713" y="125247"/>
                  </a:lnTo>
                  <a:lnTo>
                    <a:pt x="167868" y="127000"/>
                  </a:lnTo>
                  <a:lnTo>
                    <a:pt x="167411" y="127000"/>
                  </a:lnTo>
                  <a:lnTo>
                    <a:pt x="167614"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16" y="149860"/>
                  </a:lnTo>
                  <a:lnTo>
                    <a:pt x="158394" y="148590"/>
                  </a:lnTo>
                  <a:lnTo>
                    <a:pt x="159270" y="148590"/>
                  </a:lnTo>
                  <a:lnTo>
                    <a:pt x="159270" y="137160"/>
                  </a:lnTo>
                  <a:lnTo>
                    <a:pt x="158838" y="137160"/>
                  </a:lnTo>
                  <a:lnTo>
                    <a:pt x="159092" y="140970"/>
                  </a:lnTo>
                  <a:lnTo>
                    <a:pt x="156197" y="140970"/>
                  </a:lnTo>
                  <a:lnTo>
                    <a:pt x="156019" y="144780"/>
                  </a:lnTo>
                  <a:lnTo>
                    <a:pt x="154774" y="146050"/>
                  </a:lnTo>
                  <a:lnTo>
                    <a:pt x="152057" y="147320"/>
                  </a:lnTo>
                  <a:lnTo>
                    <a:pt x="151790" y="148590"/>
                  </a:lnTo>
                  <a:lnTo>
                    <a:pt x="152552" y="148590"/>
                  </a:lnTo>
                  <a:lnTo>
                    <a:pt x="151955" y="149860"/>
                  </a:lnTo>
                  <a:lnTo>
                    <a:pt x="150952" y="151130"/>
                  </a:lnTo>
                  <a:lnTo>
                    <a:pt x="150825" y="151130"/>
                  </a:lnTo>
                  <a:lnTo>
                    <a:pt x="149415" y="153670"/>
                  </a:lnTo>
                  <a:lnTo>
                    <a:pt x="149745" y="154940"/>
                  </a:lnTo>
                  <a:lnTo>
                    <a:pt x="151536" y="154940"/>
                  </a:lnTo>
                  <a:lnTo>
                    <a:pt x="151130" y="153670"/>
                  </a:lnTo>
                  <a:lnTo>
                    <a:pt x="151968" y="153670"/>
                  </a:lnTo>
                  <a:lnTo>
                    <a:pt x="153035" y="153670"/>
                  </a:lnTo>
                  <a:lnTo>
                    <a:pt x="152742" y="152400"/>
                  </a:lnTo>
                  <a:lnTo>
                    <a:pt x="153746" y="152400"/>
                  </a:lnTo>
                  <a:lnTo>
                    <a:pt x="153365" y="153670"/>
                  </a:lnTo>
                  <a:lnTo>
                    <a:pt x="153123" y="154940"/>
                  </a:lnTo>
                  <a:lnTo>
                    <a:pt x="151968" y="153670"/>
                  </a:lnTo>
                  <a:lnTo>
                    <a:pt x="152692" y="154940"/>
                  </a:lnTo>
                  <a:lnTo>
                    <a:pt x="151193" y="156210"/>
                  </a:lnTo>
                  <a:lnTo>
                    <a:pt x="150291" y="157480"/>
                  </a:lnTo>
                  <a:lnTo>
                    <a:pt x="147853" y="157480"/>
                  </a:lnTo>
                  <a:lnTo>
                    <a:pt x="147777" y="156210"/>
                  </a:lnTo>
                  <a:lnTo>
                    <a:pt x="147205" y="154940"/>
                  </a:lnTo>
                  <a:lnTo>
                    <a:pt x="145465" y="154940"/>
                  </a:lnTo>
                  <a:lnTo>
                    <a:pt x="145656" y="157480"/>
                  </a:lnTo>
                  <a:lnTo>
                    <a:pt x="144691" y="157480"/>
                  </a:lnTo>
                  <a:lnTo>
                    <a:pt x="143141" y="160020"/>
                  </a:lnTo>
                  <a:lnTo>
                    <a:pt x="141478" y="160020"/>
                  </a:lnTo>
                  <a:lnTo>
                    <a:pt x="142582" y="162560"/>
                  </a:lnTo>
                  <a:lnTo>
                    <a:pt x="142354" y="162560"/>
                  </a:lnTo>
                  <a:lnTo>
                    <a:pt x="140182" y="163830"/>
                  </a:lnTo>
                  <a:lnTo>
                    <a:pt x="138709" y="166370"/>
                  </a:lnTo>
                  <a:lnTo>
                    <a:pt x="136918" y="168910"/>
                  </a:lnTo>
                  <a:lnTo>
                    <a:pt x="135966" y="170180"/>
                  </a:lnTo>
                  <a:lnTo>
                    <a:pt x="134264" y="171450"/>
                  </a:lnTo>
                  <a:lnTo>
                    <a:pt x="133235" y="171450"/>
                  </a:lnTo>
                  <a:lnTo>
                    <a:pt x="134226" y="173990"/>
                  </a:lnTo>
                  <a:lnTo>
                    <a:pt x="133273" y="175260"/>
                  </a:lnTo>
                  <a:lnTo>
                    <a:pt x="130822" y="176530"/>
                  </a:lnTo>
                  <a:lnTo>
                    <a:pt x="129857" y="179070"/>
                  </a:lnTo>
                  <a:lnTo>
                    <a:pt x="127177" y="180340"/>
                  </a:lnTo>
                  <a:lnTo>
                    <a:pt x="126923" y="180340"/>
                  </a:lnTo>
                  <a:lnTo>
                    <a:pt x="126860" y="182880"/>
                  </a:lnTo>
                  <a:lnTo>
                    <a:pt x="125831" y="185420"/>
                  </a:lnTo>
                  <a:lnTo>
                    <a:pt x="126009" y="187960"/>
                  </a:lnTo>
                  <a:lnTo>
                    <a:pt x="124574" y="187960"/>
                  </a:lnTo>
                  <a:lnTo>
                    <a:pt x="124002" y="189230"/>
                  </a:lnTo>
                  <a:lnTo>
                    <a:pt x="123215" y="187960"/>
                  </a:lnTo>
                  <a:lnTo>
                    <a:pt x="123037" y="189839"/>
                  </a:lnTo>
                  <a:lnTo>
                    <a:pt x="123037" y="269240"/>
                  </a:lnTo>
                  <a:lnTo>
                    <a:pt x="122656" y="269240"/>
                  </a:lnTo>
                  <a:lnTo>
                    <a:pt x="122872" y="267970"/>
                  </a:lnTo>
                  <a:lnTo>
                    <a:pt x="123037" y="269240"/>
                  </a:lnTo>
                  <a:lnTo>
                    <a:pt x="123037" y="189839"/>
                  </a:lnTo>
                  <a:lnTo>
                    <a:pt x="122974" y="190500"/>
                  </a:lnTo>
                  <a:lnTo>
                    <a:pt x="121780" y="190500"/>
                  </a:lnTo>
                  <a:lnTo>
                    <a:pt x="120357" y="191770"/>
                  </a:lnTo>
                  <a:lnTo>
                    <a:pt x="119672" y="191770"/>
                  </a:lnTo>
                  <a:lnTo>
                    <a:pt x="118198" y="193040"/>
                  </a:lnTo>
                  <a:lnTo>
                    <a:pt x="119761" y="193040"/>
                  </a:lnTo>
                  <a:lnTo>
                    <a:pt x="119176" y="194310"/>
                  </a:lnTo>
                  <a:lnTo>
                    <a:pt x="118033" y="195580"/>
                  </a:lnTo>
                  <a:lnTo>
                    <a:pt x="117906" y="198120"/>
                  </a:lnTo>
                  <a:lnTo>
                    <a:pt x="115481" y="198120"/>
                  </a:lnTo>
                  <a:lnTo>
                    <a:pt x="116382" y="200660"/>
                  </a:lnTo>
                  <a:lnTo>
                    <a:pt x="115392" y="200660"/>
                  </a:lnTo>
                  <a:lnTo>
                    <a:pt x="113449" y="201930"/>
                  </a:lnTo>
                  <a:lnTo>
                    <a:pt x="113017" y="203200"/>
                  </a:lnTo>
                  <a:lnTo>
                    <a:pt x="111658" y="204470"/>
                  </a:lnTo>
                  <a:lnTo>
                    <a:pt x="110871" y="205740"/>
                  </a:lnTo>
                  <a:lnTo>
                    <a:pt x="110629" y="207010"/>
                  </a:lnTo>
                  <a:lnTo>
                    <a:pt x="108127" y="207010"/>
                  </a:lnTo>
                  <a:lnTo>
                    <a:pt x="108800" y="208280"/>
                  </a:lnTo>
                  <a:lnTo>
                    <a:pt x="107721" y="210820"/>
                  </a:lnTo>
                  <a:lnTo>
                    <a:pt x="107378" y="212090"/>
                  </a:lnTo>
                  <a:lnTo>
                    <a:pt x="105460" y="212090"/>
                  </a:lnTo>
                  <a:lnTo>
                    <a:pt x="105956" y="214630"/>
                  </a:lnTo>
                  <a:lnTo>
                    <a:pt x="104559" y="215900"/>
                  </a:lnTo>
                  <a:lnTo>
                    <a:pt x="104787" y="217170"/>
                  </a:lnTo>
                  <a:lnTo>
                    <a:pt x="100660" y="217170"/>
                  </a:lnTo>
                  <a:lnTo>
                    <a:pt x="100291" y="218440"/>
                  </a:lnTo>
                  <a:lnTo>
                    <a:pt x="101028" y="222250"/>
                  </a:lnTo>
                  <a:lnTo>
                    <a:pt x="99339" y="222250"/>
                  </a:lnTo>
                  <a:lnTo>
                    <a:pt x="99415" y="226060"/>
                  </a:lnTo>
                  <a:lnTo>
                    <a:pt x="94805" y="226060"/>
                  </a:lnTo>
                  <a:lnTo>
                    <a:pt x="96164" y="228600"/>
                  </a:lnTo>
                  <a:lnTo>
                    <a:pt x="96139" y="229870"/>
                  </a:lnTo>
                  <a:lnTo>
                    <a:pt x="95402" y="229870"/>
                  </a:lnTo>
                  <a:lnTo>
                    <a:pt x="95681" y="231140"/>
                  </a:lnTo>
                  <a:lnTo>
                    <a:pt x="93281" y="230009"/>
                  </a:lnTo>
                  <a:lnTo>
                    <a:pt x="93294" y="230212"/>
                  </a:lnTo>
                  <a:lnTo>
                    <a:pt x="94170" y="231140"/>
                  </a:lnTo>
                  <a:lnTo>
                    <a:pt x="93535" y="233680"/>
                  </a:lnTo>
                  <a:lnTo>
                    <a:pt x="93294" y="230212"/>
                  </a:lnTo>
                  <a:lnTo>
                    <a:pt x="92684" y="232410"/>
                  </a:lnTo>
                  <a:lnTo>
                    <a:pt x="92811" y="232410"/>
                  </a:lnTo>
                  <a:lnTo>
                    <a:pt x="93472"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80" y="248920"/>
                  </a:lnTo>
                  <a:lnTo>
                    <a:pt x="82791" y="251460"/>
                  </a:lnTo>
                  <a:lnTo>
                    <a:pt x="81254" y="251460"/>
                  </a:lnTo>
                  <a:lnTo>
                    <a:pt x="81241" y="251193"/>
                  </a:lnTo>
                  <a:lnTo>
                    <a:pt x="81216" y="251066"/>
                  </a:lnTo>
                  <a:lnTo>
                    <a:pt x="80835" y="251015"/>
                  </a:lnTo>
                  <a:lnTo>
                    <a:pt x="80835" y="251155"/>
                  </a:lnTo>
                  <a:lnTo>
                    <a:pt x="80797" y="251307"/>
                  </a:lnTo>
                  <a:lnTo>
                    <a:pt x="80962" y="251637"/>
                  </a:lnTo>
                  <a:lnTo>
                    <a:pt x="81153" y="251625"/>
                  </a:lnTo>
                  <a:lnTo>
                    <a:pt x="80645" y="254000"/>
                  </a:lnTo>
                  <a:lnTo>
                    <a:pt x="79489" y="252730"/>
                  </a:lnTo>
                  <a:lnTo>
                    <a:pt x="79489" y="254000"/>
                  </a:lnTo>
                  <a:lnTo>
                    <a:pt x="77317" y="255270"/>
                  </a:lnTo>
                  <a:lnTo>
                    <a:pt x="79019" y="256540"/>
                  </a:lnTo>
                  <a:lnTo>
                    <a:pt x="78879" y="256540"/>
                  </a:lnTo>
                  <a:lnTo>
                    <a:pt x="77470" y="257810"/>
                  </a:lnTo>
                  <a:lnTo>
                    <a:pt x="76771" y="259080"/>
                  </a:lnTo>
                  <a:lnTo>
                    <a:pt x="76288" y="261620"/>
                  </a:lnTo>
                  <a:lnTo>
                    <a:pt x="74790" y="261620"/>
                  </a:lnTo>
                  <a:lnTo>
                    <a:pt x="74510" y="262890"/>
                  </a:lnTo>
                  <a:lnTo>
                    <a:pt x="72936" y="265430"/>
                  </a:lnTo>
                  <a:lnTo>
                    <a:pt x="72453" y="266700"/>
                  </a:lnTo>
                  <a:lnTo>
                    <a:pt x="69494" y="269240"/>
                  </a:lnTo>
                  <a:lnTo>
                    <a:pt x="69519" y="271780"/>
                  </a:lnTo>
                  <a:lnTo>
                    <a:pt x="69138" y="270510"/>
                  </a:lnTo>
                  <a:lnTo>
                    <a:pt x="67894" y="273050"/>
                  </a:lnTo>
                  <a:lnTo>
                    <a:pt x="67386"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290" y="276860"/>
                  </a:lnTo>
                  <a:lnTo>
                    <a:pt x="65443" y="278130"/>
                  </a:lnTo>
                  <a:lnTo>
                    <a:pt x="64033" y="279400"/>
                  </a:lnTo>
                  <a:lnTo>
                    <a:pt x="64617" y="281940"/>
                  </a:lnTo>
                  <a:lnTo>
                    <a:pt x="64312" y="281940"/>
                  </a:lnTo>
                  <a:lnTo>
                    <a:pt x="62115" y="280670"/>
                  </a:lnTo>
                  <a:lnTo>
                    <a:pt x="60312" y="283210"/>
                  </a:lnTo>
                  <a:lnTo>
                    <a:pt x="61810" y="285750"/>
                  </a:lnTo>
                  <a:lnTo>
                    <a:pt x="60210" y="287020"/>
                  </a:lnTo>
                  <a:lnTo>
                    <a:pt x="60223" y="288290"/>
                  </a:lnTo>
                  <a:lnTo>
                    <a:pt x="59550" y="288290"/>
                  </a:lnTo>
                  <a:lnTo>
                    <a:pt x="58153" y="289560"/>
                  </a:lnTo>
                  <a:lnTo>
                    <a:pt x="57950" y="289560"/>
                  </a:lnTo>
                  <a:lnTo>
                    <a:pt x="58229" y="290830"/>
                  </a:lnTo>
                  <a:lnTo>
                    <a:pt x="58635" y="292100"/>
                  </a:lnTo>
                  <a:lnTo>
                    <a:pt x="56959" y="292100"/>
                  </a:lnTo>
                  <a:lnTo>
                    <a:pt x="56845" y="292506"/>
                  </a:lnTo>
                  <a:lnTo>
                    <a:pt x="56845" y="370840"/>
                  </a:lnTo>
                  <a:lnTo>
                    <a:pt x="56769" y="372110"/>
                  </a:lnTo>
                  <a:lnTo>
                    <a:pt x="55626" y="372110"/>
                  </a:lnTo>
                  <a:lnTo>
                    <a:pt x="54876" y="373380"/>
                  </a:lnTo>
                  <a:lnTo>
                    <a:pt x="53924" y="374650"/>
                  </a:lnTo>
                  <a:lnTo>
                    <a:pt x="52730" y="374650"/>
                  </a:lnTo>
                  <a:lnTo>
                    <a:pt x="52387" y="375920"/>
                  </a:lnTo>
                  <a:lnTo>
                    <a:pt x="51269" y="375920"/>
                  </a:lnTo>
                  <a:lnTo>
                    <a:pt x="51523" y="374650"/>
                  </a:lnTo>
                  <a:lnTo>
                    <a:pt x="50723" y="374650"/>
                  </a:lnTo>
                  <a:lnTo>
                    <a:pt x="51358" y="373380"/>
                  </a:lnTo>
                  <a:lnTo>
                    <a:pt x="51790" y="372110"/>
                  </a:lnTo>
                  <a:lnTo>
                    <a:pt x="52057" y="373380"/>
                  </a:lnTo>
                  <a:lnTo>
                    <a:pt x="53251" y="373380"/>
                  </a:lnTo>
                  <a:lnTo>
                    <a:pt x="53530" y="372110"/>
                  </a:lnTo>
                  <a:lnTo>
                    <a:pt x="53403" y="372110"/>
                  </a:lnTo>
                  <a:lnTo>
                    <a:pt x="53454" y="370840"/>
                  </a:lnTo>
                  <a:lnTo>
                    <a:pt x="53644" y="370840"/>
                  </a:lnTo>
                  <a:lnTo>
                    <a:pt x="53670" y="372071"/>
                  </a:lnTo>
                  <a:lnTo>
                    <a:pt x="54851" y="370840"/>
                  </a:lnTo>
                  <a:lnTo>
                    <a:pt x="56845" y="370840"/>
                  </a:lnTo>
                  <a:lnTo>
                    <a:pt x="56845" y="292506"/>
                  </a:lnTo>
                  <a:lnTo>
                    <a:pt x="56591" y="293370"/>
                  </a:lnTo>
                  <a:lnTo>
                    <a:pt x="56807" y="294640"/>
                  </a:lnTo>
                  <a:lnTo>
                    <a:pt x="55499" y="294640"/>
                  </a:lnTo>
                  <a:lnTo>
                    <a:pt x="55587" y="295440"/>
                  </a:lnTo>
                  <a:lnTo>
                    <a:pt x="55791" y="295910"/>
                  </a:lnTo>
                  <a:lnTo>
                    <a:pt x="55651" y="295910"/>
                  </a:lnTo>
                  <a:lnTo>
                    <a:pt x="55562" y="295363"/>
                  </a:lnTo>
                  <a:lnTo>
                    <a:pt x="55257" y="294640"/>
                  </a:lnTo>
                  <a:lnTo>
                    <a:pt x="55587" y="295910"/>
                  </a:lnTo>
                  <a:lnTo>
                    <a:pt x="55232" y="295427"/>
                  </a:lnTo>
                  <a:lnTo>
                    <a:pt x="55105" y="295211"/>
                  </a:lnTo>
                  <a:lnTo>
                    <a:pt x="54940" y="294982"/>
                  </a:lnTo>
                  <a:lnTo>
                    <a:pt x="54838" y="294855"/>
                  </a:lnTo>
                  <a:lnTo>
                    <a:pt x="55143" y="295910"/>
                  </a:lnTo>
                  <a:lnTo>
                    <a:pt x="55575" y="298450"/>
                  </a:lnTo>
                  <a:lnTo>
                    <a:pt x="54051" y="294690"/>
                  </a:lnTo>
                  <a:lnTo>
                    <a:pt x="54140" y="295249"/>
                  </a:lnTo>
                  <a:lnTo>
                    <a:pt x="54076" y="295097"/>
                  </a:lnTo>
                  <a:lnTo>
                    <a:pt x="53886" y="294767"/>
                  </a:lnTo>
                  <a:lnTo>
                    <a:pt x="53975" y="295021"/>
                  </a:lnTo>
                  <a:lnTo>
                    <a:pt x="54076" y="295211"/>
                  </a:lnTo>
                  <a:lnTo>
                    <a:pt x="54152" y="295351"/>
                  </a:lnTo>
                  <a:lnTo>
                    <a:pt x="54457" y="297180"/>
                  </a:lnTo>
                  <a:lnTo>
                    <a:pt x="53911" y="295910"/>
                  </a:lnTo>
                  <a:lnTo>
                    <a:pt x="54025" y="297180"/>
                  </a:lnTo>
                  <a:lnTo>
                    <a:pt x="53530" y="295910"/>
                  </a:lnTo>
                  <a:lnTo>
                    <a:pt x="53860" y="297180"/>
                  </a:lnTo>
                  <a:lnTo>
                    <a:pt x="53594" y="297180"/>
                  </a:lnTo>
                  <a:lnTo>
                    <a:pt x="53886" y="298450"/>
                  </a:lnTo>
                  <a:lnTo>
                    <a:pt x="53860" y="299720"/>
                  </a:lnTo>
                  <a:lnTo>
                    <a:pt x="53517" y="297688"/>
                  </a:lnTo>
                  <a:lnTo>
                    <a:pt x="53594" y="300990"/>
                  </a:lnTo>
                  <a:lnTo>
                    <a:pt x="53467" y="299720"/>
                  </a:lnTo>
                  <a:lnTo>
                    <a:pt x="53200" y="297446"/>
                  </a:lnTo>
                  <a:lnTo>
                    <a:pt x="53238" y="299720"/>
                  </a:lnTo>
                  <a:lnTo>
                    <a:pt x="53035" y="295363"/>
                  </a:lnTo>
                  <a:lnTo>
                    <a:pt x="52832" y="299720"/>
                  </a:lnTo>
                  <a:lnTo>
                    <a:pt x="52832" y="297180"/>
                  </a:lnTo>
                  <a:lnTo>
                    <a:pt x="52793" y="298450"/>
                  </a:lnTo>
                  <a:lnTo>
                    <a:pt x="52679" y="299720"/>
                  </a:lnTo>
                  <a:lnTo>
                    <a:pt x="52527" y="299720"/>
                  </a:lnTo>
                  <a:lnTo>
                    <a:pt x="52679" y="297180"/>
                  </a:lnTo>
                  <a:lnTo>
                    <a:pt x="52336" y="299720"/>
                  </a:lnTo>
                  <a:lnTo>
                    <a:pt x="51993" y="298450"/>
                  </a:lnTo>
                  <a:lnTo>
                    <a:pt x="51638" y="298450"/>
                  </a:lnTo>
                  <a:lnTo>
                    <a:pt x="51409" y="297180"/>
                  </a:lnTo>
                  <a:lnTo>
                    <a:pt x="51714" y="297180"/>
                  </a:lnTo>
                  <a:lnTo>
                    <a:pt x="52705" y="295910"/>
                  </a:lnTo>
                  <a:lnTo>
                    <a:pt x="52501" y="295910"/>
                  </a:lnTo>
                  <a:lnTo>
                    <a:pt x="51866" y="294640"/>
                  </a:lnTo>
                  <a:lnTo>
                    <a:pt x="51460" y="294640"/>
                  </a:lnTo>
                  <a:lnTo>
                    <a:pt x="50977"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84"/>
                  </a:lnTo>
                  <a:lnTo>
                    <a:pt x="50393" y="299720"/>
                  </a:lnTo>
                  <a:lnTo>
                    <a:pt x="50025" y="299720"/>
                  </a:lnTo>
                  <a:lnTo>
                    <a:pt x="50279" y="298450"/>
                  </a:lnTo>
                  <a:lnTo>
                    <a:pt x="50393" y="299720"/>
                  </a:lnTo>
                  <a:lnTo>
                    <a:pt x="50393" y="291884"/>
                  </a:lnTo>
                  <a:lnTo>
                    <a:pt x="50101" y="290830"/>
                  </a:lnTo>
                  <a:lnTo>
                    <a:pt x="51015" y="289560"/>
                  </a:lnTo>
                  <a:lnTo>
                    <a:pt x="50063" y="287020"/>
                  </a:lnTo>
                  <a:lnTo>
                    <a:pt x="51320" y="287020"/>
                  </a:lnTo>
                  <a:lnTo>
                    <a:pt x="51142" y="285750"/>
                  </a:lnTo>
                  <a:lnTo>
                    <a:pt x="51422" y="285750"/>
                  </a:lnTo>
                  <a:lnTo>
                    <a:pt x="50431" y="284480"/>
                  </a:lnTo>
                  <a:lnTo>
                    <a:pt x="49771" y="283210"/>
                  </a:lnTo>
                  <a:lnTo>
                    <a:pt x="49288" y="283210"/>
                  </a:lnTo>
                  <a:lnTo>
                    <a:pt x="50342" y="281940"/>
                  </a:lnTo>
                  <a:lnTo>
                    <a:pt x="50190" y="280670"/>
                  </a:lnTo>
                  <a:lnTo>
                    <a:pt x="48869" y="279400"/>
                  </a:lnTo>
                  <a:lnTo>
                    <a:pt x="48590" y="278130"/>
                  </a:lnTo>
                  <a:lnTo>
                    <a:pt x="49885" y="276860"/>
                  </a:lnTo>
                  <a:lnTo>
                    <a:pt x="49085" y="275590"/>
                  </a:lnTo>
                  <a:lnTo>
                    <a:pt x="48844" y="273050"/>
                  </a:lnTo>
                  <a:lnTo>
                    <a:pt x="48539" y="273050"/>
                  </a:lnTo>
                  <a:lnTo>
                    <a:pt x="47307" y="270510"/>
                  </a:lnTo>
                  <a:lnTo>
                    <a:pt x="47231" y="269240"/>
                  </a:lnTo>
                  <a:lnTo>
                    <a:pt x="49047" y="269240"/>
                  </a:lnTo>
                  <a:lnTo>
                    <a:pt x="48653" y="267970"/>
                  </a:lnTo>
                  <a:lnTo>
                    <a:pt x="47929" y="265430"/>
                  </a:lnTo>
                  <a:lnTo>
                    <a:pt x="45885" y="264160"/>
                  </a:lnTo>
                  <a:lnTo>
                    <a:pt x="47739" y="264160"/>
                  </a:lnTo>
                  <a:lnTo>
                    <a:pt x="48044" y="262890"/>
                  </a:lnTo>
                  <a:lnTo>
                    <a:pt x="48348" y="261620"/>
                  </a:lnTo>
                  <a:lnTo>
                    <a:pt x="47028" y="261620"/>
                  </a:lnTo>
                  <a:lnTo>
                    <a:pt x="47879" y="260350"/>
                  </a:lnTo>
                  <a:lnTo>
                    <a:pt x="46634" y="257810"/>
                  </a:lnTo>
                  <a:lnTo>
                    <a:pt x="45643" y="256641"/>
                  </a:lnTo>
                  <a:lnTo>
                    <a:pt x="45643" y="264160"/>
                  </a:lnTo>
                  <a:lnTo>
                    <a:pt x="45059" y="264160"/>
                  </a:lnTo>
                  <a:lnTo>
                    <a:pt x="44627" y="262991"/>
                  </a:lnTo>
                  <a:lnTo>
                    <a:pt x="44602" y="265430"/>
                  </a:lnTo>
                  <a:lnTo>
                    <a:pt x="44157" y="265430"/>
                  </a:lnTo>
                  <a:lnTo>
                    <a:pt x="43662" y="264160"/>
                  </a:lnTo>
                  <a:lnTo>
                    <a:pt x="43116" y="264160"/>
                  </a:lnTo>
                  <a:lnTo>
                    <a:pt x="44577" y="263017"/>
                  </a:lnTo>
                  <a:lnTo>
                    <a:pt x="44589" y="262890"/>
                  </a:lnTo>
                  <a:lnTo>
                    <a:pt x="44754" y="262890"/>
                  </a:lnTo>
                  <a:lnTo>
                    <a:pt x="45529" y="262890"/>
                  </a:lnTo>
                  <a:lnTo>
                    <a:pt x="45643" y="264160"/>
                  </a:lnTo>
                  <a:lnTo>
                    <a:pt x="45643" y="256641"/>
                  </a:lnTo>
                  <a:lnTo>
                    <a:pt x="46761" y="255270"/>
                  </a:lnTo>
                  <a:lnTo>
                    <a:pt x="46520" y="254000"/>
                  </a:lnTo>
                  <a:lnTo>
                    <a:pt x="46926" y="254000"/>
                  </a:lnTo>
                  <a:lnTo>
                    <a:pt x="46050" y="251460"/>
                  </a:lnTo>
                  <a:lnTo>
                    <a:pt x="44958" y="250190"/>
                  </a:lnTo>
                  <a:lnTo>
                    <a:pt x="44958" y="248920"/>
                  </a:lnTo>
                  <a:lnTo>
                    <a:pt x="46024" y="248920"/>
                  </a:lnTo>
                  <a:lnTo>
                    <a:pt x="46596" y="247650"/>
                  </a:lnTo>
                  <a:lnTo>
                    <a:pt x="44488" y="246380"/>
                  </a:lnTo>
                  <a:lnTo>
                    <a:pt x="18923" y="246380"/>
                  </a:lnTo>
                  <a:lnTo>
                    <a:pt x="18923" y="355600"/>
                  </a:lnTo>
                  <a:lnTo>
                    <a:pt x="18732" y="356870"/>
                  </a:lnTo>
                  <a:lnTo>
                    <a:pt x="17881" y="356870"/>
                  </a:lnTo>
                  <a:lnTo>
                    <a:pt x="18275" y="355600"/>
                  </a:lnTo>
                  <a:lnTo>
                    <a:pt x="18923" y="355600"/>
                  </a:lnTo>
                  <a:lnTo>
                    <a:pt x="18923" y="246380"/>
                  </a:lnTo>
                  <a:lnTo>
                    <a:pt x="14033" y="246380"/>
                  </a:lnTo>
                  <a:lnTo>
                    <a:pt x="14033" y="351790"/>
                  </a:lnTo>
                  <a:lnTo>
                    <a:pt x="13830" y="351790"/>
                  </a:lnTo>
                  <a:lnTo>
                    <a:pt x="13512" y="353060"/>
                  </a:lnTo>
                  <a:lnTo>
                    <a:pt x="13423"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27" y="246380"/>
                  </a:lnTo>
                  <a:lnTo>
                    <a:pt x="5727" y="247650"/>
                  </a:lnTo>
                  <a:lnTo>
                    <a:pt x="5664" y="248234"/>
                  </a:lnTo>
                  <a:lnTo>
                    <a:pt x="5664" y="283210"/>
                  </a:lnTo>
                  <a:lnTo>
                    <a:pt x="5499" y="284480"/>
                  </a:lnTo>
                  <a:lnTo>
                    <a:pt x="5207" y="284480"/>
                  </a:lnTo>
                  <a:lnTo>
                    <a:pt x="5118" y="283210"/>
                  </a:lnTo>
                  <a:lnTo>
                    <a:pt x="5664" y="283210"/>
                  </a:lnTo>
                  <a:lnTo>
                    <a:pt x="5664" y="248234"/>
                  </a:lnTo>
                  <a:lnTo>
                    <a:pt x="5588" y="248920"/>
                  </a:lnTo>
                  <a:lnTo>
                    <a:pt x="4203" y="248920"/>
                  </a:lnTo>
                  <a:lnTo>
                    <a:pt x="4102" y="247650"/>
                  </a:lnTo>
                  <a:lnTo>
                    <a:pt x="5727" y="247650"/>
                  </a:lnTo>
                  <a:lnTo>
                    <a:pt x="5727" y="246380"/>
                  </a:lnTo>
                  <a:lnTo>
                    <a:pt x="3048" y="246380"/>
                  </a:lnTo>
                  <a:lnTo>
                    <a:pt x="3213" y="247650"/>
                  </a:lnTo>
                  <a:lnTo>
                    <a:pt x="2781" y="247650"/>
                  </a:lnTo>
                  <a:lnTo>
                    <a:pt x="2273" y="247650"/>
                  </a:lnTo>
                  <a:lnTo>
                    <a:pt x="1333" y="248920"/>
                  </a:lnTo>
                  <a:lnTo>
                    <a:pt x="2730" y="252730"/>
                  </a:lnTo>
                  <a:lnTo>
                    <a:pt x="2019" y="254000"/>
                  </a:lnTo>
                  <a:lnTo>
                    <a:pt x="2578" y="256540"/>
                  </a:lnTo>
                  <a:lnTo>
                    <a:pt x="1549" y="256540"/>
                  </a:lnTo>
                  <a:lnTo>
                    <a:pt x="2362" y="257810"/>
                  </a:lnTo>
                  <a:lnTo>
                    <a:pt x="3263" y="257810"/>
                  </a:lnTo>
                  <a:lnTo>
                    <a:pt x="3365" y="259080"/>
                  </a:lnTo>
                  <a:lnTo>
                    <a:pt x="2425" y="259080"/>
                  </a:lnTo>
                  <a:lnTo>
                    <a:pt x="2997" y="262890"/>
                  </a:lnTo>
                  <a:lnTo>
                    <a:pt x="0" y="264160"/>
                  </a:lnTo>
                  <a:lnTo>
                    <a:pt x="88" y="265430"/>
                  </a:lnTo>
                  <a:lnTo>
                    <a:pt x="1028" y="265430"/>
                  </a:lnTo>
                  <a:lnTo>
                    <a:pt x="1587" y="266700"/>
                  </a:lnTo>
                  <a:lnTo>
                    <a:pt x="2552" y="265430"/>
                  </a:lnTo>
                  <a:lnTo>
                    <a:pt x="2870" y="265430"/>
                  </a:lnTo>
                  <a:lnTo>
                    <a:pt x="3213" y="266700"/>
                  </a:lnTo>
                  <a:lnTo>
                    <a:pt x="1587" y="266700"/>
                  </a:lnTo>
                  <a:lnTo>
                    <a:pt x="1295" y="266700"/>
                  </a:lnTo>
                  <a:lnTo>
                    <a:pt x="2667" y="269240"/>
                  </a:lnTo>
                  <a:lnTo>
                    <a:pt x="2006"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03" y="283210"/>
                  </a:lnTo>
                  <a:lnTo>
                    <a:pt x="2654" y="283210"/>
                  </a:lnTo>
                  <a:lnTo>
                    <a:pt x="1168" y="287020"/>
                  </a:lnTo>
                  <a:lnTo>
                    <a:pt x="1638" y="288290"/>
                  </a:lnTo>
                  <a:lnTo>
                    <a:pt x="3263" y="289560"/>
                  </a:lnTo>
                  <a:lnTo>
                    <a:pt x="3505" y="290830"/>
                  </a:lnTo>
                  <a:lnTo>
                    <a:pt x="2095" y="292100"/>
                  </a:lnTo>
                  <a:lnTo>
                    <a:pt x="3175" y="293370"/>
                  </a:lnTo>
                  <a:lnTo>
                    <a:pt x="2095" y="295910"/>
                  </a:lnTo>
                  <a:lnTo>
                    <a:pt x="2209" y="297180"/>
                  </a:lnTo>
                  <a:lnTo>
                    <a:pt x="3327" y="300990"/>
                  </a:lnTo>
                  <a:lnTo>
                    <a:pt x="4152" y="306070"/>
                  </a:lnTo>
                  <a:lnTo>
                    <a:pt x="3987" y="309880"/>
                  </a:lnTo>
                  <a:lnTo>
                    <a:pt x="4559" y="312420"/>
                  </a:lnTo>
                  <a:lnTo>
                    <a:pt x="5245" y="314960"/>
                  </a:lnTo>
                  <a:lnTo>
                    <a:pt x="5118" y="318770"/>
                  </a:lnTo>
                  <a:lnTo>
                    <a:pt x="6629" y="321310"/>
                  </a:lnTo>
                  <a:lnTo>
                    <a:pt x="6667" y="322580"/>
                  </a:lnTo>
                  <a:lnTo>
                    <a:pt x="6540" y="325120"/>
                  </a:lnTo>
                  <a:lnTo>
                    <a:pt x="6477" y="328930"/>
                  </a:lnTo>
                  <a:lnTo>
                    <a:pt x="7239" y="330200"/>
                  </a:lnTo>
                  <a:lnTo>
                    <a:pt x="6781" y="331470"/>
                  </a:lnTo>
                  <a:lnTo>
                    <a:pt x="7010" y="332740"/>
                  </a:lnTo>
                  <a:lnTo>
                    <a:pt x="7810" y="334010"/>
                  </a:lnTo>
                  <a:lnTo>
                    <a:pt x="10147" y="339090"/>
                  </a:lnTo>
                  <a:lnTo>
                    <a:pt x="10337" y="340360"/>
                  </a:lnTo>
                  <a:lnTo>
                    <a:pt x="9398" y="344170"/>
                  </a:lnTo>
                  <a:lnTo>
                    <a:pt x="9144" y="345440"/>
                  </a:lnTo>
                  <a:lnTo>
                    <a:pt x="8839" y="345440"/>
                  </a:lnTo>
                  <a:lnTo>
                    <a:pt x="8788" y="346710"/>
                  </a:lnTo>
                  <a:lnTo>
                    <a:pt x="9563" y="347980"/>
                  </a:lnTo>
                  <a:lnTo>
                    <a:pt x="10236" y="347980"/>
                  </a:lnTo>
                  <a:lnTo>
                    <a:pt x="11747" y="346710"/>
                  </a:lnTo>
                  <a:lnTo>
                    <a:pt x="11747" y="347980"/>
                  </a:lnTo>
                  <a:lnTo>
                    <a:pt x="11391" y="350520"/>
                  </a:lnTo>
                  <a:lnTo>
                    <a:pt x="10947" y="351790"/>
                  </a:lnTo>
                  <a:lnTo>
                    <a:pt x="12700" y="354330"/>
                  </a:lnTo>
                  <a:lnTo>
                    <a:pt x="12941" y="355600"/>
                  </a:lnTo>
                  <a:lnTo>
                    <a:pt x="13449" y="356870"/>
                  </a:lnTo>
                  <a:lnTo>
                    <a:pt x="13639" y="358140"/>
                  </a:lnTo>
                  <a:lnTo>
                    <a:pt x="14986" y="358140"/>
                  </a:lnTo>
                  <a:lnTo>
                    <a:pt x="14986" y="359410"/>
                  </a:lnTo>
                  <a:lnTo>
                    <a:pt x="15760" y="360680"/>
                  </a:lnTo>
                  <a:lnTo>
                    <a:pt x="16802" y="361950"/>
                  </a:lnTo>
                  <a:lnTo>
                    <a:pt x="18415" y="363220"/>
                  </a:lnTo>
                  <a:lnTo>
                    <a:pt x="18897" y="363220"/>
                  </a:lnTo>
                  <a:lnTo>
                    <a:pt x="19519" y="364490"/>
                  </a:lnTo>
                  <a:lnTo>
                    <a:pt x="19697" y="364490"/>
                  </a:lnTo>
                  <a:lnTo>
                    <a:pt x="20040" y="365760"/>
                  </a:lnTo>
                  <a:lnTo>
                    <a:pt x="20548" y="367030"/>
                  </a:lnTo>
                  <a:lnTo>
                    <a:pt x="20739" y="369570"/>
                  </a:lnTo>
                  <a:lnTo>
                    <a:pt x="23088" y="369570"/>
                  </a:lnTo>
                  <a:lnTo>
                    <a:pt x="22898" y="368300"/>
                  </a:lnTo>
                  <a:lnTo>
                    <a:pt x="23444" y="367030"/>
                  </a:lnTo>
                  <a:lnTo>
                    <a:pt x="23558" y="365760"/>
                  </a:lnTo>
                  <a:lnTo>
                    <a:pt x="25107" y="367030"/>
                  </a:lnTo>
                  <a:lnTo>
                    <a:pt x="25755" y="370840"/>
                  </a:lnTo>
                  <a:lnTo>
                    <a:pt x="25146" y="373380"/>
                  </a:lnTo>
                  <a:lnTo>
                    <a:pt x="25260" y="374650"/>
                  </a:lnTo>
                  <a:lnTo>
                    <a:pt x="27178" y="374650"/>
                  </a:lnTo>
                  <a:lnTo>
                    <a:pt x="28409" y="375920"/>
                  </a:lnTo>
                  <a:lnTo>
                    <a:pt x="29603" y="373380"/>
                  </a:lnTo>
                  <a:lnTo>
                    <a:pt x="29921" y="373380"/>
                  </a:lnTo>
                  <a:lnTo>
                    <a:pt x="30594" y="374650"/>
                  </a:lnTo>
                  <a:lnTo>
                    <a:pt x="30137" y="375920"/>
                  </a:lnTo>
                  <a:lnTo>
                    <a:pt x="31013" y="377190"/>
                  </a:lnTo>
                  <a:lnTo>
                    <a:pt x="33909" y="377190"/>
                  </a:lnTo>
                  <a:lnTo>
                    <a:pt x="34925" y="378460"/>
                  </a:lnTo>
                  <a:lnTo>
                    <a:pt x="35560" y="378460"/>
                  </a:lnTo>
                  <a:lnTo>
                    <a:pt x="36360" y="379730"/>
                  </a:lnTo>
                  <a:lnTo>
                    <a:pt x="40640" y="379730"/>
                  </a:lnTo>
                  <a:lnTo>
                    <a:pt x="40474" y="378460"/>
                  </a:lnTo>
                  <a:lnTo>
                    <a:pt x="41211" y="377253"/>
                  </a:lnTo>
                  <a:lnTo>
                    <a:pt x="42468" y="378460"/>
                  </a:lnTo>
                  <a:lnTo>
                    <a:pt x="45453" y="378460"/>
                  </a:lnTo>
                  <a:lnTo>
                    <a:pt x="45097" y="377190"/>
                  </a:lnTo>
                  <a:lnTo>
                    <a:pt x="46101" y="377190"/>
                  </a:lnTo>
                  <a:lnTo>
                    <a:pt x="46355" y="378460"/>
                  </a:lnTo>
                  <a:lnTo>
                    <a:pt x="46228" y="379730"/>
                  </a:lnTo>
                  <a:lnTo>
                    <a:pt x="48539" y="378460"/>
                  </a:lnTo>
                  <a:lnTo>
                    <a:pt x="49707" y="378460"/>
                  </a:lnTo>
                  <a:lnTo>
                    <a:pt x="51422" y="377190"/>
                  </a:lnTo>
                  <a:lnTo>
                    <a:pt x="55549" y="377190"/>
                  </a:lnTo>
                  <a:lnTo>
                    <a:pt x="56794" y="373380"/>
                  </a:lnTo>
                  <a:lnTo>
                    <a:pt x="59245" y="370840"/>
                  </a:lnTo>
                  <a:lnTo>
                    <a:pt x="61125" y="372110"/>
                  </a:lnTo>
                  <a:lnTo>
                    <a:pt x="61429" y="370840"/>
                  </a:lnTo>
                  <a:lnTo>
                    <a:pt x="62255" y="369570"/>
                  </a:lnTo>
                  <a:lnTo>
                    <a:pt x="62738"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79" y="356870"/>
                  </a:lnTo>
                  <a:lnTo>
                    <a:pt x="76200" y="355600"/>
                  </a:lnTo>
                  <a:lnTo>
                    <a:pt x="76479" y="355600"/>
                  </a:lnTo>
                  <a:lnTo>
                    <a:pt x="76987" y="354330"/>
                  </a:lnTo>
                  <a:lnTo>
                    <a:pt x="77635" y="353060"/>
                  </a:lnTo>
                  <a:lnTo>
                    <a:pt x="78943" y="350520"/>
                  </a:lnTo>
                  <a:lnTo>
                    <a:pt x="79908" y="349250"/>
                  </a:lnTo>
                  <a:lnTo>
                    <a:pt x="80302" y="346710"/>
                  </a:lnTo>
                  <a:lnTo>
                    <a:pt x="81153" y="346710"/>
                  </a:lnTo>
                  <a:lnTo>
                    <a:pt x="81457" y="347980"/>
                  </a:lnTo>
                  <a:lnTo>
                    <a:pt x="81978" y="346710"/>
                  </a:lnTo>
                  <a:lnTo>
                    <a:pt x="82511" y="345440"/>
                  </a:lnTo>
                  <a:lnTo>
                    <a:pt x="82791" y="344170"/>
                  </a:lnTo>
                  <a:lnTo>
                    <a:pt x="84340" y="345440"/>
                  </a:lnTo>
                  <a:lnTo>
                    <a:pt x="84378" y="344170"/>
                  </a:lnTo>
                  <a:lnTo>
                    <a:pt x="84467" y="341630"/>
                  </a:lnTo>
                  <a:lnTo>
                    <a:pt x="85026" y="339090"/>
                  </a:lnTo>
                  <a:lnTo>
                    <a:pt x="87172" y="339090"/>
                  </a:lnTo>
                  <a:lnTo>
                    <a:pt x="88506" y="335280"/>
                  </a:lnTo>
                  <a:lnTo>
                    <a:pt x="90208" y="335280"/>
                  </a:lnTo>
                  <a:lnTo>
                    <a:pt x="90208" y="332740"/>
                  </a:lnTo>
                  <a:lnTo>
                    <a:pt x="90881" y="331470"/>
                  </a:lnTo>
                  <a:lnTo>
                    <a:pt x="92748" y="328930"/>
                  </a:lnTo>
                  <a:lnTo>
                    <a:pt x="93395" y="327660"/>
                  </a:lnTo>
                  <a:lnTo>
                    <a:pt x="93624" y="327660"/>
                  </a:lnTo>
                  <a:lnTo>
                    <a:pt x="93662" y="326390"/>
                  </a:lnTo>
                  <a:lnTo>
                    <a:pt x="94259" y="326390"/>
                  </a:lnTo>
                  <a:lnTo>
                    <a:pt x="94818" y="325120"/>
                  </a:lnTo>
                  <a:lnTo>
                    <a:pt x="95338" y="323850"/>
                  </a:lnTo>
                  <a:lnTo>
                    <a:pt x="96253" y="322580"/>
                  </a:lnTo>
                  <a:lnTo>
                    <a:pt x="97015" y="322580"/>
                  </a:lnTo>
                  <a:lnTo>
                    <a:pt x="96761" y="321310"/>
                  </a:lnTo>
                  <a:lnTo>
                    <a:pt x="97116" y="320040"/>
                  </a:lnTo>
                  <a:lnTo>
                    <a:pt x="99250" y="317500"/>
                  </a:lnTo>
                  <a:lnTo>
                    <a:pt x="99796" y="316230"/>
                  </a:lnTo>
                  <a:lnTo>
                    <a:pt x="100342" y="314960"/>
                  </a:lnTo>
                  <a:lnTo>
                    <a:pt x="100876"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78" y="304800"/>
                  </a:lnTo>
                  <a:lnTo>
                    <a:pt x="107137" y="303530"/>
                  </a:lnTo>
                  <a:lnTo>
                    <a:pt x="107022" y="302260"/>
                  </a:lnTo>
                  <a:lnTo>
                    <a:pt x="107442" y="302260"/>
                  </a:lnTo>
                  <a:lnTo>
                    <a:pt x="107911" y="300990"/>
                  </a:lnTo>
                  <a:lnTo>
                    <a:pt x="109321" y="300990"/>
                  </a:lnTo>
                  <a:lnTo>
                    <a:pt x="109410" y="299720"/>
                  </a:lnTo>
                  <a:lnTo>
                    <a:pt x="109778" y="299720"/>
                  </a:lnTo>
                  <a:lnTo>
                    <a:pt x="109804" y="298450"/>
                  </a:lnTo>
                  <a:lnTo>
                    <a:pt x="109931" y="297180"/>
                  </a:lnTo>
                  <a:lnTo>
                    <a:pt x="110236" y="297180"/>
                  </a:lnTo>
                  <a:lnTo>
                    <a:pt x="110426" y="295910"/>
                  </a:lnTo>
                  <a:lnTo>
                    <a:pt x="112052" y="295910"/>
                  </a:lnTo>
                  <a:lnTo>
                    <a:pt x="112052" y="294640"/>
                  </a:lnTo>
                  <a:lnTo>
                    <a:pt x="113004" y="294640"/>
                  </a:lnTo>
                  <a:lnTo>
                    <a:pt x="112864" y="293370"/>
                  </a:lnTo>
                  <a:lnTo>
                    <a:pt x="113169" y="293370"/>
                  </a:lnTo>
                  <a:lnTo>
                    <a:pt x="113093" y="292874"/>
                  </a:lnTo>
                  <a:lnTo>
                    <a:pt x="113030" y="290830"/>
                  </a:lnTo>
                  <a:lnTo>
                    <a:pt x="114160" y="290830"/>
                  </a:lnTo>
                  <a:lnTo>
                    <a:pt x="115874" y="289560"/>
                  </a:lnTo>
                  <a:lnTo>
                    <a:pt x="115392" y="289560"/>
                  </a:lnTo>
                  <a:lnTo>
                    <a:pt x="115062" y="288290"/>
                  </a:lnTo>
                  <a:lnTo>
                    <a:pt x="115023" y="287020"/>
                  </a:lnTo>
                  <a:lnTo>
                    <a:pt x="115201" y="287020"/>
                  </a:lnTo>
                  <a:lnTo>
                    <a:pt x="115379" y="288290"/>
                  </a:lnTo>
                  <a:lnTo>
                    <a:pt x="116357" y="288290"/>
                  </a:lnTo>
                  <a:lnTo>
                    <a:pt x="116217" y="287020"/>
                  </a:lnTo>
                  <a:lnTo>
                    <a:pt x="116916" y="287020"/>
                  </a:lnTo>
                  <a:lnTo>
                    <a:pt x="116547" y="285750"/>
                  </a:lnTo>
                  <a:lnTo>
                    <a:pt x="117906" y="285750"/>
                  </a:lnTo>
                  <a:lnTo>
                    <a:pt x="118681" y="284480"/>
                  </a:lnTo>
                  <a:lnTo>
                    <a:pt x="118198" y="284480"/>
                  </a:lnTo>
                  <a:lnTo>
                    <a:pt x="118148" y="284302"/>
                  </a:lnTo>
                  <a:lnTo>
                    <a:pt x="117754" y="283210"/>
                  </a:lnTo>
                  <a:lnTo>
                    <a:pt x="118313" y="283210"/>
                  </a:lnTo>
                  <a:lnTo>
                    <a:pt x="118148" y="284302"/>
                  </a:lnTo>
                  <a:lnTo>
                    <a:pt x="118935" y="283210"/>
                  </a:lnTo>
                  <a:lnTo>
                    <a:pt x="119100" y="283210"/>
                  </a:lnTo>
                  <a:lnTo>
                    <a:pt x="119075" y="281940"/>
                  </a:lnTo>
                  <a:lnTo>
                    <a:pt x="120611" y="281940"/>
                  </a:lnTo>
                  <a:lnTo>
                    <a:pt x="120980" y="280670"/>
                  </a:lnTo>
                  <a:lnTo>
                    <a:pt x="122161" y="280670"/>
                  </a:lnTo>
                  <a:lnTo>
                    <a:pt x="122021" y="279400"/>
                  </a:lnTo>
                  <a:lnTo>
                    <a:pt x="121475" y="278130"/>
                  </a:lnTo>
                  <a:lnTo>
                    <a:pt x="121831"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79" y="269240"/>
                  </a:lnTo>
                  <a:lnTo>
                    <a:pt x="126593" y="267970"/>
                  </a:lnTo>
                  <a:lnTo>
                    <a:pt x="126568" y="269240"/>
                  </a:lnTo>
                  <a:lnTo>
                    <a:pt x="127050" y="269240"/>
                  </a:lnTo>
                  <a:lnTo>
                    <a:pt x="126860" y="270510"/>
                  </a:lnTo>
                  <a:lnTo>
                    <a:pt x="127228" y="270510"/>
                  </a:lnTo>
                  <a:lnTo>
                    <a:pt x="127330" y="269240"/>
                  </a:lnTo>
                  <a:lnTo>
                    <a:pt x="127381" y="267970"/>
                  </a:lnTo>
                  <a:lnTo>
                    <a:pt x="128231" y="267970"/>
                  </a:lnTo>
                  <a:lnTo>
                    <a:pt x="128778" y="266700"/>
                  </a:lnTo>
                  <a:lnTo>
                    <a:pt x="130187" y="266700"/>
                  </a:lnTo>
                  <a:lnTo>
                    <a:pt x="130581" y="265430"/>
                  </a:lnTo>
                  <a:lnTo>
                    <a:pt x="130289" y="264160"/>
                  </a:lnTo>
                  <a:lnTo>
                    <a:pt x="130517" y="262890"/>
                  </a:lnTo>
                  <a:lnTo>
                    <a:pt x="130886" y="262890"/>
                  </a:lnTo>
                  <a:lnTo>
                    <a:pt x="132969" y="261620"/>
                  </a:lnTo>
                  <a:lnTo>
                    <a:pt x="133477" y="260350"/>
                  </a:lnTo>
                  <a:lnTo>
                    <a:pt x="132943" y="259080"/>
                  </a:lnTo>
                  <a:lnTo>
                    <a:pt x="133261"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59" y="241300"/>
                  </a:lnTo>
                  <a:lnTo>
                    <a:pt x="144932" y="241300"/>
                  </a:lnTo>
                  <a:lnTo>
                    <a:pt x="145288" y="240030"/>
                  </a:lnTo>
                  <a:lnTo>
                    <a:pt x="146659" y="240030"/>
                  </a:lnTo>
                  <a:lnTo>
                    <a:pt x="146850" y="238760"/>
                  </a:lnTo>
                  <a:lnTo>
                    <a:pt x="146240" y="238760"/>
                  </a:lnTo>
                  <a:lnTo>
                    <a:pt x="146456" y="237490"/>
                  </a:lnTo>
                  <a:lnTo>
                    <a:pt x="146824" y="236220"/>
                  </a:lnTo>
                  <a:lnTo>
                    <a:pt x="147421" y="234950"/>
                  </a:lnTo>
                  <a:lnTo>
                    <a:pt x="149606" y="234950"/>
                  </a:lnTo>
                  <a:lnTo>
                    <a:pt x="149059" y="233680"/>
                  </a:lnTo>
                  <a:lnTo>
                    <a:pt x="149123" y="232410"/>
                  </a:lnTo>
                  <a:lnTo>
                    <a:pt x="150215" y="232410"/>
                  </a:lnTo>
                  <a:lnTo>
                    <a:pt x="152006" y="231140"/>
                  </a:lnTo>
                  <a:lnTo>
                    <a:pt x="152184" y="231140"/>
                  </a:lnTo>
                  <a:lnTo>
                    <a:pt x="151663" y="229870"/>
                  </a:lnTo>
                  <a:lnTo>
                    <a:pt x="151498" y="228600"/>
                  </a:lnTo>
                  <a:lnTo>
                    <a:pt x="152501" y="228600"/>
                  </a:lnTo>
                  <a:lnTo>
                    <a:pt x="152996" y="227330"/>
                  </a:lnTo>
                  <a:lnTo>
                    <a:pt x="154724" y="227330"/>
                  </a:lnTo>
                  <a:lnTo>
                    <a:pt x="154901" y="226060"/>
                  </a:lnTo>
                  <a:lnTo>
                    <a:pt x="154800" y="224790"/>
                  </a:lnTo>
                  <a:lnTo>
                    <a:pt x="155244" y="224790"/>
                  </a:lnTo>
                  <a:lnTo>
                    <a:pt x="155638" y="223520"/>
                  </a:lnTo>
                  <a:lnTo>
                    <a:pt x="156616" y="223520"/>
                  </a:lnTo>
                  <a:lnTo>
                    <a:pt x="156921" y="222250"/>
                  </a:lnTo>
                  <a:lnTo>
                    <a:pt x="157518" y="220980"/>
                  </a:lnTo>
                  <a:lnTo>
                    <a:pt x="158038" y="219710"/>
                  </a:lnTo>
                  <a:lnTo>
                    <a:pt x="158940" y="219710"/>
                  </a:lnTo>
                  <a:lnTo>
                    <a:pt x="160007" y="217170"/>
                  </a:lnTo>
                  <a:lnTo>
                    <a:pt x="160489" y="215900"/>
                  </a:lnTo>
                  <a:lnTo>
                    <a:pt x="161772" y="215900"/>
                  </a:lnTo>
                  <a:lnTo>
                    <a:pt x="162941" y="212090"/>
                  </a:lnTo>
                  <a:lnTo>
                    <a:pt x="164287" y="210820"/>
                  </a:lnTo>
                  <a:lnTo>
                    <a:pt x="165315" y="208280"/>
                  </a:lnTo>
                  <a:lnTo>
                    <a:pt x="167271" y="207010"/>
                  </a:lnTo>
                  <a:lnTo>
                    <a:pt x="166852" y="205740"/>
                  </a:lnTo>
                  <a:lnTo>
                    <a:pt x="167119" y="205740"/>
                  </a:lnTo>
                  <a:lnTo>
                    <a:pt x="167601" y="204470"/>
                  </a:lnTo>
                  <a:lnTo>
                    <a:pt x="169672" y="203200"/>
                  </a:lnTo>
                  <a:lnTo>
                    <a:pt x="170726" y="200660"/>
                  </a:lnTo>
                  <a:lnTo>
                    <a:pt x="171970" y="198120"/>
                  </a:lnTo>
                  <a:lnTo>
                    <a:pt x="172580" y="198120"/>
                  </a:lnTo>
                  <a:lnTo>
                    <a:pt x="173050" y="196850"/>
                  </a:lnTo>
                  <a:lnTo>
                    <a:pt x="172910" y="194310"/>
                  </a:lnTo>
                  <a:lnTo>
                    <a:pt x="173977" y="195580"/>
                  </a:lnTo>
                  <a:lnTo>
                    <a:pt x="175323" y="194310"/>
                  </a:lnTo>
                  <a:lnTo>
                    <a:pt x="176022" y="194310"/>
                  </a:lnTo>
                  <a:lnTo>
                    <a:pt x="175742" y="193040"/>
                  </a:lnTo>
                  <a:lnTo>
                    <a:pt x="177101" y="191770"/>
                  </a:lnTo>
                  <a:lnTo>
                    <a:pt x="176898" y="190500"/>
                  </a:lnTo>
                  <a:lnTo>
                    <a:pt x="179031" y="190500"/>
                  </a:lnTo>
                  <a:lnTo>
                    <a:pt x="179082" y="189230"/>
                  </a:lnTo>
                  <a:lnTo>
                    <a:pt x="179133" y="187960"/>
                  </a:lnTo>
                  <a:lnTo>
                    <a:pt x="180301" y="187960"/>
                  </a:lnTo>
                  <a:lnTo>
                    <a:pt x="180365" y="186690"/>
                  </a:lnTo>
                  <a:lnTo>
                    <a:pt x="180467" y="185420"/>
                  </a:lnTo>
                  <a:lnTo>
                    <a:pt x="180809" y="185420"/>
                  </a:lnTo>
                  <a:lnTo>
                    <a:pt x="181698" y="186690"/>
                  </a:lnTo>
                  <a:lnTo>
                    <a:pt x="181559" y="185420"/>
                  </a:lnTo>
                  <a:lnTo>
                    <a:pt x="181622" y="184150"/>
                  </a:lnTo>
                  <a:lnTo>
                    <a:pt x="182499" y="184150"/>
                  </a:lnTo>
                  <a:lnTo>
                    <a:pt x="182308" y="182880"/>
                  </a:lnTo>
                  <a:lnTo>
                    <a:pt x="183426" y="182880"/>
                  </a:lnTo>
                  <a:lnTo>
                    <a:pt x="183388" y="181610"/>
                  </a:lnTo>
                  <a:lnTo>
                    <a:pt x="184848" y="181610"/>
                  </a:lnTo>
                  <a:lnTo>
                    <a:pt x="184886" y="180340"/>
                  </a:lnTo>
                  <a:lnTo>
                    <a:pt x="185127" y="179070"/>
                  </a:lnTo>
                  <a:lnTo>
                    <a:pt x="186855" y="179070"/>
                  </a:lnTo>
                  <a:lnTo>
                    <a:pt x="186905" y="176530"/>
                  </a:lnTo>
                  <a:lnTo>
                    <a:pt x="187947" y="176530"/>
                  </a:lnTo>
                  <a:lnTo>
                    <a:pt x="188290" y="175260"/>
                  </a:lnTo>
                  <a:lnTo>
                    <a:pt x="188582" y="175260"/>
                  </a:lnTo>
                  <a:lnTo>
                    <a:pt x="189598" y="173990"/>
                  </a:lnTo>
                  <a:lnTo>
                    <a:pt x="189750" y="172720"/>
                  </a:lnTo>
                  <a:lnTo>
                    <a:pt x="191135" y="171450"/>
                  </a:lnTo>
                  <a:lnTo>
                    <a:pt x="190385" y="171450"/>
                  </a:lnTo>
                  <a:lnTo>
                    <a:pt x="190398" y="170180"/>
                  </a:lnTo>
                  <a:lnTo>
                    <a:pt x="192417" y="170180"/>
                  </a:lnTo>
                  <a:lnTo>
                    <a:pt x="193052" y="168910"/>
                  </a:lnTo>
                  <a:lnTo>
                    <a:pt x="193408" y="167640"/>
                  </a:lnTo>
                  <a:lnTo>
                    <a:pt x="194703" y="166370"/>
                  </a:lnTo>
                  <a:lnTo>
                    <a:pt x="193903" y="166370"/>
                  </a:lnTo>
                  <a:lnTo>
                    <a:pt x="194640" y="165100"/>
                  </a:lnTo>
                  <a:lnTo>
                    <a:pt x="194729" y="166370"/>
                  </a:lnTo>
                  <a:lnTo>
                    <a:pt x="195199" y="166370"/>
                  </a:lnTo>
                  <a:lnTo>
                    <a:pt x="196062" y="165100"/>
                  </a:lnTo>
                  <a:lnTo>
                    <a:pt x="195846" y="165100"/>
                  </a:lnTo>
                  <a:lnTo>
                    <a:pt x="196037" y="163830"/>
                  </a:lnTo>
                  <a:lnTo>
                    <a:pt x="196418" y="163830"/>
                  </a:lnTo>
                  <a:lnTo>
                    <a:pt x="196811" y="162560"/>
                  </a:lnTo>
                  <a:lnTo>
                    <a:pt x="197154" y="162560"/>
                  </a:lnTo>
                  <a:lnTo>
                    <a:pt x="197396" y="161290"/>
                  </a:lnTo>
                  <a:lnTo>
                    <a:pt x="198678" y="160020"/>
                  </a:lnTo>
                  <a:lnTo>
                    <a:pt x="199694" y="160020"/>
                  </a:lnTo>
                  <a:lnTo>
                    <a:pt x="199910" y="158750"/>
                  </a:lnTo>
                  <a:lnTo>
                    <a:pt x="200583" y="157480"/>
                  </a:lnTo>
                  <a:lnTo>
                    <a:pt x="201269" y="157480"/>
                  </a:lnTo>
                  <a:lnTo>
                    <a:pt x="201739" y="154940"/>
                  </a:lnTo>
                  <a:lnTo>
                    <a:pt x="203530" y="154940"/>
                  </a:lnTo>
                  <a:lnTo>
                    <a:pt x="203466" y="153670"/>
                  </a:lnTo>
                  <a:lnTo>
                    <a:pt x="204139" y="153670"/>
                  </a:lnTo>
                  <a:lnTo>
                    <a:pt x="204203" y="152400"/>
                  </a:lnTo>
                  <a:lnTo>
                    <a:pt x="205486" y="152400"/>
                  </a:lnTo>
                  <a:lnTo>
                    <a:pt x="204990"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69" y="139700"/>
                  </a:lnTo>
                  <a:lnTo>
                    <a:pt x="213258" y="139700"/>
                  </a:lnTo>
                  <a:lnTo>
                    <a:pt x="213779" y="138430"/>
                  </a:lnTo>
                  <a:lnTo>
                    <a:pt x="215798" y="138430"/>
                  </a:lnTo>
                  <a:lnTo>
                    <a:pt x="216154" y="137160"/>
                  </a:lnTo>
                  <a:lnTo>
                    <a:pt x="216649" y="135890"/>
                  </a:lnTo>
                  <a:lnTo>
                    <a:pt x="217093" y="134620"/>
                  </a:lnTo>
                  <a:lnTo>
                    <a:pt x="217665" y="133350"/>
                  </a:lnTo>
                  <a:lnTo>
                    <a:pt x="219760" y="133350"/>
                  </a:lnTo>
                  <a:lnTo>
                    <a:pt x="220319" y="132080"/>
                  </a:lnTo>
                  <a:lnTo>
                    <a:pt x="221767" y="129540"/>
                  </a:lnTo>
                  <a:lnTo>
                    <a:pt x="222148" y="128270"/>
                  </a:lnTo>
                  <a:lnTo>
                    <a:pt x="222872" y="128270"/>
                  </a:lnTo>
                  <a:lnTo>
                    <a:pt x="222885" y="127000"/>
                  </a:lnTo>
                  <a:lnTo>
                    <a:pt x="224688" y="127000"/>
                  </a:lnTo>
                  <a:lnTo>
                    <a:pt x="224828" y="125730"/>
                  </a:lnTo>
                  <a:lnTo>
                    <a:pt x="225044" y="125730"/>
                  </a:lnTo>
                  <a:lnTo>
                    <a:pt x="225348" y="124460"/>
                  </a:lnTo>
                  <a:lnTo>
                    <a:pt x="225590" y="124460"/>
                  </a:lnTo>
                  <a:lnTo>
                    <a:pt x="226504" y="123190"/>
                  </a:lnTo>
                  <a:lnTo>
                    <a:pt x="227863" y="121920"/>
                  </a:lnTo>
                  <a:lnTo>
                    <a:pt x="228409" y="120650"/>
                  </a:lnTo>
                  <a:lnTo>
                    <a:pt x="229577" y="120650"/>
                  </a:lnTo>
                  <a:lnTo>
                    <a:pt x="229781" y="119380"/>
                  </a:lnTo>
                  <a:lnTo>
                    <a:pt x="230174" y="118110"/>
                  </a:lnTo>
                  <a:lnTo>
                    <a:pt x="230809" y="118110"/>
                  </a:lnTo>
                  <a:lnTo>
                    <a:pt x="231063" y="116840"/>
                  </a:lnTo>
                  <a:lnTo>
                    <a:pt x="231584"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12" y="110490"/>
                  </a:lnTo>
                  <a:lnTo>
                    <a:pt x="237490" y="109220"/>
                  </a:lnTo>
                  <a:lnTo>
                    <a:pt x="237680" y="107950"/>
                  </a:lnTo>
                  <a:lnTo>
                    <a:pt x="238518" y="106680"/>
                  </a:lnTo>
                  <a:lnTo>
                    <a:pt x="239280" y="106680"/>
                  </a:lnTo>
                  <a:lnTo>
                    <a:pt x="239814" y="105410"/>
                  </a:lnTo>
                  <a:lnTo>
                    <a:pt x="239979" y="105410"/>
                  </a:lnTo>
                  <a:lnTo>
                    <a:pt x="240195" y="102870"/>
                  </a:lnTo>
                  <a:lnTo>
                    <a:pt x="240931" y="102870"/>
                  </a:lnTo>
                  <a:lnTo>
                    <a:pt x="241122" y="101600"/>
                  </a:lnTo>
                  <a:lnTo>
                    <a:pt x="241858" y="104140"/>
                  </a:lnTo>
                  <a:lnTo>
                    <a:pt x="242824" y="101600"/>
                  </a:lnTo>
                  <a:lnTo>
                    <a:pt x="244843" y="101600"/>
                  </a:lnTo>
                  <a:lnTo>
                    <a:pt x="244652" y="100330"/>
                  </a:lnTo>
                  <a:lnTo>
                    <a:pt x="245046" y="99060"/>
                  </a:lnTo>
                  <a:lnTo>
                    <a:pt x="245833" y="99060"/>
                  </a:lnTo>
                  <a:lnTo>
                    <a:pt x="246189" y="97790"/>
                  </a:lnTo>
                  <a:lnTo>
                    <a:pt x="245757"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07" y="91440"/>
                  </a:lnTo>
                  <a:lnTo>
                    <a:pt x="253085" y="90170"/>
                  </a:lnTo>
                  <a:lnTo>
                    <a:pt x="254050" y="88900"/>
                  </a:lnTo>
                  <a:lnTo>
                    <a:pt x="254901" y="87630"/>
                  </a:lnTo>
                  <a:lnTo>
                    <a:pt x="255524" y="88900"/>
                  </a:lnTo>
                  <a:lnTo>
                    <a:pt x="255625" y="87630"/>
                  </a:lnTo>
                  <a:lnTo>
                    <a:pt x="255854" y="86360"/>
                  </a:lnTo>
                  <a:lnTo>
                    <a:pt x="256603" y="86360"/>
                  </a:lnTo>
                  <a:lnTo>
                    <a:pt x="257670" y="85090"/>
                  </a:lnTo>
                  <a:lnTo>
                    <a:pt x="258343" y="85090"/>
                  </a:lnTo>
                  <a:lnTo>
                    <a:pt x="258445" y="83820"/>
                  </a:lnTo>
                  <a:lnTo>
                    <a:pt x="260108" y="83820"/>
                  </a:lnTo>
                  <a:lnTo>
                    <a:pt x="260286" y="82550"/>
                  </a:lnTo>
                  <a:lnTo>
                    <a:pt x="261264" y="81280"/>
                  </a:lnTo>
                  <a:lnTo>
                    <a:pt x="261327" y="80010"/>
                  </a:lnTo>
                  <a:lnTo>
                    <a:pt x="263588" y="78740"/>
                  </a:lnTo>
                  <a:lnTo>
                    <a:pt x="263817" y="78740"/>
                  </a:lnTo>
                  <a:lnTo>
                    <a:pt x="263652" y="77470"/>
                  </a:lnTo>
                  <a:lnTo>
                    <a:pt x="264972" y="77470"/>
                  </a:lnTo>
                  <a:lnTo>
                    <a:pt x="265341" y="76200"/>
                  </a:lnTo>
                  <a:lnTo>
                    <a:pt x="265480" y="76200"/>
                  </a:lnTo>
                  <a:lnTo>
                    <a:pt x="266014" y="74930"/>
                  </a:lnTo>
                  <a:lnTo>
                    <a:pt x="268185" y="74930"/>
                  </a:lnTo>
                  <a:lnTo>
                    <a:pt x="267639" y="73660"/>
                  </a:lnTo>
                  <a:lnTo>
                    <a:pt x="268173" y="72390"/>
                  </a:lnTo>
                  <a:lnTo>
                    <a:pt x="270167" y="72390"/>
                  </a:lnTo>
                  <a:lnTo>
                    <a:pt x="271322" y="69850"/>
                  </a:lnTo>
                  <a:lnTo>
                    <a:pt x="273316" y="68580"/>
                  </a:lnTo>
                  <a:lnTo>
                    <a:pt x="274980" y="66040"/>
                  </a:lnTo>
                  <a:lnTo>
                    <a:pt x="275475" y="66040"/>
                  </a:lnTo>
                  <a:lnTo>
                    <a:pt x="276250" y="64770"/>
                  </a:lnTo>
                  <a:lnTo>
                    <a:pt x="276529" y="64770"/>
                  </a:lnTo>
                  <a:lnTo>
                    <a:pt x="276402" y="63500"/>
                  </a:lnTo>
                  <a:lnTo>
                    <a:pt x="277139" y="63500"/>
                  </a:lnTo>
                  <a:lnTo>
                    <a:pt x="277329" y="62230"/>
                  </a:lnTo>
                  <a:lnTo>
                    <a:pt x="278688" y="62230"/>
                  </a:lnTo>
                  <a:lnTo>
                    <a:pt x="279247" y="60960"/>
                  </a:lnTo>
                  <a:lnTo>
                    <a:pt x="280593" y="58420"/>
                  </a:lnTo>
                  <a:lnTo>
                    <a:pt x="282359" y="59690"/>
                  </a:lnTo>
                  <a:lnTo>
                    <a:pt x="282587" y="58420"/>
                  </a:lnTo>
                  <a:lnTo>
                    <a:pt x="283679" y="55880"/>
                  </a:lnTo>
                  <a:lnTo>
                    <a:pt x="283578" y="54610"/>
                  </a:lnTo>
                  <a:lnTo>
                    <a:pt x="285305" y="54610"/>
                  </a:lnTo>
                  <a:lnTo>
                    <a:pt x="285902" y="53340"/>
                  </a:lnTo>
                  <a:lnTo>
                    <a:pt x="287540" y="53340"/>
                  </a:lnTo>
                  <a:lnTo>
                    <a:pt x="287388" y="52070"/>
                  </a:lnTo>
                  <a:lnTo>
                    <a:pt x="287782" y="50800"/>
                  </a:lnTo>
                  <a:lnTo>
                    <a:pt x="288607" y="50800"/>
                  </a:lnTo>
                  <a:lnTo>
                    <a:pt x="289826" y="49530"/>
                  </a:lnTo>
                  <a:lnTo>
                    <a:pt x="288912" y="52070"/>
                  </a:lnTo>
                  <a:lnTo>
                    <a:pt x="290220" y="49530"/>
                  </a:lnTo>
                  <a:lnTo>
                    <a:pt x="292862" y="45720"/>
                  </a:lnTo>
                  <a:lnTo>
                    <a:pt x="293446" y="44450"/>
                  </a:lnTo>
                  <a:lnTo>
                    <a:pt x="293636" y="45720"/>
                  </a:lnTo>
                  <a:lnTo>
                    <a:pt x="294462" y="45720"/>
                  </a:lnTo>
                  <a:lnTo>
                    <a:pt x="294462" y="44450"/>
                  </a:lnTo>
                  <a:lnTo>
                    <a:pt x="294741" y="44450"/>
                  </a:lnTo>
                  <a:lnTo>
                    <a:pt x="295859" y="43180"/>
                  </a:lnTo>
                  <a:lnTo>
                    <a:pt x="296062" y="43180"/>
                  </a:lnTo>
                  <a:lnTo>
                    <a:pt x="295046" y="41910"/>
                  </a:lnTo>
                  <a:lnTo>
                    <a:pt x="297916" y="41910"/>
                  </a:lnTo>
                  <a:lnTo>
                    <a:pt x="297484" y="40640"/>
                  </a:lnTo>
                  <a:lnTo>
                    <a:pt x="296481" y="40640"/>
                  </a:lnTo>
                  <a:lnTo>
                    <a:pt x="297307"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11" y="30480"/>
                  </a:lnTo>
                  <a:lnTo>
                    <a:pt x="308775" y="30480"/>
                  </a:lnTo>
                  <a:lnTo>
                    <a:pt x="311721" y="27940"/>
                  </a:lnTo>
                  <a:lnTo>
                    <a:pt x="317385" y="22860"/>
                  </a:lnTo>
                  <a:lnTo>
                    <a:pt x="318757" y="22860"/>
                  </a:lnTo>
                  <a:lnTo>
                    <a:pt x="317474" y="21590"/>
                  </a:lnTo>
                  <a:lnTo>
                    <a:pt x="318731" y="21590"/>
                  </a:lnTo>
                  <a:lnTo>
                    <a:pt x="319163" y="22860"/>
                  </a:lnTo>
                  <a:lnTo>
                    <a:pt x="319671" y="21590"/>
                  </a:lnTo>
                  <a:lnTo>
                    <a:pt x="320179" y="20320"/>
                  </a:lnTo>
                  <a:lnTo>
                    <a:pt x="321970" y="19050"/>
                  </a:lnTo>
                  <a:lnTo>
                    <a:pt x="324866" y="17780"/>
                  </a:lnTo>
                  <a:lnTo>
                    <a:pt x="325742" y="17780"/>
                  </a:lnTo>
                  <a:lnTo>
                    <a:pt x="326644" y="16510"/>
                  </a:lnTo>
                  <a:lnTo>
                    <a:pt x="327545" y="15240"/>
                  </a:lnTo>
                  <a:lnTo>
                    <a:pt x="328422" y="15240"/>
                  </a:lnTo>
                  <a:lnTo>
                    <a:pt x="329704" y="13970"/>
                  </a:lnTo>
                  <a:lnTo>
                    <a:pt x="328244" y="13970"/>
                  </a:lnTo>
                  <a:lnTo>
                    <a:pt x="327850" y="14020"/>
                  </a:lnTo>
                  <a:lnTo>
                    <a:pt x="327507" y="14173"/>
                  </a:lnTo>
                  <a:lnTo>
                    <a:pt x="327660" y="14262"/>
                  </a:lnTo>
                  <a:lnTo>
                    <a:pt x="326110" y="15240"/>
                  </a:lnTo>
                  <a:lnTo>
                    <a:pt x="326326" y="13970"/>
                  </a:lnTo>
                  <a:lnTo>
                    <a:pt x="327469" y="13970"/>
                  </a:lnTo>
                  <a:lnTo>
                    <a:pt x="327964" y="12700"/>
                  </a:lnTo>
                  <a:lnTo>
                    <a:pt x="329996" y="12700"/>
                  </a:lnTo>
                  <a:lnTo>
                    <a:pt x="330377" y="13970"/>
                  </a:lnTo>
                  <a:lnTo>
                    <a:pt x="331533" y="12700"/>
                  </a:lnTo>
                  <a:lnTo>
                    <a:pt x="330441" y="12700"/>
                  </a:lnTo>
                  <a:lnTo>
                    <a:pt x="330339" y="12306"/>
                  </a:lnTo>
                  <a:lnTo>
                    <a:pt x="332041" y="11772"/>
                  </a:lnTo>
                  <a:lnTo>
                    <a:pt x="332574" y="9982"/>
                  </a:lnTo>
                  <a:lnTo>
                    <a:pt x="332994" y="9690"/>
                  </a:lnTo>
                  <a:lnTo>
                    <a:pt x="333375" y="9918"/>
                  </a:lnTo>
                  <a:close/>
                </a:path>
              </a:pathLst>
            </a:custGeom>
            <a:solidFill>
              <a:srgbClr val="D02929"/>
            </a:solidFill>
          </p:spPr>
          <p:txBody>
            <a:bodyPr wrap="square" lIns="0" tIns="0" rIns="0" bIns="0" rtlCol="0"/>
            <a:lstStyle/>
            <a:p>
              <a:endParaRPr/>
            </a:p>
          </p:txBody>
        </p:sp>
      </p:grpSp>
      <p:sp>
        <p:nvSpPr>
          <p:cNvPr id="15" name="object 15"/>
          <p:cNvSpPr txBox="1"/>
          <p:nvPr/>
        </p:nvSpPr>
        <p:spPr>
          <a:xfrm>
            <a:off x="8233085" y="2454304"/>
            <a:ext cx="2444115" cy="746125"/>
          </a:xfrm>
          <a:prstGeom prst="rect">
            <a:avLst/>
          </a:prstGeom>
        </p:spPr>
        <p:txBody>
          <a:bodyPr vert="horz" wrap="square" lIns="0" tIns="24765" rIns="0" bIns="0" rtlCol="0">
            <a:spAutoFit/>
          </a:bodyPr>
          <a:lstStyle/>
          <a:p>
            <a:pPr marL="12700" marR="5080" indent="85725">
              <a:lnSpc>
                <a:spcPts val="1880"/>
              </a:lnSpc>
              <a:spcBef>
                <a:spcPts val="195"/>
              </a:spcBef>
            </a:pPr>
            <a:r>
              <a:rPr sz="1600" spc="-20" dirty="0">
                <a:solidFill>
                  <a:srgbClr val="FFFFFF"/>
                </a:solidFill>
                <a:latin typeface="Roboto"/>
                <a:cs typeface="Roboto"/>
              </a:rPr>
              <a:t>MAYOR</a:t>
            </a:r>
            <a:r>
              <a:rPr sz="1600" spc="-45" dirty="0">
                <a:solidFill>
                  <a:srgbClr val="FFFFFF"/>
                </a:solidFill>
                <a:latin typeface="Roboto"/>
                <a:cs typeface="Roboto"/>
              </a:rPr>
              <a:t> </a:t>
            </a:r>
            <a:r>
              <a:rPr sz="1600" spc="-10" dirty="0">
                <a:solidFill>
                  <a:srgbClr val="FFFFFF"/>
                </a:solidFill>
                <a:latin typeface="Roboto"/>
                <a:cs typeface="Roboto"/>
              </a:rPr>
              <a:t>CONTRIBUCIÓN </a:t>
            </a:r>
            <a:r>
              <a:rPr sz="1600" dirty="0">
                <a:solidFill>
                  <a:srgbClr val="FFFFFF"/>
                </a:solidFill>
                <a:latin typeface="Roboto"/>
                <a:cs typeface="Roboto"/>
              </a:rPr>
              <a:t>DEL</a:t>
            </a:r>
            <a:r>
              <a:rPr sz="1600" spc="-50" dirty="0">
                <a:solidFill>
                  <a:srgbClr val="FFFFFF"/>
                </a:solidFill>
                <a:latin typeface="Roboto"/>
                <a:cs typeface="Roboto"/>
              </a:rPr>
              <a:t> </a:t>
            </a:r>
            <a:r>
              <a:rPr sz="1600" spc="-30" dirty="0">
                <a:solidFill>
                  <a:srgbClr val="FFFFFF"/>
                </a:solidFill>
                <a:latin typeface="Roboto"/>
                <a:cs typeface="Roboto"/>
              </a:rPr>
              <a:t>TURISMO</a:t>
            </a:r>
            <a:r>
              <a:rPr sz="1600" spc="-50" dirty="0">
                <a:solidFill>
                  <a:srgbClr val="FFFFFF"/>
                </a:solidFill>
                <a:latin typeface="Roboto"/>
                <a:cs typeface="Roboto"/>
              </a:rPr>
              <a:t> </a:t>
            </a:r>
            <a:r>
              <a:rPr sz="1600" b="1" spc="-10" dirty="0">
                <a:solidFill>
                  <a:srgbClr val="FFFFFF"/>
                </a:solidFill>
                <a:latin typeface="Roboto"/>
                <a:cs typeface="Roboto"/>
              </a:rPr>
              <a:t>RECEPTIVO </a:t>
            </a:r>
            <a:r>
              <a:rPr sz="1600" dirty="0">
                <a:solidFill>
                  <a:srgbClr val="FFFFFF"/>
                </a:solidFill>
                <a:latin typeface="Roboto"/>
                <a:cs typeface="Roboto"/>
              </a:rPr>
              <a:t>A</a:t>
            </a:r>
            <a:r>
              <a:rPr sz="1600" spc="-45" dirty="0">
                <a:solidFill>
                  <a:srgbClr val="FFFFFF"/>
                </a:solidFill>
                <a:latin typeface="Roboto"/>
                <a:cs typeface="Roboto"/>
              </a:rPr>
              <a:t> </a:t>
            </a:r>
            <a:r>
              <a:rPr sz="1600" dirty="0">
                <a:solidFill>
                  <a:srgbClr val="FFFFFF"/>
                </a:solidFill>
                <a:latin typeface="Roboto"/>
                <a:cs typeface="Roboto"/>
              </a:rPr>
              <a:t>LA</a:t>
            </a:r>
            <a:r>
              <a:rPr sz="1600" spc="-40" dirty="0">
                <a:solidFill>
                  <a:srgbClr val="FFFFFF"/>
                </a:solidFill>
                <a:latin typeface="Roboto"/>
                <a:cs typeface="Roboto"/>
              </a:rPr>
              <a:t> </a:t>
            </a:r>
            <a:r>
              <a:rPr sz="1600" dirty="0">
                <a:solidFill>
                  <a:srgbClr val="FFFFFF"/>
                </a:solidFill>
                <a:latin typeface="Roboto"/>
                <a:cs typeface="Roboto"/>
              </a:rPr>
              <a:t>ECONOMÍA</a:t>
            </a:r>
            <a:r>
              <a:rPr sz="1600" spc="-40" dirty="0">
                <a:solidFill>
                  <a:srgbClr val="FFFFFF"/>
                </a:solidFill>
                <a:latin typeface="Roboto"/>
                <a:cs typeface="Roboto"/>
              </a:rPr>
              <a:t> </a:t>
            </a:r>
            <a:r>
              <a:rPr sz="1600" dirty="0">
                <a:solidFill>
                  <a:srgbClr val="FFFFFF"/>
                </a:solidFill>
                <a:latin typeface="Roboto"/>
                <a:cs typeface="Roboto"/>
              </a:rPr>
              <a:t>DE</a:t>
            </a:r>
            <a:r>
              <a:rPr sz="1600" spc="-40" dirty="0">
                <a:solidFill>
                  <a:srgbClr val="FFFFFF"/>
                </a:solidFill>
                <a:latin typeface="Roboto"/>
                <a:cs typeface="Roboto"/>
              </a:rPr>
              <a:t> </a:t>
            </a:r>
            <a:r>
              <a:rPr sz="1600" spc="-20" dirty="0">
                <a:solidFill>
                  <a:srgbClr val="FFFFFF"/>
                </a:solidFill>
                <a:latin typeface="Roboto"/>
                <a:cs typeface="Roboto"/>
              </a:rPr>
              <a:t>CHILE</a:t>
            </a:r>
            <a:endParaRPr sz="1600">
              <a:latin typeface="Roboto"/>
              <a:cs typeface="Roboto"/>
            </a:endParaRPr>
          </a:p>
        </p:txBody>
      </p:sp>
      <p:sp>
        <p:nvSpPr>
          <p:cNvPr id="16" name="object 16"/>
          <p:cNvSpPr txBox="1"/>
          <p:nvPr/>
        </p:nvSpPr>
        <p:spPr>
          <a:xfrm>
            <a:off x="3013844" y="4388546"/>
            <a:ext cx="2180590" cy="269875"/>
          </a:xfrm>
          <a:prstGeom prst="rect">
            <a:avLst/>
          </a:prstGeom>
        </p:spPr>
        <p:txBody>
          <a:bodyPr vert="horz" wrap="square" lIns="0" tIns="12700" rIns="0" bIns="0" rtlCol="0">
            <a:spAutoFit/>
          </a:bodyPr>
          <a:lstStyle/>
          <a:p>
            <a:pPr marL="12700">
              <a:lnSpc>
                <a:spcPct val="100000"/>
              </a:lnSpc>
              <a:spcBef>
                <a:spcPts val="100"/>
              </a:spcBef>
            </a:pPr>
            <a:r>
              <a:rPr sz="1600" b="1" spc="-20" dirty="0">
                <a:solidFill>
                  <a:srgbClr val="FFFFFF"/>
                </a:solidFill>
                <a:latin typeface="Roboto"/>
                <a:cs typeface="Roboto"/>
              </a:rPr>
              <a:t>RECUPERAR</a:t>
            </a:r>
            <a:r>
              <a:rPr sz="1600" b="1" spc="-45" dirty="0">
                <a:solidFill>
                  <a:srgbClr val="FFFFFF"/>
                </a:solidFill>
                <a:latin typeface="Roboto"/>
                <a:cs typeface="Roboto"/>
              </a:rPr>
              <a:t> </a:t>
            </a:r>
            <a:r>
              <a:rPr sz="1600" b="1" spc="-10" dirty="0">
                <a:solidFill>
                  <a:srgbClr val="FFFFFF"/>
                </a:solidFill>
                <a:latin typeface="Roboto"/>
                <a:cs typeface="Roboto"/>
              </a:rPr>
              <a:t>VOLUMEN</a:t>
            </a:r>
            <a:endParaRPr sz="1600">
              <a:latin typeface="Roboto"/>
              <a:cs typeface="Roboto"/>
            </a:endParaRPr>
          </a:p>
        </p:txBody>
      </p:sp>
      <p:sp>
        <p:nvSpPr>
          <p:cNvPr id="17" name="object 17"/>
          <p:cNvSpPr txBox="1"/>
          <p:nvPr/>
        </p:nvSpPr>
        <p:spPr>
          <a:xfrm>
            <a:off x="2812778" y="4626671"/>
            <a:ext cx="2582545" cy="269875"/>
          </a:xfrm>
          <a:prstGeom prst="rect">
            <a:avLst/>
          </a:prstGeom>
        </p:spPr>
        <p:txBody>
          <a:bodyPr vert="horz" wrap="square" lIns="0" tIns="12700" rIns="0" bIns="0" rtlCol="0">
            <a:spAutoFit/>
          </a:bodyPr>
          <a:lstStyle/>
          <a:p>
            <a:pPr marL="12700">
              <a:lnSpc>
                <a:spcPct val="100000"/>
              </a:lnSpc>
              <a:spcBef>
                <a:spcPts val="100"/>
              </a:spcBef>
            </a:pPr>
            <a:r>
              <a:rPr sz="1600" spc="-20" dirty="0">
                <a:solidFill>
                  <a:srgbClr val="FFFFFF"/>
                </a:solidFill>
                <a:latin typeface="Roboto"/>
                <a:cs typeface="Roboto"/>
              </a:rPr>
              <a:t>Objetivo</a:t>
            </a:r>
            <a:r>
              <a:rPr sz="1600" spc="-50" dirty="0">
                <a:solidFill>
                  <a:srgbClr val="FFFFFF"/>
                </a:solidFill>
                <a:latin typeface="Roboto"/>
                <a:cs typeface="Roboto"/>
              </a:rPr>
              <a:t> </a:t>
            </a:r>
            <a:r>
              <a:rPr sz="1600" spc="-10" dirty="0">
                <a:solidFill>
                  <a:srgbClr val="FFFFFF"/>
                </a:solidFill>
                <a:latin typeface="Roboto"/>
                <a:cs typeface="Roboto"/>
              </a:rPr>
              <a:t>inmediato</a:t>
            </a:r>
            <a:r>
              <a:rPr sz="1600" spc="-45" dirty="0">
                <a:solidFill>
                  <a:srgbClr val="FFFFFF"/>
                </a:solidFill>
                <a:latin typeface="Roboto"/>
                <a:cs typeface="Roboto"/>
              </a:rPr>
              <a:t> </a:t>
            </a:r>
            <a:r>
              <a:rPr sz="1600" dirty="0">
                <a:solidFill>
                  <a:srgbClr val="FFFFFF"/>
                </a:solidFill>
                <a:latin typeface="Roboto"/>
                <a:cs typeface="Roboto"/>
              </a:rPr>
              <a:t>(año</a:t>
            </a:r>
            <a:r>
              <a:rPr sz="1600" spc="-45" dirty="0">
                <a:solidFill>
                  <a:srgbClr val="FFFFFF"/>
                </a:solidFill>
                <a:latin typeface="Roboto"/>
                <a:cs typeface="Roboto"/>
              </a:rPr>
              <a:t> </a:t>
            </a:r>
            <a:r>
              <a:rPr sz="1600" spc="-10" dirty="0">
                <a:solidFill>
                  <a:srgbClr val="FFFFFF"/>
                </a:solidFill>
                <a:latin typeface="Roboto"/>
                <a:cs typeface="Roboto"/>
              </a:rPr>
              <a:t>1-</a:t>
            </a:r>
            <a:r>
              <a:rPr sz="1600" spc="-25" dirty="0">
                <a:solidFill>
                  <a:srgbClr val="FFFFFF"/>
                </a:solidFill>
                <a:latin typeface="Roboto"/>
                <a:cs typeface="Roboto"/>
              </a:rPr>
              <a:t>2)</a:t>
            </a:r>
            <a:endParaRPr sz="1600">
              <a:latin typeface="Roboto"/>
              <a:cs typeface="Roboto"/>
            </a:endParaRPr>
          </a:p>
        </p:txBody>
      </p:sp>
      <p:grpSp>
        <p:nvGrpSpPr>
          <p:cNvPr id="18" name="object 18"/>
          <p:cNvGrpSpPr/>
          <p:nvPr/>
        </p:nvGrpSpPr>
        <p:grpSpPr>
          <a:xfrm>
            <a:off x="1772040" y="237491"/>
            <a:ext cx="16287750" cy="8252459"/>
            <a:chOff x="1772040" y="237491"/>
            <a:chExt cx="16287750" cy="8252459"/>
          </a:xfrm>
        </p:grpSpPr>
        <p:sp>
          <p:nvSpPr>
            <p:cNvPr id="19" name="object 19"/>
            <p:cNvSpPr/>
            <p:nvPr/>
          </p:nvSpPr>
          <p:spPr>
            <a:xfrm>
              <a:off x="1772040" y="6509888"/>
              <a:ext cx="1247775" cy="1247775"/>
            </a:xfrm>
            <a:custGeom>
              <a:avLst/>
              <a:gdLst/>
              <a:ahLst/>
              <a:cxnLst/>
              <a:rect l="l" t="t" r="r" b="b"/>
              <a:pathLst>
                <a:path w="1247775" h="1247775">
                  <a:moveTo>
                    <a:pt x="623826" y="1247643"/>
                  </a:moveTo>
                  <a:lnTo>
                    <a:pt x="575070" y="1245766"/>
                  </a:lnTo>
                  <a:lnTo>
                    <a:pt x="527345" y="1240228"/>
                  </a:lnTo>
                  <a:lnTo>
                    <a:pt x="480784" y="1231167"/>
                  </a:lnTo>
                  <a:lnTo>
                    <a:pt x="435528" y="1218723"/>
                  </a:lnTo>
                  <a:lnTo>
                    <a:pt x="391713" y="1203033"/>
                  </a:lnTo>
                  <a:lnTo>
                    <a:pt x="349480" y="1184237"/>
                  </a:lnTo>
                  <a:lnTo>
                    <a:pt x="308966" y="1162473"/>
                  </a:lnTo>
                  <a:lnTo>
                    <a:pt x="270311" y="1137880"/>
                  </a:lnTo>
                  <a:lnTo>
                    <a:pt x="233652" y="1110596"/>
                  </a:lnTo>
                  <a:lnTo>
                    <a:pt x="199130" y="1080761"/>
                  </a:lnTo>
                  <a:lnTo>
                    <a:pt x="166881" y="1048512"/>
                  </a:lnTo>
                  <a:lnTo>
                    <a:pt x="137046" y="1013990"/>
                  </a:lnTo>
                  <a:lnTo>
                    <a:pt x="109762" y="977331"/>
                  </a:lnTo>
                  <a:lnTo>
                    <a:pt x="85169" y="938676"/>
                  </a:lnTo>
                  <a:lnTo>
                    <a:pt x="63405" y="898162"/>
                  </a:lnTo>
                  <a:lnTo>
                    <a:pt x="44609" y="855929"/>
                  </a:lnTo>
                  <a:lnTo>
                    <a:pt x="28919" y="812115"/>
                  </a:lnTo>
                  <a:lnTo>
                    <a:pt x="16475" y="766858"/>
                  </a:lnTo>
                  <a:lnTo>
                    <a:pt x="7414" y="720298"/>
                  </a:lnTo>
                  <a:lnTo>
                    <a:pt x="1876" y="672573"/>
                  </a:lnTo>
                  <a:lnTo>
                    <a:pt x="0" y="623825"/>
                  </a:lnTo>
                  <a:lnTo>
                    <a:pt x="1876" y="575070"/>
                  </a:lnTo>
                  <a:lnTo>
                    <a:pt x="7414" y="527345"/>
                  </a:lnTo>
                  <a:lnTo>
                    <a:pt x="16475" y="480785"/>
                  </a:lnTo>
                  <a:lnTo>
                    <a:pt x="28919" y="435528"/>
                  </a:lnTo>
                  <a:lnTo>
                    <a:pt x="44609" y="391714"/>
                  </a:lnTo>
                  <a:lnTo>
                    <a:pt x="63405" y="349480"/>
                  </a:lnTo>
                  <a:lnTo>
                    <a:pt x="85169" y="308967"/>
                  </a:lnTo>
                  <a:lnTo>
                    <a:pt x="109762" y="270311"/>
                  </a:lnTo>
                  <a:lnTo>
                    <a:pt x="137046" y="233653"/>
                  </a:lnTo>
                  <a:lnTo>
                    <a:pt x="166881" y="199130"/>
                  </a:lnTo>
                  <a:lnTo>
                    <a:pt x="199130" y="166882"/>
                  </a:lnTo>
                  <a:lnTo>
                    <a:pt x="233652" y="137046"/>
                  </a:lnTo>
                  <a:lnTo>
                    <a:pt x="270311" y="109763"/>
                  </a:lnTo>
                  <a:lnTo>
                    <a:pt x="308966" y="85169"/>
                  </a:lnTo>
                  <a:lnTo>
                    <a:pt x="349480" y="63405"/>
                  </a:lnTo>
                  <a:lnTo>
                    <a:pt x="391713" y="44609"/>
                  </a:lnTo>
                  <a:lnTo>
                    <a:pt x="435528" y="28920"/>
                  </a:lnTo>
                  <a:lnTo>
                    <a:pt x="480784" y="16475"/>
                  </a:lnTo>
                  <a:lnTo>
                    <a:pt x="527345" y="7414"/>
                  </a:lnTo>
                  <a:lnTo>
                    <a:pt x="575070" y="1876"/>
                  </a:lnTo>
                  <a:lnTo>
                    <a:pt x="623821" y="0"/>
                  </a:lnTo>
                  <a:lnTo>
                    <a:pt x="672572" y="1876"/>
                  </a:lnTo>
                  <a:lnTo>
                    <a:pt x="720297" y="7414"/>
                  </a:lnTo>
                  <a:lnTo>
                    <a:pt x="766858" y="16475"/>
                  </a:lnTo>
                  <a:lnTo>
                    <a:pt x="812114" y="28920"/>
                  </a:lnTo>
                  <a:lnTo>
                    <a:pt x="855929" y="44609"/>
                  </a:lnTo>
                  <a:lnTo>
                    <a:pt x="898162" y="63405"/>
                  </a:lnTo>
                  <a:lnTo>
                    <a:pt x="938676" y="85169"/>
                  </a:lnTo>
                  <a:lnTo>
                    <a:pt x="977331" y="109763"/>
                  </a:lnTo>
                  <a:lnTo>
                    <a:pt x="1013990" y="137046"/>
                  </a:lnTo>
                  <a:lnTo>
                    <a:pt x="1048512" y="166882"/>
                  </a:lnTo>
                  <a:lnTo>
                    <a:pt x="1080761" y="199130"/>
                  </a:lnTo>
                  <a:lnTo>
                    <a:pt x="1110596" y="233653"/>
                  </a:lnTo>
                  <a:lnTo>
                    <a:pt x="1137880" y="270311"/>
                  </a:lnTo>
                  <a:lnTo>
                    <a:pt x="1162473" y="308967"/>
                  </a:lnTo>
                  <a:lnTo>
                    <a:pt x="1184237" y="349480"/>
                  </a:lnTo>
                  <a:lnTo>
                    <a:pt x="1203033" y="391714"/>
                  </a:lnTo>
                  <a:lnTo>
                    <a:pt x="1218723" y="435528"/>
                  </a:lnTo>
                  <a:lnTo>
                    <a:pt x="1231167" y="480785"/>
                  </a:lnTo>
                  <a:lnTo>
                    <a:pt x="1240228" y="527345"/>
                  </a:lnTo>
                  <a:lnTo>
                    <a:pt x="1245766" y="575070"/>
                  </a:lnTo>
                  <a:lnTo>
                    <a:pt x="1247643" y="623818"/>
                  </a:lnTo>
                  <a:lnTo>
                    <a:pt x="1245766" y="672573"/>
                  </a:lnTo>
                  <a:lnTo>
                    <a:pt x="1240228" y="720298"/>
                  </a:lnTo>
                  <a:lnTo>
                    <a:pt x="1231167" y="766858"/>
                  </a:lnTo>
                  <a:lnTo>
                    <a:pt x="1218723" y="812115"/>
                  </a:lnTo>
                  <a:lnTo>
                    <a:pt x="1203033" y="855929"/>
                  </a:lnTo>
                  <a:lnTo>
                    <a:pt x="1184237" y="898162"/>
                  </a:lnTo>
                  <a:lnTo>
                    <a:pt x="1162473" y="938676"/>
                  </a:lnTo>
                  <a:lnTo>
                    <a:pt x="1137880" y="977331"/>
                  </a:lnTo>
                  <a:lnTo>
                    <a:pt x="1110596" y="1013990"/>
                  </a:lnTo>
                  <a:lnTo>
                    <a:pt x="1080761" y="1048512"/>
                  </a:lnTo>
                  <a:lnTo>
                    <a:pt x="1048512" y="1080761"/>
                  </a:lnTo>
                  <a:lnTo>
                    <a:pt x="1013990" y="1110596"/>
                  </a:lnTo>
                  <a:lnTo>
                    <a:pt x="977331" y="1137880"/>
                  </a:lnTo>
                  <a:lnTo>
                    <a:pt x="938676" y="1162473"/>
                  </a:lnTo>
                  <a:lnTo>
                    <a:pt x="898162" y="1184237"/>
                  </a:lnTo>
                  <a:lnTo>
                    <a:pt x="855929" y="1203033"/>
                  </a:lnTo>
                  <a:lnTo>
                    <a:pt x="812114" y="1218723"/>
                  </a:lnTo>
                  <a:lnTo>
                    <a:pt x="766858" y="1231167"/>
                  </a:lnTo>
                  <a:lnTo>
                    <a:pt x="720297" y="1240228"/>
                  </a:lnTo>
                  <a:lnTo>
                    <a:pt x="672572" y="1245766"/>
                  </a:lnTo>
                  <a:lnTo>
                    <a:pt x="623826" y="1247643"/>
                  </a:lnTo>
                  <a:close/>
                </a:path>
              </a:pathLst>
            </a:custGeom>
            <a:solidFill>
              <a:srgbClr val="E3112B"/>
            </a:solidFill>
          </p:spPr>
          <p:txBody>
            <a:bodyPr wrap="square" lIns="0" tIns="0" rIns="0" bIns="0" rtlCol="0"/>
            <a:lstStyle/>
            <a:p>
              <a:endParaRPr/>
            </a:p>
          </p:txBody>
        </p:sp>
        <p:sp>
          <p:nvSpPr>
            <p:cNvPr id="20" name="object 20"/>
            <p:cNvSpPr/>
            <p:nvPr/>
          </p:nvSpPr>
          <p:spPr>
            <a:xfrm>
              <a:off x="2090395" y="6838071"/>
              <a:ext cx="598170" cy="589280"/>
            </a:xfrm>
            <a:custGeom>
              <a:avLst/>
              <a:gdLst/>
              <a:ahLst/>
              <a:cxnLst/>
              <a:rect l="l" t="t" r="r" b="b"/>
              <a:pathLst>
                <a:path w="598169" h="589279">
                  <a:moveTo>
                    <a:pt x="476551" y="486302"/>
                  </a:moveTo>
                  <a:lnTo>
                    <a:pt x="432843" y="480129"/>
                  </a:lnTo>
                  <a:lnTo>
                    <a:pt x="386681" y="456776"/>
                  </a:lnTo>
                  <a:lnTo>
                    <a:pt x="354975" y="429584"/>
                  </a:lnTo>
                  <a:lnTo>
                    <a:pt x="64813" y="142469"/>
                  </a:lnTo>
                  <a:lnTo>
                    <a:pt x="34331" y="109209"/>
                  </a:lnTo>
                  <a:lnTo>
                    <a:pt x="12614" y="75224"/>
                  </a:lnTo>
                  <a:lnTo>
                    <a:pt x="0" y="23933"/>
                  </a:lnTo>
                  <a:lnTo>
                    <a:pt x="222" y="3742"/>
                  </a:lnTo>
                  <a:lnTo>
                    <a:pt x="342" y="1855"/>
                  </a:lnTo>
                  <a:lnTo>
                    <a:pt x="1874" y="353"/>
                  </a:lnTo>
                  <a:lnTo>
                    <a:pt x="3782" y="220"/>
                  </a:lnTo>
                  <a:lnTo>
                    <a:pt x="24194" y="0"/>
                  </a:lnTo>
                  <a:lnTo>
                    <a:pt x="42852" y="2059"/>
                  </a:lnTo>
                  <a:lnTo>
                    <a:pt x="93474" y="22033"/>
                  </a:lnTo>
                  <a:lnTo>
                    <a:pt x="127067" y="48080"/>
                  </a:lnTo>
                  <a:lnTo>
                    <a:pt x="434122" y="351265"/>
                  </a:lnTo>
                  <a:lnTo>
                    <a:pt x="461614" y="382639"/>
                  </a:lnTo>
                  <a:lnTo>
                    <a:pt x="480657" y="415775"/>
                  </a:lnTo>
                  <a:lnTo>
                    <a:pt x="491204" y="463266"/>
                  </a:lnTo>
                  <a:lnTo>
                    <a:pt x="491082" y="482410"/>
                  </a:lnTo>
                  <a:lnTo>
                    <a:pt x="490962" y="484298"/>
                  </a:lnTo>
                  <a:lnTo>
                    <a:pt x="489414" y="485829"/>
                  </a:lnTo>
                  <a:lnTo>
                    <a:pt x="487507" y="485948"/>
                  </a:lnTo>
                  <a:lnTo>
                    <a:pt x="476551" y="486302"/>
                  </a:lnTo>
                  <a:close/>
                </a:path>
                <a:path w="598169" h="589279">
                  <a:moveTo>
                    <a:pt x="433671" y="92407"/>
                  </a:moveTo>
                  <a:lnTo>
                    <a:pt x="432559" y="91991"/>
                  </a:lnTo>
                  <a:lnTo>
                    <a:pt x="429705" y="89151"/>
                  </a:lnTo>
                  <a:lnTo>
                    <a:pt x="426821" y="86268"/>
                  </a:lnTo>
                  <a:lnTo>
                    <a:pt x="425364" y="82463"/>
                  </a:lnTo>
                  <a:lnTo>
                    <a:pt x="425381" y="74793"/>
                  </a:lnTo>
                  <a:lnTo>
                    <a:pt x="426806" y="71032"/>
                  </a:lnTo>
                  <a:lnTo>
                    <a:pt x="432635" y="65265"/>
                  </a:lnTo>
                  <a:lnTo>
                    <a:pt x="436495" y="63823"/>
                  </a:lnTo>
                  <a:lnTo>
                    <a:pt x="444186" y="63823"/>
                  </a:lnTo>
                  <a:lnTo>
                    <a:pt x="448046" y="65280"/>
                  </a:lnTo>
                  <a:lnTo>
                    <a:pt x="468565" y="85599"/>
                  </a:lnTo>
                  <a:lnTo>
                    <a:pt x="467138" y="89508"/>
                  </a:lnTo>
                  <a:lnTo>
                    <a:pt x="433671" y="92407"/>
                  </a:lnTo>
                  <a:close/>
                </a:path>
                <a:path w="598169" h="589279">
                  <a:moveTo>
                    <a:pt x="306983" y="103362"/>
                  </a:moveTo>
                  <a:lnTo>
                    <a:pt x="305856" y="102960"/>
                  </a:lnTo>
                  <a:lnTo>
                    <a:pt x="300133" y="97282"/>
                  </a:lnTo>
                  <a:lnTo>
                    <a:pt x="298676" y="93462"/>
                  </a:lnTo>
                  <a:lnTo>
                    <a:pt x="298676" y="85971"/>
                  </a:lnTo>
                  <a:lnTo>
                    <a:pt x="299983" y="82344"/>
                  </a:lnTo>
                  <a:lnTo>
                    <a:pt x="302597" y="79520"/>
                  </a:lnTo>
                  <a:lnTo>
                    <a:pt x="305917" y="76235"/>
                  </a:lnTo>
                  <a:lnTo>
                    <a:pt x="309777" y="74793"/>
                  </a:lnTo>
                  <a:lnTo>
                    <a:pt x="317498" y="74793"/>
                  </a:lnTo>
                  <a:lnTo>
                    <a:pt x="321358" y="76249"/>
                  </a:lnTo>
                  <a:lnTo>
                    <a:pt x="341877" y="96569"/>
                  </a:lnTo>
                  <a:lnTo>
                    <a:pt x="340450" y="100478"/>
                  </a:lnTo>
                  <a:lnTo>
                    <a:pt x="306983" y="103362"/>
                  </a:lnTo>
                  <a:close/>
                </a:path>
                <a:path w="598169" h="589279">
                  <a:moveTo>
                    <a:pt x="376816" y="258587"/>
                  </a:moveTo>
                  <a:lnTo>
                    <a:pt x="370027" y="257680"/>
                  </a:lnTo>
                  <a:lnTo>
                    <a:pt x="353248" y="242370"/>
                  </a:lnTo>
                  <a:lnTo>
                    <a:pt x="245366" y="134071"/>
                  </a:lnTo>
                  <a:lnTo>
                    <a:pt x="246793" y="130161"/>
                  </a:lnTo>
                  <a:lnTo>
                    <a:pt x="543911" y="104447"/>
                  </a:lnTo>
                  <a:lnTo>
                    <a:pt x="545022" y="104833"/>
                  </a:lnTo>
                  <a:lnTo>
                    <a:pt x="588839" y="147478"/>
                  </a:lnTo>
                  <a:lnTo>
                    <a:pt x="588373" y="150570"/>
                  </a:lnTo>
                  <a:lnTo>
                    <a:pt x="376816" y="258587"/>
                  </a:lnTo>
                  <a:close/>
                </a:path>
                <a:path w="598169" h="589279">
                  <a:moveTo>
                    <a:pt x="147985" y="583694"/>
                  </a:moveTo>
                  <a:lnTo>
                    <a:pt x="104904" y="540321"/>
                  </a:lnTo>
                  <a:lnTo>
                    <a:pt x="104499" y="539236"/>
                  </a:lnTo>
                  <a:lnTo>
                    <a:pt x="130665" y="243366"/>
                  </a:lnTo>
                  <a:lnTo>
                    <a:pt x="134616" y="241939"/>
                  </a:lnTo>
                  <a:lnTo>
                    <a:pt x="229504" y="336490"/>
                  </a:lnTo>
                  <a:lnTo>
                    <a:pt x="259802" y="365891"/>
                  </a:lnTo>
                  <a:lnTo>
                    <a:pt x="260913" y="372654"/>
                  </a:lnTo>
                  <a:lnTo>
                    <a:pt x="151109" y="583234"/>
                  </a:lnTo>
                  <a:lnTo>
                    <a:pt x="147985" y="583694"/>
                  </a:lnTo>
                  <a:close/>
                </a:path>
                <a:path w="598169" h="589279">
                  <a:moveTo>
                    <a:pt x="96537" y="339344"/>
                  </a:moveTo>
                  <a:lnTo>
                    <a:pt x="78467" y="321477"/>
                  </a:lnTo>
                  <a:lnTo>
                    <a:pt x="75868" y="318653"/>
                  </a:lnTo>
                  <a:lnTo>
                    <a:pt x="74546" y="315026"/>
                  </a:lnTo>
                  <a:lnTo>
                    <a:pt x="74546" y="307549"/>
                  </a:lnTo>
                  <a:lnTo>
                    <a:pt x="75988" y="303729"/>
                  </a:lnTo>
                  <a:lnTo>
                    <a:pt x="81817" y="298007"/>
                  </a:lnTo>
                  <a:lnTo>
                    <a:pt x="85662" y="296565"/>
                  </a:lnTo>
                  <a:lnTo>
                    <a:pt x="93383" y="296565"/>
                  </a:lnTo>
                  <a:lnTo>
                    <a:pt x="97243" y="298007"/>
                  </a:lnTo>
                  <a:lnTo>
                    <a:pt x="102981" y="303685"/>
                  </a:lnTo>
                  <a:lnTo>
                    <a:pt x="103402" y="304800"/>
                  </a:lnTo>
                  <a:lnTo>
                    <a:pt x="100473" y="337902"/>
                  </a:lnTo>
                  <a:lnTo>
                    <a:pt x="96537" y="339344"/>
                  </a:lnTo>
                  <a:close/>
                </a:path>
                <a:path w="598169" h="589279">
                  <a:moveTo>
                    <a:pt x="508266" y="424500"/>
                  </a:moveTo>
                  <a:lnTo>
                    <a:pt x="506358" y="423341"/>
                  </a:lnTo>
                  <a:lnTo>
                    <a:pt x="504285" y="416741"/>
                  </a:lnTo>
                  <a:lnTo>
                    <a:pt x="502588" y="412103"/>
                  </a:lnTo>
                  <a:lnTo>
                    <a:pt x="485749" y="379492"/>
                  </a:lnTo>
                  <a:lnTo>
                    <a:pt x="487642" y="376162"/>
                  </a:lnTo>
                  <a:lnTo>
                    <a:pt x="571940" y="378243"/>
                  </a:lnTo>
                  <a:lnTo>
                    <a:pt x="572887" y="378644"/>
                  </a:lnTo>
                  <a:lnTo>
                    <a:pt x="597747" y="403230"/>
                  </a:lnTo>
                  <a:lnTo>
                    <a:pt x="596620" y="406901"/>
                  </a:lnTo>
                  <a:lnTo>
                    <a:pt x="508266" y="424500"/>
                  </a:lnTo>
                  <a:close/>
                </a:path>
                <a:path w="598169" h="589279">
                  <a:moveTo>
                    <a:pt x="85467" y="464693"/>
                  </a:moveTo>
                  <a:lnTo>
                    <a:pt x="64933" y="444358"/>
                  </a:lnTo>
                  <a:lnTo>
                    <a:pt x="63476" y="440553"/>
                  </a:lnTo>
                  <a:lnTo>
                    <a:pt x="63476" y="432928"/>
                  </a:lnTo>
                  <a:lnTo>
                    <a:pt x="64918" y="429123"/>
                  </a:lnTo>
                  <a:lnTo>
                    <a:pt x="70731" y="423370"/>
                  </a:lnTo>
                  <a:lnTo>
                    <a:pt x="74607" y="421914"/>
                  </a:lnTo>
                  <a:lnTo>
                    <a:pt x="82297" y="421914"/>
                  </a:lnTo>
                  <a:lnTo>
                    <a:pt x="86158" y="423370"/>
                  </a:lnTo>
                  <a:lnTo>
                    <a:pt x="91941" y="429078"/>
                  </a:lnTo>
                  <a:lnTo>
                    <a:pt x="92346" y="430193"/>
                  </a:lnTo>
                  <a:lnTo>
                    <a:pt x="89417" y="463266"/>
                  </a:lnTo>
                  <a:lnTo>
                    <a:pt x="85467" y="464693"/>
                  </a:lnTo>
                  <a:close/>
                </a:path>
                <a:path w="598169" h="589279">
                  <a:moveTo>
                    <a:pt x="410133" y="588867"/>
                  </a:moveTo>
                  <a:lnTo>
                    <a:pt x="385273" y="564267"/>
                  </a:lnTo>
                  <a:lnTo>
                    <a:pt x="384882" y="563345"/>
                  </a:lnTo>
                  <a:lnTo>
                    <a:pt x="382885" y="484239"/>
                  </a:lnTo>
                  <a:lnTo>
                    <a:pt x="386189" y="482351"/>
                  </a:lnTo>
                  <a:lnTo>
                    <a:pt x="389492" y="484298"/>
                  </a:lnTo>
                  <a:lnTo>
                    <a:pt x="394416" y="487104"/>
                  </a:lnTo>
                  <a:lnTo>
                    <a:pt x="429796" y="501630"/>
                  </a:lnTo>
                  <a:lnTo>
                    <a:pt x="430982" y="503532"/>
                  </a:lnTo>
                  <a:lnTo>
                    <a:pt x="413858" y="587767"/>
                  </a:lnTo>
                  <a:lnTo>
                    <a:pt x="410133" y="588867"/>
                  </a:lnTo>
                  <a:close/>
                </a:path>
              </a:pathLst>
            </a:custGeom>
            <a:solidFill>
              <a:srgbClr val="FFFFFF"/>
            </a:solidFill>
          </p:spPr>
          <p:txBody>
            <a:bodyPr wrap="square" lIns="0" tIns="0" rIns="0" bIns="0" rtlCol="0"/>
            <a:lstStyle/>
            <a:p>
              <a:endParaRPr/>
            </a:p>
          </p:txBody>
        </p:sp>
        <p:sp>
          <p:nvSpPr>
            <p:cNvPr id="21" name="object 21"/>
            <p:cNvSpPr/>
            <p:nvPr/>
          </p:nvSpPr>
          <p:spPr>
            <a:xfrm>
              <a:off x="3480208" y="6509888"/>
              <a:ext cx="1247775" cy="1247775"/>
            </a:xfrm>
            <a:custGeom>
              <a:avLst/>
              <a:gdLst/>
              <a:ahLst/>
              <a:cxnLst/>
              <a:rect l="l" t="t" r="r" b="b"/>
              <a:pathLst>
                <a:path w="1247775" h="1247775">
                  <a:moveTo>
                    <a:pt x="623826" y="1247643"/>
                  </a:moveTo>
                  <a:lnTo>
                    <a:pt x="575070" y="1245766"/>
                  </a:lnTo>
                  <a:lnTo>
                    <a:pt x="527345" y="1240228"/>
                  </a:lnTo>
                  <a:lnTo>
                    <a:pt x="480785" y="1231167"/>
                  </a:lnTo>
                  <a:lnTo>
                    <a:pt x="435528" y="1218723"/>
                  </a:lnTo>
                  <a:lnTo>
                    <a:pt x="391714" y="1203033"/>
                  </a:lnTo>
                  <a:lnTo>
                    <a:pt x="349480" y="1184237"/>
                  </a:lnTo>
                  <a:lnTo>
                    <a:pt x="308966" y="1162473"/>
                  </a:lnTo>
                  <a:lnTo>
                    <a:pt x="270311" y="1137880"/>
                  </a:lnTo>
                  <a:lnTo>
                    <a:pt x="233653" y="1110596"/>
                  </a:lnTo>
                  <a:lnTo>
                    <a:pt x="199130" y="1080761"/>
                  </a:lnTo>
                  <a:lnTo>
                    <a:pt x="166881" y="1048512"/>
                  </a:lnTo>
                  <a:lnTo>
                    <a:pt x="137046" y="1013990"/>
                  </a:lnTo>
                  <a:lnTo>
                    <a:pt x="109763" y="977331"/>
                  </a:lnTo>
                  <a:lnTo>
                    <a:pt x="85169" y="938676"/>
                  </a:lnTo>
                  <a:lnTo>
                    <a:pt x="63405" y="898162"/>
                  </a:lnTo>
                  <a:lnTo>
                    <a:pt x="44609" y="855929"/>
                  </a:lnTo>
                  <a:lnTo>
                    <a:pt x="28920" y="812115"/>
                  </a:lnTo>
                  <a:lnTo>
                    <a:pt x="16475" y="766858"/>
                  </a:lnTo>
                  <a:lnTo>
                    <a:pt x="7414" y="720298"/>
                  </a:lnTo>
                  <a:lnTo>
                    <a:pt x="1876" y="672573"/>
                  </a:lnTo>
                  <a:lnTo>
                    <a:pt x="0" y="623822"/>
                  </a:lnTo>
                  <a:lnTo>
                    <a:pt x="1876" y="575070"/>
                  </a:lnTo>
                  <a:lnTo>
                    <a:pt x="7414" y="527345"/>
                  </a:lnTo>
                  <a:lnTo>
                    <a:pt x="16475" y="480785"/>
                  </a:lnTo>
                  <a:lnTo>
                    <a:pt x="28920" y="435528"/>
                  </a:lnTo>
                  <a:lnTo>
                    <a:pt x="44609" y="391714"/>
                  </a:lnTo>
                  <a:lnTo>
                    <a:pt x="63405" y="349480"/>
                  </a:lnTo>
                  <a:lnTo>
                    <a:pt x="85169" y="308967"/>
                  </a:lnTo>
                  <a:lnTo>
                    <a:pt x="109763" y="270311"/>
                  </a:lnTo>
                  <a:lnTo>
                    <a:pt x="137046" y="233653"/>
                  </a:lnTo>
                  <a:lnTo>
                    <a:pt x="166881" y="199130"/>
                  </a:lnTo>
                  <a:lnTo>
                    <a:pt x="199130" y="166882"/>
                  </a:lnTo>
                  <a:lnTo>
                    <a:pt x="233653" y="137046"/>
                  </a:lnTo>
                  <a:lnTo>
                    <a:pt x="270311" y="109763"/>
                  </a:lnTo>
                  <a:lnTo>
                    <a:pt x="308966" y="85169"/>
                  </a:lnTo>
                  <a:lnTo>
                    <a:pt x="349480" y="63405"/>
                  </a:lnTo>
                  <a:lnTo>
                    <a:pt x="391714" y="44609"/>
                  </a:lnTo>
                  <a:lnTo>
                    <a:pt x="435528" y="28920"/>
                  </a:lnTo>
                  <a:lnTo>
                    <a:pt x="480785" y="16475"/>
                  </a:lnTo>
                  <a:lnTo>
                    <a:pt x="527345" y="7414"/>
                  </a:lnTo>
                  <a:lnTo>
                    <a:pt x="575070" y="1876"/>
                  </a:lnTo>
                  <a:lnTo>
                    <a:pt x="623821" y="0"/>
                  </a:lnTo>
                  <a:lnTo>
                    <a:pt x="672572" y="1876"/>
                  </a:lnTo>
                  <a:lnTo>
                    <a:pt x="720297" y="7414"/>
                  </a:lnTo>
                  <a:lnTo>
                    <a:pt x="766858" y="16475"/>
                  </a:lnTo>
                  <a:lnTo>
                    <a:pt x="812114" y="28920"/>
                  </a:lnTo>
                  <a:lnTo>
                    <a:pt x="855929" y="44609"/>
                  </a:lnTo>
                  <a:lnTo>
                    <a:pt x="898162" y="63405"/>
                  </a:lnTo>
                  <a:lnTo>
                    <a:pt x="938676" y="85169"/>
                  </a:lnTo>
                  <a:lnTo>
                    <a:pt x="977331" y="109763"/>
                  </a:lnTo>
                  <a:lnTo>
                    <a:pt x="1013990" y="137046"/>
                  </a:lnTo>
                  <a:lnTo>
                    <a:pt x="1048512" y="166882"/>
                  </a:lnTo>
                  <a:lnTo>
                    <a:pt x="1080761" y="199130"/>
                  </a:lnTo>
                  <a:lnTo>
                    <a:pt x="1110596" y="233653"/>
                  </a:lnTo>
                  <a:lnTo>
                    <a:pt x="1137880" y="270311"/>
                  </a:lnTo>
                  <a:lnTo>
                    <a:pt x="1162473" y="308967"/>
                  </a:lnTo>
                  <a:lnTo>
                    <a:pt x="1184237" y="349480"/>
                  </a:lnTo>
                  <a:lnTo>
                    <a:pt x="1203033" y="391714"/>
                  </a:lnTo>
                  <a:lnTo>
                    <a:pt x="1218723" y="435528"/>
                  </a:lnTo>
                  <a:lnTo>
                    <a:pt x="1231167" y="480785"/>
                  </a:lnTo>
                  <a:lnTo>
                    <a:pt x="1240228" y="527345"/>
                  </a:lnTo>
                  <a:lnTo>
                    <a:pt x="1245766" y="575070"/>
                  </a:lnTo>
                  <a:lnTo>
                    <a:pt x="1247643" y="623822"/>
                  </a:lnTo>
                  <a:lnTo>
                    <a:pt x="1245766" y="672573"/>
                  </a:lnTo>
                  <a:lnTo>
                    <a:pt x="1240228" y="720298"/>
                  </a:lnTo>
                  <a:lnTo>
                    <a:pt x="1231167" y="766858"/>
                  </a:lnTo>
                  <a:lnTo>
                    <a:pt x="1218723" y="812115"/>
                  </a:lnTo>
                  <a:lnTo>
                    <a:pt x="1203033" y="855929"/>
                  </a:lnTo>
                  <a:lnTo>
                    <a:pt x="1184237" y="898162"/>
                  </a:lnTo>
                  <a:lnTo>
                    <a:pt x="1162473" y="938676"/>
                  </a:lnTo>
                  <a:lnTo>
                    <a:pt x="1137880" y="977331"/>
                  </a:lnTo>
                  <a:lnTo>
                    <a:pt x="1110596" y="1013990"/>
                  </a:lnTo>
                  <a:lnTo>
                    <a:pt x="1080761" y="1048512"/>
                  </a:lnTo>
                  <a:lnTo>
                    <a:pt x="1048512" y="1080761"/>
                  </a:lnTo>
                  <a:lnTo>
                    <a:pt x="1013990" y="1110596"/>
                  </a:lnTo>
                  <a:lnTo>
                    <a:pt x="977331" y="1137880"/>
                  </a:lnTo>
                  <a:lnTo>
                    <a:pt x="938676" y="1162473"/>
                  </a:lnTo>
                  <a:lnTo>
                    <a:pt x="898162" y="1184237"/>
                  </a:lnTo>
                  <a:lnTo>
                    <a:pt x="855929" y="1203033"/>
                  </a:lnTo>
                  <a:lnTo>
                    <a:pt x="812114" y="1218723"/>
                  </a:lnTo>
                  <a:lnTo>
                    <a:pt x="766858" y="1231167"/>
                  </a:lnTo>
                  <a:lnTo>
                    <a:pt x="720297" y="1240228"/>
                  </a:lnTo>
                  <a:lnTo>
                    <a:pt x="672572" y="1245766"/>
                  </a:lnTo>
                  <a:lnTo>
                    <a:pt x="623826" y="1247643"/>
                  </a:lnTo>
                  <a:close/>
                </a:path>
              </a:pathLst>
            </a:custGeom>
            <a:solidFill>
              <a:srgbClr val="21408B"/>
            </a:solidFill>
          </p:spPr>
          <p:txBody>
            <a:bodyPr wrap="square" lIns="0" tIns="0" rIns="0" bIns="0" rtlCol="0"/>
            <a:lstStyle/>
            <a:p>
              <a:endParaRPr/>
            </a:p>
          </p:txBody>
        </p:sp>
        <p:sp>
          <p:nvSpPr>
            <p:cNvPr id="22" name="object 22"/>
            <p:cNvSpPr/>
            <p:nvPr/>
          </p:nvSpPr>
          <p:spPr>
            <a:xfrm>
              <a:off x="3754215" y="6745911"/>
              <a:ext cx="706120" cy="702945"/>
            </a:xfrm>
            <a:custGeom>
              <a:avLst/>
              <a:gdLst/>
              <a:ahLst/>
              <a:cxnLst/>
              <a:rect l="l" t="t" r="r" b="b"/>
              <a:pathLst>
                <a:path w="706120" h="702945">
                  <a:moveTo>
                    <a:pt x="208798" y="501360"/>
                  </a:moveTo>
                  <a:lnTo>
                    <a:pt x="139663" y="354402"/>
                  </a:lnTo>
                  <a:lnTo>
                    <a:pt x="190192" y="320225"/>
                  </a:lnTo>
                  <a:lnTo>
                    <a:pt x="214756" y="303043"/>
                  </a:lnTo>
                  <a:lnTo>
                    <a:pt x="269598" y="256201"/>
                  </a:lnTo>
                  <a:lnTo>
                    <a:pt x="296035" y="223968"/>
                  </a:lnTo>
                  <a:lnTo>
                    <a:pt x="316555" y="187730"/>
                  </a:lnTo>
                  <a:lnTo>
                    <a:pt x="330024" y="146987"/>
                  </a:lnTo>
                  <a:lnTo>
                    <a:pt x="333385" y="114695"/>
                  </a:lnTo>
                  <a:lnTo>
                    <a:pt x="333321" y="95919"/>
                  </a:lnTo>
                  <a:lnTo>
                    <a:pt x="330649" y="87478"/>
                  </a:lnTo>
                  <a:lnTo>
                    <a:pt x="340313" y="84380"/>
                  </a:lnTo>
                  <a:lnTo>
                    <a:pt x="347106" y="83947"/>
                  </a:lnTo>
                  <a:lnTo>
                    <a:pt x="351611" y="86968"/>
                  </a:lnTo>
                  <a:lnTo>
                    <a:pt x="354702" y="92011"/>
                  </a:lnTo>
                  <a:lnTo>
                    <a:pt x="357253" y="97644"/>
                  </a:lnTo>
                  <a:lnTo>
                    <a:pt x="445365" y="284926"/>
                  </a:lnTo>
                  <a:lnTo>
                    <a:pt x="528205" y="460882"/>
                  </a:lnTo>
                  <a:lnTo>
                    <a:pt x="384506" y="460882"/>
                  </a:lnTo>
                  <a:lnTo>
                    <a:pt x="338777" y="463657"/>
                  </a:lnTo>
                  <a:lnTo>
                    <a:pt x="293707" y="472245"/>
                  </a:lnTo>
                  <a:lnTo>
                    <a:pt x="249197" y="485623"/>
                  </a:lnTo>
                  <a:lnTo>
                    <a:pt x="239357" y="489228"/>
                  </a:lnTo>
                  <a:lnTo>
                    <a:pt x="229459" y="493101"/>
                  </a:lnTo>
                  <a:lnTo>
                    <a:pt x="208798" y="501360"/>
                  </a:lnTo>
                  <a:close/>
                </a:path>
                <a:path w="706120" h="702945">
                  <a:moveTo>
                    <a:pt x="489706" y="320739"/>
                  </a:moveTo>
                  <a:lnTo>
                    <a:pt x="459075" y="255782"/>
                  </a:lnTo>
                  <a:lnTo>
                    <a:pt x="475740" y="253043"/>
                  </a:lnTo>
                  <a:lnTo>
                    <a:pt x="489140" y="254818"/>
                  </a:lnTo>
                  <a:lnTo>
                    <a:pt x="499560" y="261045"/>
                  </a:lnTo>
                  <a:lnTo>
                    <a:pt x="507281" y="271661"/>
                  </a:lnTo>
                  <a:lnTo>
                    <a:pt x="511444" y="284711"/>
                  </a:lnTo>
                  <a:lnTo>
                    <a:pt x="510080" y="297049"/>
                  </a:lnTo>
                  <a:lnTo>
                    <a:pt x="502923" y="308963"/>
                  </a:lnTo>
                  <a:lnTo>
                    <a:pt x="489706" y="320739"/>
                  </a:lnTo>
                  <a:close/>
                </a:path>
                <a:path w="706120" h="702945">
                  <a:moveTo>
                    <a:pt x="81698" y="551907"/>
                  </a:moveTo>
                  <a:lnTo>
                    <a:pt x="40233" y="540589"/>
                  </a:lnTo>
                  <a:lnTo>
                    <a:pt x="10653" y="509403"/>
                  </a:lnTo>
                  <a:lnTo>
                    <a:pt x="6802" y="500555"/>
                  </a:lnTo>
                  <a:lnTo>
                    <a:pt x="4875" y="496122"/>
                  </a:lnTo>
                  <a:lnTo>
                    <a:pt x="0" y="464941"/>
                  </a:lnTo>
                  <a:lnTo>
                    <a:pt x="68" y="462917"/>
                  </a:lnTo>
                  <a:lnTo>
                    <a:pt x="11382" y="426337"/>
                  </a:lnTo>
                  <a:lnTo>
                    <a:pt x="38191" y="399074"/>
                  </a:lnTo>
                  <a:lnTo>
                    <a:pt x="74911" y="379938"/>
                  </a:lnTo>
                  <a:lnTo>
                    <a:pt x="113570" y="361754"/>
                  </a:lnTo>
                  <a:lnTo>
                    <a:pt x="185434" y="514331"/>
                  </a:lnTo>
                  <a:lnTo>
                    <a:pt x="143625" y="533042"/>
                  </a:lnTo>
                  <a:lnTo>
                    <a:pt x="100808" y="549311"/>
                  </a:lnTo>
                  <a:lnTo>
                    <a:pt x="91357" y="551260"/>
                  </a:lnTo>
                  <a:lnTo>
                    <a:pt x="81698" y="551907"/>
                  </a:lnTo>
                  <a:close/>
                </a:path>
                <a:path w="706120" h="702945">
                  <a:moveTo>
                    <a:pt x="530949" y="514880"/>
                  </a:moveTo>
                  <a:lnTo>
                    <a:pt x="494925" y="487011"/>
                  </a:lnTo>
                  <a:lnTo>
                    <a:pt x="457549" y="470740"/>
                  </a:lnTo>
                  <a:lnTo>
                    <a:pt x="384506" y="460882"/>
                  </a:lnTo>
                  <a:lnTo>
                    <a:pt x="528205" y="460882"/>
                  </a:lnTo>
                  <a:lnTo>
                    <a:pt x="543038" y="492369"/>
                  </a:lnTo>
                  <a:lnTo>
                    <a:pt x="544061" y="494463"/>
                  </a:lnTo>
                  <a:lnTo>
                    <a:pt x="544677" y="495780"/>
                  </a:lnTo>
                  <a:lnTo>
                    <a:pt x="549339" y="507566"/>
                  </a:lnTo>
                  <a:lnTo>
                    <a:pt x="548533" y="510162"/>
                  </a:lnTo>
                  <a:lnTo>
                    <a:pt x="548202" y="511024"/>
                  </a:lnTo>
                  <a:lnTo>
                    <a:pt x="547330" y="513095"/>
                  </a:lnTo>
                  <a:lnTo>
                    <a:pt x="546152" y="514369"/>
                  </a:lnTo>
                  <a:lnTo>
                    <a:pt x="538320" y="514369"/>
                  </a:lnTo>
                  <a:lnTo>
                    <a:pt x="530949" y="514880"/>
                  </a:lnTo>
                  <a:close/>
                </a:path>
                <a:path w="706120" h="702945">
                  <a:moveTo>
                    <a:pt x="238605" y="563371"/>
                  </a:moveTo>
                  <a:lnTo>
                    <a:pt x="234928" y="556427"/>
                  </a:lnTo>
                  <a:lnTo>
                    <a:pt x="224970" y="537990"/>
                  </a:lnTo>
                  <a:lnTo>
                    <a:pt x="220518" y="529519"/>
                  </a:lnTo>
                  <a:lnTo>
                    <a:pt x="271917" y="506714"/>
                  </a:lnTo>
                  <a:lnTo>
                    <a:pt x="280182" y="525831"/>
                  </a:lnTo>
                  <a:lnTo>
                    <a:pt x="279655" y="540336"/>
                  </a:lnTo>
                  <a:lnTo>
                    <a:pt x="266931" y="552195"/>
                  </a:lnTo>
                  <a:lnTo>
                    <a:pt x="238605" y="563371"/>
                  </a:lnTo>
                  <a:close/>
                </a:path>
                <a:path w="706120" h="702945">
                  <a:moveTo>
                    <a:pt x="543900" y="515676"/>
                  </a:moveTo>
                  <a:lnTo>
                    <a:pt x="538320" y="514369"/>
                  </a:lnTo>
                  <a:lnTo>
                    <a:pt x="546152" y="514369"/>
                  </a:lnTo>
                  <a:lnTo>
                    <a:pt x="545896" y="514646"/>
                  </a:lnTo>
                  <a:lnTo>
                    <a:pt x="543900" y="515676"/>
                  </a:lnTo>
                  <a:close/>
                </a:path>
                <a:path w="706120" h="702945">
                  <a:moveTo>
                    <a:pt x="247838" y="702922"/>
                  </a:moveTo>
                  <a:lnTo>
                    <a:pt x="241255" y="701599"/>
                  </a:lnTo>
                  <a:lnTo>
                    <a:pt x="235600" y="697540"/>
                  </a:lnTo>
                  <a:lnTo>
                    <a:pt x="230674" y="691248"/>
                  </a:lnTo>
                  <a:lnTo>
                    <a:pt x="209977" y="658954"/>
                  </a:lnTo>
                  <a:lnTo>
                    <a:pt x="146892" y="561163"/>
                  </a:lnTo>
                  <a:lnTo>
                    <a:pt x="195761" y="538046"/>
                  </a:lnTo>
                  <a:lnTo>
                    <a:pt x="197713" y="541523"/>
                  </a:lnTo>
                  <a:lnTo>
                    <a:pt x="199627" y="544422"/>
                  </a:lnTo>
                  <a:lnTo>
                    <a:pt x="260538" y="673862"/>
                  </a:lnTo>
                  <a:lnTo>
                    <a:pt x="263707" y="683040"/>
                  </a:lnTo>
                  <a:lnTo>
                    <a:pt x="263953" y="690756"/>
                  </a:lnTo>
                  <a:lnTo>
                    <a:pt x="261244" y="696812"/>
                  </a:lnTo>
                  <a:lnTo>
                    <a:pt x="255545" y="701006"/>
                  </a:lnTo>
                  <a:lnTo>
                    <a:pt x="247838" y="702922"/>
                  </a:lnTo>
                  <a:close/>
                </a:path>
                <a:path w="706120" h="702945">
                  <a:moveTo>
                    <a:pt x="466163" y="72080"/>
                  </a:moveTo>
                  <a:lnTo>
                    <a:pt x="450791" y="57476"/>
                  </a:lnTo>
                  <a:lnTo>
                    <a:pt x="451265" y="52170"/>
                  </a:lnTo>
                  <a:lnTo>
                    <a:pt x="454878" y="47145"/>
                  </a:lnTo>
                  <a:lnTo>
                    <a:pt x="461534" y="37203"/>
                  </a:lnTo>
                  <a:lnTo>
                    <a:pt x="468237" y="27320"/>
                  </a:lnTo>
                  <a:lnTo>
                    <a:pt x="474988" y="17496"/>
                  </a:lnTo>
                  <a:lnTo>
                    <a:pt x="481786" y="7731"/>
                  </a:lnTo>
                  <a:lnTo>
                    <a:pt x="485192" y="2558"/>
                  </a:lnTo>
                  <a:lnTo>
                    <a:pt x="489993" y="0"/>
                  </a:lnTo>
                  <a:lnTo>
                    <a:pt x="496187" y="57"/>
                  </a:lnTo>
                  <a:lnTo>
                    <a:pt x="502589" y="322"/>
                  </a:lnTo>
                  <a:lnTo>
                    <a:pt x="507390" y="3230"/>
                  </a:lnTo>
                  <a:lnTo>
                    <a:pt x="510588" y="8783"/>
                  </a:lnTo>
                  <a:lnTo>
                    <a:pt x="511630" y="10289"/>
                  </a:lnTo>
                  <a:lnTo>
                    <a:pt x="511251" y="12184"/>
                  </a:lnTo>
                  <a:lnTo>
                    <a:pt x="510872" y="14269"/>
                  </a:lnTo>
                  <a:lnTo>
                    <a:pt x="510778" y="15311"/>
                  </a:lnTo>
                  <a:lnTo>
                    <a:pt x="510603" y="18579"/>
                  </a:lnTo>
                  <a:lnTo>
                    <a:pt x="509719" y="21642"/>
                  </a:lnTo>
                  <a:lnTo>
                    <a:pt x="487393" y="55225"/>
                  </a:lnTo>
                  <a:lnTo>
                    <a:pt x="470271" y="71938"/>
                  </a:lnTo>
                  <a:lnTo>
                    <a:pt x="466163" y="72080"/>
                  </a:lnTo>
                  <a:close/>
                </a:path>
                <a:path w="706120" h="702945">
                  <a:moveTo>
                    <a:pt x="586065" y="238861"/>
                  </a:moveTo>
                  <a:lnTo>
                    <a:pt x="576290" y="217228"/>
                  </a:lnTo>
                  <a:lnTo>
                    <a:pt x="578911" y="212586"/>
                  </a:lnTo>
                  <a:lnTo>
                    <a:pt x="584205" y="209452"/>
                  </a:lnTo>
                  <a:lnTo>
                    <a:pt x="594384" y="203149"/>
                  </a:lnTo>
                  <a:lnTo>
                    <a:pt x="614849" y="190719"/>
                  </a:lnTo>
                  <a:lnTo>
                    <a:pt x="625134" y="184629"/>
                  </a:lnTo>
                  <a:lnTo>
                    <a:pt x="630311" y="181306"/>
                  </a:lnTo>
                  <a:lnTo>
                    <a:pt x="650905" y="197419"/>
                  </a:lnTo>
                  <a:lnTo>
                    <a:pt x="651189" y="199314"/>
                  </a:lnTo>
                  <a:lnTo>
                    <a:pt x="649958" y="200830"/>
                  </a:lnTo>
                  <a:lnTo>
                    <a:pt x="649484" y="201683"/>
                  </a:lnTo>
                  <a:lnTo>
                    <a:pt x="648915" y="202536"/>
                  </a:lnTo>
                  <a:lnTo>
                    <a:pt x="648347" y="203483"/>
                  </a:lnTo>
                  <a:lnTo>
                    <a:pt x="646852" y="206386"/>
                  </a:lnTo>
                  <a:lnTo>
                    <a:pt x="644800" y="208818"/>
                  </a:lnTo>
                  <a:lnTo>
                    <a:pt x="610572" y="230177"/>
                  </a:lnTo>
                  <a:lnTo>
                    <a:pt x="600206" y="236271"/>
                  </a:lnTo>
                  <a:lnTo>
                    <a:pt x="597771" y="237865"/>
                  </a:lnTo>
                  <a:lnTo>
                    <a:pt x="595086" y="238686"/>
                  </a:lnTo>
                  <a:lnTo>
                    <a:pt x="586065" y="238861"/>
                  </a:lnTo>
                  <a:close/>
                </a:path>
                <a:path w="706120" h="702945">
                  <a:moveTo>
                    <a:pt x="687770" y="469546"/>
                  </a:moveTo>
                  <a:lnTo>
                    <a:pt x="684539" y="469053"/>
                  </a:lnTo>
                  <a:lnTo>
                    <a:pt x="672409" y="466021"/>
                  </a:lnTo>
                  <a:lnTo>
                    <a:pt x="660486" y="462894"/>
                  </a:lnTo>
                  <a:lnTo>
                    <a:pt x="637072" y="456451"/>
                  </a:lnTo>
                  <a:lnTo>
                    <a:pt x="634268" y="455761"/>
                  </a:lnTo>
                  <a:lnTo>
                    <a:pt x="631836" y="454403"/>
                  </a:lnTo>
                  <a:lnTo>
                    <a:pt x="625443" y="448067"/>
                  </a:lnTo>
                  <a:lnTo>
                    <a:pt x="624148" y="442982"/>
                  </a:lnTo>
                  <a:lnTo>
                    <a:pt x="625892" y="437124"/>
                  </a:lnTo>
                  <a:lnTo>
                    <a:pt x="639475" y="424698"/>
                  </a:lnTo>
                  <a:lnTo>
                    <a:pt x="645410" y="426323"/>
                  </a:lnTo>
                  <a:lnTo>
                    <a:pt x="680157" y="435436"/>
                  </a:lnTo>
                  <a:lnTo>
                    <a:pt x="691645" y="438639"/>
                  </a:lnTo>
                  <a:lnTo>
                    <a:pt x="697599" y="440108"/>
                  </a:lnTo>
                  <a:lnTo>
                    <a:pt x="701578" y="443740"/>
                  </a:lnTo>
                  <a:lnTo>
                    <a:pt x="703583" y="449535"/>
                  </a:lnTo>
                  <a:lnTo>
                    <a:pt x="705514" y="455641"/>
                  </a:lnTo>
                  <a:lnTo>
                    <a:pt x="704409" y="461136"/>
                  </a:lnTo>
                  <a:lnTo>
                    <a:pt x="700250" y="466044"/>
                  </a:lnTo>
                  <a:lnTo>
                    <a:pt x="699130" y="467631"/>
                  </a:lnTo>
                  <a:lnTo>
                    <a:pt x="697140" y="467821"/>
                  </a:lnTo>
                  <a:lnTo>
                    <a:pt x="695151" y="468200"/>
                  </a:lnTo>
                  <a:lnTo>
                    <a:pt x="690959" y="469357"/>
                  </a:lnTo>
                  <a:lnTo>
                    <a:pt x="687770" y="469546"/>
                  </a:lnTo>
                  <a:close/>
                </a:path>
              </a:pathLst>
            </a:custGeom>
            <a:solidFill>
              <a:srgbClr val="FFFFFF"/>
            </a:solidFill>
          </p:spPr>
          <p:txBody>
            <a:bodyPr wrap="square" lIns="0" tIns="0" rIns="0" bIns="0" rtlCol="0"/>
            <a:lstStyle/>
            <a:p>
              <a:endParaRPr/>
            </a:p>
          </p:txBody>
        </p:sp>
        <p:sp>
          <p:nvSpPr>
            <p:cNvPr id="23" name="object 23"/>
            <p:cNvSpPr/>
            <p:nvPr/>
          </p:nvSpPr>
          <p:spPr>
            <a:xfrm>
              <a:off x="5228632" y="6509888"/>
              <a:ext cx="1247775" cy="1247775"/>
            </a:xfrm>
            <a:custGeom>
              <a:avLst/>
              <a:gdLst/>
              <a:ahLst/>
              <a:cxnLst/>
              <a:rect l="l" t="t" r="r" b="b"/>
              <a:pathLst>
                <a:path w="1247775" h="1247775">
                  <a:moveTo>
                    <a:pt x="623826" y="1247643"/>
                  </a:moveTo>
                  <a:lnTo>
                    <a:pt x="575070" y="1245766"/>
                  </a:lnTo>
                  <a:lnTo>
                    <a:pt x="527345" y="1240228"/>
                  </a:lnTo>
                  <a:lnTo>
                    <a:pt x="480784" y="1231167"/>
                  </a:lnTo>
                  <a:lnTo>
                    <a:pt x="435528" y="1218723"/>
                  </a:lnTo>
                  <a:lnTo>
                    <a:pt x="391713" y="1203033"/>
                  </a:lnTo>
                  <a:lnTo>
                    <a:pt x="349480" y="1184237"/>
                  </a:lnTo>
                  <a:lnTo>
                    <a:pt x="308966" y="1162473"/>
                  </a:lnTo>
                  <a:lnTo>
                    <a:pt x="270311" y="1137880"/>
                  </a:lnTo>
                  <a:lnTo>
                    <a:pt x="233652" y="1110596"/>
                  </a:lnTo>
                  <a:lnTo>
                    <a:pt x="199130" y="1080761"/>
                  </a:lnTo>
                  <a:lnTo>
                    <a:pt x="166881" y="1048512"/>
                  </a:lnTo>
                  <a:lnTo>
                    <a:pt x="137046" y="1013990"/>
                  </a:lnTo>
                  <a:lnTo>
                    <a:pt x="109762" y="977331"/>
                  </a:lnTo>
                  <a:lnTo>
                    <a:pt x="85169" y="938676"/>
                  </a:lnTo>
                  <a:lnTo>
                    <a:pt x="63405" y="898162"/>
                  </a:lnTo>
                  <a:lnTo>
                    <a:pt x="44609" y="855929"/>
                  </a:lnTo>
                  <a:lnTo>
                    <a:pt x="28919" y="812115"/>
                  </a:lnTo>
                  <a:lnTo>
                    <a:pt x="16475" y="766858"/>
                  </a:lnTo>
                  <a:lnTo>
                    <a:pt x="7414" y="720298"/>
                  </a:lnTo>
                  <a:lnTo>
                    <a:pt x="1876" y="672573"/>
                  </a:lnTo>
                  <a:lnTo>
                    <a:pt x="0" y="623820"/>
                  </a:lnTo>
                  <a:lnTo>
                    <a:pt x="1876" y="575070"/>
                  </a:lnTo>
                  <a:lnTo>
                    <a:pt x="7414" y="527345"/>
                  </a:lnTo>
                  <a:lnTo>
                    <a:pt x="16475" y="480785"/>
                  </a:lnTo>
                  <a:lnTo>
                    <a:pt x="28919" y="435528"/>
                  </a:lnTo>
                  <a:lnTo>
                    <a:pt x="44609" y="391714"/>
                  </a:lnTo>
                  <a:lnTo>
                    <a:pt x="63405" y="349480"/>
                  </a:lnTo>
                  <a:lnTo>
                    <a:pt x="85169" y="308967"/>
                  </a:lnTo>
                  <a:lnTo>
                    <a:pt x="109762" y="270311"/>
                  </a:lnTo>
                  <a:lnTo>
                    <a:pt x="137046" y="233653"/>
                  </a:lnTo>
                  <a:lnTo>
                    <a:pt x="166881" y="199130"/>
                  </a:lnTo>
                  <a:lnTo>
                    <a:pt x="199130" y="166882"/>
                  </a:lnTo>
                  <a:lnTo>
                    <a:pt x="233652" y="137046"/>
                  </a:lnTo>
                  <a:lnTo>
                    <a:pt x="270311" y="109763"/>
                  </a:lnTo>
                  <a:lnTo>
                    <a:pt x="308966" y="85169"/>
                  </a:lnTo>
                  <a:lnTo>
                    <a:pt x="349480" y="63405"/>
                  </a:lnTo>
                  <a:lnTo>
                    <a:pt x="391713" y="44609"/>
                  </a:lnTo>
                  <a:lnTo>
                    <a:pt x="435528" y="28920"/>
                  </a:lnTo>
                  <a:lnTo>
                    <a:pt x="480784" y="16475"/>
                  </a:lnTo>
                  <a:lnTo>
                    <a:pt x="527345" y="7414"/>
                  </a:lnTo>
                  <a:lnTo>
                    <a:pt x="575070" y="1876"/>
                  </a:lnTo>
                  <a:lnTo>
                    <a:pt x="623821" y="0"/>
                  </a:lnTo>
                  <a:lnTo>
                    <a:pt x="672572" y="1876"/>
                  </a:lnTo>
                  <a:lnTo>
                    <a:pt x="720297" y="7414"/>
                  </a:lnTo>
                  <a:lnTo>
                    <a:pt x="766858" y="16475"/>
                  </a:lnTo>
                  <a:lnTo>
                    <a:pt x="812114" y="28920"/>
                  </a:lnTo>
                  <a:lnTo>
                    <a:pt x="855929" y="44609"/>
                  </a:lnTo>
                  <a:lnTo>
                    <a:pt x="898162" y="63405"/>
                  </a:lnTo>
                  <a:lnTo>
                    <a:pt x="938676" y="85169"/>
                  </a:lnTo>
                  <a:lnTo>
                    <a:pt x="977331" y="109763"/>
                  </a:lnTo>
                  <a:lnTo>
                    <a:pt x="1013990" y="137046"/>
                  </a:lnTo>
                  <a:lnTo>
                    <a:pt x="1048512" y="166882"/>
                  </a:lnTo>
                  <a:lnTo>
                    <a:pt x="1080761" y="199130"/>
                  </a:lnTo>
                  <a:lnTo>
                    <a:pt x="1110596" y="233653"/>
                  </a:lnTo>
                  <a:lnTo>
                    <a:pt x="1137880" y="270311"/>
                  </a:lnTo>
                  <a:lnTo>
                    <a:pt x="1162473" y="308967"/>
                  </a:lnTo>
                  <a:lnTo>
                    <a:pt x="1184237" y="349480"/>
                  </a:lnTo>
                  <a:lnTo>
                    <a:pt x="1203033" y="391714"/>
                  </a:lnTo>
                  <a:lnTo>
                    <a:pt x="1218723" y="435528"/>
                  </a:lnTo>
                  <a:lnTo>
                    <a:pt x="1231167" y="480785"/>
                  </a:lnTo>
                  <a:lnTo>
                    <a:pt x="1240228" y="527345"/>
                  </a:lnTo>
                  <a:lnTo>
                    <a:pt x="1245766" y="575070"/>
                  </a:lnTo>
                  <a:lnTo>
                    <a:pt x="1247643" y="623822"/>
                  </a:lnTo>
                  <a:lnTo>
                    <a:pt x="1245766" y="672573"/>
                  </a:lnTo>
                  <a:lnTo>
                    <a:pt x="1240228" y="720298"/>
                  </a:lnTo>
                  <a:lnTo>
                    <a:pt x="1231167" y="766858"/>
                  </a:lnTo>
                  <a:lnTo>
                    <a:pt x="1218723" y="812115"/>
                  </a:lnTo>
                  <a:lnTo>
                    <a:pt x="1203033" y="855929"/>
                  </a:lnTo>
                  <a:lnTo>
                    <a:pt x="1184237" y="898162"/>
                  </a:lnTo>
                  <a:lnTo>
                    <a:pt x="1162473" y="938676"/>
                  </a:lnTo>
                  <a:lnTo>
                    <a:pt x="1137880" y="977331"/>
                  </a:lnTo>
                  <a:lnTo>
                    <a:pt x="1110596" y="1013990"/>
                  </a:lnTo>
                  <a:lnTo>
                    <a:pt x="1080761" y="1048512"/>
                  </a:lnTo>
                  <a:lnTo>
                    <a:pt x="1048512" y="1080761"/>
                  </a:lnTo>
                  <a:lnTo>
                    <a:pt x="1013990" y="1110596"/>
                  </a:lnTo>
                  <a:lnTo>
                    <a:pt x="977331" y="1137880"/>
                  </a:lnTo>
                  <a:lnTo>
                    <a:pt x="938676" y="1162473"/>
                  </a:lnTo>
                  <a:lnTo>
                    <a:pt x="898162" y="1184237"/>
                  </a:lnTo>
                  <a:lnTo>
                    <a:pt x="855929" y="1203033"/>
                  </a:lnTo>
                  <a:lnTo>
                    <a:pt x="812114" y="1218723"/>
                  </a:lnTo>
                  <a:lnTo>
                    <a:pt x="766858" y="1231167"/>
                  </a:lnTo>
                  <a:lnTo>
                    <a:pt x="720297" y="1240228"/>
                  </a:lnTo>
                  <a:lnTo>
                    <a:pt x="672572" y="1245766"/>
                  </a:lnTo>
                  <a:lnTo>
                    <a:pt x="623826" y="1247643"/>
                  </a:lnTo>
                  <a:close/>
                </a:path>
              </a:pathLst>
            </a:custGeom>
            <a:solidFill>
              <a:srgbClr val="F5A316"/>
            </a:solidFill>
          </p:spPr>
          <p:txBody>
            <a:bodyPr wrap="square" lIns="0" tIns="0" rIns="0" bIns="0" rtlCol="0"/>
            <a:lstStyle/>
            <a:p>
              <a:endParaRPr/>
            </a:p>
          </p:txBody>
        </p:sp>
        <p:sp>
          <p:nvSpPr>
            <p:cNvPr id="24" name="object 24"/>
            <p:cNvSpPr/>
            <p:nvPr/>
          </p:nvSpPr>
          <p:spPr>
            <a:xfrm>
              <a:off x="5497830" y="6762152"/>
              <a:ext cx="711835" cy="712470"/>
            </a:xfrm>
            <a:custGeom>
              <a:avLst/>
              <a:gdLst/>
              <a:ahLst/>
              <a:cxnLst/>
              <a:rect l="l" t="t" r="r" b="b"/>
              <a:pathLst>
                <a:path w="711835" h="712470">
                  <a:moveTo>
                    <a:pt x="38138" y="369379"/>
                  </a:moveTo>
                  <a:lnTo>
                    <a:pt x="0" y="369379"/>
                  </a:lnTo>
                  <a:lnTo>
                    <a:pt x="0" y="534619"/>
                  </a:lnTo>
                  <a:lnTo>
                    <a:pt x="38138" y="534619"/>
                  </a:lnTo>
                  <a:lnTo>
                    <a:pt x="38138" y="369379"/>
                  </a:lnTo>
                  <a:close/>
                </a:path>
                <a:path w="711835" h="712470">
                  <a:moveTo>
                    <a:pt x="432181" y="115100"/>
                  </a:moveTo>
                  <a:lnTo>
                    <a:pt x="158242" y="115100"/>
                  </a:lnTo>
                  <a:lnTo>
                    <a:pt x="152590" y="109435"/>
                  </a:lnTo>
                  <a:lnTo>
                    <a:pt x="152590" y="79895"/>
                  </a:lnTo>
                  <a:lnTo>
                    <a:pt x="149656" y="78155"/>
                  </a:lnTo>
                  <a:lnTo>
                    <a:pt x="148361" y="77558"/>
                  </a:lnTo>
                  <a:lnTo>
                    <a:pt x="147726" y="77317"/>
                  </a:lnTo>
                  <a:lnTo>
                    <a:pt x="146723" y="76962"/>
                  </a:lnTo>
                  <a:lnTo>
                    <a:pt x="144297" y="76962"/>
                  </a:lnTo>
                  <a:lnTo>
                    <a:pt x="142760" y="77406"/>
                  </a:lnTo>
                  <a:lnTo>
                    <a:pt x="51142" y="162420"/>
                  </a:lnTo>
                  <a:lnTo>
                    <a:pt x="50850" y="164757"/>
                  </a:lnTo>
                  <a:lnTo>
                    <a:pt x="50850" y="167182"/>
                  </a:lnTo>
                  <a:lnTo>
                    <a:pt x="51142" y="169570"/>
                  </a:lnTo>
                  <a:lnTo>
                    <a:pt x="53136" y="171399"/>
                  </a:lnTo>
                  <a:lnTo>
                    <a:pt x="143992" y="255714"/>
                  </a:lnTo>
                  <a:lnTo>
                    <a:pt x="146875" y="255016"/>
                  </a:lnTo>
                  <a:lnTo>
                    <a:pt x="149656" y="253834"/>
                  </a:lnTo>
                  <a:lnTo>
                    <a:pt x="152590" y="252095"/>
                  </a:lnTo>
                  <a:lnTo>
                    <a:pt x="152590" y="222542"/>
                  </a:lnTo>
                  <a:lnTo>
                    <a:pt x="158242" y="216839"/>
                  </a:lnTo>
                  <a:lnTo>
                    <a:pt x="432181" y="216839"/>
                  </a:lnTo>
                  <a:lnTo>
                    <a:pt x="432181" y="115100"/>
                  </a:lnTo>
                  <a:close/>
                </a:path>
                <a:path w="711835" h="712470">
                  <a:moveTo>
                    <a:pt x="572008" y="546887"/>
                  </a:moveTo>
                  <a:lnTo>
                    <a:pt x="569175" y="541223"/>
                  </a:lnTo>
                  <a:lnTo>
                    <a:pt x="564261" y="537603"/>
                  </a:lnTo>
                  <a:lnTo>
                    <a:pt x="382536" y="411086"/>
                  </a:lnTo>
                  <a:lnTo>
                    <a:pt x="318185" y="470814"/>
                  </a:lnTo>
                  <a:lnTo>
                    <a:pt x="311353" y="476440"/>
                  </a:lnTo>
                  <a:lnTo>
                    <a:pt x="303657" y="480479"/>
                  </a:lnTo>
                  <a:lnTo>
                    <a:pt x="295363" y="482904"/>
                  </a:lnTo>
                  <a:lnTo>
                    <a:pt x="286753" y="483730"/>
                  </a:lnTo>
                  <a:lnTo>
                    <a:pt x="279641" y="483171"/>
                  </a:lnTo>
                  <a:lnTo>
                    <a:pt x="246227" y="458762"/>
                  </a:lnTo>
                  <a:lnTo>
                    <a:pt x="241515" y="438645"/>
                  </a:lnTo>
                  <a:lnTo>
                    <a:pt x="242277" y="430352"/>
                  </a:lnTo>
                  <a:lnTo>
                    <a:pt x="244500" y="422427"/>
                  </a:lnTo>
                  <a:lnTo>
                    <a:pt x="248119" y="415061"/>
                  </a:lnTo>
                  <a:lnTo>
                    <a:pt x="253034" y="408444"/>
                  </a:lnTo>
                  <a:lnTo>
                    <a:pt x="312915" y="345338"/>
                  </a:lnTo>
                  <a:lnTo>
                    <a:pt x="296824" y="344309"/>
                  </a:lnTo>
                  <a:lnTo>
                    <a:pt x="249224" y="348056"/>
                  </a:lnTo>
                  <a:lnTo>
                    <a:pt x="199618" y="371094"/>
                  </a:lnTo>
                  <a:lnTo>
                    <a:pt x="182829" y="383527"/>
                  </a:lnTo>
                  <a:lnTo>
                    <a:pt x="175679" y="388366"/>
                  </a:lnTo>
                  <a:lnTo>
                    <a:pt x="167855" y="391896"/>
                  </a:lnTo>
                  <a:lnTo>
                    <a:pt x="159524" y="394055"/>
                  </a:lnTo>
                  <a:lnTo>
                    <a:pt x="150901" y="394792"/>
                  </a:lnTo>
                  <a:lnTo>
                    <a:pt x="63563" y="394792"/>
                  </a:lnTo>
                  <a:lnTo>
                    <a:pt x="63563" y="511327"/>
                  </a:lnTo>
                  <a:lnTo>
                    <a:pt x="83642" y="516051"/>
                  </a:lnTo>
                  <a:lnTo>
                    <a:pt x="108191" y="523697"/>
                  </a:lnTo>
                  <a:lnTo>
                    <a:pt x="134327" y="534720"/>
                  </a:lnTo>
                  <a:lnTo>
                    <a:pt x="159194" y="549617"/>
                  </a:lnTo>
                  <a:lnTo>
                    <a:pt x="167233" y="536257"/>
                  </a:lnTo>
                  <a:lnTo>
                    <a:pt x="203428" y="514870"/>
                  </a:lnTo>
                  <a:lnTo>
                    <a:pt x="212077" y="515340"/>
                  </a:lnTo>
                  <a:lnTo>
                    <a:pt x="246138" y="541820"/>
                  </a:lnTo>
                  <a:lnTo>
                    <a:pt x="249110" y="540283"/>
                  </a:lnTo>
                  <a:lnTo>
                    <a:pt x="252285" y="538988"/>
                  </a:lnTo>
                  <a:lnTo>
                    <a:pt x="255663" y="538200"/>
                  </a:lnTo>
                  <a:lnTo>
                    <a:pt x="264388" y="536917"/>
                  </a:lnTo>
                  <a:lnTo>
                    <a:pt x="273037" y="537387"/>
                  </a:lnTo>
                  <a:lnTo>
                    <a:pt x="305003" y="559701"/>
                  </a:lnTo>
                  <a:lnTo>
                    <a:pt x="310578" y="580999"/>
                  </a:lnTo>
                  <a:lnTo>
                    <a:pt x="317487" y="580961"/>
                  </a:lnTo>
                  <a:lnTo>
                    <a:pt x="352120" y="602373"/>
                  </a:lnTo>
                  <a:lnTo>
                    <a:pt x="358254" y="622211"/>
                  </a:lnTo>
                  <a:lnTo>
                    <a:pt x="365645" y="621906"/>
                  </a:lnTo>
                  <a:lnTo>
                    <a:pt x="396532" y="651027"/>
                  </a:lnTo>
                  <a:lnTo>
                    <a:pt x="397344" y="665505"/>
                  </a:lnTo>
                  <a:lnTo>
                    <a:pt x="392417" y="679653"/>
                  </a:lnTo>
                  <a:lnTo>
                    <a:pt x="437197" y="712381"/>
                  </a:lnTo>
                  <a:lnTo>
                    <a:pt x="445249" y="711034"/>
                  </a:lnTo>
                  <a:lnTo>
                    <a:pt x="453339" y="699871"/>
                  </a:lnTo>
                  <a:lnTo>
                    <a:pt x="452196" y="691921"/>
                  </a:lnTo>
                  <a:lnTo>
                    <a:pt x="445643" y="687006"/>
                  </a:lnTo>
                  <a:lnTo>
                    <a:pt x="419074" y="667943"/>
                  </a:lnTo>
                  <a:lnTo>
                    <a:pt x="417791" y="659993"/>
                  </a:lnTo>
                  <a:lnTo>
                    <a:pt x="425983" y="648576"/>
                  </a:lnTo>
                  <a:lnTo>
                    <a:pt x="433920" y="647331"/>
                  </a:lnTo>
                  <a:lnTo>
                    <a:pt x="466547" y="670864"/>
                  </a:lnTo>
                  <a:lnTo>
                    <a:pt x="473417" y="674103"/>
                  </a:lnTo>
                  <a:lnTo>
                    <a:pt x="497535" y="657606"/>
                  </a:lnTo>
                  <a:lnTo>
                    <a:pt x="495985" y="647687"/>
                  </a:lnTo>
                  <a:lnTo>
                    <a:pt x="493356" y="643305"/>
                  </a:lnTo>
                  <a:lnTo>
                    <a:pt x="440080" y="604278"/>
                  </a:lnTo>
                  <a:lnTo>
                    <a:pt x="438886" y="596341"/>
                  </a:lnTo>
                  <a:lnTo>
                    <a:pt x="447179" y="585012"/>
                  </a:lnTo>
                  <a:lnTo>
                    <a:pt x="455129" y="583780"/>
                  </a:lnTo>
                  <a:lnTo>
                    <a:pt x="518528" y="630199"/>
                  </a:lnTo>
                  <a:lnTo>
                    <a:pt x="523595" y="631393"/>
                  </a:lnTo>
                  <a:lnTo>
                    <a:pt x="533628" y="629805"/>
                  </a:lnTo>
                  <a:lnTo>
                    <a:pt x="538048" y="627176"/>
                  </a:lnTo>
                  <a:lnTo>
                    <a:pt x="543509" y="619721"/>
                  </a:lnTo>
                  <a:lnTo>
                    <a:pt x="544804" y="615810"/>
                  </a:lnTo>
                  <a:lnTo>
                    <a:pt x="544804" y="605726"/>
                  </a:lnTo>
                  <a:lnTo>
                    <a:pt x="541870" y="599960"/>
                  </a:lnTo>
                  <a:lnTo>
                    <a:pt x="482587" y="556615"/>
                  </a:lnTo>
                  <a:lnTo>
                    <a:pt x="481342" y="548678"/>
                  </a:lnTo>
                  <a:lnTo>
                    <a:pt x="489635" y="537349"/>
                  </a:lnTo>
                  <a:lnTo>
                    <a:pt x="497586" y="536105"/>
                  </a:lnTo>
                  <a:lnTo>
                    <a:pt x="547776" y="572808"/>
                  </a:lnTo>
                  <a:lnTo>
                    <a:pt x="557060" y="573405"/>
                  </a:lnTo>
                  <a:lnTo>
                    <a:pt x="568833" y="565353"/>
                  </a:lnTo>
                  <a:lnTo>
                    <a:pt x="572008" y="559498"/>
                  </a:lnTo>
                  <a:lnTo>
                    <a:pt x="572008" y="546887"/>
                  </a:lnTo>
                  <a:close/>
                </a:path>
                <a:path w="711835" h="712470">
                  <a:moveTo>
                    <a:pt x="648284" y="382079"/>
                  </a:moveTo>
                  <a:lnTo>
                    <a:pt x="495046" y="382079"/>
                  </a:lnTo>
                  <a:lnTo>
                    <a:pt x="489089" y="380695"/>
                  </a:lnTo>
                  <a:lnTo>
                    <a:pt x="483920" y="377964"/>
                  </a:lnTo>
                  <a:lnTo>
                    <a:pt x="400405" y="336003"/>
                  </a:lnTo>
                  <a:lnTo>
                    <a:pt x="387096" y="331863"/>
                  </a:lnTo>
                  <a:lnTo>
                    <a:pt x="373024" y="332155"/>
                  </a:lnTo>
                  <a:lnTo>
                    <a:pt x="359613" y="336638"/>
                  </a:lnTo>
                  <a:lnTo>
                    <a:pt x="348221" y="345097"/>
                  </a:lnTo>
                  <a:lnTo>
                    <a:pt x="271703" y="425678"/>
                  </a:lnTo>
                  <a:lnTo>
                    <a:pt x="267830" y="430047"/>
                  </a:lnTo>
                  <a:lnTo>
                    <a:pt x="266941" y="435165"/>
                  </a:lnTo>
                  <a:lnTo>
                    <a:pt x="266941" y="444842"/>
                  </a:lnTo>
                  <a:lnTo>
                    <a:pt x="269824" y="450659"/>
                  </a:lnTo>
                  <a:lnTo>
                    <a:pt x="274878" y="454482"/>
                  </a:lnTo>
                  <a:lnTo>
                    <a:pt x="281203" y="457581"/>
                  </a:lnTo>
                  <a:lnTo>
                    <a:pt x="288048" y="458266"/>
                  </a:lnTo>
                  <a:lnTo>
                    <a:pt x="294716" y="456590"/>
                  </a:lnTo>
                  <a:lnTo>
                    <a:pt x="300507" y="452589"/>
                  </a:lnTo>
                  <a:lnTo>
                    <a:pt x="365201" y="392468"/>
                  </a:lnTo>
                  <a:lnTo>
                    <a:pt x="372465" y="387718"/>
                  </a:lnTo>
                  <a:lnTo>
                    <a:pt x="380707" y="385724"/>
                  </a:lnTo>
                  <a:lnTo>
                    <a:pt x="389128" y="386537"/>
                  </a:lnTo>
                  <a:lnTo>
                    <a:pt x="396976" y="390232"/>
                  </a:lnTo>
                  <a:lnTo>
                    <a:pt x="579005" y="516940"/>
                  </a:lnTo>
                  <a:lnTo>
                    <a:pt x="580059" y="517690"/>
                  </a:lnTo>
                  <a:lnTo>
                    <a:pt x="580796" y="518629"/>
                  </a:lnTo>
                  <a:lnTo>
                    <a:pt x="581748" y="519480"/>
                  </a:lnTo>
                  <a:lnTo>
                    <a:pt x="594995" y="516813"/>
                  </a:lnTo>
                  <a:lnTo>
                    <a:pt x="610895" y="514096"/>
                  </a:lnTo>
                  <a:lnTo>
                    <a:pt x="628853" y="511670"/>
                  </a:lnTo>
                  <a:lnTo>
                    <a:pt x="648284" y="509841"/>
                  </a:lnTo>
                  <a:lnTo>
                    <a:pt x="648284" y="385724"/>
                  </a:lnTo>
                  <a:lnTo>
                    <a:pt x="648284" y="382079"/>
                  </a:lnTo>
                  <a:close/>
                </a:path>
                <a:path w="711835" h="712470">
                  <a:moveTo>
                    <a:pt x="661035" y="88480"/>
                  </a:moveTo>
                  <a:lnTo>
                    <a:pt x="660692" y="86144"/>
                  </a:lnTo>
                  <a:lnTo>
                    <a:pt x="570623" y="2527"/>
                  </a:lnTo>
                  <a:lnTo>
                    <a:pt x="567842" y="0"/>
                  </a:lnTo>
                  <a:lnTo>
                    <a:pt x="564959" y="698"/>
                  </a:lnTo>
                  <a:lnTo>
                    <a:pt x="562229" y="1892"/>
                  </a:lnTo>
                  <a:lnTo>
                    <a:pt x="559295" y="3632"/>
                  </a:lnTo>
                  <a:lnTo>
                    <a:pt x="559295" y="33172"/>
                  </a:lnTo>
                  <a:lnTo>
                    <a:pt x="553593" y="38874"/>
                  </a:lnTo>
                  <a:lnTo>
                    <a:pt x="279654" y="38874"/>
                  </a:lnTo>
                  <a:lnTo>
                    <a:pt x="279654" y="89674"/>
                  </a:lnTo>
                  <a:lnTo>
                    <a:pt x="432181" y="89674"/>
                  </a:lnTo>
                  <a:lnTo>
                    <a:pt x="442061" y="91681"/>
                  </a:lnTo>
                  <a:lnTo>
                    <a:pt x="450151" y="97129"/>
                  </a:lnTo>
                  <a:lnTo>
                    <a:pt x="455599" y="105219"/>
                  </a:lnTo>
                  <a:lnTo>
                    <a:pt x="457606" y="115100"/>
                  </a:lnTo>
                  <a:lnTo>
                    <a:pt x="457606" y="140576"/>
                  </a:lnTo>
                  <a:lnTo>
                    <a:pt x="553593" y="140576"/>
                  </a:lnTo>
                  <a:lnTo>
                    <a:pt x="559295" y="146278"/>
                  </a:lnTo>
                  <a:lnTo>
                    <a:pt x="559295" y="175780"/>
                  </a:lnTo>
                  <a:lnTo>
                    <a:pt x="563524" y="178104"/>
                  </a:lnTo>
                  <a:lnTo>
                    <a:pt x="564959" y="178701"/>
                  </a:lnTo>
                  <a:lnTo>
                    <a:pt x="567842" y="179451"/>
                  </a:lnTo>
                  <a:lnTo>
                    <a:pt x="660692" y="93294"/>
                  </a:lnTo>
                  <a:lnTo>
                    <a:pt x="661035" y="88480"/>
                  </a:lnTo>
                  <a:close/>
                </a:path>
                <a:path w="711835" h="712470">
                  <a:moveTo>
                    <a:pt x="711835" y="356666"/>
                  </a:moveTo>
                  <a:lnTo>
                    <a:pt x="673696" y="356666"/>
                  </a:lnTo>
                  <a:lnTo>
                    <a:pt x="673696" y="534619"/>
                  </a:lnTo>
                  <a:lnTo>
                    <a:pt x="711835" y="534619"/>
                  </a:lnTo>
                  <a:lnTo>
                    <a:pt x="711835" y="356666"/>
                  </a:lnTo>
                  <a:close/>
                </a:path>
              </a:pathLst>
            </a:custGeom>
            <a:solidFill>
              <a:srgbClr val="FFFFFF"/>
            </a:solidFill>
          </p:spPr>
          <p:txBody>
            <a:bodyPr wrap="square" lIns="0" tIns="0" rIns="0" bIns="0" rtlCol="0"/>
            <a:lstStyle/>
            <a:p>
              <a:endParaRPr/>
            </a:p>
          </p:txBody>
        </p:sp>
        <p:pic>
          <p:nvPicPr>
            <p:cNvPr id="25" name="object 25"/>
            <p:cNvPicPr/>
            <p:nvPr/>
          </p:nvPicPr>
          <p:blipFill>
            <a:blip r:embed="rId2" cstate="print"/>
            <a:stretch>
              <a:fillRect/>
            </a:stretch>
          </p:blipFill>
          <p:spPr>
            <a:xfrm>
              <a:off x="5660439" y="7302661"/>
              <a:ext cx="211488" cy="173851"/>
            </a:xfrm>
            <a:prstGeom prst="rect">
              <a:avLst/>
            </a:prstGeom>
          </p:spPr>
        </p:pic>
        <p:sp>
          <p:nvSpPr>
            <p:cNvPr id="26" name="object 26"/>
            <p:cNvSpPr/>
            <p:nvPr/>
          </p:nvSpPr>
          <p:spPr>
            <a:xfrm>
              <a:off x="8610934" y="5997377"/>
              <a:ext cx="1247775" cy="1247775"/>
            </a:xfrm>
            <a:custGeom>
              <a:avLst/>
              <a:gdLst/>
              <a:ahLst/>
              <a:cxnLst/>
              <a:rect l="l" t="t" r="r" b="b"/>
              <a:pathLst>
                <a:path w="1247775" h="1247775">
                  <a:moveTo>
                    <a:pt x="623821" y="1247642"/>
                  </a:moveTo>
                  <a:lnTo>
                    <a:pt x="575070" y="1245766"/>
                  </a:lnTo>
                  <a:lnTo>
                    <a:pt x="527345" y="1240227"/>
                  </a:lnTo>
                  <a:lnTo>
                    <a:pt x="480784" y="1231167"/>
                  </a:lnTo>
                  <a:lnTo>
                    <a:pt x="435528" y="1218722"/>
                  </a:lnTo>
                  <a:lnTo>
                    <a:pt x="391713" y="1203033"/>
                  </a:lnTo>
                  <a:lnTo>
                    <a:pt x="349480" y="1184236"/>
                  </a:lnTo>
                  <a:lnTo>
                    <a:pt x="308966" y="1162473"/>
                  </a:lnTo>
                  <a:lnTo>
                    <a:pt x="270311" y="1137879"/>
                  </a:lnTo>
                  <a:lnTo>
                    <a:pt x="233652" y="1110596"/>
                  </a:lnTo>
                  <a:lnTo>
                    <a:pt x="199129" y="1080761"/>
                  </a:lnTo>
                  <a:lnTo>
                    <a:pt x="166881" y="1048512"/>
                  </a:lnTo>
                  <a:lnTo>
                    <a:pt x="137046" y="1013990"/>
                  </a:lnTo>
                  <a:lnTo>
                    <a:pt x="109762" y="977331"/>
                  </a:lnTo>
                  <a:lnTo>
                    <a:pt x="85169" y="938676"/>
                  </a:lnTo>
                  <a:lnTo>
                    <a:pt x="63405" y="898162"/>
                  </a:lnTo>
                  <a:lnTo>
                    <a:pt x="44609" y="855929"/>
                  </a:lnTo>
                  <a:lnTo>
                    <a:pt x="28919" y="812114"/>
                  </a:lnTo>
                  <a:lnTo>
                    <a:pt x="16475" y="766858"/>
                  </a:lnTo>
                  <a:lnTo>
                    <a:pt x="7414" y="720298"/>
                  </a:lnTo>
                  <a:lnTo>
                    <a:pt x="1876" y="672573"/>
                  </a:lnTo>
                  <a:lnTo>
                    <a:pt x="0" y="623821"/>
                  </a:lnTo>
                  <a:lnTo>
                    <a:pt x="1876" y="575070"/>
                  </a:lnTo>
                  <a:lnTo>
                    <a:pt x="7414" y="527345"/>
                  </a:lnTo>
                  <a:lnTo>
                    <a:pt x="16475" y="480785"/>
                  </a:lnTo>
                  <a:lnTo>
                    <a:pt x="28919" y="435528"/>
                  </a:lnTo>
                  <a:lnTo>
                    <a:pt x="44609" y="391714"/>
                  </a:lnTo>
                  <a:lnTo>
                    <a:pt x="63405" y="349480"/>
                  </a:lnTo>
                  <a:lnTo>
                    <a:pt x="85169" y="308966"/>
                  </a:lnTo>
                  <a:lnTo>
                    <a:pt x="109762" y="270311"/>
                  </a:lnTo>
                  <a:lnTo>
                    <a:pt x="137046" y="233653"/>
                  </a:lnTo>
                  <a:lnTo>
                    <a:pt x="166881" y="199130"/>
                  </a:lnTo>
                  <a:lnTo>
                    <a:pt x="199129" y="166881"/>
                  </a:lnTo>
                  <a:lnTo>
                    <a:pt x="233652" y="137046"/>
                  </a:lnTo>
                  <a:lnTo>
                    <a:pt x="270311" y="109763"/>
                  </a:lnTo>
                  <a:lnTo>
                    <a:pt x="308966" y="85169"/>
                  </a:lnTo>
                  <a:lnTo>
                    <a:pt x="349480" y="63405"/>
                  </a:lnTo>
                  <a:lnTo>
                    <a:pt x="391713" y="44609"/>
                  </a:lnTo>
                  <a:lnTo>
                    <a:pt x="435528" y="28920"/>
                  </a:lnTo>
                  <a:lnTo>
                    <a:pt x="480784" y="16475"/>
                  </a:lnTo>
                  <a:lnTo>
                    <a:pt x="527345" y="7414"/>
                  </a:lnTo>
                  <a:lnTo>
                    <a:pt x="575070" y="1876"/>
                  </a:lnTo>
                  <a:lnTo>
                    <a:pt x="623821" y="0"/>
                  </a:lnTo>
                  <a:lnTo>
                    <a:pt x="672572" y="1876"/>
                  </a:lnTo>
                  <a:lnTo>
                    <a:pt x="720297" y="7414"/>
                  </a:lnTo>
                  <a:lnTo>
                    <a:pt x="766857" y="16475"/>
                  </a:lnTo>
                  <a:lnTo>
                    <a:pt x="812114" y="28920"/>
                  </a:lnTo>
                  <a:lnTo>
                    <a:pt x="855928" y="44609"/>
                  </a:lnTo>
                  <a:lnTo>
                    <a:pt x="898162" y="63405"/>
                  </a:lnTo>
                  <a:lnTo>
                    <a:pt x="938675" y="85169"/>
                  </a:lnTo>
                  <a:lnTo>
                    <a:pt x="977331" y="109763"/>
                  </a:lnTo>
                  <a:lnTo>
                    <a:pt x="1013989" y="137046"/>
                  </a:lnTo>
                  <a:lnTo>
                    <a:pt x="1048512" y="166881"/>
                  </a:lnTo>
                  <a:lnTo>
                    <a:pt x="1080760" y="199130"/>
                  </a:lnTo>
                  <a:lnTo>
                    <a:pt x="1110596" y="233653"/>
                  </a:lnTo>
                  <a:lnTo>
                    <a:pt x="1137879" y="270311"/>
                  </a:lnTo>
                  <a:lnTo>
                    <a:pt x="1162472" y="308966"/>
                  </a:lnTo>
                  <a:lnTo>
                    <a:pt x="1184236" y="349480"/>
                  </a:lnTo>
                  <a:lnTo>
                    <a:pt x="1203033" y="391714"/>
                  </a:lnTo>
                  <a:lnTo>
                    <a:pt x="1218722" y="435528"/>
                  </a:lnTo>
                  <a:lnTo>
                    <a:pt x="1231167" y="480785"/>
                  </a:lnTo>
                  <a:lnTo>
                    <a:pt x="1240227" y="527345"/>
                  </a:lnTo>
                  <a:lnTo>
                    <a:pt x="1245765" y="575070"/>
                  </a:lnTo>
                  <a:lnTo>
                    <a:pt x="1247642" y="623826"/>
                  </a:lnTo>
                  <a:lnTo>
                    <a:pt x="1245765" y="672573"/>
                  </a:lnTo>
                  <a:lnTo>
                    <a:pt x="1240227" y="720298"/>
                  </a:lnTo>
                  <a:lnTo>
                    <a:pt x="1231167" y="766858"/>
                  </a:lnTo>
                  <a:lnTo>
                    <a:pt x="1218722" y="812114"/>
                  </a:lnTo>
                  <a:lnTo>
                    <a:pt x="1203033" y="855929"/>
                  </a:lnTo>
                  <a:lnTo>
                    <a:pt x="1184236" y="898162"/>
                  </a:lnTo>
                  <a:lnTo>
                    <a:pt x="1162472" y="938676"/>
                  </a:lnTo>
                  <a:lnTo>
                    <a:pt x="1137879" y="977331"/>
                  </a:lnTo>
                  <a:lnTo>
                    <a:pt x="1110596" y="1013990"/>
                  </a:lnTo>
                  <a:lnTo>
                    <a:pt x="1080760" y="1048512"/>
                  </a:lnTo>
                  <a:lnTo>
                    <a:pt x="1048512" y="1080761"/>
                  </a:lnTo>
                  <a:lnTo>
                    <a:pt x="1013989" y="1110596"/>
                  </a:lnTo>
                  <a:lnTo>
                    <a:pt x="977331" y="1137879"/>
                  </a:lnTo>
                  <a:lnTo>
                    <a:pt x="938675" y="1162473"/>
                  </a:lnTo>
                  <a:lnTo>
                    <a:pt x="898162" y="1184236"/>
                  </a:lnTo>
                  <a:lnTo>
                    <a:pt x="855928" y="1203033"/>
                  </a:lnTo>
                  <a:lnTo>
                    <a:pt x="812114" y="1218722"/>
                  </a:lnTo>
                  <a:lnTo>
                    <a:pt x="766857" y="1231167"/>
                  </a:lnTo>
                  <a:lnTo>
                    <a:pt x="720297" y="1240227"/>
                  </a:lnTo>
                  <a:lnTo>
                    <a:pt x="672572" y="1245766"/>
                  </a:lnTo>
                  <a:lnTo>
                    <a:pt x="623821" y="1247642"/>
                  </a:lnTo>
                  <a:close/>
                </a:path>
              </a:pathLst>
            </a:custGeom>
            <a:solidFill>
              <a:srgbClr val="21408B"/>
            </a:solidFill>
          </p:spPr>
          <p:txBody>
            <a:bodyPr wrap="square" lIns="0" tIns="0" rIns="0" bIns="0" rtlCol="0"/>
            <a:lstStyle/>
            <a:p>
              <a:endParaRPr/>
            </a:p>
          </p:txBody>
        </p:sp>
        <p:sp>
          <p:nvSpPr>
            <p:cNvPr id="27" name="object 27"/>
            <p:cNvSpPr/>
            <p:nvPr/>
          </p:nvSpPr>
          <p:spPr>
            <a:xfrm>
              <a:off x="8710117" y="6096570"/>
              <a:ext cx="1047750" cy="1047750"/>
            </a:xfrm>
            <a:custGeom>
              <a:avLst/>
              <a:gdLst/>
              <a:ahLst/>
              <a:cxnLst/>
              <a:rect l="l" t="t" r="r" b="b"/>
              <a:pathLst>
                <a:path w="1047750" h="1047750">
                  <a:moveTo>
                    <a:pt x="695350" y="619125"/>
                  </a:moveTo>
                  <a:lnTo>
                    <a:pt x="688060" y="573963"/>
                  </a:lnTo>
                  <a:lnTo>
                    <a:pt x="667778" y="534746"/>
                  </a:lnTo>
                  <a:lnTo>
                    <a:pt x="636854" y="503821"/>
                  </a:lnTo>
                  <a:lnTo>
                    <a:pt x="597623" y="483539"/>
                  </a:lnTo>
                  <a:lnTo>
                    <a:pt x="552475" y="476250"/>
                  </a:lnTo>
                  <a:lnTo>
                    <a:pt x="495325" y="476250"/>
                  </a:lnTo>
                  <a:lnTo>
                    <a:pt x="476783" y="472516"/>
                  </a:lnTo>
                  <a:lnTo>
                    <a:pt x="461645" y="462305"/>
                  </a:lnTo>
                  <a:lnTo>
                    <a:pt x="451434" y="447167"/>
                  </a:lnTo>
                  <a:lnTo>
                    <a:pt x="447700" y="428625"/>
                  </a:lnTo>
                  <a:lnTo>
                    <a:pt x="447700" y="404812"/>
                  </a:lnTo>
                  <a:lnTo>
                    <a:pt x="451434" y="386283"/>
                  </a:lnTo>
                  <a:lnTo>
                    <a:pt x="461645" y="371144"/>
                  </a:lnTo>
                  <a:lnTo>
                    <a:pt x="476783" y="360934"/>
                  </a:lnTo>
                  <a:lnTo>
                    <a:pt x="495325" y="357187"/>
                  </a:lnTo>
                  <a:lnTo>
                    <a:pt x="642962" y="357187"/>
                  </a:lnTo>
                  <a:lnTo>
                    <a:pt x="642962" y="261937"/>
                  </a:lnTo>
                  <a:lnTo>
                    <a:pt x="571500" y="261937"/>
                  </a:lnTo>
                  <a:lnTo>
                    <a:pt x="571500" y="204787"/>
                  </a:lnTo>
                  <a:lnTo>
                    <a:pt x="476250" y="204787"/>
                  </a:lnTo>
                  <a:lnTo>
                    <a:pt x="476250" y="265023"/>
                  </a:lnTo>
                  <a:lnTo>
                    <a:pt x="450164" y="269227"/>
                  </a:lnTo>
                  <a:lnTo>
                    <a:pt x="410933" y="289509"/>
                  </a:lnTo>
                  <a:lnTo>
                    <a:pt x="380009" y="320433"/>
                  </a:lnTo>
                  <a:lnTo>
                    <a:pt x="359727" y="359651"/>
                  </a:lnTo>
                  <a:lnTo>
                    <a:pt x="352450" y="404812"/>
                  </a:lnTo>
                  <a:lnTo>
                    <a:pt x="352450" y="428625"/>
                  </a:lnTo>
                  <a:lnTo>
                    <a:pt x="359727" y="473786"/>
                  </a:lnTo>
                  <a:lnTo>
                    <a:pt x="380009" y="513003"/>
                  </a:lnTo>
                  <a:lnTo>
                    <a:pt x="410933" y="543941"/>
                  </a:lnTo>
                  <a:lnTo>
                    <a:pt x="450164" y="564222"/>
                  </a:lnTo>
                  <a:lnTo>
                    <a:pt x="495325" y="571500"/>
                  </a:lnTo>
                  <a:lnTo>
                    <a:pt x="552475" y="571500"/>
                  </a:lnTo>
                  <a:lnTo>
                    <a:pt x="571004" y="575246"/>
                  </a:lnTo>
                  <a:lnTo>
                    <a:pt x="586143" y="585457"/>
                  </a:lnTo>
                  <a:lnTo>
                    <a:pt x="596353" y="600595"/>
                  </a:lnTo>
                  <a:lnTo>
                    <a:pt x="600100" y="619125"/>
                  </a:lnTo>
                  <a:lnTo>
                    <a:pt x="600100" y="642937"/>
                  </a:lnTo>
                  <a:lnTo>
                    <a:pt x="596353" y="661479"/>
                  </a:lnTo>
                  <a:lnTo>
                    <a:pt x="586143" y="676617"/>
                  </a:lnTo>
                  <a:lnTo>
                    <a:pt x="571004" y="686828"/>
                  </a:lnTo>
                  <a:lnTo>
                    <a:pt x="552475" y="690562"/>
                  </a:lnTo>
                  <a:lnTo>
                    <a:pt x="404837" y="690562"/>
                  </a:lnTo>
                  <a:lnTo>
                    <a:pt x="404837" y="785812"/>
                  </a:lnTo>
                  <a:lnTo>
                    <a:pt x="476250" y="785812"/>
                  </a:lnTo>
                  <a:lnTo>
                    <a:pt x="476250" y="842962"/>
                  </a:lnTo>
                  <a:lnTo>
                    <a:pt x="571500" y="842962"/>
                  </a:lnTo>
                  <a:lnTo>
                    <a:pt x="571500" y="782751"/>
                  </a:lnTo>
                  <a:lnTo>
                    <a:pt x="597623" y="778535"/>
                  </a:lnTo>
                  <a:lnTo>
                    <a:pt x="636854" y="758253"/>
                  </a:lnTo>
                  <a:lnTo>
                    <a:pt x="667778" y="727316"/>
                  </a:lnTo>
                  <a:lnTo>
                    <a:pt x="688060" y="688098"/>
                  </a:lnTo>
                  <a:lnTo>
                    <a:pt x="695350" y="642937"/>
                  </a:lnTo>
                  <a:lnTo>
                    <a:pt x="695350" y="619125"/>
                  </a:lnTo>
                  <a:close/>
                </a:path>
                <a:path w="1047750" h="1047750">
                  <a:moveTo>
                    <a:pt x="1047750" y="523875"/>
                  </a:moveTo>
                  <a:lnTo>
                    <a:pt x="1045616" y="476199"/>
                  </a:lnTo>
                  <a:lnTo>
                    <a:pt x="1039304" y="429717"/>
                  </a:lnTo>
                  <a:lnTo>
                    <a:pt x="1029042" y="384606"/>
                  </a:lnTo>
                  <a:lnTo>
                    <a:pt x="1014971" y="341083"/>
                  </a:lnTo>
                  <a:lnTo>
                    <a:pt x="997305" y="299300"/>
                  </a:lnTo>
                  <a:lnTo>
                    <a:pt x="976223" y="259473"/>
                  </a:lnTo>
                  <a:lnTo>
                    <a:pt x="952500" y="222681"/>
                  </a:lnTo>
                  <a:lnTo>
                    <a:pt x="952500" y="523875"/>
                  </a:lnTo>
                  <a:lnTo>
                    <a:pt x="949985" y="570585"/>
                  </a:lnTo>
                  <a:lnTo>
                    <a:pt x="942619" y="615823"/>
                  </a:lnTo>
                  <a:lnTo>
                    <a:pt x="930656" y="659358"/>
                  </a:lnTo>
                  <a:lnTo>
                    <a:pt x="914349" y="700900"/>
                  </a:lnTo>
                  <a:lnTo>
                    <a:pt x="893978" y="740219"/>
                  </a:lnTo>
                  <a:lnTo>
                    <a:pt x="869797" y="777024"/>
                  </a:lnTo>
                  <a:lnTo>
                    <a:pt x="842073" y="811060"/>
                  </a:lnTo>
                  <a:lnTo>
                    <a:pt x="811060" y="842073"/>
                  </a:lnTo>
                  <a:lnTo>
                    <a:pt x="777011" y="869810"/>
                  </a:lnTo>
                  <a:lnTo>
                    <a:pt x="740206" y="893978"/>
                  </a:lnTo>
                  <a:lnTo>
                    <a:pt x="700900" y="914349"/>
                  </a:lnTo>
                  <a:lnTo>
                    <a:pt x="659358" y="930656"/>
                  </a:lnTo>
                  <a:lnTo>
                    <a:pt x="615823" y="942619"/>
                  </a:lnTo>
                  <a:lnTo>
                    <a:pt x="570585" y="949985"/>
                  </a:lnTo>
                  <a:lnTo>
                    <a:pt x="523875" y="952500"/>
                  </a:lnTo>
                  <a:lnTo>
                    <a:pt x="477177" y="949985"/>
                  </a:lnTo>
                  <a:lnTo>
                    <a:pt x="431927" y="942619"/>
                  </a:lnTo>
                  <a:lnTo>
                    <a:pt x="388391" y="930656"/>
                  </a:lnTo>
                  <a:lnTo>
                    <a:pt x="346849" y="914349"/>
                  </a:lnTo>
                  <a:lnTo>
                    <a:pt x="307543" y="893978"/>
                  </a:lnTo>
                  <a:lnTo>
                    <a:pt x="270738" y="869810"/>
                  </a:lnTo>
                  <a:lnTo>
                    <a:pt x="236689" y="842073"/>
                  </a:lnTo>
                  <a:lnTo>
                    <a:pt x="205676" y="811060"/>
                  </a:lnTo>
                  <a:lnTo>
                    <a:pt x="177952" y="777024"/>
                  </a:lnTo>
                  <a:lnTo>
                    <a:pt x="153771" y="740219"/>
                  </a:lnTo>
                  <a:lnTo>
                    <a:pt x="133400" y="700900"/>
                  </a:lnTo>
                  <a:lnTo>
                    <a:pt x="117106" y="659358"/>
                  </a:lnTo>
                  <a:lnTo>
                    <a:pt x="105143" y="615823"/>
                  </a:lnTo>
                  <a:lnTo>
                    <a:pt x="97764" y="570585"/>
                  </a:lnTo>
                  <a:lnTo>
                    <a:pt x="95250" y="523875"/>
                  </a:lnTo>
                  <a:lnTo>
                    <a:pt x="97764" y="477177"/>
                  </a:lnTo>
                  <a:lnTo>
                    <a:pt x="105143" y="431927"/>
                  </a:lnTo>
                  <a:lnTo>
                    <a:pt x="117106" y="388404"/>
                  </a:lnTo>
                  <a:lnTo>
                    <a:pt x="133400" y="346849"/>
                  </a:lnTo>
                  <a:lnTo>
                    <a:pt x="153771" y="307543"/>
                  </a:lnTo>
                  <a:lnTo>
                    <a:pt x="177952" y="270738"/>
                  </a:lnTo>
                  <a:lnTo>
                    <a:pt x="205676" y="236702"/>
                  </a:lnTo>
                  <a:lnTo>
                    <a:pt x="236689" y="205676"/>
                  </a:lnTo>
                  <a:lnTo>
                    <a:pt x="270738" y="177952"/>
                  </a:lnTo>
                  <a:lnTo>
                    <a:pt x="307543" y="153771"/>
                  </a:lnTo>
                  <a:lnTo>
                    <a:pt x="346849" y="133400"/>
                  </a:lnTo>
                  <a:lnTo>
                    <a:pt x="388391" y="117106"/>
                  </a:lnTo>
                  <a:lnTo>
                    <a:pt x="431927" y="105143"/>
                  </a:lnTo>
                  <a:lnTo>
                    <a:pt x="477177" y="97764"/>
                  </a:lnTo>
                  <a:lnTo>
                    <a:pt x="523875" y="95250"/>
                  </a:lnTo>
                  <a:lnTo>
                    <a:pt x="570585" y="97764"/>
                  </a:lnTo>
                  <a:lnTo>
                    <a:pt x="615823" y="105143"/>
                  </a:lnTo>
                  <a:lnTo>
                    <a:pt x="659358" y="117106"/>
                  </a:lnTo>
                  <a:lnTo>
                    <a:pt x="700900" y="133400"/>
                  </a:lnTo>
                  <a:lnTo>
                    <a:pt x="740206" y="153771"/>
                  </a:lnTo>
                  <a:lnTo>
                    <a:pt x="777011" y="177952"/>
                  </a:lnTo>
                  <a:lnTo>
                    <a:pt x="811060" y="205676"/>
                  </a:lnTo>
                  <a:lnTo>
                    <a:pt x="842073" y="236702"/>
                  </a:lnTo>
                  <a:lnTo>
                    <a:pt x="869797" y="270738"/>
                  </a:lnTo>
                  <a:lnTo>
                    <a:pt x="893978" y="307543"/>
                  </a:lnTo>
                  <a:lnTo>
                    <a:pt x="914349" y="346849"/>
                  </a:lnTo>
                  <a:lnTo>
                    <a:pt x="930656" y="388404"/>
                  </a:lnTo>
                  <a:lnTo>
                    <a:pt x="942619" y="431927"/>
                  </a:lnTo>
                  <a:lnTo>
                    <a:pt x="949985" y="477177"/>
                  </a:lnTo>
                  <a:lnTo>
                    <a:pt x="952500" y="523875"/>
                  </a:lnTo>
                  <a:lnTo>
                    <a:pt x="952500" y="222681"/>
                  </a:lnTo>
                  <a:lnTo>
                    <a:pt x="924547" y="186347"/>
                  </a:lnTo>
                  <a:lnTo>
                    <a:pt x="894308" y="153441"/>
                  </a:lnTo>
                  <a:lnTo>
                    <a:pt x="861402" y="123215"/>
                  </a:lnTo>
                  <a:lnTo>
                    <a:pt x="825995" y="95846"/>
                  </a:lnTo>
                  <a:lnTo>
                    <a:pt x="788289" y="71526"/>
                  </a:lnTo>
                  <a:lnTo>
                    <a:pt x="748449" y="50444"/>
                  </a:lnTo>
                  <a:lnTo>
                    <a:pt x="706678" y="32778"/>
                  </a:lnTo>
                  <a:lnTo>
                    <a:pt x="663143" y="18719"/>
                  </a:lnTo>
                  <a:lnTo>
                    <a:pt x="618045" y="8445"/>
                  </a:lnTo>
                  <a:lnTo>
                    <a:pt x="571563" y="2146"/>
                  </a:lnTo>
                  <a:lnTo>
                    <a:pt x="523875" y="0"/>
                  </a:lnTo>
                  <a:lnTo>
                    <a:pt x="476199" y="2146"/>
                  </a:lnTo>
                  <a:lnTo>
                    <a:pt x="429704" y="8445"/>
                  </a:lnTo>
                  <a:lnTo>
                    <a:pt x="384606" y="18719"/>
                  </a:lnTo>
                  <a:lnTo>
                    <a:pt x="341083" y="32778"/>
                  </a:lnTo>
                  <a:lnTo>
                    <a:pt x="299300" y="50444"/>
                  </a:lnTo>
                  <a:lnTo>
                    <a:pt x="259461" y="71526"/>
                  </a:lnTo>
                  <a:lnTo>
                    <a:pt x="221754" y="95846"/>
                  </a:lnTo>
                  <a:lnTo>
                    <a:pt x="186347" y="123215"/>
                  </a:lnTo>
                  <a:lnTo>
                    <a:pt x="153441" y="153441"/>
                  </a:lnTo>
                  <a:lnTo>
                    <a:pt x="123215" y="186347"/>
                  </a:lnTo>
                  <a:lnTo>
                    <a:pt x="95846" y="221754"/>
                  </a:lnTo>
                  <a:lnTo>
                    <a:pt x="71526" y="259473"/>
                  </a:lnTo>
                  <a:lnTo>
                    <a:pt x="50444" y="299300"/>
                  </a:lnTo>
                  <a:lnTo>
                    <a:pt x="32778" y="341083"/>
                  </a:lnTo>
                  <a:lnTo>
                    <a:pt x="18719" y="384606"/>
                  </a:lnTo>
                  <a:lnTo>
                    <a:pt x="8445" y="429717"/>
                  </a:lnTo>
                  <a:lnTo>
                    <a:pt x="2146" y="476199"/>
                  </a:lnTo>
                  <a:lnTo>
                    <a:pt x="0" y="523875"/>
                  </a:lnTo>
                  <a:lnTo>
                    <a:pt x="2146" y="571563"/>
                  </a:lnTo>
                  <a:lnTo>
                    <a:pt x="8445" y="618045"/>
                  </a:lnTo>
                  <a:lnTo>
                    <a:pt x="18719" y="663143"/>
                  </a:lnTo>
                  <a:lnTo>
                    <a:pt x="32778" y="706678"/>
                  </a:lnTo>
                  <a:lnTo>
                    <a:pt x="50444" y="748449"/>
                  </a:lnTo>
                  <a:lnTo>
                    <a:pt x="71526" y="788289"/>
                  </a:lnTo>
                  <a:lnTo>
                    <a:pt x="95846" y="825995"/>
                  </a:lnTo>
                  <a:lnTo>
                    <a:pt x="123215" y="861402"/>
                  </a:lnTo>
                  <a:lnTo>
                    <a:pt x="153441" y="894308"/>
                  </a:lnTo>
                  <a:lnTo>
                    <a:pt x="186347" y="924547"/>
                  </a:lnTo>
                  <a:lnTo>
                    <a:pt x="221754" y="951915"/>
                  </a:lnTo>
                  <a:lnTo>
                    <a:pt x="259461" y="976223"/>
                  </a:lnTo>
                  <a:lnTo>
                    <a:pt x="299300" y="997318"/>
                  </a:lnTo>
                  <a:lnTo>
                    <a:pt x="341083" y="1014984"/>
                  </a:lnTo>
                  <a:lnTo>
                    <a:pt x="384606" y="1029042"/>
                  </a:lnTo>
                  <a:lnTo>
                    <a:pt x="429704" y="1039317"/>
                  </a:lnTo>
                  <a:lnTo>
                    <a:pt x="476199" y="1045616"/>
                  </a:lnTo>
                  <a:lnTo>
                    <a:pt x="523875" y="1047750"/>
                  </a:lnTo>
                  <a:lnTo>
                    <a:pt x="571563" y="1045616"/>
                  </a:lnTo>
                  <a:lnTo>
                    <a:pt x="618045" y="1039317"/>
                  </a:lnTo>
                  <a:lnTo>
                    <a:pt x="663143" y="1029042"/>
                  </a:lnTo>
                  <a:lnTo>
                    <a:pt x="706678" y="1014984"/>
                  </a:lnTo>
                  <a:lnTo>
                    <a:pt x="748449" y="997318"/>
                  </a:lnTo>
                  <a:lnTo>
                    <a:pt x="788289" y="976223"/>
                  </a:lnTo>
                  <a:lnTo>
                    <a:pt x="825080" y="952500"/>
                  </a:lnTo>
                  <a:lnTo>
                    <a:pt x="825995" y="951915"/>
                  </a:lnTo>
                  <a:lnTo>
                    <a:pt x="861402" y="924547"/>
                  </a:lnTo>
                  <a:lnTo>
                    <a:pt x="894308" y="894308"/>
                  </a:lnTo>
                  <a:lnTo>
                    <a:pt x="924547" y="861402"/>
                  </a:lnTo>
                  <a:lnTo>
                    <a:pt x="951903" y="825995"/>
                  </a:lnTo>
                  <a:lnTo>
                    <a:pt x="976223" y="788289"/>
                  </a:lnTo>
                  <a:lnTo>
                    <a:pt x="997305" y="748449"/>
                  </a:lnTo>
                  <a:lnTo>
                    <a:pt x="1014971" y="706678"/>
                  </a:lnTo>
                  <a:lnTo>
                    <a:pt x="1029042" y="663143"/>
                  </a:lnTo>
                  <a:lnTo>
                    <a:pt x="1039304" y="618045"/>
                  </a:lnTo>
                  <a:lnTo>
                    <a:pt x="1045616" y="571563"/>
                  </a:lnTo>
                  <a:lnTo>
                    <a:pt x="1047750" y="523875"/>
                  </a:lnTo>
                  <a:close/>
                </a:path>
              </a:pathLst>
            </a:custGeom>
            <a:solidFill>
              <a:srgbClr val="FFFFFF"/>
            </a:solidFill>
          </p:spPr>
          <p:txBody>
            <a:bodyPr wrap="square" lIns="0" tIns="0" rIns="0" bIns="0" rtlCol="0"/>
            <a:lstStyle/>
            <a:p>
              <a:endParaRPr/>
            </a:p>
          </p:txBody>
        </p:sp>
        <p:sp>
          <p:nvSpPr>
            <p:cNvPr id="28" name="object 28"/>
            <p:cNvSpPr/>
            <p:nvPr/>
          </p:nvSpPr>
          <p:spPr>
            <a:xfrm>
              <a:off x="13918280" y="6539088"/>
              <a:ext cx="1247775" cy="1247775"/>
            </a:xfrm>
            <a:custGeom>
              <a:avLst/>
              <a:gdLst/>
              <a:ahLst/>
              <a:cxnLst/>
              <a:rect l="l" t="t" r="r" b="b"/>
              <a:pathLst>
                <a:path w="1247775" h="1247775">
                  <a:moveTo>
                    <a:pt x="623832" y="1247642"/>
                  </a:moveTo>
                  <a:lnTo>
                    <a:pt x="575069" y="1245766"/>
                  </a:lnTo>
                  <a:lnTo>
                    <a:pt x="527344" y="1240228"/>
                  </a:lnTo>
                  <a:lnTo>
                    <a:pt x="480783" y="1231167"/>
                  </a:lnTo>
                  <a:lnTo>
                    <a:pt x="435527" y="1218723"/>
                  </a:lnTo>
                  <a:lnTo>
                    <a:pt x="391712" y="1203033"/>
                  </a:lnTo>
                  <a:lnTo>
                    <a:pt x="349479" y="1184237"/>
                  </a:lnTo>
                  <a:lnTo>
                    <a:pt x="308965" y="1162473"/>
                  </a:lnTo>
                  <a:lnTo>
                    <a:pt x="270310" y="1137880"/>
                  </a:lnTo>
                  <a:lnTo>
                    <a:pt x="233651" y="1110596"/>
                  </a:lnTo>
                  <a:lnTo>
                    <a:pt x="199128" y="1080761"/>
                  </a:lnTo>
                  <a:lnTo>
                    <a:pt x="166880" y="1048512"/>
                  </a:lnTo>
                  <a:lnTo>
                    <a:pt x="137045" y="1013990"/>
                  </a:lnTo>
                  <a:lnTo>
                    <a:pt x="109761" y="977331"/>
                  </a:lnTo>
                  <a:lnTo>
                    <a:pt x="85168" y="938676"/>
                  </a:lnTo>
                  <a:lnTo>
                    <a:pt x="63404" y="898162"/>
                  </a:lnTo>
                  <a:lnTo>
                    <a:pt x="44608" y="855929"/>
                  </a:lnTo>
                  <a:lnTo>
                    <a:pt x="28918" y="812114"/>
                  </a:lnTo>
                  <a:lnTo>
                    <a:pt x="16474" y="766858"/>
                  </a:lnTo>
                  <a:lnTo>
                    <a:pt x="7413" y="720298"/>
                  </a:lnTo>
                  <a:lnTo>
                    <a:pt x="1875" y="672573"/>
                  </a:lnTo>
                  <a:lnTo>
                    <a:pt x="0" y="623787"/>
                  </a:lnTo>
                  <a:lnTo>
                    <a:pt x="1875" y="575070"/>
                  </a:lnTo>
                  <a:lnTo>
                    <a:pt x="7413" y="527345"/>
                  </a:lnTo>
                  <a:lnTo>
                    <a:pt x="16474" y="480785"/>
                  </a:lnTo>
                  <a:lnTo>
                    <a:pt x="28918" y="435528"/>
                  </a:lnTo>
                  <a:lnTo>
                    <a:pt x="44608" y="391714"/>
                  </a:lnTo>
                  <a:lnTo>
                    <a:pt x="63404" y="349480"/>
                  </a:lnTo>
                  <a:lnTo>
                    <a:pt x="85168" y="308967"/>
                  </a:lnTo>
                  <a:lnTo>
                    <a:pt x="109761" y="270311"/>
                  </a:lnTo>
                  <a:lnTo>
                    <a:pt x="137045" y="233653"/>
                  </a:lnTo>
                  <a:lnTo>
                    <a:pt x="166880" y="199130"/>
                  </a:lnTo>
                  <a:lnTo>
                    <a:pt x="199128" y="166881"/>
                  </a:lnTo>
                  <a:lnTo>
                    <a:pt x="233651" y="137046"/>
                  </a:lnTo>
                  <a:lnTo>
                    <a:pt x="270310" y="109763"/>
                  </a:lnTo>
                  <a:lnTo>
                    <a:pt x="308965" y="85169"/>
                  </a:lnTo>
                  <a:lnTo>
                    <a:pt x="349479" y="63405"/>
                  </a:lnTo>
                  <a:lnTo>
                    <a:pt x="391712" y="44609"/>
                  </a:lnTo>
                  <a:lnTo>
                    <a:pt x="435527" y="28920"/>
                  </a:lnTo>
                  <a:lnTo>
                    <a:pt x="480783" y="16475"/>
                  </a:lnTo>
                  <a:lnTo>
                    <a:pt x="527344" y="7414"/>
                  </a:lnTo>
                  <a:lnTo>
                    <a:pt x="575069" y="1876"/>
                  </a:lnTo>
                  <a:lnTo>
                    <a:pt x="623820" y="0"/>
                  </a:lnTo>
                  <a:lnTo>
                    <a:pt x="672572" y="1876"/>
                  </a:lnTo>
                  <a:lnTo>
                    <a:pt x="720297" y="7414"/>
                  </a:lnTo>
                  <a:lnTo>
                    <a:pt x="766857" y="16475"/>
                  </a:lnTo>
                  <a:lnTo>
                    <a:pt x="812113" y="28920"/>
                  </a:lnTo>
                  <a:lnTo>
                    <a:pt x="855928" y="44609"/>
                  </a:lnTo>
                  <a:lnTo>
                    <a:pt x="898161" y="63405"/>
                  </a:lnTo>
                  <a:lnTo>
                    <a:pt x="938675" y="85169"/>
                  </a:lnTo>
                  <a:lnTo>
                    <a:pt x="977330" y="109763"/>
                  </a:lnTo>
                  <a:lnTo>
                    <a:pt x="1013989" y="137046"/>
                  </a:lnTo>
                  <a:lnTo>
                    <a:pt x="1048512" y="166881"/>
                  </a:lnTo>
                  <a:lnTo>
                    <a:pt x="1080760" y="199130"/>
                  </a:lnTo>
                  <a:lnTo>
                    <a:pt x="1110595" y="233653"/>
                  </a:lnTo>
                  <a:lnTo>
                    <a:pt x="1137879" y="270311"/>
                  </a:lnTo>
                  <a:lnTo>
                    <a:pt x="1162472" y="308967"/>
                  </a:lnTo>
                  <a:lnTo>
                    <a:pt x="1184236" y="349480"/>
                  </a:lnTo>
                  <a:lnTo>
                    <a:pt x="1203032" y="391714"/>
                  </a:lnTo>
                  <a:lnTo>
                    <a:pt x="1218722" y="435528"/>
                  </a:lnTo>
                  <a:lnTo>
                    <a:pt x="1231167" y="480785"/>
                  </a:lnTo>
                  <a:lnTo>
                    <a:pt x="1240227" y="527345"/>
                  </a:lnTo>
                  <a:lnTo>
                    <a:pt x="1245765" y="575070"/>
                  </a:lnTo>
                  <a:lnTo>
                    <a:pt x="1247640" y="623821"/>
                  </a:lnTo>
                  <a:lnTo>
                    <a:pt x="1245765" y="672573"/>
                  </a:lnTo>
                  <a:lnTo>
                    <a:pt x="1240227" y="720298"/>
                  </a:lnTo>
                  <a:lnTo>
                    <a:pt x="1231167" y="766858"/>
                  </a:lnTo>
                  <a:lnTo>
                    <a:pt x="1218722" y="812114"/>
                  </a:lnTo>
                  <a:lnTo>
                    <a:pt x="1203032" y="855929"/>
                  </a:lnTo>
                  <a:lnTo>
                    <a:pt x="1184236" y="898162"/>
                  </a:lnTo>
                  <a:lnTo>
                    <a:pt x="1162472" y="938676"/>
                  </a:lnTo>
                  <a:lnTo>
                    <a:pt x="1137879" y="977331"/>
                  </a:lnTo>
                  <a:lnTo>
                    <a:pt x="1110595" y="1013990"/>
                  </a:lnTo>
                  <a:lnTo>
                    <a:pt x="1080760" y="1048512"/>
                  </a:lnTo>
                  <a:lnTo>
                    <a:pt x="1048512" y="1080761"/>
                  </a:lnTo>
                  <a:lnTo>
                    <a:pt x="1013989" y="1110596"/>
                  </a:lnTo>
                  <a:lnTo>
                    <a:pt x="977330" y="1137880"/>
                  </a:lnTo>
                  <a:lnTo>
                    <a:pt x="938675" y="1162473"/>
                  </a:lnTo>
                  <a:lnTo>
                    <a:pt x="898161" y="1184237"/>
                  </a:lnTo>
                  <a:lnTo>
                    <a:pt x="855928" y="1203033"/>
                  </a:lnTo>
                  <a:lnTo>
                    <a:pt x="812113" y="1218723"/>
                  </a:lnTo>
                  <a:lnTo>
                    <a:pt x="766857" y="1231167"/>
                  </a:lnTo>
                  <a:lnTo>
                    <a:pt x="720297" y="1240228"/>
                  </a:lnTo>
                  <a:lnTo>
                    <a:pt x="672572" y="1245766"/>
                  </a:lnTo>
                  <a:lnTo>
                    <a:pt x="623832" y="1247642"/>
                  </a:lnTo>
                  <a:close/>
                </a:path>
              </a:pathLst>
            </a:custGeom>
            <a:solidFill>
              <a:srgbClr val="21408B"/>
            </a:solidFill>
          </p:spPr>
          <p:txBody>
            <a:bodyPr wrap="square" lIns="0" tIns="0" rIns="0" bIns="0" rtlCol="0"/>
            <a:lstStyle/>
            <a:p>
              <a:endParaRPr/>
            </a:p>
          </p:txBody>
        </p:sp>
        <p:pic>
          <p:nvPicPr>
            <p:cNvPr id="29" name="object 29"/>
            <p:cNvPicPr/>
            <p:nvPr/>
          </p:nvPicPr>
          <p:blipFill>
            <a:blip r:embed="rId3" cstate="print"/>
            <a:stretch>
              <a:fillRect/>
            </a:stretch>
          </p:blipFill>
          <p:spPr>
            <a:xfrm>
              <a:off x="14658392" y="6874414"/>
              <a:ext cx="132288" cy="132872"/>
            </a:xfrm>
            <a:prstGeom prst="rect">
              <a:avLst/>
            </a:prstGeom>
          </p:spPr>
        </p:pic>
        <p:sp>
          <p:nvSpPr>
            <p:cNvPr id="30" name="object 30"/>
            <p:cNvSpPr/>
            <p:nvPr/>
          </p:nvSpPr>
          <p:spPr>
            <a:xfrm>
              <a:off x="14134887" y="6896877"/>
              <a:ext cx="779780" cy="547370"/>
            </a:xfrm>
            <a:custGeom>
              <a:avLst/>
              <a:gdLst/>
              <a:ahLst/>
              <a:cxnLst/>
              <a:rect l="l" t="t" r="r" b="b"/>
              <a:pathLst>
                <a:path w="779780" h="547370">
                  <a:moveTo>
                    <a:pt x="242745" y="12592"/>
                  </a:moveTo>
                  <a:lnTo>
                    <a:pt x="221655" y="12592"/>
                  </a:lnTo>
                  <a:lnTo>
                    <a:pt x="228138" y="6350"/>
                  </a:lnTo>
                  <a:lnTo>
                    <a:pt x="234299" y="2044"/>
                  </a:lnTo>
                  <a:lnTo>
                    <a:pt x="239497" y="0"/>
                  </a:lnTo>
                  <a:lnTo>
                    <a:pt x="243086" y="538"/>
                  </a:lnTo>
                  <a:lnTo>
                    <a:pt x="244573" y="3672"/>
                  </a:lnTo>
                  <a:lnTo>
                    <a:pt x="244051" y="8825"/>
                  </a:lnTo>
                  <a:lnTo>
                    <a:pt x="242745" y="12592"/>
                  </a:lnTo>
                  <a:close/>
                </a:path>
                <a:path w="779780" h="547370">
                  <a:moveTo>
                    <a:pt x="207109" y="52025"/>
                  </a:moveTo>
                  <a:lnTo>
                    <a:pt x="203653" y="51338"/>
                  </a:lnTo>
                  <a:lnTo>
                    <a:pt x="200224" y="48755"/>
                  </a:lnTo>
                  <a:lnTo>
                    <a:pt x="202796" y="40145"/>
                  </a:lnTo>
                  <a:lnTo>
                    <a:pt x="208796" y="29813"/>
                  </a:lnTo>
                  <a:lnTo>
                    <a:pt x="197652" y="21202"/>
                  </a:lnTo>
                  <a:lnTo>
                    <a:pt x="193366" y="17758"/>
                  </a:lnTo>
                  <a:lnTo>
                    <a:pt x="192509" y="10870"/>
                  </a:lnTo>
                  <a:lnTo>
                    <a:pt x="199367" y="2260"/>
                  </a:lnTo>
                  <a:lnTo>
                    <a:pt x="206225" y="1399"/>
                  </a:lnTo>
                  <a:lnTo>
                    <a:pt x="210511" y="4843"/>
                  </a:lnTo>
                  <a:lnTo>
                    <a:pt x="221655" y="12592"/>
                  </a:lnTo>
                  <a:lnTo>
                    <a:pt x="242745" y="12592"/>
                  </a:lnTo>
                  <a:lnTo>
                    <a:pt x="241760" y="15431"/>
                  </a:lnTo>
                  <a:lnTo>
                    <a:pt x="237943" y="22924"/>
                  </a:lnTo>
                  <a:lnTo>
                    <a:pt x="264417" y="41006"/>
                  </a:lnTo>
                  <a:lnTo>
                    <a:pt x="224227" y="41006"/>
                  </a:lnTo>
                  <a:lnTo>
                    <a:pt x="217878" y="46616"/>
                  </a:lnTo>
                  <a:lnTo>
                    <a:pt x="212011" y="50370"/>
                  </a:lnTo>
                  <a:lnTo>
                    <a:pt x="207109" y="52025"/>
                  </a:lnTo>
                  <a:close/>
                </a:path>
                <a:path w="779780" h="547370">
                  <a:moveTo>
                    <a:pt x="427734" y="375086"/>
                  </a:moveTo>
                  <a:lnTo>
                    <a:pt x="262803" y="375086"/>
                  </a:lnTo>
                  <a:lnTo>
                    <a:pt x="266232" y="371642"/>
                  </a:lnTo>
                  <a:lnTo>
                    <a:pt x="268804" y="370781"/>
                  </a:lnTo>
                  <a:lnTo>
                    <a:pt x="369959" y="310508"/>
                  </a:lnTo>
                  <a:lnTo>
                    <a:pt x="287663" y="249375"/>
                  </a:lnTo>
                  <a:lnTo>
                    <a:pt x="265375" y="209768"/>
                  </a:lnTo>
                  <a:lnTo>
                    <a:pt x="266607" y="199153"/>
                  </a:lnTo>
                  <a:lnTo>
                    <a:pt x="293999" y="162492"/>
                  </a:lnTo>
                  <a:lnTo>
                    <a:pt x="338241" y="128831"/>
                  </a:lnTo>
                  <a:lnTo>
                    <a:pt x="224227" y="41006"/>
                  </a:lnTo>
                  <a:lnTo>
                    <a:pt x="264417" y="41006"/>
                  </a:lnTo>
                  <a:lnTo>
                    <a:pt x="366530" y="110750"/>
                  </a:lnTo>
                  <a:lnTo>
                    <a:pt x="542711" y="110750"/>
                  </a:lnTo>
                  <a:lnTo>
                    <a:pt x="533721" y="152994"/>
                  </a:lnTo>
                  <a:lnTo>
                    <a:pt x="495118" y="195992"/>
                  </a:lnTo>
                  <a:lnTo>
                    <a:pt x="560269" y="213212"/>
                  </a:lnTo>
                  <a:lnTo>
                    <a:pt x="561994" y="214073"/>
                  </a:lnTo>
                  <a:lnTo>
                    <a:pt x="411107" y="214073"/>
                  </a:lnTo>
                  <a:lnTo>
                    <a:pt x="387962" y="227850"/>
                  </a:lnTo>
                  <a:lnTo>
                    <a:pt x="452255" y="282094"/>
                  </a:lnTo>
                  <a:lnTo>
                    <a:pt x="458631" y="290046"/>
                  </a:lnTo>
                  <a:lnTo>
                    <a:pt x="462114" y="299207"/>
                  </a:lnTo>
                  <a:lnTo>
                    <a:pt x="462382" y="308854"/>
                  </a:lnTo>
                  <a:lnTo>
                    <a:pt x="459113" y="318258"/>
                  </a:lnTo>
                  <a:lnTo>
                    <a:pt x="427734" y="375086"/>
                  </a:lnTo>
                  <a:close/>
                </a:path>
                <a:path w="779780" h="547370">
                  <a:moveTo>
                    <a:pt x="542711" y="110750"/>
                  </a:moveTo>
                  <a:lnTo>
                    <a:pt x="366530" y="110750"/>
                  </a:lnTo>
                  <a:lnTo>
                    <a:pt x="375960" y="106444"/>
                  </a:lnTo>
                  <a:lnTo>
                    <a:pt x="399173" y="93785"/>
                  </a:lnTo>
                  <a:lnTo>
                    <a:pt x="437561" y="75568"/>
                  </a:lnTo>
                  <a:lnTo>
                    <a:pt x="483438" y="64146"/>
                  </a:lnTo>
                  <a:lnTo>
                    <a:pt x="501641" y="67389"/>
                  </a:lnTo>
                  <a:lnTo>
                    <a:pt x="519121" y="77169"/>
                  </a:lnTo>
                  <a:lnTo>
                    <a:pt x="521692" y="79752"/>
                  </a:lnTo>
                  <a:lnTo>
                    <a:pt x="533694" y="92668"/>
                  </a:lnTo>
                  <a:lnTo>
                    <a:pt x="534551" y="92668"/>
                  </a:lnTo>
                  <a:lnTo>
                    <a:pt x="534551" y="93529"/>
                  </a:lnTo>
                  <a:lnTo>
                    <a:pt x="535408" y="94390"/>
                  </a:lnTo>
                  <a:lnTo>
                    <a:pt x="542711" y="110750"/>
                  </a:lnTo>
                  <a:close/>
                </a:path>
                <a:path w="779780" h="547370">
                  <a:moveTo>
                    <a:pt x="553411" y="270040"/>
                  </a:moveTo>
                  <a:lnTo>
                    <a:pt x="548267" y="270040"/>
                  </a:lnTo>
                  <a:lnTo>
                    <a:pt x="545696" y="269179"/>
                  </a:lnTo>
                  <a:lnTo>
                    <a:pt x="432539" y="239043"/>
                  </a:lnTo>
                  <a:lnTo>
                    <a:pt x="425346" y="236177"/>
                  </a:lnTo>
                  <a:lnTo>
                    <a:pt x="419358" y="231617"/>
                  </a:lnTo>
                  <a:lnTo>
                    <a:pt x="414818" y="225603"/>
                  </a:lnTo>
                  <a:lnTo>
                    <a:pt x="411958" y="218365"/>
                  </a:lnTo>
                  <a:lnTo>
                    <a:pt x="411107" y="216656"/>
                  </a:lnTo>
                  <a:lnTo>
                    <a:pt x="411107" y="214073"/>
                  </a:lnTo>
                  <a:lnTo>
                    <a:pt x="561994" y="214073"/>
                  </a:lnTo>
                  <a:lnTo>
                    <a:pt x="570608" y="218378"/>
                  </a:lnTo>
                  <a:lnTo>
                    <a:pt x="577950" y="226666"/>
                  </a:lnTo>
                  <a:lnTo>
                    <a:pt x="581606" y="237065"/>
                  </a:lnTo>
                  <a:lnTo>
                    <a:pt x="580843" y="248514"/>
                  </a:lnTo>
                  <a:lnTo>
                    <a:pt x="576918" y="257326"/>
                  </a:lnTo>
                  <a:lnTo>
                    <a:pt x="570663" y="264121"/>
                  </a:lnTo>
                  <a:lnTo>
                    <a:pt x="562640" y="268493"/>
                  </a:lnTo>
                  <a:lnTo>
                    <a:pt x="553411" y="270040"/>
                  </a:lnTo>
                  <a:close/>
                </a:path>
                <a:path w="779780" h="547370">
                  <a:moveTo>
                    <a:pt x="693142" y="547292"/>
                  </a:moveTo>
                  <a:lnTo>
                    <a:pt x="677819" y="546485"/>
                  </a:lnTo>
                  <a:lnTo>
                    <a:pt x="665710" y="544709"/>
                  </a:lnTo>
                  <a:lnTo>
                    <a:pt x="653709" y="542126"/>
                  </a:lnTo>
                  <a:lnTo>
                    <a:pt x="0" y="333249"/>
                  </a:lnTo>
                  <a:lnTo>
                    <a:pt x="0" y="293759"/>
                  </a:lnTo>
                  <a:lnTo>
                    <a:pt x="458" y="293624"/>
                  </a:lnTo>
                  <a:lnTo>
                    <a:pt x="8200" y="294149"/>
                  </a:lnTo>
                  <a:lnTo>
                    <a:pt x="262803" y="375086"/>
                  </a:lnTo>
                  <a:lnTo>
                    <a:pt x="427734" y="375086"/>
                  </a:lnTo>
                  <a:lnTo>
                    <a:pt x="422028" y="385418"/>
                  </a:lnTo>
                  <a:lnTo>
                    <a:pt x="355386" y="385418"/>
                  </a:lnTo>
                  <a:lnTo>
                    <a:pt x="333955" y="398334"/>
                  </a:lnTo>
                  <a:lnTo>
                    <a:pt x="346814" y="402639"/>
                  </a:lnTo>
                  <a:lnTo>
                    <a:pt x="412519" y="402639"/>
                  </a:lnTo>
                  <a:lnTo>
                    <a:pt x="402535" y="420720"/>
                  </a:lnTo>
                  <a:lnTo>
                    <a:pt x="665711" y="505101"/>
                  </a:lnTo>
                  <a:lnTo>
                    <a:pt x="673506" y="506810"/>
                  </a:lnTo>
                  <a:lnTo>
                    <a:pt x="693357" y="508438"/>
                  </a:lnTo>
                  <a:lnTo>
                    <a:pt x="779474" y="508438"/>
                  </a:lnTo>
                  <a:lnTo>
                    <a:pt x="777126" y="515461"/>
                  </a:lnTo>
                  <a:lnTo>
                    <a:pt x="772009" y="521461"/>
                  </a:lnTo>
                  <a:lnTo>
                    <a:pt x="751730" y="534215"/>
                  </a:lnTo>
                  <a:lnTo>
                    <a:pt x="731290" y="542126"/>
                  </a:lnTo>
                  <a:lnTo>
                    <a:pt x="711493" y="546162"/>
                  </a:lnTo>
                  <a:lnTo>
                    <a:pt x="693142" y="547292"/>
                  </a:lnTo>
                  <a:close/>
                </a:path>
                <a:path w="779780" h="547370">
                  <a:moveTo>
                    <a:pt x="412519" y="402639"/>
                  </a:moveTo>
                  <a:lnTo>
                    <a:pt x="346814" y="402639"/>
                  </a:lnTo>
                  <a:lnTo>
                    <a:pt x="355386" y="385418"/>
                  </a:lnTo>
                  <a:lnTo>
                    <a:pt x="422028" y="385418"/>
                  </a:lnTo>
                  <a:lnTo>
                    <a:pt x="412519" y="402639"/>
                  </a:lnTo>
                  <a:close/>
                </a:path>
                <a:path w="779780" h="547370">
                  <a:moveTo>
                    <a:pt x="779474" y="508438"/>
                  </a:moveTo>
                  <a:lnTo>
                    <a:pt x="693357" y="508438"/>
                  </a:lnTo>
                  <a:lnTo>
                    <a:pt x="719958" y="504738"/>
                  </a:lnTo>
                  <a:lnTo>
                    <a:pt x="754945" y="486885"/>
                  </a:lnTo>
                  <a:lnTo>
                    <a:pt x="779407" y="506810"/>
                  </a:lnTo>
                  <a:lnTo>
                    <a:pt x="779474" y="508438"/>
                  </a:lnTo>
                  <a:close/>
                </a:path>
              </a:pathLst>
            </a:custGeom>
            <a:solidFill>
              <a:srgbClr val="FFFFFF"/>
            </a:solidFill>
          </p:spPr>
          <p:txBody>
            <a:bodyPr wrap="square" lIns="0" tIns="0" rIns="0" bIns="0" rtlCol="0"/>
            <a:lstStyle/>
            <a:p>
              <a:endParaRPr/>
            </a:p>
          </p:txBody>
        </p:sp>
        <p:sp>
          <p:nvSpPr>
            <p:cNvPr id="31" name="object 31"/>
            <p:cNvSpPr/>
            <p:nvPr/>
          </p:nvSpPr>
          <p:spPr>
            <a:xfrm>
              <a:off x="15805132" y="6539088"/>
              <a:ext cx="1247775" cy="1247775"/>
            </a:xfrm>
            <a:custGeom>
              <a:avLst/>
              <a:gdLst/>
              <a:ahLst/>
              <a:cxnLst/>
              <a:rect l="l" t="t" r="r" b="b"/>
              <a:pathLst>
                <a:path w="1247775" h="1247775">
                  <a:moveTo>
                    <a:pt x="623832" y="1247642"/>
                  </a:moveTo>
                  <a:lnTo>
                    <a:pt x="575069" y="1245766"/>
                  </a:lnTo>
                  <a:lnTo>
                    <a:pt x="527344" y="1240228"/>
                  </a:lnTo>
                  <a:lnTo>
                    <a:pt x="480783" y="1231167"/>
                  </a:lnTo>
                  <a:lnTo>
                    <a:pt x="435527" y="1218723"/>
                  </a:lnTo>
                  <a:lnTo>
                    <a:pt x="391712" y="1203033"/>
                  </a:lnTo>
                  <a:lnTo>
                    <a:pt x="349479" y="1184237"/>
                  </a:lnTo>
                  <a:lnTo>
                    <a:pt x="308965" y="1162473"/>
                  </a:lnTo>
                  <a:lnTo>
                    <a:pt x="270310" y="1137880"/>
                  </a:lnTo>
                  <a:lnTo>
                    <a:pt x="233651" y="1110596"/>
                  </a:lnTo>
                  <a:lnTo>
                    <a:pt x="199128" y="1080761"/>
                  </a:lnTo>
                  <a:lnTo>
                    <a:pt x="166880" y="1048512"/>
                  </a:lnTo>
                  <a:lnTo>
                    <a:pt x="137045" y="1013990"/>
                  </a:lnTo>
                  <a:lnTo>
                    <a:pt x="109761" y="977331"/>
                  </a:lnTo>
                  <a:lnTo>
                    <a:pt x="85168" y="938676"/>
                  </a:lnTo>
                  <a:lnTo>
                    <a:pt x="63404" y="898162"/>
                  </a:lnTo>
                  <a:lnTo>
                    <a:pt x="44608" y="855929"/>
                  </a:lnTo>
                  <a:lnTo>
                    <a:pt x="28918" y="812114"/>
                  </a:lnTo>
                  <a:lnTo>
                    <a:pt x="16474" y="766858"/>
                  </a:lnTo>
                  <a:lnTo>
                    <a:pt x="7413" y="720298"/>
                  </a:lnTo>
                  <a:lnTo>
                    <a:pt x="1875" y="672573"/>
                  </a:lnTo>
                  <a:lnTo>
                    <a:pt x="0" y="623852"/>
                  </a:lnTo>
                  <a:lnTo>
                    <a:pt x="1875" y="575070"/>
                  </a:lnTo>
                  <a:lnTo>
                    <a:pt x="7413" y="527345"/>
                  </a:lnTo>
                  <a:lnTo>
                    <a:pt x="16474" y="480785"/>
                  </a:lnTo>
                  <a:lnTo>
                    <a:pt x="28918" y="435528"/>
                  </a:lnTo>
                  <a:lnTo>
                    <a:pt x="44608" y="391714"/>
                  </a:lnTo>
                  <a:lnTo>
                    <a:pt x="63404" y="349480"/>
                  </a:lnTo>
                  <a:lnTo>
                    <a:pt x="85168" y="308967"/>
                  </a:lnTo>
                  <a:lnTo>
                    <a:pt x="109761" y="270311"/>
                  </a:lnTo>
                  <a:lnTo>
                    <a:pt x="137045" y="233653"/>
                  </a:lnTo>
                  <a:lnTo>
                    <a:pt x="166880" y="199130"/>
                  </a:lnTo>
                  <a:lnTo>
                    <a:pt x="199128" y="166881"/>
                  </a:lnTo>
                  <a:lnTo>
                    <a:pt x="233651" y="137046"/>
                  </a:lnTo>
                  <a:lnTo>
                    <a:pt x="270310" y="109763"/>
                  </a:lnTo>
                  <a:lnTo>
                    <a:pt x="308965" y="85169"/>
                  </a:lnTo>
                  <a:lnTo>
                    <a:pt x="349479" y="63405"/>
                  </a:lnTo>
                  <a:lnTo>
                    <a:pt x="391712" y="44609"/>
                  </a:lnTo>
                  <a:lnTo>
                    <a:pt x="435527" y="28920"/>
                  </a:lnTo>
                  <a:lnTo>
                    <a:pt x="480783" y="16475"/>
                  </a:lnTo>
                  <a:lnTo>
                    <a:pt x="527344" y="7414"/>
                  </a:lnTo>
                  <a:lnTo>
                    <a:pt x="575069" y="1876"/>
                  </a:lnTo>
                  <a:lnTo>
                    <a:pt x="623820" y="0"/>
                  </a:lnTo>
                  <a:lnTo>
                    <a:pt x="672571" y="1876"/>
                  </a:lnTo>
                  <a:lnTo>
                    <a:pt x="720297" y="7414"/>
                  </a:lnTo>
                  <a:lnTo>
                    <a:pt x="766857" y="16475"/>
                  </a:lnTo>
                  <a:lnTo>
                    <a:pt x="812113" y="28920"/>
                  </a:lnTo>
                  <a:lnTo>
                    <a:pt x="855928" y="44609"/>
                  </a:lnTo>
                  <a:lnTo>
                    <a:pt x="898161" y="63405"/>
                  </a:lnTo>
                  <a:lnTo>
                    <a:pt x="938675" y="85169"/>
                  </a:lnTo>
                  <a:lnTo>
                    <a:pt x="977330" y="109763"/>
                  </a:lnTo>
                  <a:lnTo>
                    <a:pt x="1013989" y="137046"/>
                  </a:lnTo>
                  <a:lnTo>
                    <a:pt x="1048512" y="166881"/>
                  </a:lnTo>
                  <a:lnTo>
                    <a:pt x="1080760" y="199130"/>
                  </a:lnTo>
                  <a:lnTo>
                    <a:pt x="1110595" y="233653"/>
                  </a:lnTo>
                  <a:lnTo>
                    <a:pt x="1137879" y="270311"/>
                  </a:lnTo>
                  <a:lnTo>
                    <a:pt x="1162472" y="308967"/>
                  </a:lnTo>
                  <a:lnTo>
                    <a:pt x="1184236" y="349480"/>
                  </a:lnTo>
                  <a:lnTo>
                    <a:pt x="1203033" y="391714"/>
                  </a:lnTo>
                  <a:lnTo>
                    <a:pt x="1218722" y="435528"/>
                  </a:lnTo>
                  <a:lnTo>
                    <a:pt x="1231167" y="480785"/>
                  </a:lnTo>
                  <a:lnTo>
                    <a:pt x="1240227" y="527345"/>
                  </a:lnTo>
                  <a:lnTo>
                    <a:pt x="1245766" y="575070"/>
                  </a:lnTo>
                  <a:lnTo>
                    <a:pt x="1247641" y="623852"/>
                  </a:lnTo>
                  <a:lnTo>
                    <a:pt x="1245766" y="672573"/>
                  </a:lnTo>
                  <a:lnTo>
                    <a:pt x="1240227" y="720298"/>
                  </a:lnTo>
                  <a:lnTo>
                    <a:pt x="1231167" y="766858"/>
                  </a:lnTo>
                  <a:lnTo>
                    <a:pt x="1218722" y="812114"/>
                  </a:lnTo>
                  <a:lnTo>
                    <a:pt x="1203033" y="855929"/>
                  </a:lnTo>
                  <a:lnTo>
                    <a:pt x="1184236" y="898162"/>
                  </a:lnTo>
                  <a:lnTo>
                    <a:pt x="1162472" y="938676"/>
                  </a:lnTo>
                  <a:lnTo>
                    <a:pt x="1137879" y="977331"/>
                  </a:lnTo>
                  <a:lnTo>
                    <a:pt x="1110595" y="1013990"/>
                  </a:lnTo>
                  <a:lnTo>
                    <a:pt x="1080760" y="1048512"/>
                  </a:lnTo>
                  <a:lnTo>
                    <a:pt x="1048512" y="1080761"/>
                  </a:lnTo>
                  <a:lnTo>
                    <a:pt x="1013989" y="1110596"/>
                  </a:lnTo>
                  <a:lnTo>
                    <a:pt x="977330" y="1137880"/>
                  </a:lnTo>
                  <a:lnTo>
                    <a:pt x="938675" y="1162473"/>
                  </a:lnTo>
                  <a:lnTo>
                    <a:pt x="898161" y="1184237"/>
                  </a:lnTo>
                  <a:lnTo>
                    <a:pt x="855928" y="1203033"/>
                  </a:lnTo>
                  <a:lnTo>
                    <a:pt x="812113" y="1218723"/>
                  </a:lnTo>
                  <a:lnTo>
                    <a:pt x="766857" y="1231167"/>
                  </a:lnTo>
                  <a:lnTo>
                    <a:pt x="720297" y="1240228"/>
                  </a:lnTo>
                  <a:lnTo>
                    <a:pt x="672571" y="1245766"/>
                  </a:lnTo>
                  <a:lnTo>
                    <a:pt x="623832" y="1247642"/>
                  </a:lnTo>
                  <a:close/>
                </a:path>
              </a:pathLst>
            </a:custGeom>
            <a:solidFill>
              <a:srgbClr val="F5A316"/>
            </a:solidFill>
          </p:spPr>
          <p:txBody>
            <a:bodyPr wrap="square" lIns="0" tIns="0" rIns="0" bIns="0" rtlCol="0"/>
            <a:lstStyle/>
            <a:p>
              <a:endParaRPr/>
            </a:p>
          </p:txBody>
        </p:sp>
        <p:sp>
          <p:nvSpPr>
            <p:cNvPr id="32" name="object 32"/>
            <p:cNvSpPr/>
            <p:nvPr/>
          </p:nvSpPr>
          <p:spPr>
            <a:xfrm>
              <a:off x="16178632" y="6883818"/>
              <a:ext cx="606425" cy="629920"/>
            </a:xfrm>
            <a:custGeom>
              <a:avLst/>
              <a:gdLst/>
              <a:ahLst/>
              <a:cxnLst/>
              <a:rect l="l" t="t" r="r" b="b"/>
              <a:pathLst>
                <a:path w="606425" h="629920">
                  <a:moveTo>
                    <a:pt x="555853" y="397865"/>
                  </a:moveTo>
                  <a:lnTo>
                    <a:pt x="555345" y="376593"/>
                  </a:lnTo>
                  <a:lnTo>
                    <a:pt x="547344" y="356717"/>
                  </a:lnTo>
                  <a:lnTo>
                    <a:pt x="532587" y="342315"/>
                  </a:lnTo>
                  <a:lnTo>
                    <a:pt x="513245" y="334695"/>
                  </a:lnTo>
                  <a:lnTo>
                    <a:pt x="491451" y="335191"/>
                  </a:lnTo>
                  <a:lnTo>
                    <a:pt x="454723" y="342125"/>
                  </a:lnTo>
                  <a:lnTo>
                    <a:pt x="413181" y="347395"/>
                  </a:lnTo>
                  <a:lnTo>
                    <a:pt x="374561" y="349326"/>
                  </a:lnTo>
                  <a:lnTo>
                    <a:pt x="335635" y="338302"/>
                  </a:lnTo>
                  <a:lnTo>
                    <a:pt x="306171" y="308762"/>
                  </a:lnTo>
                  <a:lnTo>
                    <a:pt x="282663" y="283184"/>
                  </a:lnTo>
                  <a:lnTo>
                    <a:pt x="272503" y="272465"/>
                  </a:lnTo>
                  <a:lnTo>
                    <a:pt x="237388" y="238328"/>
                  </a:lnTo>
                  <a:lnTo>
                    <a:pt x="204216" y="216154"/>
                  </a:lnTo>
                  <a:lnTo>
                    <a:pt x="145986" y="202501"/>
                  </a:lnTo>
                  <a:lnTo>
                    <a:pt x="99136" y="202704"/>
                  </a:lnTo>
                  <a:lnTo>
                    <a:pt x="54368" y="216496"/>
                  </a:lnTo>
                  <a:lnTo>
                    <a:pt x="23456" y="250939"/>
                  </a:lnTo>
                  <a:lnTo>
                    <a:pt x="6426" y="329590"/>
                  </a:lnTo>
                  <a:lnTo>
                    <a:pt x="2362" y="381533"/>
                  </a:lnTo>
                  <a:lnTo>
                    <a:pt x="431" y="438277"/>
                  </a:lnTo>
                  <a:lnTo>
                    <a:pt x="0" y="497116"/>
                  </a:lnTo>
                  <a:lnTo>
                    <a:pt x="457" y="555307"/>
                  </a:lnTo>
                  <a:lnTo>
                    <a:pt x="1168" y="610158"/>
                  </a:lnTo>
                  <a:lnTo>
                    <a:pt x="18999" y="629373"/>
                  </a:lnTo>
                  <a:lnTo>
                    <a:pt x="233680" y="629373"/>
                  </a:lnTo>
                  <a:lnTo>
                    <a:pt x="241173" y="589838"/>
                  </a:lnTo>
                  <a:lnTo>
                    <a:pt x="247878" y="473722"/>
                  </a:lnTo>
                  <a:lnTo>
                    <a:pt x="251510" y="407631"/>
                  </a:lnTo>
                  <a:lnTo>
                    <a:pt x="266026" y="420839"/>
                  </a:lnTo>
                  <a:lnTo>
                    <a:pt x="311683" y="448284"/>
                  </a:lnTo>
                  <a:lnTo>
                    <a:pt x="361823" y="456704"/>
                  </a:lnTo>
                  <a:lnTo>
                    <a:pt x="380022" y="457149"/>
                  </a:lnTo>
                  <a:lnTo>
                    <a:pt x="423291" y="455129"/>
                  </a:lnTo>
                  <a:lnTo>
                    <a:pt x="463130" y="450405"/>
                  </a:lnTo>
                  <a:lnTo>
                    <a:pt x="514489" y="440893"/>
                  </a:lnTo>
                  <a:lnTo>
                    <a:pt x="548284" y="417055"/>
                  </a:lnTo>
                  <a:lnTo>
                    <a:pt x="555853" y="397865"/>
                  </a:lnTo>
                  <a:close/>
                </a:path>
                <a:path w="606425" h="629920">
                  <a:moveTo>
                    <a:pt x="606221" y="34645"/>
                  </a:moveTo>
                  <a:lnTo>
                    <a:pt x="603719" y="21653"/>
                  </a:lnTo>
                  <a:lnTo>
                    <a:pt x="596201" y="9969"/>
                  </a:lnTo>
                  <a:lnTo>
                    <a:pt x="584771" y="2489"/>
                  </a:lnTo>
                  <a:lnTo>
                    <a:pt x="571690" y="0"/>
                  </a:lnTo>
                  <a:lnTo>
                    <a:pt x="558596" y="2489"/>
                  </a:lnTo>
                  <a:lnTo>
                    <a:pt x="547166" y="9969"/>
                  </a:lnTo>
                  <a:lnTo>
                    <a:pt x="497395" y="59499"/>
                  </a:lnTo>
                  <a:lnTo>
                    <a:pt x="467690" y="49149"/>
                  </a:lnTo>
                  <a:lnTo>
                    <a:pt x="475856" y="41021"/>
                  </a:lnTo>
                  <a:lnTo>
                    <a:pt x="475856" y="34366"/>
                  </a:lnTo>
                  <a:lnTo>
                    <a:pt x="471398" y="30670"/>
                  </a:lnTo>
                  <a:lnTo>
                    <a:pt x="466940" y="26238"/>
                  </a:lnTo>
                  <a:lnTo>
                    <a:pt x="460260" y="26238"/>
                  </a:lnTo>
                  <a:lnTo>
                    <a:pt x="456539" y="30670"/>
                  </a:lnTo>
                  <a:lnTo>
                    <a:pt x="445401" y="41757"/>
                  </a:lnTo>
                  <a:lnTo>
                    <a:pt x="416433" y="31407"/>
                  </a:lnTo>
                  <a:lnTo>
                    <a:pt x="422363" y="25501"/>
                  </a:lnTo>
                  <a:lnTo>
                    <a:pt x="422363" y="18846"/>
                  </a:lnTo>
                  <a:lnTo>
                    <a:pt x="417918" y="15151"/>
                  </a:lnTo>
                  <a:lnTo>
                    <a:pt x="413461" y="10718"/>
                  </a:lnTo>
                  <a:lnTo>
                    <a:pt x="406768" y="10718"/>
                  </a:lnTo>
                  <a:lnTo>
                    <a:pt x="403059" y="15151"/>
                  </a:lnTo>
                  <a:lnTo>
                    <a:pt x="394144" y="24015"/>
                  </a:lnTo>
                  <a:lnTo>
                    <a:pt x="369620" y="15151"/>
                  </a:lnTo>
                  <a:lnTo>
                    <a:pt x="365912" y="13665"/>
                  </a:lnTo>
                  <a:lnTo>
                    <a:pt x="362204" y="15151"/>
                  </a:lnTo>
                  <a:lnTo>
                    <a:pt x="335457" y="41757"/>
                  </a:lnTo>
                  <a:lnTo>
                    <a:pt x="336194" y="49149"/>
                  </a:lnTo>
                  <a:lnTo>
                    <a:pt x="341401" y="52108"/>
                  </a:lnTo>
                  <a:lnTo>
                    <a:pt x="445401" y="115671"/>
                  </a:lnTo>
                  <a:lnTo>
                    <a:pt x="381508" y="190322"/>
                  </a:lnTo>
                  <a:lnTo>
                    <a:pt x="336194" y="178498"/>
                  </a:lnTo>
                  <a:lnTo>
                    <a:pt x="333971" y="179235"/>
                  </a:lnTo>
                  <a:lnTo>
                    <a:pt x="317627" y="195503"/>
                  </a:lnTo>
                  <a:lnTo>
                    <a:pt x="318363" y="201409"/>
                  </a:lnTo>
                  <a:lnTo>
                    <a:pt x="322821" y="203631"/>
                  </a:lnTo>
                  <a:lnTo>
                    <a:pt x="373341" y="230974"/>
                  </a:lnTo>
                  <a:lnTo>
                    <a:pt x="400824" y="281241"/>
                  </a:lnTo>
                  <a:lnTo>
                    <a:pt x="403059" y="285673"/>
                  </a:lnTo>
                  <a:lnTo>
                    <a:pt x="409003" y="286410"/>
                  </a:lnTo>
                  <a:lnTo>
                    <a:pt x="425335" y="270154"/>
                  </a:lnTo>
                  <a:lnTo>
                    <a:pt x="426085" y="267931"/>
                  </a:lnTo>
                  <a:lnTo>
                    <a:pt x="414947" y="223583"/>
                  </a:lnTo>
                  <a:lnTo>
                    <a:pt x="489966" y="160020"/>
                  </a:lnTo>
                  <a:lnTo>
                    <a:pt x="553859" y="264236"/>
                  </a:lnTo>
                  <a:lnTo>
                    <a:pt x="556831" y="269417"/>
                  </a:lnTo>
                  <a:lnTo>
                    <a:pt x="564261" y="270154"/>
                  </a:lnTo>
                  <a:lnTo>
                    <a:pt x="588772" y="245757"/>
                  </a:lnTo>
                  <a:lnTo>
                    <a:pt x="591743" y="243547"/>
                  </a:lnTo>
                  <a:lnTo>
                    <a:pt x="592480" y="239102"/>
                  </a:lnTo>
                  <a:lnTo>
                    <a:pt x="590994" y="236156"/>
                  </a:lnTo>
                  <a:lnTo>
                    <a:pt x="582079" y="211759"/>
                  </a:lnTo>
                  <a:lnTo>
                    <a:pt x="595452" y="198450"/>
                  </a:lnTo>
                  <a:lnTo>
                    <a:pt x="595452" y="191808"/>
                  </a:lnTo>
                  <a:lnTo>
                    <a:pt x="590994" y="188112"/>
                  </a:lnTo>
                  <a:lnTo>
                    <a:pt x="586536" y="183667"/>
                  </a:lnTo>
                  <a:lnTo>
                    <a:pt x="579856" y="183667"/>
                  </a:lnTo>
                  <a:lnTo>
                    <a:pt x="576148" y="188112"/>
                  </a:lnTo>
                  <a:lnTo>
                    <a:pt x="575398" y="189585"/>
                  </a:lnTo>
                  <a:lnTo>
                    <a:pt x="564997" y="160756"/>
                  </a:lnTo>
                  <a:lnTo>
                    <a:pt x="579856" y="145973"/>
                  </a:lnTo>
                  <a:lnTo>
                    <a:pt x="579856" y="139319"/>
                  </a:lnTo>
                  <a:lnTo>
                    <a:pt x="575398" y="135623"/>
                  </a:lnTo>
                  <a:lnTo>
                    <a:pt x="570941" y="131191"/>
                  </a:lnTo>
                  <a:lnTo>
                    <a:pt x="564261" y="131191"/>
                  </a:lnTo>
                  <a:lnTo>
                    <a:pt x="560539" y="135623"/>
                  </a:lnTo>
                  <a:lnTo>
                    <a:pt x="556831" y="139319"/>
                  </a:lnTo>
                  <a:lnTo>
                    <a:pt x="546430" y="108280"/>
                  </a:lnTo>
                  <a:lnTo>
                    <a:pt x="596201" y="58762"/>
                  </a:lnTo>
                  <a:lnTo>
                    <a:pt x="603719" y="47498"/>
                  </a:lnTo>
                  <a:lnTo>
                    <a:pt x="606221" y="34645"/>
                  </a:lnTo>
                  <a:close/>
                </a:path>
              </a:pathLst>
            </a:custGeom>
            <a:solidFill>
              <a:srgbClr val="FFFFFF"/>
            </a:solidFill>
          </p:spPr>
          <p:txBody>
            <a:bodyPr wrap="square" lIns="0" tIns="0" rIns="0" bIns="0" rtlCol="0"/>
            <a:lstStyle/>
            <a:p>
              <a:endParaRPr/>
            </a:p>
          </p:txBody>
        </p:sp>
        <p:pic>
          <p:nvPicPr>
            <p:cNvPr id="33" name="object 33"/>
            <p:cNvPicPr/>
            <p:nvPr/>
          </p:nvPicPr>
          <p:blipFill>
            <a:blip r:embed="rId4" cstate="print"/>
            <a:stretch>
              <a:fillRect/>
            </a:stretch>
          </p:blipFill>
          <p:spPr>
            <a:xfrm>
              <a:off x="16196891" y="6811002"/>
              <a:ext cx="246629" cy="245394"/>
            </a:xfrm>
            <a:prstGeom prst="rect">
              <a:avLst/>
            </a:prstGeom>
          </p:spPr>
        </p:pic>
        <p:sp>
          <p:nvSpPr>
            <p:cNvPr id="34" name="object 34"/>
            <p:cNvSpPr/>
            <p:nvPr/>
          </p:nvSpPr>
          <p:spPr>
            <a:xfrm>
              <a:off x="12031427" y="6539088"/>
              <a:ext cx="1247775" cy="1247775"/>
            </a:xfrm>
            <a:custGeom>
              <a:avLst/>
              <a:gdLst/>
              <a:ahLst/>
              <a:cxnLst/>
              <a:rect l="l" t="t" r="r" b="b"/>
              <a:pathLst>
                <a:path w="1247775" h="1247775">
                  <a:moveTo>
                    <a:pt x="623832" y="1247642"/>
                  </a:moveTo>
                  <a:lnTo>
                    <a:pt x="575069" y="1245766"/>
                  </a:lnTo>
                  <a:lnTo>
                    <a:pt x="527344" y="1240228"/>
                  </a:lnTo>
                  <a:lnTo>
                    <a:pt x="480784" y="1231167"/>
                  </a:lnTo>
                  <a:lnTo>
                    <a:pt x="435527" y="1218723"/>
                  </a:lnTo>
                  <a:lnTo>
                    <a:pt x="391713" y="1203033"/>
                  </a:lnTo>
                  <a:lnTo>
                    <a:pt x="349480" y="1184237"/>
                  </a:lnTo>
                  <a:lnTo>
                    <a:pt x="308966" y="1162473"/>
                  </a:lnTo>
                  <a:lnTo>
                    <a:pt x="270310" y="1137880"/>
                  </a:lnTo>
                  <a:lnTo>
                    <a:pt x="233652" y="1110596"/>
                  </a:lnTo>
                  <a:lnTo>
                    <a:pt x="199129" y="1080761"/>
                  </a:lnTo>
                  <a:lnTo>
                    <a:pt x="166881" y="1048512"/>
                  </a:lnTo>
                  <a:lnTo>
                    <a:pt x="137045" y="1013990"/>
                  </a:lnTo>
                  <a:lnTo>
                    <a:pt x="109762" y="977331"/>
                  </a:lnTo>
                  <a:lnTo>
                    <a:pt x="85169" y="938676"/>
                  </a:lnTo>
                  <a:lnTo>
                    <a:pt x="63405" y="898162"/>
                  </a:lnTo>
                  <a:lnTo>
                    <a:pt x="44609" y="855929"/>
                  </a:lnTo>
                  <a:lnTo>
                    <a:pt x="28919" y="812114"/>
                  </a:lnTo>
                  <a:lnTo>
                    <a:pt x="16474" y="766858"/>
                  </a:lnTo>
                  <a:lnTo>
                    <a:pt x="7414" y="720298"/>
                  </a:lnTo>
                  <a:lnTo>
                    <a:pt x="1876" y="672573"/>
                  </a:lnTo>
                  <a:lnTo>
                    <a:pt x="0" y="623803"/>
                  </a:lnTo>
                  <a:lnTo>
                    <a:pt x="1876" y="575070"/>
                  </a:lnTo>
                  <a:lnTo>
                    <a:pt x="7414" y="527345"/>
                  </a:lnTo>
                  <a:lnTo>
                    <a:pt x="16474" y="480785"/>
                  </a:lnTo>
                  <a:lnTo>
                    <a:pt x="28919" y="435528"/>
                  </a:lnTo>
                  <a:lnTo>
                    <a:pt x="44609" y="391714"/>
                  </a:lnTo>
                  <a:lnTo>
                    <a:pt x="63405" y="349480"/>
                  </a:lnTo>
                  <a:lnTo>
                    <a:pt x="85169" y="308967"/>
                  </a:lnTo>
                  <a:lnTo>
                    <a:pt x="109762" y="270311"/>
                  </a:lnTo>
                  <a:lnTo>
                    <a:pt x="137045" y="233653"/>
                  </a:lnTo>
                  <a:lnTo>
                    <a:pt x="166881" y="199130"/>
                  </a:lnTo>
                  <a:lnTo>
                    <a:pt x="199129" y="166881"/>
                  </a:lnTo>
                  <a:lnTo>
                    <a:pt x="233652" y="137046"/>
                  </a:lnTo>
                  <a:lnTo>
                    <a:pt x="270310" y="109763"/>
                  </a:lnTo>
                  <a:lnTo>
                    <a:pt x="308966" y="85169"/>
                  </a:lnTo>
                  <a:lnTo>
                    <a:pt x="349480" y="63405"/>
                  </a:lnTo>
                  <a:lnTo>
                    <a:pt x="391713" y="44609"/>
                  </a:lnTo>
                  <a:lnTo>
                    <a:pt x="435527" y="28920"/>
                  </a:lnTo>
                  <a:lnTo>
                    <a:pt x="480784" y="16475"/>
                  </a:lnTo>
                  <a:lnTo>
                    <a:pt x="527344" y="7414"/>
                  </a:lnTo>
                  <a:lnTo>
                    <a:pt x="575069" y="1876"/>
                  </a:lnTo>
                  <a:lnTo>
                    <a:pt x="623821" y="0"/>
                  </a:lnTo>
                  <a:lnTo>
                    <a:pt x="672572" y="1876"/>
                  </a:lnTo>
                  <a:lnTo>
                    <a:pt x="720297" y="7414"/>
                  </a:lnTo>
                  <a:lnTo>
                    <a:pt x="766857" y="16475"/>
                  </a:lnTo>
                  <a:lnTo>
                    <a:pt x="812114" y="28920"/>
                  </a:lnTo>
                  <a:lnTo>
                    <a:pt x="855928" y="44609"/>
                  </a:lnTo>
                  <a:lnTo>
                    <a:pt x="898161" y="63405"/>
                  </a:lnTo>
                  <a:lnTo>
                    <a:pt x="938675" y="85169"/>
                  </a:lnTo>
                  <a:lnTo>
                    <a:pt x="977331" y="109763"/>
                  </a:lnTo>
                  <a:lnTo>
                    <a:pt x="1013989" y="137046"/>
                  </a:lnTo>
                  <a:lnTo>
                    <a:pt x="1048512" y="166881"/>
                  </a:lnTo>
                  <a:lnTo>
                    <a:pt x="1080760" y="199130"/>
                  </a:lnTo>
                  <a:lnTo>
                    <a:pt x="1110596" y="233653"/>
                  </a:lnTo>
                  <a:lnTo>
                    <a:pt x="1137879" y="270311"/>
                  </a:lnTo>
                  <a:lnTo>
                    <a:pt x="1162472" y="308967"/>
                  </a:lnTo>
                  <a:lnTo>
                    <a:pt x="1184237" y="349480"/>
                  </a:lnTo>
                  <a:lnTo>
                    <a:pt x="1203033" y="391714"/>
                  </a:lnTo>
                  <a:lnTo>
                    <a:pt x="1218722" y="435528"/>
                  </a:lnTo>
                  <a:lnTo>
                    <a:pt x="1231167" y="480785"/>
                  </a:lnTo>
                  <a:lnTo>
                    <a:pt x="1240228" y="527345"/>
                  </a:lnTo>
                  <a:lnTo>
                    <a:pt x="1245766" y="575070"/>
                  </a:lnTo>
                  <a:lnTo>
                    <a:pt x="1247641" y="623821"/>
                  </a:lnTo>
                  <a:lnTo>
                    <a:pt x="1245766" y="672573"/>
                  </a:lnTo>
                  <a:lnTo>
                    <a:pt x="1240228" y="720298"/>
                  </a:lnTo>
                  <a:lnTo>
                    <a:pt x="1231167" y="766858"/>
                  </a:lnTo>
                  <a:lnTo>
                    <a:pt x="1218722" y="812114"/>
                  </a:lnTo>
                  <a:lnTo>
                    <a:pt x="1203033" y="855929"/>
                  </a:lnTo>
                  <a:lnTo>
                    <a:pt x="1184237" y="898162"/>
                  </a:lnTo>
                  <a:lnTo>
                    <a:pt x="1162472" y="938676"/>
                  </a:lnTo>
                  <a:lnTo>
                    <a:pt x="1137879" y="977331"/>
                  </a:lnTo>
                  <a:lnTo>
                    <a:pt x="1110596" y="1013990"/>
                  </a:lnTo>
                  <a:lnTo>
                    <a:pt x="1080760" y="1048512"/>
                  </a:lnTo>
                  <a:lnTo>
                    <a:pt x="1048512" y="1080761"/>
                  </a:lnTo>
                  <a:lnTo>
                    <a:pt x="1013989" y="1110596"/>
                  </a:lnTo>
                  <a:lnTo>
                    <a:pt x="977331" y="1137880"/>
                  </a:lnTo>
                  <a:lnTo>
                    <a:pt x="938675" y="1162473"/>
                  </a:lnTo>
                  <a:lnTo>
                    <a:pt x="898161" y="1184237"/>
                  </a:lnTo>
                  <a:lnTo>
                    <a:pt x="855928" y="1203033"/>
                  </a:lnTo>
                  <a:lnTo>
                    <a:pt x="812114" y="1218723"/>
                  </a:lnTo>
                  <a:lnTo>
                    <a:pt x="766857" y="1231167"/>
                  </a:lnTo>
                  <a:lnTo>
                    <a:pt x="720297" y="1240228"/>
                  </a:lnTo>
                  <a:lnTo>
                    <a:pt x="672572" y="1245766"/>
                  </a:lnTo>
                  <a:lnTo>
                    <a:pt x="623832" y="1247642"/>
                  </a:lnTo>
                  <a:close/>
                </a:path>
              </a:pathLst>
            </a:custGeom>
            <a:solidFill>
              <a:srgbClr val="E3112B"/>
            </a:solidFill>
          </p:spPr>
          <p:txBody>
            <a:bodyPr wrap="square" lIns="0" tIns="0" rIns="0" bIns="0" rtlCol="0"/>
            <a:lstStyle/>
            <a:p>
              <a:endParaRPr/>
            </a:p>
          </p:txBody>
        </p:sp>
        <p:sp>
          <p:nvSpPr>
            <p:cNvPr id="35" name="object 35"/>
            <p:cNvSpPr/>
            <p:nvPr/>
          </p:nvSpPr>
          <p:spPr>
            <a:xfrm>
              <a:off x="12297956" y="6759561"/>
              <a:ext cx="711200" cy="711200"/>
            </a:xfrm>
            <a:custGeom>
              <a:avLst/>
              <a:gdLst/>
              <a:ahLst/>
              <a:cxnLst/>
              <a:rect l="l" t="t" r="r" b="b"/>
              <a:pathLst>
                <a:path w="711200" h="711200">
                  <a:moveTo>
                    <a:pt x="237134" y="118694"/>
                  </a:moveTo>
                  <a:lnTo>
                    <a:pt x="230949" y="80467"/>
                  </a:lnTo>
                  <a:lnTo>
                    <a:pt x="230441" y="79121"/>
                  </a:lnTo>
                  <a:lnTo>
                    <a:pt x="174599" y="79121"/>
                  </a:lnTo>
                  <a:lnTo>
                    <a:pt x="230441" y="79108"/>
                  </a:lnTo>
                  <a:lnTo>
                    <a:pt x="207835" y="40322"/>
                  </a:lnTo>
                  <a:lnTo>
                    <a:pt x="177888" y="15773"/>
                  </a:lnTo>
                  <a:lnTo>
                    <a:pt x="158038" y="6718"/>
                  </a:lnTo>
                  <a:lnTo>
                    <a:pt x="158038" y="123748"/>
                  </a:lnTo>
                  <a:lnTo>
                    <a:pt x="157060" y="128765"/>
                  </a:lnTo>
                  <a:lnTo>
                    <a:pt x="128765" y="157060"/>
                  </a:lnTo>
                  <a:lnTo>
                    <a:pt x="123939" y="158000"/>
                  </a:lnTo>
                  <a:lnTo>
                    <a:pt x="113233" y="157988"/>
                  </a:lnTo>
                  <a:lnTo>
                    <a:pt x="80098" y="128778"/>
                  </a:lnTo>
                  <a:lnTo>
                    <a:pt x="79108" y="123748"/>
                  </a:lnTo>
                  <a:lnTo>
                    <a:pt x="79133" y="113220"/>
                  </a:lnTo>
                  <a:lnTo>
                    <a:pt x="108280" y="80124"/>
                  </a:lnTo>
                  <a:lnTo>
                    <a:pt x="113309" y="79121"/>
                  </a:lnTo>
                  <a:lnTo>
                    <a:pt x="123799" y="79121"/>
                  </a:lnTo>
                  <a:lnTo>
                    <a:pt x="156984" y="108204"/>
                  </a:lnTo>
                  <a:lnTo>
                    <a:pt x="158038" y="123748"/>
                  </a:lnTo>
                  <a:lnTo>
                    <a:pt x="158038" y="6718"/>
                  </a:lnTo>
                  <a:lnTo>
                    <a:pt x="118452" y="0"/>
                  </a:lnTo>
                  <a:lnTo>
                    <a:pt x="110680" y="0"/>
                  </a:lnTo>
                  <a:lnTo>
                    <a:pt x="65951" y="12014"/>
                  </a:lnTo>
                  <a:lnTo>
                    <a:pt x="29222" y="40220"/>
                  </a:lnTo>
                  <a:lnTo>
                    <a:pt x="6057" y="80314"/>
                  </a:lnTo>
                  <a:lnTo>
                    <a:pt x="0" y="110667"/>
                  </a:lnTo>
                  <a:lnTo>
                    <a:pt x="12" y="118694"/>
                  </a:lnTo>
                  <a:lnTo>
                    <a:pt x="9347" y="164655"/>
                  </a:lnTo>
                  <a:lnTo>
                    <a:pt x="102006" y="307340"/>
                  </a:lnTo>
                  <a:lnTo>
                    <a:pt x="125476" y="316026"/>
                  </a:lnTo>
                  <a:lnTo>
                    <a:pt x="130949" y="313143"/>
                  </a:lnTo>
                  <a:lnTo>
                    <a:pt x="220916" y="178003"/>
                  </a:lnTo>
                  <a:lnTo>
                    <a:pt x="234759" y="141846"/>
                  </a:lnTo>
                  <a:lnTo>
                    <a:pt x="236855" y="126479"/>
                  </a:lnTo>
                  <a:lnTo>
                    <a:pt x="237134" y="118694"/>
                  </a:lnTo>
                  <a:close/>
                </a:path>
                <a:path w="711200" h="711200">
                  <a:moveTo>
                    <a:pt x="434581" y="688771"/>
                  </a:moveTo>
                  <a:lnTo>
                    <a:pt x="417474" y="671639"/>
                  </a:lnTo>
                  <a:lnTo>
                    <a:pt x="414858" y="671639"/>
                  </a:lnTo>
                  <a:lnTo>
                    <a:pt x="394525" y="670864"/>
                  </a:lnTo>
                  <a:lnTo>
                    <a:pt x="354291" y="664857"/>
                  </a:lnTo>
                  <a:lnTo>
                    <a:pt x="315366" y="653021"/>
                  </a:lnTo>
                  <a:lnTo>
                    <a:pt x="278599" y="635609"/>
                  </a:lnTo>
                  <a:lnTo>
                    <a:pt x="244779" y="613003"/>
                  </a:lnTo>
                  <a:lnTo>
                    <a:pt x="214642" y="585685"/>
                  </a:lnTo>
                  <a:lnTo>
                    <a:pt x="188836" y="554253"/>
                  </a:lnTo>
                  <a:lnTo>
                    <a:pt x="167906" y="519366"/>
                  </a:lnTo>
                  <a:lnTo>
                    <a:pt x="152311" y="481787"/>
                  </a:lnTo>
                  <a:lnTo>
                    <a:pt x="142405" y="442341"/>
                  </a:lnTo>
                  <a:lnTo>
                    <a:pt x="138379" y="401866"/>
                  </a:lnTo>
                  <a:lnTo>
                    <a:pt x="138277" y="372706"/>
                  </a:lnTo>
                  <a:lnTo>
                    <a:pt x="137782" y="370179"/>
                  </a:lnTo>
                  <a:lnTo>
                    <a:pt x="121145" y="355574"/>
                  </a:lnTo>
                  <a:lnTo>
                    <a:pt x="115912" y="355574"/>
                  </a:lnTo>
                  <a:lnTo>
                    <a:pt x="98767" y="372706"/>
                  </a:lnTo>
                  <a:lnTo>
                    <a:pt x="99174" y="410578"/>
                  </a:lnTo>
                  <a:lnTo>
                    <a:pt x="104902" y="456717"/>
                  </a:lnTo>
                  <a:lnTo>
                    <a:pt x="117335" y="501510"/>
                  </a:lnTo>
                  <a:lnTo>
                    <a:pt x="136207" y="544004"/>
                  </a:lnTo>
                  <a:lnTo>
                    <a:pt x="161086" y="583272"/>
                  </a:lnTo>
                  <a:lnTo>
                    <a:pt x="191452" y="618464"/>
                  </a:lnTo>
                  <a:lnTo>
                    <a:pt x="226656" y="648830"/>
                  </a:lnTo>
                  <a:lnTo>
                    <a:pt x="265925" y="673722"/>
                  </a:lnTo>
                  <a:lnTo>
                    <a:pt x="308419" y="692581"/>
                  </a:lnTo>
                  <a:lnTo>
                    <a:pt x="353225" y="705015"/>
                  </a:lnTo>
                  <a:lnTo>
                    <a:pt x="399351" y="710742"/>
                  </a:lnTo>
                  <a:lnTo>
                    <a:pt x="417474" y="711136"/>
                  </a:lnTo>
                  <a:lnTo>
                    <a:pt x="419989" y="710628"/>
                  </a:lnTo>
                  <a:lnTo>
                    <a:pt x="434581" y="694004"/>
                  </a:lnTo>
                  <a:lnTo>
                    <a:pt x="434581" y="688771"/>
                  </a:lnTo>
                  <a:close/>
                </a:path>
                <a:path w="711200" h="711200">
                  <a:moveTo>
                    <a:pt x="711200" y="348462"/>
                  </a:moveTo>
                  <a:lnTo>
                    <a:pt x="705764" y="300710"/>
                  </a:lnTo>
                  <a:lnTo>
                    <a:pt x="692480" y="261696"/>
                  </a:lnTo>
                  <a:lnTo>
                    <a:pt x="671855" y="225996"/>
                  </a:lnTo>
                  <a:lnTo>
                    <a:pt x="644664" y="195008"/>
                  </a:lnTo>
                  <a:lnTo>
                    <a:pt x="611962" y="169913"/>
                  </a:lnTo>
                  <a:lnTo>
                    <a:pt x="577176" y="152565"/>
                  </a:lnTo>
                  <a:lnTo>
                    <a:pt x="577176" y="343458"/>
                  </a:lnTo>
                  <a:lnTo>
                    <a:pt x="577176" y="353466"/>
                  </a:lnTo>
                  <a:lnTo>
                    <a:pt x="561555" y="394970"/>
                  </a:lnTo>
                  <a:lnTo>
                    <a:pt x="525513" y="420801"/>
                  </a:lnTo>
                  <a:lnTo>
                    <a:pt x="505955" y="424688"/>
                  </a:lnTo>
                  <a:lnTo>
                    <a:pt x="495935" y="424688"/>
                  </a:lnTo>
                  <a:lnTo>
                    <a:pt x="454444" y="409067"/>
                  </a:lnTo>
                  <a:lnTo>
                    <a:pt x="428599" y="373011"/>
                  </a:lnTo>
                  <a:lnTo>
                    <a:pt x="424713" y="353466"/>
                  </a:lnTo>
                  <a:lnTo>
                    <a:pt x="424713" y="343458"/>
                  </a:lnTo>
                  <a:lnTo>
                    <a:pt x="440347" y="301942"/>
                  </a:lnTo>
                  <a:lnTo>
                    <a:pt x="476402" y="276123"/>
                  </a:lnTo>
                  <a:lnTo>
                    <a:pt x="495935" y="272237"/>
                  </a:lnTo>
                  <a:lnTo>
                    <a:pt x="505955" y="272237"/>
                  </a:lnTo>
                  <a:lnTo>
                    <a:pt x="547458" y="287858"/>
                  </a:lnTo>
                  <a:lnTo>
                    <a:pt x="573290" y="323913"/>
                  </a:lnTo>
                  <a:lnTo>
                    <a:pt x="577176" y="343458"/>
                  </a:lnTo>
                  <a:lnTo>
                    <a:pt x="577176" y="152565"/>
                  </a:lnTo>
                  <a:lnTo>
                    <a:pt x="535190" y="140957"/>
                  </a:lnTo>
                  <a:lnTo>
                    <a:pt x="507834" y="138239"/>
                  </a:lnTo>
                  <a:lnTo>
                    <a:pt x="494068" y="138239"/>
                  </a:lnTo>
                  <a:lnTo>
                    <a:pt x="453199" y="143662"/>
                  </a:lnTo>
                  <a:lnTo>
                    <a:pt x="414172" y="156933"/>
                  </a:lnTo>
                  <a:lnTo>
                    <a:pt x="378485" y="177571"/>
                  </a:lnTo>
                  <a:lnTo>
                    <a:pt x="347484" y="204749"/>
                  </a:lnTo>
                  <a:lnTo>
                    <a:pt x="322389" y="237451"/>
                  </a:lnTo>
                  <a:lnTo>
                    <a:pt x="304139" y="274408"/>
                  </a:lnTo>
                  <a:lnTo>
                    <a:pt x="293433" y="314210"/>
                  </a:lnTo>
                  <a:lnTo>
                    <a:pt x="290703" y="341579"/>
                  </a:lnTo>
                  <a:lnTo>
                    <a:pt x="290703" y="348462"/>
                  </a:lnTo>
                  <a:lnTo>
                    <a:pt x="297916" y="403694"/>
                  </a:lnTo>
                  <a:lnTo>
                    <a:pt x="319811" y="454914"/>
                  </a:lnTo>
                  <a:lnTo>
                    <a:pt x="484505" y="702259"/>
                  </a:lnTo>
                  <a:lnTo>
                    <a:pt x="488365" y="708215"/>
                  </a:lnTo>
                  <a:lnTo>
                    <a:pt x="493839" y="711174"/>
                  </a:lnTo>
                  <a:lnTo>
                    <a:pt x="508012" y="711123"/>
                  </a:lnTo>
                  <a:lnTo>
                    <a:pt x="513499" y="708152"/>
                  </a:lnTo>
                  <a:lnTo>
                    <a:pt x="517398" y="702259"/>
                  </a:lnTo>
                  <a:lnTo>
                    <a:pt x="668743" y="475132"/>
                  </a:lnTo>
                  <a:lnTo>
                    <a:pt x="695147" y="429107"/>
                  </a:lnTo>
                  <a:lnTo>
                    <a:pt x="709485" y="376326"/>
                  </a:lnTo>
                  <a:lnTo>
                    <a:pt x="711200" y="348462"/>
                  </a:lnTo>
                  <a:close/>
                </a:path>
              </a:pathLst>
            </a:custGeom>
            <a:solidFill>
              <a:srgbClr val="FFFFFF"/>
            </a:solidFill>
          </p:spPr>
          <p:txBody>
            <a:bodyPr wrap="square" lIns="0" tIns="0" rIns="0" bIns="0" rtlCol="0"/>
            <a:lstStyle/>
            <a:p>
              <a:endParaRPr/>
            </a:p>
          </p:txBody>
        </p:sp>
        <p:sp>
          <p:nvSpPr>
            <p:cNvPr id="36" name="object 36"/>
            <p:cNvSpPr/>
            <p:nvPr/>
          </p:nvSpPr>
          <p:spPr>
            <a:xfrm>
              <a:off x="7077457" y="6222616"/>
              <a:ext cx="0" cy="2267585"/>
            </a:xfrm>
            <a:custGeom>
              <a:avLst/>
              <a:gdLst/>
              <a:ahLst/>
              <a:cxnLst/>
              <a:rect l="l" t="t" r="r" b="b"/>
              <a:pathLst>
                <a:path h="2267584">
                  <a:moveTo>
                    <a:pt x="0" y="0"/>
                  </a:moveTo>
                  <a:lnTo>
                    <a:pt x="0" y="2266956"/>
                  </a:lnTo>
                </a:path>
              </a:pathLst>
            </a:custGeom>
            <a:ln w="9523">
              <a:solidFill>
                <a:srgbClr val="737373"/>
              </a:solidFill>
            </a:ln>
          </p:spPr>
          <p:txBody>
            <a:bodyPr wrap="square" lIns="0" tIns="0" rIns="0" bIns="0" rtlCol="0"/>
            <a:lstStyle/>
            <a:p>
              <a:endParaRPr/>
            </a:p>
          </p:txBody>
        </p:sp>
        <p:sp>
          <p:nvSpPr>
            <p:cNvPr id="37" name="object 37"/>
            <p:cNvSpPr/>
            <p:nvPr/>
          </p:nvSpPr>
          <p:spPr>
            <a:xfrm>
              <a:off x="11392046" y="6222616"/>
              <a:ext cx="0" cy="2267585"/>
            </a:xfrm>
            <a:custGeom>
              <a:avLst/>
              <a:gdLst/>
              <a:ahLst/>
              <a:cxnLst/>
              <a:rect l="l" t="t" r="r" b="b"/>
              <a:pathLst>
                <a:path h="2267584">
                  <a:moveTo>
                    <a:pt x="0" y="0"/>
                  </a:moveTo>
                  <a:lnTo>
                    <a:pt x="0" y="2266956"/>
                  </a:lnTo>
                </a:path>
              </a:pathLst>
            </a:custGeom>
            <a:ln w="9523">
              <a:solidFill>
                <a:srgbClr val="737373"/>
              </a:solidFill>
            </a:ln>
          </p:spPr>
          <p:txBody>
            <a:bodyPr wrap="square" lIns="0" tIns="0" rIns="0" bIns="0" rtlCol="0"/>
            <a:lstStyle/>
            <a:p>
              <a:endParaRPr/>
            </a:p>
          </p:txBody>
        </p:sp>
        <p:pic>
          <p:nvPicPr>
            <p:cNvPr id="38" name="object 38"/>
            <p:cNvPicPr/>
            <p:nvPr/>
          </p:nvPicPr>
          <p:blipFill>
            <a:blip r:embed="rId5" cstate="print"/>
            <a:stretch>
              <a:fillRect/>
            </a:stretch>
          </p:blipFill>
          <p:spPr>
            <a:xfrm>
              <a:off x="17316449" y="237491"/>
              <a:ext cx="742949" cy="819149"/>
            </a:xfrm>
            <a:prstGeom prst="rect">
              <a:avLst/>
            </a:prstGeom>
          </p:spPr>
        </p:pic>
      </p:grpSp>
      <p:sp>
        <p:nvSpPr>
          <p:cNvPr id="39" name="object 39"/>
          <p:cNvSpPr txBox="1"/>
          <p:nvPr/>
        </p:nvSpPr>
        <p:spPr>
          <a:xfrm>
            <a:off x="627946" y="6339119"/>
            <a:ext cx="358775" cy="1580515"/>
          </a:xfrm>
          <a:prstGeom prst="rect">
            <a:avLst/>
          </a:prstGeom>
        </p:spPr>
        <p:txBody>
          <a:bodyPr vert="vert270" wrap="square" lIns="0" tIns="0" rIns="0" bIns="0" rtlCol="0">
            <a:spAutoFit/>
          </a:bodyPr>
          <a:lstStyle/>
          <a:p>
            <a:pPr marL="12700">
              <a:lnSpc>
                <a:spcPts val="2410"/>
              </a:lnSpc>
            </a:pPr>
            <a:r>
              <a:rPr sz="2100" b="1" spc="-10" dirty="0">
                <a:solidFill>
                  <a:srgbClr val="E3112B"/>
                </a:solidFill>
                <a:latin typeface="Arial"/>
                <a:cs typeface="Arial"/>
              </a:rPr>
              <a:t>OBJETIVOS</a:t>
            </a:r>
            <a:endParaRPr sz="2100">
              <a:latin typeface="Arial"/>
              <a:cs typeface="Arial"/>
            </a:endParaRPr>
          </a:p>
        </p:txBody>
      </p:sp>
      <p:sp>
        <p:nvSpPr>
          <p:cNvPr id="53" name="object 53"/>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54" name="object 54"/>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16</a:t>
            </a:r>
          </a:p>
        </p:txBody>
      </p:sp>
      <p:sp>
        <p:nvSpPr>
          <p:cNvPr id="40" name="object 40"/>
          <p:cNvSpPr txBox="1"/>
          <p:nvPr/>
        </p:nvSpPr>
        <p:spPr>
          <a:xfrm>
            <a:off x="2478683" y="5532548"/>
            <a:ext cx="3086100" cy="519430"/>
          </a:xfrm>
          <a:prstGeom prst="rect">
            <a:avLst/>
          </a:prstGeom>
          <a:solidFill>
            <a:srgbClr val="ECE4D5"/>
          </a:solidFill>
        </p:spPr>
        <p:txBody>
          <a:bodyPr vert="horz" wrap="square" lIns="0" tIns="86360" rIns="0" bIns="0" rtlCol="0">
            <a:spAutoFit/>
          </a:bodyPr>
          <a:lstStyle/>
          <a:p>
            <a:pPr marL="897890">
              <a:lnSpc>
                <a:spcPct val="100000"/>
              </a:lnSpc>
              <a:spcBef>
                <a:spcPts val="680"/>
              </a:spcBef>
            </a:pPr>
            <a:r>
              <a:rPr sz="2000" b="1" spc="-10" dirty="0">
                <a:solidFill>
                  <a:srgbClr val="737373"/>
                </a:solidFill>
                <a:latin typeface="Roboto"/>
                <a:cs typeface="Roboto"/>
              </a:rPr>
              <a:t>Recuperar...</a:t>
            </a:r>
            <a:endParaRPr sz="2000">
              <a:latin typeface="Roboto"/>
              <a:cs typeface="Roboto"/>
            </a:endParaRPr>
          </a:p>
        </p:txBody>
      </p:sp>
      <p:sp>
        <p:nvSpPr>
          <p:cNvPr id="41" name="object 41"/>
          <p:cNvSpPr txBox="1"/>
          <p:nvPr/>
        </p:nvSpPr>
        <p:spPr>
          <a:xfrm>
            <a:off x="1724489" y="7872532"/>
            <a:ext cx="1219835" cy="269875"/>
          </a:xfrm>
          <a:prstGeom prst="rect">
            <a:avLst/>
          </a:prstGeom>
        </p:spPr>
        <p:txBody>
          <a:bodyPr vert="horz" wrap="square" lIns="0" tIns="12700" rIns="0" bIns="0" rtlCol="0">
            <a:spAutoFit/>
          </a:bodyPr>
          <a:lstStyle/>
          <a:p>
            <a:pPr marL="12700">
              <a:lnSpc>
                <a:spcPct val="100000"/>
              </a:lnSpc>
              <a:spcBef>
                <a:spcPts val="100"/>
              </a:spcBef>
            </a:pPr>
            <a:r>
              <a:rPr sz="1600" b="1" spc="-10" dirty="0">
                <a:solidFill>
                  <a:srgbClr val="737373"/>
                </a:solidFill>
                <a:latin typeface="Roboto"/>
                <a:cs typeface="Roboto"/>
              </a:rPr>
              <a:t>Conectividad</a:t>
            </a:r>
            <a:endParaRPr sz="1600">
              <a:latin typeface="Roboto"/>
              <a:cs typeface="Roboto"/>
            </a:endParaRPr>
          </a:p>
        </p:txBody>
      </p:sp>
      <p:sp>
        <p:nvSpPr>
          <p:cNvPr id="42" name="object 42"/>
          <p:cNvSpPr txBox="1"/>
          <p:nvPr/>
        </p:nvSpPr>
        <p:spPr>
          <a:xfrm>
            <a:off x="3560438" y="7872532"/>
            <a:ext cx="1036955" cy="508000"/>
          </a:xfrm>
          <a:prstGeom prst="rect">
            <a:avLst/>
          </a:prstGeom>
        </p:spPr>
        <p:txBody>
          <a:bodyPr vert="horz" wrap="square" lIns="0" tIns="24765" rIns="0" bIns="0" rtlCol="0">
            <a:spAutoFit/>
          </a:bodyPr>
          <a:lstStyle/>
          <a:p>
            <a:pPr marL="123825" marR="5080" indent="-111760">
              <a:lnSpc>
                <a:spcPts val="1880"/>
              </a:lnSpc>
              <a:spcBef>
                <a:spcPts val="195"/>
              </a:spcBef>
            </a:pPr>
            <a:r>
              <a:rPr sz="1600" b="1" spc="-10" dirty="0">
                <a:solidFill>
                  <a:srgbClr val="737373"/>
                </a:solidFill>
                <a:latin typeface="Roboto"/>
                <a:cs typeface="Roboto"/>
              </a:rPr>
              <a:t>Awareness </a:t>
            </a:r>
            <a:r>
              <a:rPr sz="1600" b="1" dirty="0">
                <a:solidFill>
                  <a:srgbClr val="737373"/>
                </a:solidFill>
                <a:latin typeface="Roboto"/>
                <a:cs typeface="Roboto"/>
              </a:rPr>
              <a:t>e</a:t>
            </a:r>
            <a:r>
              <a:rPr sz="1600" b="1" spc="10" dirty="0">
                <a:solidFill>
                  <a:srgbClr val="737373"/>
                </a:solidFill>
                <a:latin typeface="Roboto"/>
                <a:cs typeface="Roboto"/>
              </a:rPr>
              <a:t> </a:t>
            </a:r>
            <a:r>
              <a:rPr sz="1600" b="1" spc="-10" dirty="0">
                <a:solidFill>
                  <a:srgbClr val="737373"/>
                </a:solidFill>
                <a:latin typeface="Roboto"/>
                <a:cs typeface="Roboto"/>
              </a:rPr>
              <a:t>imagen</a:t>
            </a:r>
            <a:endParaRPr sz="1600">
              <a:latin typeface="Roboto"/>
              <a:cs typeface="Roboto"/>
            </a:endParaRPr>
          </a:p>
        </p:txBody>
      </p:sp>
      <p:sp>
        <p:nvSpPr>
          <p:cNvPr id="43" name="object 43"/>
          <p:cNvSpPr txBox="1"/>
          <p:nvPr/>
        </p:nvSpPr>
        <p:spPr>
          <a:xfrm>
            <a:off x="12188811" y="7872532"/>
            <a:ext cx="810260" cy="508000"/>
          </a:xfrm>
          <a:prstGeom prst="rect">
            <a:avLst/>
          </a:prstGeom>
        </p:spPr>
        <p:txBody>
          <a:bodyPr vert="horz" wrap="square" lIns="0" tIns="24765" rIns="0" bIns="0" rtlCol="0">
            <a:spAutoFit/>
          </a:bodyPr>
          <a:lstStyle/>
          <a:p>
            <a:pPr marL="12700" marR="5080" indent="47625">
              <a:lnSpc>
                <a:spcPts val="1880"/>
              </a:lnSpc>
              <a:spcBef>
                <a:spcPts val="195"/>
              </a:spcBef>
            </a:pPr>
            <a:r>
              <a:rPr sz="1600" b="1" spc="-10" dirty="0">
                <a:solidFill>
                  <a:srgbClr val="737373"/>
                </a:solidFill>
                <a:latin typeface="Roboto"/>
                <a:cs typeface="Roboto"/>
              </a:rPr>
              <a:t>Nuevos destinos</a:t>
            </a:r>
            <a:endParaRPr sz="1600">
              <a:latin typeface="Roboto"/>
              <a:cs typeface="Roboto"/>
            </a:endParaRPr>
          </a:p>
        </p:txBody>
      </p:sp>
      <p:sp>
        <p:nvSpPr>
          <p:cNvPr id="44" name="object 44"/>
          <p:cNvSpPr txBox="1"/>
          <p:nvPr/>
        </p:nvSpPr>
        <p:spPr>
          <a:xfrm>
            <a:off x="15770685" y="7872532"/>
            <a:ext cx="1544320" cy="508000"/>
          </a:xfrm>
          <a:prstGeom prst="rect">
            <a:avLst/>
          </a:prstGeom>
        </p:spPr>
        <p:txBody>
          <a:bodyPr vert="horz" wrap="square" lIns="0" tIns="24765" rIns="0" bIns="0" rtlCol="0">
            <a:spAutoFit/>
          </a:bodyPr>
          <a:lstStyle/>
          <a:p>
            <a:pPr marL="12700" marR="5080" indent="47625">
              <a:lnSpc>
                <a:spcPts val="1880"/>
              </a:lnSpc>
              <a:spcBef>
                <a:spcPts val="195"/>
              </a:spcBef>
            </a:pPr>
            <a:r>
              <a:rPr sz="1600" b="1" dirty="0">
                <a:solidFill>
                  <a:srgbClr val="737373"/>
                </a:solidFill>
                <a:latin typeface="Roboto"/>
                <a:cs typeface="Roboto"/>
              </a:rPr>
              <a:t>Madurar</a:t>
            </a:r>
            <a:r>
              <a:rPr sz="1600" b="1" spc="-30" dirty="0">
                <a:solidFill>
                  <a:srgbClr val="737373"/>
                </a:solidFill>
                <a:latin typeface="Roboto"/>
                <a:cs typeface="Roboto"/>
              </a:rPr>
              <a:t> </a:t>
            </a:r>
            <a:r>
              <a:rPr sz="1600" b="1" spc="-10" dirty="0">
                <a:solidFill>
                  <a:srgbClr val="737373"/>
                </a:solidFill>
                <a:latin typeface="Roboto"/>
                <a:cs typeface="Roboto"/>
              </a:rPr>
              <a:t>oferta </a:t>
            </a:r>
            <a:r>
              <a:rPr sz="1600" b="1" dirty="0">
                <a:solidFill>
                  <a:srgbClr val="737373"/>
                </a:solidFill>
                <a:latin typeface="Roboto"/>
                <a:cs typeface="Roboto"/>
              </a:rPr>
              <a:t>(área </a:t>
            </a:r>
            <a:r>
              <a:rPr sz="1600" b="1" spc="-10" dirty="0">
                <a:solidFill>
                  <a:srgbClr val="737373"/>
                </a:solidFill>
                <a:latin typeface="Roboto"/>
                <a:cs typeface="Roboto"/>
              </a:rPr>
              <a:t>desarrollo)</a:t>
            </a:r>
            <a:endParaRPr sz="1600">
              <a:latin typeface="Roboto"/>
              <a:cs typeface="Roboto"/>
            </a:endParaRPr>
          </a:p>
        </p:txBody>
      </p:sp>
      <p:sp>
        <p:nvSpPr>
          <p:cNvPr id="45" name="object 45"/>
          <p:cNvSpPr txBox="1"/>
          <p:nvPr/>
        </p:nvSpPr>
        <p:spPr>
          <a:xfrm>
            <a:off x="13725379" y="7872532"/>
            <a:ext cx="1633855" cy="508000"/>
          </a:xfrm>
          <a:prstGeom prst="rect">
            <a:avLst/>
          </a:prstGeom>
        </p:spPr>
        <p:txBody>
          <a:bodyPr vert="horz" wrap="square" lIns="0" tIns="24765" rIns="0" bIns="0" rtlCol="0">
            <a:spAutoFit/>
          </a:bodyPr>
          <a:lstStyle/>
          <a:p>
            <a:pPr marL="12700" marR="5080" indent="397510">
              <a:lnSpc>
                <a:spcPts val="1880"/>
              </a:lnSpc>
              <a:spcBef>
                <a:spcPts val="195"/>
              </a:spcBef>
            </a:pPr>
            <a:r>
              <a:rPr sz="1600" b="1" spc="-10" dirty="0">
                <a:solidFill>
                  <a:srgbClr val="737373"/>
                </a:solidFill>
                <a:latin typeface="Roboto"/>
                <a:cs typeface="Roboto"/>
              </a:rPr>
              <a:t>Turismo contra-estacional</a:t>
            </a:r>
            <a:endParaRPr sz="1600">
              <a:latin typeface="Roboto"/>
              <a:cs typeface="Roboto"/>
            </a:endParaRPr>
          </a:p>
        </p:txBody>
      </p:sp>
      <p:sp>
        <p:nvSpPr>
          <p:cNvPr id="46" name="object 46"/>
          <p:cNvSpPr txBox="1"/>
          <p:nvPr/>
        </p:nvSpPr>
        <p:spPr>
          <a:xfrm>
            <a:off x="5573181" y="7872532"/>
            <a:ext cx="558800" cy="269875"/>
          </a:xfrm>
          <a:prstGeom prst="rect">
            <a:avLst/>
          </a:prstGeom>
        </p:spPr>
        <p:txBody>
          <a:bodyPr vert="horz" wrap="square" lIns="0" tIns="12700" rIns="0" bIns="0" rtlCol="0">
            <a:spAutoFit/>
          </a:bodyPr>
          <a:lstStyle/>
          <a:p>
            <a:pPr marL="12700">
              <a:lnSpc>
                <a:spcPct val="100000"/>
              </a:lnSpc>
              <a:spcBef>
                <a:spcPts val="100"/>
              </a:spcBef>
            </a:pPr>
            <a:r>
              <a:rPr sz="1600" b="1" spc="-10" dirty="0">
                <a:solidFill>
                  <a:srgbClr val="737373"/>
                </a:solidFill>
                <a:latin typeface="Roboto"/>
                <a:cs typeface="Roboto"/>
              </a:rPr>
              <a:t>Trade</a:t>
            </a:r>
            <a:endParaRPr sz="1600">
              <a:latin typeface="Roboto"/>
              <a:cs typeface="Roboto"/>
            </a:endParaRPr>
          </a:p>
        </p:txBody>
      </p:sp>
      <p:sp>
        <p:nvSpPr>
          <p:cNvPr id="47" name="object 47"/>
          <p:cNvSpPr txBox="1"/>
          <p:nvPr/>
        </p:nvSpPr>
        <p:spPr>
          <a:xfrm>
            <a:off x="8496629" y="7360018"/>
            <a:ext cx="1476375" cy="508000"/>
          </a:xfrm>
          <a:prstGeom prst="rect">
            <a:avLst/>
          </a:prstGeom>
        </p:spPr>
        <p:txBody>
          <a:bodyPr vert="horz" wrap="square" lIns="0" tIns="12700" rIns="0" bIns="0" rtlCol="0">
            <a:spAutoFit/>
          </a:bodyPr>
          <a:lstStyle/>
          <a:p>
            <a:pPr algn="ctr">
              <a:lnSpc>
                <a:spcPts val="1895"/>
              </a:lnSpc>
              <a:spcBef>
                <a:spcPts val="100"/>
              </a:spcBef>
            </a:pPr>
            <a:r>
              <a:rPr sz="1600" spc="-10" dirty="0">
                <a:solidFill>
                  <a:srgbClr val="737373"/>
                </a:solidFill>
                <a:latin typeface="Roboto"/>
                <a:cs typeface="Roboto"/>
              </a:rPr>
              <a:t>Aumentar</a:t>
            </a:r>
            <a:r>
              <a:rPr sz="1600" spc="-90" dirty="0">
                <a:solidFill>
                  <a:srgbClr val="737373"/>
                </a:solidFill>
                <a:latin typeface="Roboto"/>
                <a:cs typeface="Roboto"/>
              </a:rPr>
              <a:t> </a:t>
            </a:r>
            <a:r>
              <a:rPr sz="1600" b="1" spc="-20" dirty="0">
                <a:solidFill>
                  <a:srgbClr val="737373"/>
                </a:solidFill>
                <a:latin typeface="Roboto"/>
                <a:cs typeface="Roboto"/>
              </a:rPr>
              <a:t>gasto</a:t>
            </a:r>
            <a:endParaRPr sz="1600">
              <a:latin typeface="Roboto"/>
              <a:cs typeface="Roboto"/>
            </a:endParaRPr>
          </a:p>
          <a:p>
            <a:pPr marR="42545" algn="ctr">
              <a:lnSpc>
                <a:spcPts val="1895"/>
              </a:lnSpc>
            </a:pPr>
            <a:r>
              <a:rPr sz="1600" spc="-10" dirty="0">
                <a:solidFill>
                  <a:srgbClr val="737373"/>
                </a:solidFill>
                <a:latin typeface="Roboto"/>
                <a:cs typeface="Roboto"/>
              </a:rPr>
              <a:t>promedio:</a:t>
            </a:r>
            <a:endParaRPr sz="1600">
              <a:latin typeface="Roboto"/>
              <a:cs typeface="Roboto"/>
            </a:endParaRPr>
          </a:p>
        </p:txBody>
      </p:sp>
      <p:sp>
        <p:nvSpPr>
          <p:cNvPr id="48" name="object 48"/>
          <p:cNvSpPr txBox="1"/>
          <p:nvPr/>
        </p:nvSpPr>
        <p:spPr>
          <a:xfrm>
            <a:off x="8024546" y="8074393"/>
            <a:ext cx="2420620" cy="746125"/>
          </a:xfrm>
          <a:prstGeom prst="rect">
            <a:avLst/>
          </a:prstGeom>
        </p:spPr>
        <p:txBody>
          <a:bodyPr vert="horz" wrap="square" lIns="0" tIns="26034" rIns="0" bIns="0" rtlCol="0">
            <a:spAutoFit/>
          </a:bodyPr>
          <a:lstStyle/>
          <a:p>
            <a:pPr marL="12700" marR="5080" algn="ctr">
              <a:lnSpc>
                <a:spcPts val="1870"/>
              </a:lnSpc>
              <a:spcBef>
                <a:spcPts val="204"/>
              </a:spcBef>
            </a:pPr>
            <a:r>
              <a:rPr sz="1600" b="1" dirty="0">
                <a:solidFill>
                  <a:srgbClr val="737373"/>
                </a:solidFill>
                <a:latin typeface="Roboto"/>
                <a:cs typeface="Roboto"/>
              </a:rPr>
              <a:t>Promocionar</a:t>
            </a:r>
            <a:r>
              <a:rPr sz="1600" b="1" spc="-45" dirty="0">
                <a:solidFill>
                  <a:srgbClr val="737373"/>
                </a:solidFill>
                <a:latin typeface="Roboto"/>
                <a:cs typeface="Roboto"/>
              </a:rPr>
              <a:t> </a:t>
            </a:r>
            <a:r>
              <a:rPr sz="1600" b="1" spc="-10" dirty="0">
                <a:solidFill>
                  <a:srgbClr val="737373"/>
                </a:solidFill>
                <a:latin typeface="Roboto"/>
                <a:cs typeface="Roboto"/>
              </a:rPr>
              <a:t>experiencias </a:t>
            </a:r>
            <a:r>
              <a:rPr sz="1600" b="1" dirty="0">
                <a:solidFill>
                  <a:srgbClr val="737373"/>
                </a:solidFill>
                <a:latin typeface="Roboto"/>
                <a:cs typeface="Roboto"/>
              </a:rPr>
              <a:t>Captar</a:t>
            </a:r>
            <a:r>
              <a:rPr sz="1600" b="1" spc="-40" dirty="0">
                <a:solidFill>
                  <a:srgbClr val="737373"/>
                </a:solidFill>
                <a:latin typeface="Roboto"/>
                <a:cs typeface="Roboto"/>
              </a:rPr>
              <a:t> </a:t>
            </a:r>
            <a:r>
              <a:rPr sz="1600" b="1" spc="-10" dirty="0">
                <a:solidFill>
                  <a:srgbClr val="737373"/>
                </a:solidFill>
                <a:latin typeface="Roboto"/>
                <a:cs typeface="Roboto"/>
              </a:rPr>
              <a:t>mercados </a:t>
            </a:r>
            <a:r>
              <a:rPr sz="1600" b="1" dirty="0">
                <a:solidFill>
                  <a:srgbClr val="737373"/>
                </a:solidFill>
                <a:latin typeface="Roboto"/>
                <a:cs typeface="Roboto"/>
              </a:rPr>
              <a:t>Segmentos</a:t>
            </a:r>
            <a:r>
              <a:rPr sz="1600" b="1" spc="-85" dirty="0">
                <a:solidFill>
                  <a:srgbClr val="737373"/>
                </a:solidFill>
                <a:latin typeface="Roboto"/>
                <a:cs typeface="Roboto"/>
              </a:rPr>
              <a:t> </a:t>
            </a:r>
            <a:r>
              <a:rPr sz="1600" b="1" spc="-10" dirty="0">
                <a:solidFill>
                  <a:srgbClr val="737373"/>
                </a:solidFill>
                <a:latin typeface="Roboto"/>
                <a:cs typeface="Roboto"/>
              </a:rPr>
              <a:t>upscale</a:t>
            </a:r>
            <a:endParaRPr sz="1600">
              <a:latin typeface="Roboto"/>
              <a:cs typeface="Roboto"/>
            </a:endParaRPr>
          </a:p>
        </p:txBody>
      </p:sp>
      <p:sp>
        <p:nvSpPr>
          <p:cNvPr id="49" name="object 49"/>
          <p:cNvSpPr txBox="1"/>
          <p:nvPr/>
        </p:nvSpPr>
        <p:spPr>
          <a:xfrm>
            <a:off x="12525208" y="5532548"/>
            <a:ext cx="3086100" cy="519430"/>
          </a:xfrm>
          <a:prstGeom prst="rect">
            <a:avLst/>
          </a:prstGeom>
          <a:solidFill>
            <a:srgbClr val="ECE4D5"/>
          </a:solidFill>
        </p:spPr>
        <p:txBody>
          <a:bodyPr vert="horz" wrap="square" lIns="0" tIns="86360" rIns="0" bIns="0" rtlCol="0">
            <a:spAutoFit/>
          </a:bodyPr>
          <a:lstStyle/>
          <a:p>
            <a:pPr marL="743585">
              <a:lnSpc>
                <a:spcPct val="100000"/>
              </a:lnSpc>
              <a:spcBef>
                <a:spcPts val="680"/>
              </a:spcBef>
            </a:pPr>
            <a:r>
              <a:rPr sz="2000" b="1" spc="-10" dirty="0">
                <a:solidFill>
                  <a:srgbClr val="737373"/>
                </a:solidFill>
                <a:latin typeface="Roboto"/>
                <a:cs typeface="Roboto"/>
              </a:rPr>
              <a:t>Promocionar...</a:t>
            </a:r>
            <a:endParaRPr sz="2000">
              <a:latin typeface="Roboto"/>
              <a:cs typeface="Roboto"/>
            </a:endParaRPr>
          </a:p>
        </p:txBody>
      </p:sp>
      <p:sp>
        <p:nvSpPr>
          <p:cNvPr id="50" name="object 50"/>
          <p:cNvSpPr txBox="1"/>
          <p:nvPr/>
        </p:nvSpPr>
        <p:spPr>
          <a:xfrm>
            <a:off x="7718709" y="4391722"/>
            <a:ext cx="2854325" cy="485775"/>
          </a:xfrm>
          <a:prstGeom prst="rect">
            <a:avLst/>
          </a:prstGeom>
        </p:spPr>
        <p:txBody>
          <a:bodyPr vert="horz" wrap="square" lIns="0" tIns="12700" rIns="0" bIns="0" rtlCol="0">
            <a:spAutoFit/>
          </a:bodyPr>
          <a:lstStyle/>
          <a:p>
            <a:pPr marL="12700">
              <a:lnSpc>
                <a:spcPts val="1750"/>
              </a:lnSpc>
              <a:spcBef>
                <a:spcPts val="100"/>
              </a:spcBef>
            </a:pPr>
            <a:r>
              <a:rPr sz="1500" b="1" dirty="0">
                <a:solidFill>
                  <a:srgbClr val="FFFFFF"/>
                </a:solidFill>
                <a:latin typeface="Roboto"/>
                <a:cs typeface="Roboto"/>
              </a:rPr>
              <a:t>AUMENTAR</a:t>
            </a:r>
            <a:r>
              <a:rPr sz="1500" b="1" spc="65" dirty="0">
                <a:solidFill>
                  <a:srgbClr val="FFFFFF"/>
                </a:solidFill>
                <a:latin typeface="Roboto"/>
                <a:cs typeface="Roboto"/>
              </a:rPr>
              <a:t> </a:t>
            </a:r>
            <a:r>
              <a:rPr sz="1500" b="1" dirty="0">
                <a:solidFill>
                  <a:srgbClr val="FFFFFF"/>
                </a:solidFill>
                <a:latin typeface="Roboto"/>
                <a:cs typeface="Roboto"/>
              </a:rPr>
              <a:t>IMPACTO</a:t>
            </a:r>
            <a:r>
              <a:rPr sz="1500" b="1" spc="65" dirty="0">
                <a:solidFill>
                  <a:srgbClr val="FFFFFF"/>
                </a:solidFill>
                <a:latin typeface="Roboto"/>
                <a:cs typeface="Roboto"/>
              </a:rPr>
              <a:t> </a:t>
            </a:r>
            <a:r>
              <a:rPr sz="1500" b="1" spc="-10" dirty="0">
                <a:solidFill>
                  <a:srgbClr val="FFFFFF"/>
                </a:solidFill>
                <a:latin typeface="Roboto"/>
                <a:cs typeface="Roboto"/>
              </a:rPr>
              <a:t>POSITIVO</a:t>
            </a:r>
            <a:endParaRPr sz="1500">
              <a:latin typeface="Roboto"/>
              <a:cs typeface="Roboto"/>
            </a:endParaRPr>
          </a:p>
          <a:p>
            <a:pPr marL="46990">
              <a:lnSpc>
                <a:spcPts val="1870"/>
              </a:lnSpc>
            </a:pPr>
            <a:r>
              <a:rPr sz="1600" spc="-20" dirty="0">
                <a:solidFill>
                  <a:srgbClr val="FFFFFF"/>
                </a:solidFill>
                <a:latin typeface="Roboto"/>
                <a:cs typeface="Roboto"/>
              </a:rPr>
              <a:t>Objetivo</a:t>
            </a:r>
            <a:r>
              <a:rPr sz="1600" spc="-55" dirty="0">
                <a:solidFill>
                  <a:srgbClr val="FFFFFF"/>
                </a:solidFill>
                <a:latin typeface="Roboto"/>
                <a:cs typeface="Roboto"/>
              </a:rPr>
              <a:t> </a:t>
            </a:r>
            <a:r>
              <a:rPr sz="1600" dirty="0">
                <a:solidFill>
                  <a:srgbClr val="FFFFFF"/>
                </a:solidFill>
                <a:latin typeface="Roboto"/>
                <a:cs typeface="Roboto"/>
              </a:rPr>
              <a:t>medio</a:t>
            </a:r>
            <a:r>
              <a:rPr sz="1600" spc="-50" dirty="0">
                <a:solidFill>
                  <a:srgbClr val="FFFFFF"/>
                </a:solidFill>
                <a:latin typeface="Roboto"/>
                <a:cs typeface="Roboto"/>
              </a:rPr>
              <a:t> </a:t>
            </a:r>
            <a:r>
              <a:rPr sz="1600" dirty="0">
                <a:solidFill>
                  <a:srgbClr val="FFFFFF"/>
                </a:solidFill>
                <a:latin typeface="Roboto"/>
                <a:cs typeface="Roboto"/>
              </a:rPr>
              <a:t>plazo</a:t>
            </a:r>
            <a:r>
              <a:rPr sz="1600" spc="-50" dirty="0">
                <a:solidFill>
                  <a:srgbClr val="FFFFFF"/>
                </a:solidFill>
                <a:latin typeface="Roboto"/>
                <a:cs typeface="Roboto"/>
              </a:rPr>
              <a:t> </a:t>
            </a:r>
            <a:r>
              <a:rPr sz="1600" dirty="0">
                <a:solidFill>
                  <a:srgbClr val="FFFFFF"/>
                </a:solidFill>
                <a:latin typeface="Roboto"/>
                <a:cs typeface="Roboto"/>
              </a:rPr>
              <a:t>(año</a:t>
            </a:r>
            <a:r>
              <a:rPr sz="1600" spc="-50" dirty="0">
                <a:solidFill>
                  <a:srgbClr val="FFFFFF"/>
                </a:solidFill>
                <a:latin typeface="Roboto"/>
                <a:cs typeface="Roboto"/>
              </a:rPr>
              <a:t> </a:t>
            </a:r>
            <a:r>
              <a:rPr sz="1600" spc="-10" dirty="0">
                <a:solidFill>
                  <a:srgbClr val="FFFFFF"/>
                </a:solidFill>
                <a:latin typeface="Roboto"/>
                <a:cs typeface="Roboto"/>
              </a:rPr>
              <a:t>3-</a:t>
            </a:r>
            <a:r>
              <a:rPr sz="1600" spc="-25" dirty="0">
                <a:solidFill>
                  <a:srgbClr val="FFFFFF"/>
                </a:solidFill>
                <a:latin typeface="Roboto"/>
                <a:cs typeface="Roboto"/>
              </a:rPr>
              <a:t>5)</a:t>
            </a:r>
            <a:endParaRPr sz="1600">
              <a:latin typeface="Roboto"/>
              <a:cs typeface="Roboto"/>
            </a:endParaRPr>
          </a:p>
        </p:txBody>
      </p:sp>
      <p:sp>
        <p:nvSpPr>
          <p:cNvPr id="51" name="object 51"/>
          <p:cNvSpPr txBox="1"/>
          <p:nvPr/>
        </p:nvSpPr>
        <p:spPr>
          <a:xfrm>
            <a:off x="12355779" y="4369430"/>
            <a:ext cx="3348990" cy="508000"/>
          </a:xfrm>
          <a:prstGeom prst="rect">
            <a:avLst/>
          </a:prstGeom>
        </p:spPr>
        <p:txBody>
          <a:bodyPr vert="horz" wrap="square" lIns="0" tIns="12700" rIns="0" bIns="0" rtlCol="0">
            <a:spAutoFit/>
          </a:bodyPr>
          <a:lstStyle/>
          <a:p>
            <a:pPr algn="ctr">
              <a:lnSpc>
                <a:spcPts val="1900"/>
              </a:lnSpc>
              <a:spcBef>
                <a:spcPts val="100"/>
              </a:spcBef>
            </a:pPr>
            <a:r>
              <a:rPr sz="1600" b="1" spc="-20" dirty="0">
                <a:solidFill>
                  <a:srgbClr val="FFFFFF"/>
                </a:solidFill>
                <a:latin typeface="Roboto"/>
                <a:cs typeface="Roboto"/>
              </a:rPr>
              <a:t>DISTRIBUIR</a:t>
            </a:r>
            <a:r>
              <a:rPr sz="1600" b="1" spc="55" dirty="0">
                <a:solidFill>
                  <a:srgbClr val="FFFFFF"/>
                </a:solidFill>
                <a:latin typeface="Roboto"/>
                <a:cs typeface="Roboto"/>
              </a:rPr>
              <a:t> </a:t>
            </a:r>
            <a:r>
              <a:rPr sz="1600" b="1" dirty="0">
                <a:solidFill>
                  <a:srgbClr val="FFFFFF"/>
                </a:solidFill>
                <a:latin typeface="Roboto"/>
                <a:cs typeface="Roboto"/>
              </a:rPr>
              <a:t>IMPACTO</a:t>
            </a:r>
            <a:r>
              <a:rPr sz="1600" b="1" spc="55" dirty="0">
                <a:solidFill>
                  <a:srgbClr val="FFFFFF"/>
                </a:solidFill>
                <a:latin typeface="Roboto"/>
                <a:cs typeface="Roboto"/>
              </a:rPr>
              <a:t> </a:t>
            </a:r>
            <a:r>
              <a:rPr sz="1600" b="1" spc="-10" dirty="0">
                <a:solidFill>
                  <a:srgbClr val="FFFFFF"/>
                </a:solidFill>
                <a:latin typeface="Roboto"/>
                <a:cs typeface="Roboto"/>
              </a:rPr>
              <a:t>POSITIVO</a:t>
            </a:r>
            <a:endParaRPr sz="1600">
              <a:latin typeface="Roboto"/>
              <a:cs typeface="Roboto"/>
            </a:endParaRPr>
          </a:p>
          <a:p>
            <a:pPr algn="ctr">
              <a:lnSpc>
                <a:spcPts val="1895"/>
              </a:lnSpc>
            </a:pPr>
            <a:r>
              <a:rPr sz="1600" spc="-20" dirty="0">
                <a:solidFill>
                  <a:srgbClr val="FFFFFF"/>
                </a:solidFill>
                <a:latin typeface="Roboto"/>
                <a:cs typeface="Roboto"/>
              </a:rPr>
              <a:t>Objetivo</a:t>
            </a:r>
            <a:r>
              <a:rPr sz="1600" spc="-55" dirty="0">
                <a:solidFill>
                  <a:srgbClr val="FFFFFF"/>
                </a:solidFill>
                <a:latin typeface="Roboto"/>
                <a:cs typeface="Roboto"/>
              </a:rPr>
              <a:t> </a:t>
            </a:r>
            <a:r>
              <a:rPr sz="1600" spc="-10" dirty="0">
                <a:solidFill>
                  <a:srgbClr val="FFFFFF"/>
                </a:solidFill>
                <a:latin typeface="Roboto"/>
                <a:cs typeface="Roboto"/>
              </a:rPr>
              <a:t>medio-</a:t>
            </a:r>
            <a:r>
              <a:rPr sz="1600" dirty="0">
                <a:solidFill>
                  <a:srgbClr val="FFFFFF"/>
                </a:solidFill>
                <a:latin typeface="Roboto"/>
                <a:cs typeface="Roboto"/>
              </a:rPr>
              <a:t>largo</a:t>
            </a:r>
            <a:r>
              <a:rPr sz="1600" spc="-50" dirty="0">
                <a:solidFill>
                  <a:srgbClr val="FFFFFF"/>
                </a:solidFill>
                <a:latin typeface="Roboto"/>
                <a:cs typeface="Roboto"/>
              </a:rPr>
              <a:t> </a:t>
            </a:r>
            <a:r>
              <a:rPr sz="1600" dirty="0">
                <a:solidFill>
                  <a:srgbClr val="FFFFFF"/>
                </a:solidFill>
                <a:latin typeface="Roboto"/>
                <a:cs typeface="Roboto"/>
              </a:rPr>
              <a:t>plazo</a:t>
            </a:r>
            <a:r>
              <a:rPr sz="1600" spc="-50" dirty="0">
                <a:solidFill>
                  <a:srgbClr val="FFFFFF"/>
                </a:solidFill>
                <a:latin typeface="Roboto"/>
                <a:cs typeface="Roboto"/>
              </a:rPr>
              <a:t> </a:t>
            </a:r>
            <a:r>
              <a:rPr sz="1600" dirty="0">
                <a:solidFill>
                  <a:srgbClr val="FFFFFF"/>
                </a:solidFill>
                <a:latin typeface="Roboto"/>
                <a:cs typeface="Roboto"/>
              </a:rPr>
              <a:t>(+5</a:t>
            </a:r>
            <a:r>
              <a:rPr sz="1600" spc="-55" dirty="0">
                <a:solidFill>
                  <a:srgbClr val="FFFFFF"/>
                </a:solidFill>
                <a:latin typeface="Roboto"/>
                <a:cs typeface="Roboto"/>
              </a:rPr>
              <a:t> </a:t>
            </a:r>
            <a:r>
              <a:rPr sz="1600" spc="-10" dirty="0">
                <a:solidFill>
                  <a:srgbClr val="FFFFFF"/>
                </a:solidFill>
                <a:latin typeface="Roboto"/>
                <a:cs typeface="Roboto"/>
              </a:rPr>
              <a:t>años)</a:t>
            </a:r>
            <a:endParaRPr sz="1600">
              <a:latin typeface="Roboto"/>
              <a:cs typeface="Roboto"/>
            </a:endParaRPr>
          </a:p>
        </p:txBody>
      </p:sp>
      <p:sp>
        <p:nvSpPr>
          <p:cNvPr id="52" name="object 52"/>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1.</a:t>
            </a:r>
            <a:r>
              <a:rPr spc="-100" dirty="0"/>
              <a:t> </a:t>
            </a:r>
            <a:r>
              <a:rPr dirty="0"/>
              <a:t>Plan</a:t>
            </a:r>
            <a:r>
              <a:rPr spc="-95" dirty="0"/>
              <a:t> </a:t>
            </a:r>
            <a:r>
              <a:rPr dirty="0"/>
              <a:t>de</a:t>
            </a:r>
            <a:r>
              <a:rPr spc="-100" dirty="0"/>
              <a:t> </a:t>
            </a:r>
            <a:r>
              <a:rPr spc="-20" dirty="0"/>
              <a:t>marketing</a:t>
            </a:r>
            <a:r>
              <a:rPr spc="-95" dirty="0"/>
              <a:t> </a:t>
            </a:r>
            <a:r>
              <a:rPr spc="-25" dirty="0"/>
              <a:t>turístico</a:t>
            </a:r>
            <a:r>
              <a:rPr spc="-95" dirty="0"/>
              <a:t> </a:t>
            </a:r>
            <a:r>
              <a:rPr spc="-10" dirty="0"/>
              <a:t>internacional</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32"/>
            <a:ext cx="17954625" cy="9604375"/>
            <a:chOff x="166956" y="184832"/>
            <a:chExt cx="17954625" cy="9604375"/>
          </a:xfrm>
        </p:grpSpPr>
        <p:sp>
          <p:nvSpPr>
            <p:cNvPr id="3" name="object 3"/>
            <p:cNvSpPr/>
            <p:nvPr/>
          </p:nvSpPr>
          <p:spPr>
            <a:xfrm>
              <a:off x="166956" y="1113693"/>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sp>
          <p:nvSpPr>
            <p:cNvPr id="5" name="object 5"/>
            <p:cNvSpPr/>
            <p:nvPr/>
          </p:nvSpPr>
          <p:spPr>
            <a:xfrm>
              <a:off x="1338280" y="1996954"/>
              <a:ext cx="16264255" cy="2664460"/>
            </a:xfrm>
            <a:custGeom>
              <a:avLst/>
              <a:gdLst/>
              <a:ahLst/>
              <a:cxnLst/>
              <a:rect l="l" t="t" r="r" b="b"/>
              <a:pathLst>
                <a:path w="16264255" h="2664460">
                  <a:moveTo>
                    <a:pt x="16264220" y="2664442"/>
                  </a:moveTo>
                  <a:lnTo>
                    <a:pt x="0" y="2664442"/>
                  </a:lnTo>
                  <a:lnTo>
                    <a:pt x="8132465" y="0"/>
                  </a:lnTo>
                  <a:lnTo>
                    <a:pt x="16264220" y="2664209"/>
                  </a:lnTo>
                  <a:lnTo>
                    <a:pt x="16264220" y="2664442"/>
                  </a:lnTo>
                  <a:close/>
                </a:path>
              </a:pathLst>
            </a:custGeom>
            <a:solidFill>
              <a:srgbClr val="0090AE">
                <a:alpha val="46669"/>
              </a:srgbClr>
            </a:solidFill>
          </p:spPr>
          <p:txBody>
            <a:bodyPr wrap="square" lIns="0" tIns="0" rIns="0" bIns="0" rtlCol="0"/>
            <a:lstStyle/>
            <a:p>
              <a:endParaRPr/>
            </a:p>
          </p:txBody>
        </p:sp>
        <p:sp>
          <p:nvSpPr>
            <p:cNvPr id="6" name="object 6"/>
            <p:cNvSpPr/>
            <p:nvPr/>
          </p:nvSpPr>
          <p:spPr>
            <a:xfrm>
              <a:off x="4960562" y="1996954"/>
              <a:ext cx="9060180" cy="1488440"/>
            </a:xfrm>
            <a:custGeom>
              <a:avLst/>
              <a:gdLst/>
              <a:ahLst/>
              <a:cxnLst/>
              <a:rect l="l" t="t" r="r" b="b"/>
              <a:pathLst>
                <a:path w="9060180" h="1488439">
                  <a:moveTo>
                    <a:pt x="9059552" y="1488237"/>
                  </a:moveTo>
                  <a:lnTo>
                    <a:pt x="0" y="1488237"/>
                  </a:lnTo>
                  <a:lnTo>
                    <a:pt x="4529775" y="0"/>
                  </a:lnTo>
                  <a:lnTo>
                    <a:pt x="9059552" y="1488237"/>
                  </a:lnTo>
                  <a:close/>
                </a:path>
              </a:pathLst>
            </a:custGeom>
            <a:solidFill>
              <a:srgbClr val="21408B">
                <a:alpha val="46669"/>
              </a:srgbClr>
            </a:solidFill>
          </p:spPr>
          <p:txBody>
            <a:bodyPr wrap="square" lIns="0" tIns="0" rIns="0" bIns="0" rtlCol="0"/>
            <a:lstStyle/>
            <a:p>
              <a:endParaRPr/>
            </a:p>
          </p:txBody>
        </p:sp>
        <p:sp>
          <p:nvSpPr>
            <p:cNvPr id="7" name="object 7"/>
            <p:cNvSpPr/>
            <p:nvPr/>
          </p:nvSpPr>
          <p:spPr>
            <a:xfrm>
              <a:off x="1337473" y="4671433"/>
              <a:ext cx="16266794" cy="4830445"/>
            </a:xfrm>
            <a:custGeom>
              <a:avLst/>
              <a:gdLst/>
              <a:ahLst/>
              <a:cxnLst/>
              <a:rect l="l" t="t" r="r" b="b"/>
              <a:pathLst>
                <a:path w="16266794" h="4830445">
                  <a:moveTo>
                    <a:pt x="16266318" y="4830067"/>
                  </a:moveTo>
                  <a:lnTo>
                    <a:pt x="0" y="4830067"/>
                  </a:lnTo>
                  <a:lnTo>
                    <a:pt x="0" y="0"/>
                  </a:lnTo>
                  <a:lnTo>
                    <a:pt x="16266318" y="0"/>
                  </a:lnTo>
                  <a:lnTo>
                    <a:pt x="16266318" y="4830067"/>
                  </a:lnTo>
                  <a:close/>
                </a:path>
              </a:pathLst>
            </a:custGeom>
            <a:solidFill>
              <a:srgbClr val="FFFFFF">
                <a:alpha val="46669"/>
              </a:srgbClr>
            </a:solidFill>
          </p:spPr>
          <p:txBody>
            <a:bodyPr wrap="square" lIns="0" tIns="0" rIns="0" bIns="0" rtlCol="0"/>
            <a:lstStyle/>
            <a:p>
              <a:endParaRPr/>
            </a:p>
          </p:txBody>
        </p:sp>
        <p:sp>
          <p:nvSpPr>
            <p:cNvPr id="8" name="object 8"/>
            <p:cNvSpPr/>
            <p:nvPr/>
          </p:nvSpPr>
          <p:spPr>
            <a:xfrm>
              <a:off x="2478671" y="4119892"/>
              <a:ext cx="13513435" cy="1083945"/>
            </a:xfrm>
            <a:custGeom>
              <a:avLst/>
              <a:gdLst/>
              <a:ahLst/>
              <a:cxnLst/>
              <a:rect l="l" t="t" r="r" b="b"/>
              <a:pathLst>
                <a:path w="13513435" h="1083945">
                  <a:moveTo>
                    <a:pt x="3246844" y="427837"/>
                  </a:moveTo>
                  <a:lnTo>
                    <a:pt x="3229699" y="344500"/>
                  </a:lnTo>
                  <a:lnTo>
                    <a:pt x="3213722" y="299872"/>
                  </a:lnTo>
                  <a:lnTo>
                    <a:pt x="3193465" y="257022"/>
                  </a:lnTo>
                  <a:lnTo>
                    <a:pt x="3169081" y="216268"/>
                  </a:lnTo>
                  <a:lnTo>
                    <a:pt x="3140684" y="177914"/>
                  </a:lnTo>
                  <a:lnTo>
                    <a:pt x="3108414" y="142278"/>
                  </a:lnTo>
                  <a:lnTo>
                    <a:pt x="3072790" y="110007"/>
                  </a:lnTo>
                  <a:lnTo>
                    <a:pt x="3034436" y="81610"/>
                  </a:lnTo>
                  <a:lnTo>
                    <a:pt x="2993669" y="57226"/>
                  </a:lnTo>
                  <a:lnTo>
                    <a:pt x="2950819" y="36982"/>
                  </a:lnTo>
                  <a:lnTo>
                    <a:pt x="2906204" y="20993"/>
                  </a:lnTo>
                  <a:lnTo>
                    <a:pt x="2860141" y="9423"/>
                  </a:lnTo>
                  <a:lnTo>
                    <a:pt x="2812935" y="2374"/>
                  </a:lnTo>
                  <a:lnTo>
                    <a:pt x="2764929" y="0"/>
                  </a:lnTo>
                  <a:lnTo>
                    <a:pt x="485775" y="0"/>
                  </a:lnTo>
                  <a:lnTo>
                    <a:pt x="437769" y="2374"/>
                  </a:lnTo>
                  <a:lnTo>
                    <a:pt x="390563" y="9423"/>
                  </a:lnTo>
                  <a:lnTo>
                    <a:pt x="344500" y="20993"/>
                  </a:lnTo>
                  <a:lnTo>
                    <a:pt x="299885" y="36982"/>
                  </a:lnTo>
                  <a:lnTo>
                    <a:pt x="257035" y="57226"/>
                  </a:lnTo>
                  <a:lnTo>
                    <a:pt x="216268" y="81610"/>
                  </a:lnTo>
                  <a:lnTo>
                    <a:pt x="177914" y="110007"/>
                  </a:lnTo>
                  <a:lnTo>
                    <a:pt x="142290" y="142278"/>
                  </a:lnTo>
                  <a:lnTo>
                    <a:pt x="110020" y="177914"/>
                  </a:lnTo>
                  <a:lnTo>
                    <a:pt x="81622" y="216268"/>
                  </a:lnTo>
                  <a:lnTo>
                    <a:pt x="57238" y="257022"/>
                  </a:lnTo>
                  <a:lnTo>
                    <a:pt x="36982" y="299872"/>
                  </a:lnTo>
                  <a:lnTo>
                    <a:pt x="21005" y="344500"/>
                  </a:lnTo>
                  <a:lnTo>
                    <a:pt x="9423" y="390563"/>
                  </a:lnTo>
                  <a:lnTo>
                    <a:pt x="2387" y="437756"/>
                  </a:lnTo>
                  <a:lnTo>
                    <a:pt x="0" y="485775"/>
                  </a:lnTo>
                  <a:lnTo>
                    <a:pt x="0" y="597776"/>
                  </a:lnTo>
                  <a:lnTo>
                    <a:pt x="2387" y="645795"/>
                  </a:lnTo>
                  <a:lnTo>
                    <a:pt x="9423" y="692988"/>
                  </a:lnTo>
                  <a:lnTo>
                    <a:pt x="21005" y="739063"/>
                  </a:lnTo>
                  <a:lnTo>
                    <a:pt x="36982" y="783678"/>
                  </a:lnTo>
                  <a:lnTo>
                    <a:pt x="57238" y="826528"/>
                  </a:lnTo>
                  <a:lnTo>
                    <a:pt x="81622" y="867283"/>
                  </a:lnTo>
                  <a:lnTo>
                    <a:pt x="110020" y="905649"/>
                  </a:lnTo>
                  <a:lnTo>
                    <a:pt x="142290" y="941273"/>
                  </a:lnTo>
                  <a:lnTo>
                    <a:pt x="177914" y="973543"/>
                  </a:lnTo>
                  <a:lnTo>
                    <a:pt x="216268" y="1001941"/>
                  </a:lnTo>
                  <a:lnTo>
                    <a:pt x="257035" y="1026325"/>
                  </a:lnTo>
                  <a:lnTo>
                    <a:pt x="299885" y="1046581"/>
                  </a:lnTo>
                  <a:lnTo>
                    <a:pt x="344500" y="1062558"/>
                  </a:lnTo>
                  <a:lnTo>
                    <a:pt x="390563" y="1074140"/>
                  </a:lnTo>
                  <a:lnTo>
                    <a:pt x="437769" y="1081176"/>
                  </a:lnTo>
                  <a:lnTo>
                    <a:pt x="485775" y="1083551"/>
                  </a:lnTo>
                  <a:lnTo>
                    <a:pt x="2764917" y="1083551"/>
                  </a:lnTo>
                  <a:lnTo>
                    <a:pt x="2812935" y="1081176"/>
                  </a:lnTo>
                  <a:lnTo>
                    <a:pt x="2860141" y="1074140"/>
                  </a:lnTo>
                  <a:lnTo>
                    <a:pt x="2906204" y="1062558"/>
                  </a:lnTo>
                  <a:lnTo>
                    <a:pt x="2950819" y="1046581"/>
                  </a:lnTo>
                  <a:lnTo>
                    <a:pt x="2993669" y="1026325"/>
                  </a:lnTo>
                  <a:lnTo>
                    <a:pt x="3034436" y="1001941"/>
                  </a:lnTo>
                  <a:lnTo>
                    <a:pt x="3072790" y="973543"/>
                  </a:lnTo>
                  <a:lnTo>
                    <a:pt x="3108414" y="941273"/>
                  </a:lnTo>
                  <a:lnTo>
                    <a:pt x="3140684" y="905649"/>
                  </a:lnTo>
                  <a:lnTo>
                    <a:pt x="3169081" y="867283"/>
                  </a:lnTo>
                  <a:lnTo>
                    <a:pt x="3193465" y="826528"/>
                  </a:lnTo>
                  <a:lnTo>
                    <a:pt x="3213722" y="783678"/>
                  </a:lnTo>
                  <a:lnTo>
                    <a:pt x="3229699" y="739063"/>
                  </a:lnTo>
                  <a:lnTo>
                    <a:pt x="3241281" y="692988"/>
                  </a:lnTo>
                  <a:lnTo>
                    <a:pt x="3246844" y="655726"/>
                  </a:lnTo>
                  <a:lnTo>
                    <a:pt x="3246844" y="427837"/>
                  </a:lnTo>
                  <a:close/>
                </a:path>
                <a:path w="13513435" h="1083945">
                  <a:moveTo>
                    <a:pt x="8250136" y="427837"/>
                  </a:moveTo>
                  <a:lnTo>
                    <a:pt x="8232991" y="344500"/>
                  </a:lnTo>
                  <a:lnTo>
                    <a:pt x="8217014" y="299872"/>
                  </a:lnTo>
                  <a:lnTo>
                    <a:pt x="8196758" y="257022"/>
                  </a:lnTo>
                  <a:lnTo>
                    <a:pt x="8172374" y="216268"/>
                  </a:lnTo>
                  <a:lnTo>
                    <a:pt x="8143976" y="177914"/>
                  </a:lnTo>
                  <a:lnTo>
                    <a:pt x="8111706" y="142278"/>
                  </a:lnTo>
                  <a:lnTo>
                    <a:pt x="8076082" y="110007"/>
                  </a:lnTo>
                  <a:lnTo>
                    <a:pt x="8037728" y="81610"/>
                  </a:lnTo>
                  <a:lnTo>
                    <a:pt x="7996961" y="57226"/>
                  </a:lnTo>
                  <a:lnTo>
                    <a:pt x="7954111" y="36982"/>
                  </a:lnTo>
                  <a:lnTo>
                    <a:pt x="7909496" y="20993"/>
                  </a:lnTo>
                  <a:lnTo>
                    <a:pt x="7863433" y="9423"/>
                  </a:lnTo>
                  <a:lnTo>
                    <a:pt x="7816228" y="2374"/>
                  </a:lnTo>
                  <a:lnTo>
                    <a:pt x="7768222" y="0"/>
                  </a:lnTo>
                  <a:lnTo>
                    <a:pt x="5489067" y="0"/>
                  </a:lnTo>
                  <a:lnTo>
                    <a:pt x="5441061" y="2374"/>
                  </a:lnTo>
                  <a:lnTo>
                    <a:pt x="5393855" y="9423"/>
                  </a:lnTo>
                  <a:lnTo>
                    <a:pt x="5347792" y="20993"/>
                  </a:lnTo>
                  <a:lnTo>
                    <a:pt x="5303177" y="36982"/>
                  </a:lnTo>
                  <a:lnTo>
                    <a:pt x="5260327" y="57226"/>
                  </a:lnTo>
                  <a:lnTo>
                    <a:pt x="5219560" y="81610"/>
                  </a:lnTo>
                  <a:lnTo>
                    <a:pt x="5181206" y="110007"/>
                  </a:lnTo>
                  <a:lnTo>
                    <a:pt x="5145583" y="142278"/>
                  </a:lnTo>
                  <a:lnTo>
                    <a:pt x="5113312" y="177914"/>
                  </a:lnTo>
                  <a:lnTo>
                    <a:pt x="5084915" y="216268"/>
                  </a:lnTo>
                  <a:lnTo>
                    <a:pt x="5060531" y="257022"/>
                  </a:lnTo>
                  <a:lnTo>
                    <a:pt x="5040274" y="299872"/>
                  </a:lnTo>
                  <a:lnTo>
                    <a:pt x="5024298" y="344500"/>
                  </a:lnTo>
                  <a:lnTo>
                    <a:pt x="5012715" y="390563"/>
                  </a:lnTo>
                  <a:lnTo>
                    <a:pt x="5005679" y="437756"/>
                  </a:lnTo>
                  <a:lnTo>
                    <a:pt x="5003292" y="485775"/>
                  </a:lnTo>
                  <a:lnTo>
                    <a:pt x="5003292" y="597776"/>
                  </a:lnTo>
                  <a:lnTo>
                    <a:pt x="5005679" y="645795"/>
                  </a:lnTo>
                  <a:lnTo>
                    <a:pt x="5012715" y="692988"/>
                  </a:lnTo>
                  <a:lnTo>
                    <a:pt x="5024298" y="739063"/>
                  </a:lnTo>
                  <a:lnTo>
                    <a:pt x="5040274" y="783678"/>
                  </a:lnTo>
                  <a:lnTo>
                    <a:pt x="5060531" y="826528"/>
                  </a:lnTo>
                  <a:lnTo>
                    <a:pt x="5084915" y="867283"/>
                  </a:lnTo>
                  <a:lnTo>
                    <a:pt x="5113312" y="905649"/>
                  </a:lnTo>
                  <a:lnTo>
                    <a:pt x="5145583" y="941273"/>
                  </a:lnTo>
                  <a:lnTo>
                    <a:pt x="5181206" y="973543"/>
                  </a:lnTo>
                  <a:lnTo>
                    <a:pt x="5219560" y="1001941"/>
                  </a:lnTo>
                  <a:lnTo>
                    <a:pt x="5260327" y="1026325"/>
                  </a:lnTo>
                  <a:lnTo>
                    <a:pt x="5303177" y="1046581"/>
                  </a:lnTo>
                  <a:lnTo>
                    <a:pt x="5347792" y="1062558"/>
                  </a:lnTo>
                  <a:lnTo>
                    <a:pt x="5393855" y="1074140"/>
                  </a:lnTo>
                  <a:lnTo>
                    <a:pt x="5441061" y="1081176"/>
                  </a:lnTo>
                  <a:lnTo>
                    <a:pt x="5489067" y="1083551"/>
                  </a:lnTo>
                  <a:lnTo>
                    <a:pt x="7768222" y="1083551"/>
                  </a:lnTo>
                  <a:lnTo>
                    <a:pt x="7816228" y="1081176"/>
                  </a:lnTo>
                  <a:lnTo>
                    <a:pt x="7863433" y="1074140"/>
                  </a:lnTo>
                  <a:lnTo>
                    <a:pt x="7909496" y="1062558"/>
                  </a:lnTo>
                  <a:lnTo>
                    <a:pt x="7954111" y="1046581"/>
                  </a:lnTo>
                  <a:lnTo>
                    <a:pt x="7996961" y="1026325"/>
                  </a:lnTo>
                  <a:lnTo>
                    <a:pt x="8037728" y="1001941"/>
                  </a:lnTo>
                  <a:lnTo>
                    <a:pt x="8076082" y="973543"/>
                  </a:lnTo>
                  <a:lnTo>
                    <a:pt x="8111706" y="941273"/>
                  </a:lnTo>
                  <a:lnTo>
                    <a:pt x="8143976" y="905649"/>
                  </a:lnTo>
                  <a:lnTo>
                    <a:pt x="8172374" y="867283"/>
                  </a:lnTo>
                  <a:lnTo>
                    <a:pt x="8196758" y="826528"/>
                  </a:lnTo>
                  <a:lnTo>
                    <a:pt x="8217014" y="783678"/>
                  </a:lnTo>
                  <a:lnTo>
                    <a:pt x="8232991" y="739063"/>
                  </a:lnTo>
                  <a:lnTo>
                    <a:pt x="8244573" y="692988"/>
                  </a:lnTo>
                  <a:lnTo>
                    <a:pt x="8250136" y="655726"/>
                  </a:lnTo>
                  <a:lnTo>
                    <a:pt x="8250136" y="427837"/>
                  </a:lnTo>
                  <a:close/>
                </a:path>
                <a:path w="13513435" h="1083945">
                  <a:moveTo>
                    <a:pt x="13513283" y="441528"/>
                  </a:moveTo>
                  <a:lnTo>
                    <a:pt x="13506044" y="390563"/>
                  </a:lnTo>
                  <a:lnTo>
                    <a:pt x="13494474" y="344500"/>
                  </a:lnTo>
                  <a:lnTo>
                    <a:pt x="13478497" y="299872"/>
                  </a:lnTo>
                  <a:lnTo>
                    <a:pt x="13458241" y="257022"/>
                  </a:lnTo>
                  <a:lnTo>
                    <a:pt x="13433857" y="216268"/>
                  </a:lnTo>
                  <a:lnTo>
                    <a:pt x="13405460" y="177914"/>
                  </a:lnTo>
                  <a:lnTo>
                    <a:pt x="13373189" y="142278"/>
                  </a:lnTo>
                  <a:lnTo>
                    <a:pt x="13337553" y="110007"/>
                  </a:lnTo>
                  <a:lnTo>
                    <a:pt x="13299199" y="81610"/>
                  </a:lnTo>
                  <a:lnTo>
                    <a:pt x="13258445" y="57226"/>
                  </a:lnTo>
                  <a:lnTo>
                    <a:pt x="13215595" y="36982"/>
                  </a:lnTo>
                  <a:lnTo>
                    <a:pt x="13170980" y="20993"/>
                  </a:lnTo>
                  <a:lnTo>
                    <a:pt x="13124904" y="9423"/>
                  </a:lnTo>
                  <a:lnTo>
                    <a:pt x="13077711" y="2374"/>
                  </a:lnTo>
                  <a:lnTo>
                    <a:pt x="13029692" y="0"/>
                  </a:lnTo>
                  <a:lnTo>
                    <a:pt x="10149459" y="0"/>
                  </a:lnTo>
                  <a:lnTo>
                    <a:pt x="10101453" y="2374"/>
                  </a:lnTo>
                  <a:lnTo>
                    <a:pt x="10054247" y="9423"/>
                  </a:lnTo>
                  <a:lnTo>
                    <a:pt x="10008184" y="20993"/>
                  </a:lnTo>
                  <a:lnTo>
                    <a:pt x="9963569" y="36982"/>
                  </a:lnTo>
                  <a:lnTo>
                    <a:pt x="9920719" y="57226"/>
                  </a:lnTo>
                  <a:lnTo>
                    <a:pt x="9879952" y="81610"/>
                  </a:lnTo>
                  <a:lnTo>
                    <a:pt x="9841598" y="110007"/>
                  </a:lnTo>
                  <a:lnTo>
                    <a:pt x="9805975" y="142278"/>
                  </a:lnTo>
                  <a:lnTo>
                    <a:pt x="9773704" y="177914"/>
                  </a:lnTo>
                  <a:lnTo>
                    <a:pt x="9745307" y="216268"/>
                  </a:lnTo>
                  <a:lnTo>
                    <a:pt x="9720923" y="257022"/>
                  </a:lnTo>
                  <a:lnTo>
                    <a:pt x="9700666" y="299872"/>
                  </a:lnTo>
                  <a:lnTo>
                    <a:pt x="9684690" y="344500"/>
                  </a:lnTo>
                  <a:lnTo>
                    <a:pt x="9673107" y="390563"/>
                  </a:lnTo>
                  <a:lnTo>
                    <a:pt x="9666072" y="437756"/>
                  </a:lnTo>
                  <a:lnTo>
                    <a:pt x="9663684" y="485775"/>
                  </a:lnTo>
                  <a:lnTo>
                    <a:pt x="9663684" y="597776"/>
                  </a:lnTo>
                  <a:lnTo>
                    <a:pt x="9666072" y="645795"/>
                  </a:lnTo>
                  <a:lnTo>
                    <a:pt x="9673107" y="692988"/>
                  </a:lnTo>
                  <a:lnTo>
                    <a:pt x="9684690" y="739063"/>
                  </a:lnTo>
                  <a:lnTo>
                    <a:pt x="9700666" y="783678"/>
                  </a:lnTo>
                  <a:lnTo>
                    <a:pt x="9720923" y="826528"/>
                  </a:lnTo>
                  <a:lnTo>
                    <a:pt x="9745307" y="867283"/>
                  </a:lnTo>
                  <a:lnTo>
                    <a:pt x="9773704" y="905649"/>
                  </a:lnTo>
                  <a:lnTo>
                    <a:pt x="9805975" y="941273"/>
                  </a:lnTo>
                  <a:lnTo>
                    <a:pt x="9841598" y="973543"/>
                  </a:lnTo>
                  <a:lnTo>
                    <a:pt x="9879952" y="1001941"/>
                  </a:lnTo>
                  <a:lnTo>
                    <a:pt x="9920719" y="1026325"/>
                  </a:lnTo>
                  <a:lnTo>
                    <a:pt x="9963569" y="1046581"/>
                  </a:lnTo>
                  <a:lnTo>
                    <a:pt x="10008184" y="1062558"/>
                  </a:lnTo>
                  <a:lnTo>
                    <a:pt x="10054247" y="1074140"/>
                  </a:lnTo>
                  <a:lnTo>
                    <a:pt x="10101453" y="1081176"/>
                  </a:lnTo>
                  <a:lnTo>
                    <a:pt x="10149459" y="1083551"/>
                  </a:lnTo>
                  <a:lnTo>
                    <a:pt x="13029692" y="1083551"/>
                  </a:lnTo>
                  <a:lnTo>
                    <a:pt x="13077711" y="1081176"/>
                  </a:lnTo>
                  <a:lnTo>
                    <a:pt x="13124904" y="1074140"/>
                  </a:lnTo>
                  <a:lnTo>
                    <a:pt x="13170980" y="1062558"/>
                  </a:lnTo>
                  <a:lnTo>
                    <a:pt x="13215595" y="1046581"/>
                  </a:lnTo>
                  <a:lnTo>
                    <a:pt x="13258445" y="1026325"/>
                  </a:lnTo>
                  <a:lnTo>
                    <a:pt x="13299199" y="1001941"/>
                  </a:lnTo>
                  <a:lnTo>
                    <a:pt x="13337553" y="973543"/>
                  </a:lnTo>
                  <a:lnTo>
                    <a:pt x="13373189" y="941273"/>
                  </a:lnTo>
                  <a:lnTo>
                    <a:pt x="13405460" y="905649"/>
                  </a:lnTo>
                  <a:lnTo>
                    <a:pt x="13433857" y="867283"/>
                  </a:lnTo>
                  <a:lnTo>
                    <a:pt x="13458241" y="826528"/>
                  </a:lnTo>
                  <a:lnTo>
                    <a:pt x="13478497" y="783678"/>
                  </a:lnTo>
                  <a:lnTo>
                    <a:pt x="13494474" y="739063"/>
                  </a:lnTo>
                  <a:lnTo>
                    <a:pt x="13506044" y="692988"/>
                  </a:lnTo>
                  <a:lnTo>
                    <a:pt x="13513092" y="645795"/>
                  </a:lnTo>
                  <a:lnTo>
                    <a:pt x="13513283" y="642023"/>
                  </a:lnTo>
                  <a:lnTo>
                    <a:pt x="13513283" y="441528"/>
                  </a:lnTo>
                  <a:close/>
                </a:path>
              </a:pathLst>
            </a:custGeom>
            <a:solidFill>
              <a:srgbClr val="21408B">
                <a:alpha val="46669"/>
              </a:srgbClr>
            </a:solidFill>
          </p:spPr>
          <p:txBody>
            <a:bodyPr wrap="square" lIns="0" tIns="0" rIns="0" bIns="0" rtlCol="0"/>
            <a:lstStyle/>
            <a:p>
              <a:endParaRPr/>
            </a:p>
          </p:txBody>
        </p:sp>
        <p:sp>
          <p:nvSpPr>
            <p:cNvPr id="9" name="object 9"/>
            <p:cNvSpPr/>
            <p:nvPr/>
          </p:nvSpPr>
          <p:spPr>
            <a:xfrm>
              <a:off x="3805653" y="3766223"/>
              <a:ext cx="539750" cy="539750"/>
            </a:xfrm>
            <a:custGeom>
              <a:avLst/>
              <a:gdLst/>
              <a:ahLst/>
              <a:cxnLst/>
              <a:rect l="l" t="t" r="r" b="b"/>
              <a:pathLst>
                <a:path w="539750" h="539750">
                  <a:moveTo>
                    <a:pt x="269802" y="539603"/>
                  </a:moveTo>
                  <a:lnTo>
                    <a:pt x="221304" y="535256"/>
                  </a:lnTo>
                  <a:lnTo>
                    <a:pt x="175658" y="522723"/>
                  </a:lnTo>
                  <a:lnTo>
                    <a:pt x="133627" y="502767"/>
                  </a:lnTo>
                  <a:lnTo>
                    <a:pt x="95971" y="476149"/>
                  </a:lnTo>
                  <a:lnTo>
                    <a:pt x="63453" y="443631"/>
                  </a:lnTo>
                  <a:lnTo>
                    <a:pt x="36835" y="405975"/>
                  </a:lnTo>
                  <a:lnTo>
                    <a:pt x="16879" y="363944"/>
                  </a:lnTo>
                  <a:lnTo>
                    <a:pt x="4346" y="318298"/>
                  </a:lnTo>
                  <a:lnTo>
                    <a:pt x="0" y="269804"/>
                  </a:lnTo>
                  <a:lnTo>
                    <a:pt x="4346" y="221304"/>
                  </a:lnTo>
                  <a:lnTo>
                    <a:pt x="16879" y="175659"/>
                  </a:lnTo>
                  <a:lnTo>
                    <a:pt x="36835" y="133627"/>
                  </a:lnTo>
                  <a:lnTo>
                    <a:pt x="63453" y="95971"/>
                  </a:lnTo>
                  <a:lnTo>
                    <a:pt x="95971" y="63453"/>
                  </a:lnTo>
                  <a:lnTo>
                    <a:pt x="133627" y="36835"/>
                  </a:lnTo>
                  <a:lnTo>
                    <a:pt x="175658" y="16879"/>
                  </a:lnTo>
                  <a:lnTo>
                    <a:pt x="221304" y="4346"/>
                  </a:lnTo>
                  <a:lnTo>
                    <a:pt x="269801" y="0"/>
                  </a:lnTo>
                  <a:lnTo>
                    <a:pt x="318298" y="4346"/>
                  </a:lnTo>
                  <a:lnTo>
                    <a:pt x="363943" y="16879"/>
                  </a:lnTo>
                  <a:lnTo>
                    <a:pt x="405975" y="36835"/>
                  </a:lnTo>
                  <a:lnTo>
                    <a:pt x="443631" y="63453"/>
                  </a:lnTo>
                  <a:lnTo>
                    <a:pt x="476149" y="95971"/>
                  </a:lnTo>
                  <a:lnTo>
                    <a:pt x="502767" y="133627"/>
                  </a:lnTo>
                  <a:lnTo>
                    <a:pt x="522723" y="175659"/>
                  </a:lnTo>
                  <a:lnTo>
                    <a:pt x="535256" y="221304"/>
                  </a:lnTo>
                  <a:lnTo>
                    <a:pt x="539602" y="269798"/>
                  </a:lnTo>
                  <a:lnTo>
                    <a:pt x="535256" y="318298"/>
                  </a:lnTo>
                  <a:lnTo>
                    <a:pt x="522723" y="363944"/>
                  </a:lnTo>
                  <a:lnTo>
                    <a:pt x="502767" y="405975"/>
                  </a:lnTo>
                  <a:lnTo>
                    <a:pt x="476149" y="443631"/>
                  </a:lnTo>
                  <a:lnTo>
                    <a:pt x="443631" y="476149"/>
                  </a:lnTo>
                  <a:lnTo>
                    <a:pt x="405975" y="502767"/>
                  </a:lnTo>
                  <a:lnTo>
                    <a:pt x="363943" y="522723"/>
                  </a:lnTo>
                  <a:lnTo>
                    <a:pt x="318298" y="535256"/>
                  </a:lnTo>
                  <a:lnTo>
                    <a:pt x="269802" y="539603"/>
                  </a:lnTo>
                  <a:close/>
                </a:path>
              </a:pathLst>
            </a:custGeom>
            <a:solidFill>
              <a:srgbClr val="FFFFFF">
                <a:alpha val="46669"/>
              </a:srgbClr>
            </a:solidFill>
          </p:spPr>
          <p:txBody>
            <a:bodyPr wrap="square" lIns="0" tIns="0" rIns="0" bIns="0" rtlCol="0"/>
            <a:lstStyle/>
            <a:p>
              <a:endParaRPr/>
            </a:p>
          </p:txBody>
        </p:sp>
        <p:sp>
          <p:nvSpPr>
            <p:cNvPr id="10" name="object 10"/>
            <p:cNvSpPr/>
            <p:nvPr/>
          </p:nvSpPr>
          <p:spPr>
            <a:xfrm>
              <a:off x="3907383" y="3845546"/>
              <a:ext cx="333375" cy="379730"/>
            </a:xfrm>
            <a:custGeom>
              <a:avLst/>
              <a:gdLst/>
              <a:ahLst/>
              <a:cxnLst/>
              <a:rect l="l" t="t" r="r" b="b"/>
              <a:pathLst>
                <a:path w="333375" h="379729">
                  <a:moveTo>
                    <a:pt x="4483" y="313664"/>
                  </a:moveTo>
                  <a:lnTo>
                    <a:pt x="4279" y="313880"/>
                  </a:lnTo>
                  <a:lnTo>
                    <a:pt x="3886" y="314337"/>
                  </a:lnTo>
                  <a:lnTo>
                    <a:pt x="4013" y="314579"/>
                  </a:lnTo>
                  <a:lnTo>
                    <a:pt x="4381" y="314566"/>
                  </a:lnTo>
                  <a:lnTo>
                    <a:pt x="4457" y="314134"/>
                  </a:lnTo>
                  <a:lnTo>
                    <a:pt x="4483" y="313664"/>
                  </a:lnTo>
                  <a:close/>
                </a:path>
                <a:path w="333375" h="379729">
                  <a:moveTo>
                    <a:pt x="9690" y="230314"/>
                  </a:moveTo>
                  <a:lnTo>
                    <a:pt x="9652" y="230124"/>
                  </a:lnTo>
                  <a:lnTo>
                    <a:pt x="9436" y="229933"/>
                  </a:lnTo>
                  <a:lnTo>
                    <a:pt x="9309" y="230022"/>
                  </a:lnTo>
                  <a:lnTo>
                    <a:pt x="9245" y="230200"/>
                  </a:lnTo>
                  <a:lnTo>
                    <a:pt x="9296" y="230327"/>
                  </a:lnTo>
                  <a:lnTo>
                    <a:pt x="9321" y="230492"/>
                  </a:lnTo>
                  <a:lnTo>
                    <a:pt x="9563" y="230746"/>
                  </a:lnTo>
                  <a:lnTo>
                    <a:pt x="9690" y="230670"/>
                  </a:lnTo>
                  <a:lnTo>
                    <a:pt x="9690" y="230454"/>
                  </a:lnTo>
                  <a:lnTo>
                    <a:pt x="9690" y="230314"/>
                  </a:lnTo>
                  <a:close/>
                </a:path>
                <a:path w="333375" h="379729">
                  <a:moveTo>
                    <a:pt x="23914" y="371017"/>
                  </a:moveTo>
                  <a:lnTo>
                    <a:pt x="23812" y="370624"/>
                  </a:lnTo>
                  <a:lnTo>
                    <a:pt x="23685" y="370700"/>
                  </a:lnTo>
                  <a:lnTo>
                    <a:pt x="23774" y="371094"/>
                  </a:lnTo>
                  <a:lnTo>
                    <a:pt x="23914" y="371017"/>
                  </a:lnTo>
                  <a:close/>
                </a:path>
                <a:path w="333375" h="379729">
                  <a:moveTo>
                    <a:pt x="38735" y="223278"/>
                  </a:moveTo>
                  <a:lnTo>
                    <a:pt x="38696" y="222961"/>
                  </a:lnTo>
                  <a:lnTo>
                    <a:pt x="38557" y="222885"/>
                  </a:lnTo>
                  <a:lnTo>
                    <a:pt x="38328" y="223062"/>
                  </a:lnTo>
                  <a:lnTo>
                    <a:pt x="38227" y="223266"/>
                  </a:lnTo>
                  <a:lnTo>
                    <a:pt x="38150" y="223685"/>
                  </a:lnTo>
                  <a:lnTo>
                    <a:pt x="38290" y="223951"/>
                  </a:lnTo>
                  <a:lnTo>
                    <a:pt x="38557" y="223774"/>
                  </a:lnTo>
                  <a:lnTo>
                    <a:pt x="38646" y="223469"/>
                  </a:lnTo>
                  <a:lnTo>
                    <a:pt x="38735" y="223278"/>
                  </a:lnTo>
                  <a:close/>
                </a:path>
                <a:path w="333375" h="379729">
                  <a:moveTo>
                    <a:pt x="41998" y="222084"/>
                  </a:moveTo>
                  <a:lnTo>
                    <a:pt x="41884" y="221488"/>
                  </a:lnTo>
                  <a:lnTo>
                    <a:pt x="41795" y="221297"/>
                  </a:lnTo>
                  <a:lnTo>
                    <a:pt x="41579" y="220941"/>
                  </a:lnTo>
                  <a:lnTo>
                    <a:pt x="41427" y="220980"/>
                  </a:lnTo>
                  <a:lnTo>
                    <a:pt x="41122" y="222224"/>
                  </a:lnTo>
                  <a:lnTo>
                    <a:pt x="40805" y="223139"/>
                  </a:lnTo>
                  <a:lnTo>
                    <a:pt x="40322" y="224180"/>
                  </a:lnTo>
                  <a:lnTo>
                    <a:pt x="40297" y="224370"/>
                  </a:lnTo>
                  <a:lnTo>
                    <a:pt x="40500" y="224434"/>
                  </a:lnTo>
                  <a:lnTo>
                    <a:pt x="40741" y="224459"/>
                  </a:lnTo>
                  <a:lnTo>
                    <a:pt x="41998" y="222084"/>
                  </a:lnTo>
                  <a:close/>
                </a:path>
                <a:path w="333375" h="379729">
                  <a:moveTo>
                    <a:pt x="44716" y="229870"/>
                  </a:moveTo>
                  <a:lnTo>
                    <a:pt x="43840" y="228600"/>
                  </a:lnTo>
                  <a:lnTo>
                    <a:pt x="42506" y="227330"/>
                  </a:lnTo>
                  <a:lnTo>
                    <a:pt x="41275" y="228600"/>
                  </a:lnTo>
                  <a:lnTo>
                    <a:pt x="40982" y="228600"/>
                  </a:lnTo>
                  <a:lnTo>
                    <a:pt x="40716" y="229870"/>
                  </a:lnTo>
                  <a:lnTo>
                    <a:pt x="40551" y="228600"/>
                  </a:lnTo>
                  <a:lnTo>
                    <a:pt x="40170" y="228600"/>
                  </a:lnTo>
                  <a:lnTo>
                    <a:pt x="40640" y="227330"/>
                  </a:lnTo>
                  <a:lnTo>
                    <a:pt x="40957" y="227330"/>
                  </a:lnTo>
                  <a:lnTo>
                    <a:pt x="40932" y="226060"/>
                  </a:lnTo>
                  <a:lnTo>
                    <a:pt x="41021" y="224790"/>
                  </a:lnTo>
                  <a:lnTo>
                    <a:pt x="39814" y="226060"/>
                  </a:lnTo>
                  <a:lnTo>
                    <a:pt x="39814" y="231140"/>
                  </a:lnTo>
                  <a:lnTo>
                    <a:pt x="39420" y="231140"/>
                  </a:lnTo>
                  <a:lnTo>
                    <a:pt x="39293" y="229870"/>
                  </a:lnTo>
                  <a:lnTo>
                    <a:pt x="39598"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93" y="220980"/>
                  </a:lnTo>
                  <a:lnTo>
                    <a:pt x="37325" y="219710"/>
                  </a:lnTo>
                  <a:lnTo>
                    <a:pt x="37592" y="219710"/>
                  </a:lnTo>
                  <a:lnTo>
                    <a:pt x="38163" y="220980"/>
                  </a:lnTo>
                  <a:lnTo>
                    <a:pt x="38849" y="220980"/>
                  </a:lnTo>
                  <a:lnTo>
                    <a:pt x="39776" y="222250"/>
                  </a:lnTo>
                  <a:lnTo>
                    <a:pt x="40271" y="222250"/>
                  </a:lnTo>
                  <a:lnTo>
                    <a:pt x="40944" y="220980"/>
                  </a:lnTo>
                  <a:lnTo>
                    <a:pt x="40220" y="220980"/>
                  </a:lnTo>
                  <a:lnTo>
                    <a:pt x="39700" y="219710"/>
                  </a:lnTo>
                  <a:lnTo>
                    <a:pt x="38176" y="219710"/>
                  </a:lnTo>
                  <a:lnTo>
                    <a:pt x="38265" y="218440"/>
                  </a:lnTo>
                  <a:lnTo>
                    <a:pt x="38633" y="217170"/>
                  </a:lnTo>
                  <a:lnTo>
                    <a:pt x="39001" y="215900"/>
                  </a:lnTo>
                  <a:lnTo>
                    <a:pt x="38735" y="214630"/>
                  </a:lnTo>
                  <a:lnTo>
                    <a:pt x="37236" y="214630"/>
                  </a:lnTo>
                  <a:lnTo>
                    <a:pt x="36715" y="213360"/>
                  </a:lnTo>
                  <a:lnTo>
                    <a:pt x="36309" y="212090"/>
                  </a:lnTo>
                  <a:lnTo>
                    <a:pt x="35471" y="213360"/>
                  </a:lnTo>
                  <a:lnTo>
                    <a:pt x="35255" y="213360"/>
                  </a:lnTo>
                  <a:lnTo>
                    <a:pt x="35407" y="214630"/>
                  </a:lnTo>
                  <a:lnTo>
                    <a:pt x="35725" y="215900"/>
                  </a:lnTo>
                  <a:lnTo>
                    <a:pt x="35712" y="224790"/>
                  </a:lnTo>
                  <a:lnTo>
                    <a:pt x="35712" y="226060"/>
                  </a:lnTo>
                  <a:lnTo>
                    <a:pt x="35661" y="224790"/>
                  </a:lnTo>
                  <a:lnTo>
                    <a:pt x="35712" y="215900"/>
                  </a:lnTo>
                  <a:lnTo>
                    <a:pt x="35306" y="215900"/>
                  </a:lnTo>
                  <a:lnTo>
                    <a:pt x="35229" y="217170"/>
                  </a:lnTo>
                  <a:lnTo>
                    <a:pt x="34709" y="217170"/>
                  </a:lnTo>
                  <a:lnTo>
                    <a:pt x="34747" y="215900"/>
                  </a:lnTo>
                  <a:lnTo>
                    <a:pt x="34772" y="214630"/>
                  </a:lnTo>
                  <a:lnTo>
                    <a:pt x="34163" y="213360"/>
                  </a:lnTo>
                  <a:lnTo>
                    <a:pt x="33832" y="213360"/>
                  </a:lnTo>
                  <a:lnTo>
                    <a:pt x="33832" y="226060"/>
                  </a:lnTo>
                  <a:lnTo>
                    <a:pt x="33388" y="226060"/>
                  </a:lnTo>
                  <a:lnTo>
                    <a:pt x="33172" y="224790"/>
                  </a:lnTo>
                  <a:lnTo>
                    <a:pt x="31496" y="224790"/>
                  </a:lnTo>
                  <a:lnTo>
                    <a:pt x="31229" y="223520"/>
                  </a:lnTo>
                  <a:lnTo>
                    <a:pt x="32118" y="223520"/>
                  </a:lnTo>
                  <a:lnTo>
                    <a:pt x="32550" y="222250"/>
                  </a:lnTo>
                  <a:lnTo>
                    <a:pt x="32981" y="223520"/>
                  </a:lnTo>
                  <a:lnTo>
                    <a:pt x="33464" y="223520"/>
                  </a:lnTo>
                  <a:lnTo>
                    <a:pt x="33604" y="224790"/>
                  </a:lnTo>
                  <a:lnTo>
                    <a:pt x="33832" y="226060"/>
                  </a:lnTo>
                  <a:lnTo>
                    <a:pt x="33832" y="213360"/>
                  </a:lnTo>
                  <a:lnTo>
                    <a:pt x="32778" y="213360"/>
                  </a:lnTo>
                  <a:lnTo>
                    <a:pt x="32054" y="214630"/>
                  </a:lnTo>
                  <a:lnTo>
                    <a:pt x="30010" y="214630"/>
                  </a:lnTo>
                  <a:lnTo>
                    <a:pt x="29806" y="213360"/>
                  </a:lnTo>
                  <a:lnTo>
                    <a:pt x="29222" y="213360"/>
                  </a:lnTo>
                  <a:lnTo>
                    <a:pt x="28613" y="212090"/>
                  </a:lnTo>
                  <a:lnTo>
                    <a:pt x="27355" y="213360"/>
                  </a:lnTo>
                  <a:lnTo>
                    <a:pt x="27038" y="213360"/>
                  </a:lnTo>
                  <a:lnTo>
                    <a:pt x="27292" y="214630"/>
                  </a:lnTo>
                  <a:lnTo>
                    <a:pt x="27762" y="215900"/>
                  </a:lnTo>
                  <a:lnTo>
                    <a:pt x="27152" y="215900"/>
                  </a:lnTo>
                  <a:lnTo>
                    <a:pt x="27038" y="217170"/>
                  </a:lnTo>
                  <a:lnTo>
                    <a:pt x="26263" y="217170"/>
                  </a:lnTo>
                  <a:lnTo>
                    <a:pt x="26327" y="215900"/>
                  </a:lnTo>
                  <a:lnTo>
                    <a:pt x="26314" y="214630"/>
                  </a:lnTo>
                  <a:lnTo>
                    <a:pt x="25412" y="213360"/>
                  </a:lnTo>
                  <a:lnTo>
                    <a:pt x="24650" y="213360"/>
                  </a:lnTo>
                  <a:lnTo>
                    <a:pt x="24650" y="224790"/>
                  </a:lnTo>
                  <a:lnTo>
                    <a:pt x="24384" y="224790"/>
                  </a:lnTo>
                  <a:lnTo>
                    <a:pt x="24638" y="226060"/>
                  </a:lnTo>
                  <a:lnTo>
                    <a:pt x="23990" y="226060"/>
                  </a:lnTo>
                  <a:lnTo>
                    <a:pt x="24066" y="224790"/>
                  </a:lnTo>
                  <a:lnTo>
                    <a:pt x="22796" y="224790"/>
                  </a:lnTo>
                  <a:lnTo>
                    <a:pt x="22593" y="226060"/>
                  </a:lnTo>
                  <a:lnTo>
                    <a:pt x="21234" y="226060"/>
                  </a:lnTo>
                  <a:lnTo>
                    <a:pt x="20891" y="224790"/>
                  </a:lnTo>
                  <a:lnTo>
                    <a:pt x="20447" y="224790"/>
                  </a:lnTo>
                  <a:lnTo>
                    <a:pt x="20993" y="223520"/>
                  </a:lnTo>
                  <a:lnTo>
                    <a:pt x="22415" y="223520"/>
                  </a:lnTo>
                  <a:lnTo>
                    <a:pt x="23075" y="222250"/>
                  </a:lnTo>
                  <a:lnTo>
                    <a:pt x="23723" y="223520"/>
                  </a:lnTo>
                  <a:lnTo>
                    <a:pt x="24434" y="223520"/>
                  </a:lnTo>
                  <a:lnTo>
                    <a:pt x="24650" y="224790"/>
                  </a:lnTo>
                  <a:lnTo>
                    <a:pt x="24650" y="213360"/>
                  </a:lnTo>
                  <a:lnTo>
                    <a:pt x="23329" y="213360"/>
                  </a:lnTo>
                  <a:lnTo>
                    <a:pt x="21869" y="214630"/>
                  </a:lnTo>
                  <a:lnTo>
                    <a:pt x="20967" y="215900"/>
                  </a:lnTo>
                  <a:lnTo>
                    <a:pt x="19748" y="217170"/>
                  </a:lnTo>
                  <a:lnTo>
                    <a:pt x="19545" y="217170"/>
                  </a:lnTo>
                  <a:lnTo>
                    <a:pt x="17907" y="214630"/>
                  </a:lnTo>
                  <a:lnTo>
                    <a:pt x="16802" y="215900"/>
                  </a:lnTo>
                  <a:lnTo>
                    <a:pt x="16471" y="218440"/>
                  </a:lnTo>
                  <a:lnTo>
                    <a:pt x="16408"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63" y="232410"/>
                  </a:lnTo>
                  <a:lnTo>
                    <a:pt x="9156" y="233680"/>
                  </a:lnTo>
                  <a:lnTo>
                    <a:pt x="7480" y="234950"/>
                  </a:lnTo>
                  <a:lnTo>
                    <a:pt x="7696" y="236220"/>
                  </a:lnTo>
                  <a:lnTo>
                    <a:pt x="6769" y="237490"/>
                  </a:lnTo>
                  <a:lnTo>
                    <a:pt x="5207" y="237490"/>
                  </a:lnTo>
                  <a:lnTo>
                    <a:pt x="4686" y="238760"/>
                  </a:lnTo>
                  <a:lnTo>
                    <a:pt x="3937" y="241300"/>
                  </a:lnTo>
                  <a:lnTo>
                    <a:pt x="1701" y="243840"/>
                  </a:lnTo>
                  <a:lnTo>
                    <a:pt x="800" y="243840"/>
                  </a:lnTo>
                  <a:lnTo>
                    <a:pt x="1193" y="245110"/>
                  </a:lnTo>
                  <a:lnTo>
                    <a:pt x="4064" y="245110"/>
                  </a:lnTo>
                  <a:lnTo>
                    <a:pt x="44500" y="245110"/>
                  </a:lnTo>
                  <a:lnTo>
                    <a:pt x="44500" y="243840"/>
                  </a:lnTo>
                  <a:lnTo>
                    <a:pt x="43903" y="241300"/>
                  </a:lnTo>
                  <a:lnTo>
                    <a:pt x="43726" y="240030"/>
                  </a:lnTo>
                  <a:lnTo>
                    <a:pt x="42659" y="240030"/>
                  </a:lnTo>
                  <a:lnTo>
                    <a:pt x="43180" y="238760"/>
                  </a:lnTo>
                  <a:lnTo>
                    <a:pt x="43662" y="238760"/>
                  </a:lnTo>
                  <a:lnTo>
                    <a:pt x="44030" y="236220"/>
                  </a:lnTo>
                  <a:lnTo>
                    <a:pt x="44018" y="234950"/>
                  </a:lnTo>
                  <a:lnTo>
                    <a:pt x="44145" y="233680"/>
                  </a:lnTo>
                  <a:lnTo>
                    <a:pt x="44259" y="232410"/>
                  </a:lnTo>
                  <a:lnTo>
                    <a:pt x="43624" y="232410"/>
                  </a:lnTo>
                  <a:lnTo>
                    <a:pt x="41135" y="232410"/>
                  </a:lnTo>
                  <a:lnTo>
                    <a:pt x="41135" y="234950"/>
                  </a:lnTo>
                  <a:lnTo>
                    <a:pt x="40538" y="234950"/>
                  </a:lnTo>
                  <a:lnTo>
                    <a:pt x="40551" y="233680"/>
                  </a:lnTo>
                  <a:lnTo>
                    <a:pt x="41071" y="233680"/>
                  </a:lnTo>
                  <a:lnTo>
                    <a:pt x="41135" y="234950"/>
                  </a:lnTo>
                  <a:lnTo>
                    <a:pt x="41135" y="232410"/>
                  </a:lnTo>
                  <a:lnTo>
                    <a:pt x="40640" y="232410"/>
                  </a:lnTo>
                  <a:lnTo>
                    <a:pt x="40894" y="231140"/>
                  </a:lnTo>
                  <a:lnTo>
                    <a:pt x="41363" y="231140"/>
                  </a:lnTo>
                  <a:lnTo>
                    <a:pt x="42506" y="229870"/>
                  </a:lnTo>
                  <a:lnTo>
                    <a:pt x="43167" y="229870"/>
                  </a:lnTo>
                  <a:lnTo>
                    <a:pt x="43865" y="231140"/>
                  </a:lnTo>
                  <a:lnTo>
                    <a:pt x="43624" y="232410"/>
                  </a:lnTo>
                  <a:lnTo>
                    <a:pt x="44704" y="231140"/>
                  </a:lnTo>
                  <a:lnTo>
                    <a:pt x="44716" y="229870"/>
                  </a:lnTo>
                  <a:close/>
                </a:path>
                <a:path w="333375" h="379729">
                  <a:moveTo>
                    <a:pt x="50495" y="279133"/>
                  </a:moveTo>
                  <a:lnTo>
                    <a:pt x="50355" y="278930"/>
                  </a:lnTo>
                  <a:lnTo>
                    <a:pt x="50152" y="278828"/>
                  </a:lnTo>
                  <a:lnTo>
                    <a:pt x="50139" y="279184"/>
                  </a:lnTo>
                  <a:lnTo>
                    <a:pt x="50266" y="279222"/>
                  </a:lnTo>
                  <a:lnTo>
                    <a:pt x="50482" y="279247"/>
                  </a:lnTo>
                  <a:close/>
                </a:path>
                <a:path w="333375" h="379729">
                  <a:moveTo>
                    <a:pt x="52070" y="294398"/>
                  </a:moveTo>
                  <a:lnTo>
                    <a:pt x="51904" y="294500"/>
                  </a:lnTo>
                  <a:lnTo>
                    <a:pt x="51739" y="294614"/>
                  </a:lnTo>
                  <a:lnTo>
                    <a:pt x="51879" y="294538"/>
                  </a:lnTo>
                  <a:lnTo>
                    <a:pt x="52070" y="294398"/>
                  </a:lnTo>
                  <a:close/>
                </a:path>
                <a:path w="333375" h="379729">
                  <a:moveTo>
                    <a:pt x="52933" y="295338"/>
                  </a:moveTo>
                  <a:lnTo>
                    <a:pt x="52895" y="295744"/>
                  </a:lnTo>
                  <a:lnTo>
                    <a:pt x="52844" y="296506"/>
                  </a:lnTo>
                  <a:lnTo>
                    <a:pt x="52844" y="296748"/>
                  </a:lnTo>
                  <a:lnTo>
                    <a:pt x="52870" y="296456"/>
                  </a:lnTo>
                  <a:lnTo>
                    <a:pt x="52895" y="295948"/>
                  </a:lnTo>
                  <a:lnTo>
                    <a:pt x="52933" y="295338"/>
                  </a:lnTo>
                  <a:close/>
                </a:path>
                <a:path w="333375" h="379729">
                  <a:moveTo>
                    <a:pt x="53073" y="294640"/>
                  </a:moveTo>
                  <a:lnTo>
                    <a:pt x="53035" y="295363"/>
                  </a:lnTo>
                  <a:lnTo>
                    <a:pt x="53073" y="294640"/>
                  </a:lnTo>
                  <a:close/>
                </a:path>
                <a:path w="333375" h="379729">
                  <a:moveTo>
                    <a:pt x="53213" y="297459"/>
                  </a:moveTo>
                  <a:lnTo>
                    <a:pt x="53200" y="297180"/>
                  </a:lnTo>
                  <a:lnTo>
                    <a:pt x="53213" y="297459"/>
                  </a:lnTo>
                  <a:close/>
                </a:path>
                <a:path w="333375" h="379729">
                  <a:moveTo>
                    <a:pt x="53263" y="296799"/>
                  </a:moveTo>
                  <a:lnTo>
                    <a:pt x="53200" y="295998"/>
                  </a:lnTo>
                  <a:lnTo>
                    <a:pt x="53174" y="295694"/>
                  </a:lnTo>
                  <a:lnTo>
                    <a:pt x="53136" y="295198"/>
                  </a:lnTo>
                  <a:lnTo>
                    <a:pt x="53174" y="295922"/>
                  </a:lnTo>
                  <a:lnTo>
                    <a:pt x="53200" y="296367"/>
                  </a:lnTo>
                  <a:lnTo>
                    <a:pt x="53225" y="296633"/>
                  </a:lnTo>
                  <a:lnTo>
                    <a:pt x="53263" y="296799"/>
                  </a:lnTo>
                  <a:close/>
                </a:path>
                <a:path w="333375" h="379729">
                  <a:moveTo>
                    <a:pt x="53530" y="297688"/>
                  </a:moveTo>
                  <a:lnTo>
                    <a:pt x="53517" y="297180"/>
                  </a:lnTo>
                  <a:lnTo>
                    <a:pt x="53530" y="297688"/>
                  </a:lnTo>
                  <a:close/>
                </a:path>
                <a:path w="333375" h="379729">
                  <a:moveTo>
                    <a:pt x="53619" y="295478"/>
                  </a:moveTo>
                  <a:lnTo>
                    <a:pt x="53581" y="295338"/>
                  </a:lnTo>
                  <a:lnTo>
                    <a:pt x="53467" y="295033"/>
                  </a:lnTo>
                  <a:lnTo>
                    <a:pt x="53555" y="295313"/>
                  </a:lnTo>
                  <a:lnTo>
                    <a:pt x="53619" y="295478"/>
                  </a:lnTo>
                  <a:close/>
                </a:path>
                <a:path w="333375" h="379729">
                  <a:moveTo>
                    <a:pt x="53682" y="372084"/>
                  </a:moveTo>
                  <a:close/>
                </a:path>
                <a:path w="333375" h="379729">
                  <a:moveTo>
                    <a:pt x="54051" y="294703"/>
                  </a:moveTo>
                  <a:close/>
                </a:path>
                <a:path w="333375" h="379729">
                  <a:moveTo>
                    <a:pt x="54838" y="294868"/>
                  </a:moveTo>
                  <a:lnTo>
                    <a:pt x="54775" y="294640"/>
                  </a:lnTo>
                  <a:lnTo>
                    <a:pt x="54838" y="294868"/>
                  </a:lnTo>
                  <a:close/>
                </a:path>
                <a:path w="333375" h="379729">
                  <a:moveTo>
                    <a:pt x="54965" y="294170"/>
                  </a:moveTo>
                  <a:lnTo>
                    <a:pt x="54825" y="294030"/>
                  </a:lnTo>
                  <a:lnTo>
                    <a:pt x="54914" y="294208"/>
                  </a:lnTo>
                  <a:close/>
                </a:path>
                <a:path w="333375" h="379729">
                  <a:moveTo>
                    <a:pt x="55295" y="295440"/>
                  </a:moveTo>
                  <a:close/>
                </a:path>
                <a:path w="333375" h="379729">
                  <a:moveTo>
                    <a:pt x="55880" y="292874"/>
                  </a:moveTo>
                  <a:lnTo>
                    <a:pt x="55346" y="292100"/>
                  </a:lnTo>
                  <a:lnTo>
                    <a:pt x="55880" y="292874"/>
                  </a:lnTo>
                  <a:close/>
                </a:path>
                <a:path w="333375" h="379729">
                  <a:moveTo>
                    <a:pt x="56273" y="293370"/>
                  </a:moveTo>
                  <a:lnTo>
                    <a:pt x="55880" y="292874"/>
                  </a:lnTo>
                  <a:lnTo>
                    <a:pt x="56222" y="293370"/>
                  </a:lnTo>
                  <a:close/>
                </a:path>
                <a:path w="333375" h="379729">
                  <a:moveTo>
                    <a:pt x="61607" y="280873"/>
                  </a:moveTo>
                  <a:lnTo>
                    <a:pt x="61252" y="280847"/>
                  </a:lnTo>
                  <a:lnTo>
                    <a:pt x="61226" y="280987"/>
                  </a:lnTo>
                  <a:lnTo>
                    <a:pt x="61163" y="281127"/>
                  </a:lnTo>
                  <a:lnTo>
                    <a:pt x="61239" y="281432"/>
                  </a:lnTo>
                  <a:lnTo>
                    <a:pt x="61391" y="281432"/>
                  </a:lnTo>
                  <a:lnTo>
                    <a:pt x="61493" y="281254"/>
                  </a:lnTo>
                  <a:lnTo>
                    <a:pt x="61569" y="281000"/>
                  </a:lnTo>
                  <a:lnTo>
                    <a:pt x="61607" y="280873"/>
                  </a:lnTo>
                  <a:close/>
                </a:path>
                <a:path w="333375" h="379729">
                  <a:moveTo>
                    <a:pt x="70370" y="266611"/>
                  </a:moveTo>
                  <a:lnTo>
                    <a:pt x="70281" y="266458"/>
                  </a:lnTo>
                  <a:lnTo>
                    <a:pt x="70142" y="266344"/>
                  </a:lnTo>
                  <a:lnTo>
                    <a:pt x="69964" y="266319"/>
                  </a:lnTo>
                  <a:lnTo>
                    <a:pt x="69850" y="266471"/>
                  </a:lnTo>
                  <a:lnTo>
                    <a:pt x="69799" y="266687"/>
                  </a:lnTo>
                  <a:lnTo>
                    <a:pt x="70002" y="266979"/>
                  </a:lnTo>
                  <a:lnTo>
                    <a:pt x="70205" y="266890"/>
                  </a:lnTo>
                  <a:lnTo>
                    <a:pt x="70332" y="266687"/>
                  </a:lnTo>
                  <a:close/>
                </a:path>
                <a:path w="333375" h="379729">
                  <a:moveTo>
                    <a:pt x="75057" y="260680"/>
                  </a:moveTo>
                  <a:lnTo>
                    <a:pt x="74942" y="260527"/>
                  </a:lnTo>
                  <a:lnTo>
                    <a:pt x="74752" y="260553"/>
                  </a:lnTo>
                  <a:lnTo>
                    <a:pt x="74625" y="260527"/>
                  </a:lnTo>
                  <a:lnTo>
                    <a:pt x="74599" y="260667"/>
                  </a:lnTo>
                  <a:lnTo>
                    <a:pt x="74536" y="260845"/>
                  </a:lnTo>
                  <a:lnTo>
                    <a:pt x="74625" y="261010"/>
                  </a:lnTo>
                  <a:lnTo>
                    <a:pt x="74828" y="260985"/>
                  </a:lnTo>
                  <a:lnTo>
                    <a:pt x="74955" y="261010"/>
                  </a:lnTo>
                  <a:lnTo>
                    <a:pt x="74968" y="260870"/>
                  </a:lnTo>
                  <a:lnTo>
                    <a:pt x="75057" y="260680"/>
                  </a:lnTo>
                  <a:close/>
                </a:path>
                <a:path w="333375" h="379729">
                  <a:moveTo>
                    <a:pt x="87096" y="240080"/>
                  </a:moveTo>
                  <a:lnTo>
                    <a:pt x="87007" y="239941"/>
                  </a:lnTo>
                  <a:lnTo>
                    <a:pt x="86702" y="239979"/>
                  </a:lnTo>
                  <a:lnTo>
                    <a:pt x="86461" y="240169"/>
                  </a:lnTo>
                  <a:lnTo>
                    <a:pt x="86601" y="240423"/>
                  </a:lnTo>
                  <a:lnTo>
                    <a:pt x="86868" y="240550"/>
                  </a:lnTo>
                  <a:lnTo>
                    <a:pt x="87020" y="240449"/>
                  </a:lnTo>
                  <a:lnTo>
                    <a:pt x="87096" y="240080"/>
                  </a:lnTo>
                  <a:close/>
                </a:path>
                <a:path w="333375" h="379729">
                  <a:moveTo>
                    <a:pt x="93243" y="229997"/>
                  </a:moveTo>
                  <a:lnTo>
                    <a:pt x="92976" y="229870"/>
                  </a:lnTo>
                  <a:lnTo>
                    <a:pt x="93218" y="230124"/>
                  </a:lnTo>
                  <a:lnTo>
                    <a:pt x="93243" y="229997"/>
                  </a:lnTo>
                  <a:close/>
                </a:path>
                <a:path w="333375" h="379729">
                  <a:moveTo>
                    <a:pt x="102323" y="215861"/>
                  </a:moveTo>
                  <a:lnTo>
                    <a:pt x="102184" y="215633"/>
                  </a:lnTo>
                  <a:lnTo>
                    <a:pt x="101930" y="215468"/>
                  </a:lnTo>
                  <a:lnTo>
                    <a:pt x="101803" y="215734"/>
                  </a:lnTo>
                  <a:lnTo>
                    <a:pt x="101917" y="216001"/>
                  </a:lnTo>
                  <a:lnTo>
                    <a:pt x="102082" y="216052"/>
                  </a:lnTo>
                  <a:lnTo>
                    <a:pt x="102209" y="215925"/>
                  </a:lnTo>
                  <a:close/>
                </a:path>
                <a:path w="333375" h="379729">
                  <a:moveTo>
                    <a:pt x="137248" y="255346"/>
                  </a:moveTo>
                  <a:lnTo>
                    <a:pt x="137198" y="254990"/>
                  </a:lnTo>
                  <a:lnTo>
                    <a:pt x="136969" y="254838"/>
                  </a:lnTo>
                  <a:lnTo>
                    <a:pt x="136779" y="254927"/>
                  </a:lnTo>
                  <a:lnTo>
                    <a:pt x="136652" y="255117"/>
                  </a:lnTo>
                  <a:lnTo>
                    <a:pt x="136550" y="255270"/>
                  </a:lnTo>
                  <a:lnTo>
                    <a:pt x="136652" y="255397"/>
                  </a:lnTo>
                  <a:lnTo>
                    <a:pt x="136969" y="255409"/>
                  </a:lnTo>
                  <a:lnTo>
                    <a:pt x="137109" y="255371"/>
                  </a:lnTo>
                  <a:lnTo>
                    <a:pt x="137248" y="255346"/>
                  </a:lnTo>
                  <a:close/>
                </a:path>
                <a:path w="333375" h="379729">
                  <a:moveTo>
                    <a:pt x="139903" y="250431"/>
                  </a:moveTo>
                  <a:lnTo>
                    <a:pt x="139750" y="250342"/>
                  </a:lnTo>
                  <a:lnTo>
                    <a:pt x="139598" y="250444"/>
                  </a:lnTo>
                  <a:lnTo>
                    <a:pt x="139471" y="250634"/>
                  </a:lnTo>
                  <a:lnTo>
                    <a:pt x="139369" y="250786"/>
                  </a:lnTo>
                  <a:lnTo>
                    <a:pt x="139661" y="250850"/>
                  </a:lnTo>
                  <a:lnTo>
                    <a:pt x="139890" y="250748"/>
                  </a:lnTo>
                  <a:lnTo>
                    <a:pt x="139903" y="250431"/>
                  </a:lnTo>
                  <a:close/>
                </a:path>
                <a:path w="333375" h="379729">
                  <a:moveTo>
                    <a:pt x="181317" y="109689"/>
                  </a:moveTo>
                  <a:lnTo>
                    <a:pt x="181254" y="109524"/>
                  </a:lnTo>
                  <a:lnTo>
                    <a:pt x="181076" y="109499"/>
                  </a:lnTo>
                  <a:lnTo>
                    <a:pt x="180936" y="109588"/>
                  </a:lnTo>
                  <a:lnTo>
                    <a:pt x="180898" y="109728"/>
                  </a:lnTo>
                  <a:lnTo>
                    <a:pt x="180898" y="110058"/>
                  </a:lnTo>
                  <a:lnTo>
                    <a:pt x="181025" y="110109"/>
                  </a:lnTo>
                  <a:lnTo>
                    <a:pt x="181165" y="109956"/>
                  </a:lnTo>
                  <a:lnTo>
                    <a:pt x="181317" y="109689"/>
                  </a:lnTo>
                  <a:close/>
                </a:path>
                <a:path w="333375" h="379729">
                  <a:moveTo>
                    <a:pt x="223012" y="128549"/>
                  </a:moveTo>
                  <a:close/>
                </a:path>
                <a:path w="333375" h="379729">
                  <a:moveTo>
                    <a:pt x="223659" y="128219"/>
                  </a:moveTo>
                  <a:lnTo>
                    <a:pt x="223469" y="128409"/>
                  </a:lnTo>
                  <a:lnTo>
                    <a:pt x="223227" y="128460"/>
                  </a:lnTo>
                  <a:lnTo>
                    <a:pt x="223012" y="128549"/>
                  </a:lnTo>
                  <a:lnTo>
                    <a:pt x="223342" y="129184"/>
                  </a:lnTo>
                  <a:lnTo>
                    <a:pt x="223481" y="128600"/>
                  </a:lnTo>
                  <a:lnTo>
                    <a:pt x="223659" y="128219"/>
                  </a:lnTo>
                  <a:close/>
                </a:path>
                <a:path w="333375" h="379729">
                  <a:moveTo>
                    <a:pt x="223812" y="128003"/>
                  </a:moveTo>
                  <a:lnTo>
                    <a:pt x="223697" y="128130"/>
                  </a:lnTo>
                  <a:lnTo>
                    <a:pt x="223812" y="128003"/>
                  </a:lnTo>
                  <a:close/>
                </a:path>
                <a:path w="333375" h="379729">
                  <a:moveTo>
                    <a:pt x="317665" y="1676"/>
                  </a:moveTo>
                  <a:lnTo>
                    <a:pt x="317588" y="1460"/>
                  </a:lnTo>
                  <a:lnTo>
                    <a:pt x="317449" y="1371"/>
                  </a:lnTo>
                  <a:lnTo>
                    <a:pt x="317284" y="1549"/>
                  </a:lnTo>
                  <a:lnTo>
                    <a:pt x="317360" y="1765"/>
                  </a:lnTo>
                  <a:lnTo>
                    <a:pt x="317500" y="1854"/>
                  </a:lnTo>
                  <a:lnTo>
                    <a:pt x="317665" y="1676"/>
                  </a:lnTo>
                  <a:close/>
                </a:path>
                <a:path w="333375" h="379729">
                  <a:moveTo>
                    <a:pt x="328155" y="3263"/>
                  </a:moveTo>
                  <a:lnTo>
                    <a:pt x="328104" y="3111"/>
                  </a:lnTo>
                  <a:lnTo>
                    <a:pt x="327901" y="3009"/>
                  </a:lnTo>
                  <a:lnTo>
                    <a:pt x="327812" y="3213"/>
                  </a:lnTo>
                  <a:lnTo>
                    <a:pt x="327863" y="3365"/>
                  </a:lnTo>
                  <a:lnTo>
                    <a:pt x="328053" y="3467"/>
                  </a:lnTo>
                  <a:lnTo>
                    <a:pt x="328155" y="3263"/>
                  </a:lnTo>
                  <a:close/>
                </a:path>
                <a:path w="333375" h="379729">
                  <a:moveTo>
                    <a:pt x="333375" y="9931"/>
                  </a:moveTo>
                  <a:lnTo>
                    <a:pt x="333336" y="9334"/>
                  </a:lnTo>
                  <a:lnTo>
                    <a:pt x="333133" y="9182"/>
                  </a:lnTo>
                  <a:lnTo>
                    <a:pt x="332828" y="9232"/>
                  </a:lnTo>
                  <a:lnTo>
                    <a:pt x="332308" y="9321"/>
                  </a:lnTo>
                  <a:lnTo>
                    <a:pt x="331724" y="9588"/>
                  </a:lnTo>
                  <a:lnTo>
                    <a:pt x="331812" y="10464"/>
                  </a:lnTo>
                  <a:lnTo>
                    <a:pt x="331558" y="10629"/>
                  </a:lnTo>
                  <a:lnTo>
                    <a:pt x="330161" y="10896"/>
                  </a:lnTo>
                  <a:lnTo>
                    <a:pt x="329793" y="11163"/>
                  </a:lnTo>
                  <a:lnTo>
                    <a:pt x="329704" y="11430"/>
                  </a:lnTo>
                  <a:lnTo>
                    <a:pt x="328396" y="11430"/>
                  </a:lnTo>
                  <a:lnTo>
                    <a:pt x="328968" y="10160"/>
                  </a:lnTo>
                  <a:lnTo>
                    <a:pt x="326402" y="10160"/>
                  </a:lnTo>
                  <a:lnTo>
                    <a:pt x="327418" y="8890"/>
                  </a:lnTo>
                  <a:lnTo>
                    <a:pt x="328993" y="7708"/>
                  </a:lnTo>
                  <a:lnTo>
                    <a:pt x="329247" y="8039"/>
                  </a:lnTo>
                  <a:lnTo>
                    <a:pt x="329349" y="8318"/>
                  </a:lnTo>
                  <a:lnTo>
                    <a:pt x="330060" y="7835"/>
                  </a:lnTo>
                  <a:lnTo>
                    <a:pt x="329971" y="7620"/>
                  </a:lnTo>
                  <a:lnTo>
                    <a:pt x="329704" y="7327"/>
                  </a:lnTo>
                  <a:lnTo>
                    <a:pt x="329501" y="7239"/>
                  </a:lnTo>
                  <a:lnTo>
                    <a:pt x="329171" y="7340"/>
                  </a:lnTo>
                  <a:lnTo>
                    <a:pt x="328980" y="7493"/>
                  </a:lnTo>
                  <a:lnTo>
                    <a:pt x="327787" y="6350"/>
                  </a:lnTo>
                  <a:lnTo>
                    <a:pt x="329006" y="6350"/>
                  </a:lnTo>
                  <a:lnTo>
                    <a:pt x="328536" y="5080"/>
                  </a:lnTo>
                  <a:lnTo>
                    <a:pt x="329044" y="3810"/>
                  </a:lnTo>
                  <a:lnTo>
                    <a:pt x="330771" y="3810"/>
                  </a:lnTo>
                  <a:lnTo>
                    <a:pt x="330454" y="2540"/>
                  </a:lnTo>
                  <a:lnTo>
                    <a:pt x="328726" y="3810"/>
                  </a:lnTo>
                  <a:lnTo>
                    <a:pt x="325678" y="3810"/>
                  </a:lnTo>
                  <a:lnTo>
                    <a:pt x="325005" y="2540"/>
                  </a:lnTo>
                  <a:lnTo>
                    <a:pt x="324726" y="2540"/>
                  </a:lnTo>
                  <a:lnTo>
                    <a:pt x="324726" y="15240"/>
                  </a:lnTo>
                  <a:lnTo>
                    <a:pt x="322986" y="15240"/>
                  </a:lnTo>
                  <a:lnTo>
                    <a:pt x="322897" y="16510"/>
                  </a:lnTo>
                  <a:lnTo>
                    <a:pt x="322491" y="16510"/>
                  </a:lnTo>
                  <a:lnTo>
                    <a:pt x="322643" y="15240"/>
                  </a:lnTo>
                  <a:lnTo>
                    <a:pt x="323329" y="13970"/>
                  </a:lnTo>
                  <a:lnTo>
                    <a:pt x="324205" y="13970"/>
                  </a:lnTo>
                  <a:lnTo>
                    <a:pt x="324726" y="15240"/>
                  </a:lnTo>
                  <a:lnTo>
                    <a:pt x="324726" y="2540"/>
                  </a:lnTo>
                  <a:lnTo>
                    <a:pt x="323303" y="2540"/>
                  </a:lnTo>
                  <a:lnTo>
                    <a:pt x="323303" y="5080"/>
                  </a:lnTo>
                  <a:lnTo>
                    <a:pt x="322872" y="5080"/>
                  </a:lnTo>
                  <a:lnTo>
                    <a:pt x="323011" y="3810"/>
                  </a:lnTo>
                  <a:lnTo>
                    <a:pt x="323253"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78" y="3810"/>
                  </a:lnTo>
                  <a:lnTo>
                    <a:pt x="296887" y="3810"/>
                  </a:lnTo>
                  <a:lnTo>
                    <a:pt x="294246" y="5080"/>
                  </a:lnTo>
                  <a:lnTo>
                    <a:pt x="292887" y="6350"/>
                  </a:lnTo>
                  <a:lnTo>
                    <a:pt x="291541"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75" y="29210"/>
                  </a:lnTo>
                  <a:lnTo>
                    <a:pt x="258889" y="31750"/>
                  </a:lnTo>
                  <a:lnTo>
                    <a:pt x="256552" y="31750"/>
                  </a:lnTo>
                  <a:lnTo>
                    <a:pt x="256120" y="34290"/>
                  </a:lnTo>
                  <a:lnTo>
                    <a:pt x="254292" y="35560"/>
                  </a:lnTo>
                  <a:lnTo>
                    <a:pt x="250215" y="39370"/>
                  </a:lnTo>
                  <a:lnTo>
                    <a:pt x="248462" y="39370"/>
                  </a:lnTo>
                  <a:lnTo>
                    <a:pt x="246354" y="43180"/>
                  </a:lnTo>
                  <a:lnTo>
                    <a:pt x="244881" y="44450"/>
                  </a:lnTo>
                  <a:lnTo>
                    <a:pt x="242341" y="45720"/>
                  </a:lnTo>
                  <a:lnTo>
                    <a:pt x="241503" y="45720"/>
                  </a:lnTo>
                  <a:lnTo>
                    <a:pt x="241922" y="48260"/>
                  </a:lnTo>
                  <a:lnTo>
                    <a:pt x="238975" y="48260"/>
                  </a:lnTo>
                  <a:lnTo>
                    <a:pt x="237324" y="52070"/>
                  </a:lnTo>
                  <a:lnTo>
                    <a:pt x="234772" y="53340"/>
                  </a:lnTo>
                  <a:lnTo>
                    <a:pt x="232397" y="55880"/>
                  </a:lnTo>
                  <a:lnTo>
                    <a:pt x="231381" y="57150"/>
                  </a:lnTo>
                  <a:lnTo>
                    <a:pt x="227761" y="58420"/>
                  </a:lnTo>
                  <a:lnTo>
                    <a:pt x="227545" y="60960"/>
                  </a:lnTo>
                  <a:lnTo>
                    <a:pt x="225412" y="62230"/>
                  </a:lnTo>
                  <a:lnTo>
                    <a:pt x="225425" y="63500"/>
                  </a:lnTo>
                  <a:lnTo>
                    <a:pt x="223367" y="63500"/>
                  </a:lnTo>
                  <a:lnTo>
                    <a:pt x="222910" y="64770"/>
                  </a:lnTo>
                  <a:lnTo>
                    <a:pt x="222681" y="66040"/>
                  </a:lnTo>
                  <a:lnTo>
                    <a:pt x="221957" y="67310"/>
                  </a:lnTo>
                  <a:lnTo>
                    <a:pt x="219989" y="68580"/>
                  </a:lnTo>
                  <a:lnTo>
                    <a:pt x="218490" y="68580"/>
                  </a:lnTo>
                  <a:lnTo>
                    <a:pt x="216941" y="71120"/>
                  </a:lnTo>
                  <a:lnTo>
                    <a:pt x="215734" y="72390"/>
                  </a:lnTo>
                  <a:lnTo>
                    <a:pt x="214960" y="74930"/>
                  </a:lnTo>
                  <a:lnTo>
                    <a:pt x="214058" y="74930"/>
                  </a:lnTo>
                  <a:lnTo>
                    <a:pt x="212229" y="76200"/>
                  </a:lnTo>
                  <a:lnTo>
                    <a:pt x="210172" y="78740"/>
                  </a:lnTo>
                  <a:lnTo>
                    <a:pt x="208470" y="80010"/>
                  </a:lnTo>
                  <a:lnTo>
                    <a:pt x="207327" y="81280"/>
                  </a:lnTo>
                  <a:lnTo>
                    <a:pt x="205409" y="83820"/>
                  </a:lnTo>
                  <a:lnTo>
                    <a:pt x="204876" y="85090"/>
                  </a:lnTo>
                  <a:lnTo>
                    <a:pt x="203962" y="86360"/>
                  </a:lnTo>
                  <a:lnTo>
                    <a:pt x="201498" y="87630"/>
                  </a:lnTo>
                  <a:lnTo>
                    <a:pt x="200304" y="88900"/>
                  </a:lnTo>
                  <a:lnTo>
                    <a:pt x="199796" y="90170"/>
                  </a:lnTo>
                  <a:lnTo>
                    <a:pt x="197345" y="90170"/>
                  </a:lnTo>
                  <a:lnTo>
                    <a:pt x="197993" y="91440"/>
                  </a:lnTo>
                  <a:lnTo>
                    <a:pt x="197904" y="93980"/>
                  </a:lnTo>
                  <a:lnTo>
                    <a:pt x="195478" y="93980"/>
                  </a:lnTo>
                  <a:lnTo>
                    <a:pt x="195262" y="95250"/>
                  </a:lnTo>
                  <a:lnTo>
                    <a:pt x="193408" y="96520"/>
                  </a:lnTo>
                  <a:lnTo>
                    <a:pt x="192760" y="97790"/>
                  </a:lnTo>
                  <a:lnTo>
                    <a:pt x="192354" y="99060"/>
                  </a:lnTo>
                  <a:lnTo>
                    <a:pt x="190055" y="100330"/>
                  </a:lnTo>
                  <a:lnTo>
                    <a:pt x="188785" y="100330"/>
                  </a:lnTo>
                  <a:lnTo>
                    <a:pt x="189611" y="101600"/>
                  </a:lnTo>
                  <a:lnTo>
                    <a:pt x="189496"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96"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34"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28" y="133350"/>
                  </a:lnTo>
                  <a:lnTo>
                    <a:pt x="163144" y="134620"/>
                  </a:lnTo>
                  <a:lnTo>
                    <a:pt x="162712" y="135890"/>
                  </a:lnTo>
                  <a:lnTo>
                    <a:pt x="162864" y="137160"/>
                  </a:lnTo>
                  <a:lnTo>
                    <a:pt x="159270" y="137160"/>
                  </a:lnTo>
                  <a:lnTo>
                    <a:pt x="159270" y="148590"/>
                  </a:lnTo>
                  <a:lnTo>
                    <a:pt x="159194" y="149860"/>
                  </a:lnTo>
                  <a:lnTo>
                    <a:pt x="158229" y="149860"/>
                  </a:lnTo>
                  <a:lnTo>
                    <a:pt x="158394" y="148590"/>
                  </a:lnTo>
                  <a:lnTo>
                    <a:pt x="159270" y="148590"/>
                  </a:lnTo>
                  <a:lnTo>
                    <a:pt x="159270" y="137160"/>
                  </a:lnTo>
                  <a:lnTo>
                    <a:pt x="158851" y="137160"/>
                  </a:lnTo>
                  <a:lnTo>
                    <a:pt x="159092" y="140970"/>
                  </a:lnTo>
                  <a:lnTo>
                    <a:pt x="156210" y="140970"/>
                  </a:lnTo>
                  <a:lnTo>
                    <a:pt x="156032" y="144780"/>
                  </a:lnTo>
                  <a:lnTo>
                    <a:pt x="154787" y="146050"/>
                  </a:lnTo>
                  <a:lnTo>
                    <a:pt x="152069"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55"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69"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66" y="170180"/>
                  </a:lnTo>
                  <a:lnTo>
                    <a:pt x="134277" y="171450"/>
                  </a:lnTo>
                  <a:lnTo>
                    <a:pt x="133248" y="171450"/>
                  </a:lnTo>
                  <a:lnTo>
                    <a:pt x="134239" y="173990"/>
                  </a:lnTo>
                  <a:lnTo>
                    <a:pt x="133273" y="175260"/>
                  </a:lnTo>
                  <a:lnTo>
                    <a:pt x="130822" y="176530"/>
                  </a:lnTo>
                  <a:lnTo>
                    <a:pt x="129857" y="179070"/>
                  </a:lnTo>
                  <a:lnTo>
                    <a:pt x="127190" y="180340"/>
                  </a:lnTo>
                  <a:lnTo>
                    <a:pt x="126936" y="180340"/>
                  </a:lnTo>
                  <a:lnTo>
                    <a:pt x="126873" y="182880"/>
                  </a:lnTo>
                  <a:lnTo>
                    <a:pt x="125831" y="185420"/>
                  </a:lnTo>
                  <a:lnTo>
                    <a:pt x="126009" y="187960"/>
                  </a:lnTo>
                  <a:lnTo>
                    <a:pt x="124587" y="187960"/>
                  </a:lnTo>
                  <a:lnTo>
                    <a:pt x="124002" y="189230"/>
                  </a:lnTo>
                  <a:lnTo>
                    <a:pt x="123228" y="187960"/>
                  </a:lnTo>
                  <a:lnTo>
                    <a:pt x="123037" y="189865"/>
                  </a:lnTo>
                  <a:lnTo>
                    <a:pt x="123037" y="269240"/>
                  </a:lnTo>
                  <a:lnTo>
                    <a:pt x="122669" y="269240"/>
                  </a:lnTo>
                  <a:lnTo>
                    <a:pt x="122872" y="267970"/>
                  </a:lnTo>
                  <a:lnTo>
                    <a:pt x="123037" y="269240"/>
                  </a:lnTo>
                  <a:lnTo>
                    <a:pt x="123037" y="189865"/>
                  </a:lnTo>
                  <a:lnTo>
                    <a:pt x="122974" y="190500"/>
                  </a:lnTo>
                  <a:lnTo>
                    <a:pt x="121780" y="190500"/>
                  </a:lnTo>
                  <a:lnTo>
                    <a:pt x="120370" y="191770"/>
                  </a:lnTo>
                  <a:lnTo>
                    <a:pt x="119684" y="191770"/>
                  </a:lnTo>
                  <a:lnTo>
                    <a:pt x="118198" y="193040"/>
                  </a:lnTo>
                  <a:lnTo>
                    <a:pt x="119761" y="193040"/>
                  </a:lnTo>
                  <a:lnTo>
                    <a:pt x="119176" y="194310"/>
                  </a:lnTo>
                  <a:lnTo>
                    <a:pt x="118033" y="195580"/>
                  </a:lnTo>
                  <a:lnTo>
                    <a:pt x="117906" y="198120"/>
                  </a:lnTo>
                  <a:lnTo>
                    <a:pt x="115493" y="198120"/>
                  </a:lnTo>
                  <a:lnTo>
                    <a:pt x="116395" y="200660"/>
                  </a:lnTo>
                  <a:lnTo>
                    <a:pt x="115404" y="200660"/>
                  </a:lnTo>
                  <a:lnTo>
                    <a:pt x="113461" y="201930"/>
                  </a:lnTo>
                  <a:lnTo>
                    <a:pt x="113017" y="203200"/>
                  </a:lnTo>
                  <a:lnTo>
                    <a:pt x="111671" y="204470"/>
                  </a:lnTo>
                  <a:lnTo>
                    <a:pt x="110871" y="205740"/>
                  </a:lnTo>
                  <a:lnTo>
                    <a:pt x="110629" y="207010"/>
                  </a:lnTo>
                  <a:lnTo>
                    <a:pt x="108140" y="207010"/>
                  </a:lnTo>
                  <a:lnTo>
                    <a:pt x="108813" y="208280"/>
                  </a:lnTo>
                  <a:lnTo>
                    <a:pt x="107721" y="210820"/>
                  </a:lnTo>
                  <a:lnTo>
                    <a:pt x="107391" y="212090"/>
                  </a:lnTo>
                  <a:lnTo>
                    <a:pt x="105460" y="212090"/>
                  </a:lnTo>
                  <a:lnTo>
                    <a:pt x="105956" y="214630"/>
                  </a:lnTo>
                  <a:lnTo>
                    <a:pt x="104559" y="215900"/>
                  </a:lnTo>
                  <a:lnTo>
                    <a:pt x="104787" y="217170"/>
                  </a:lnTo>
                  <a:lnTo>
                    <a:pt x="100672" y="217170"/>
                  </a:lnTo>
                  <a:lnTo>
                    <a:pt x="100291" y="218440"/>
                  </a:lnTo>
                  <a:lnTo>
                    <a:pt x="101041" y="222250"/>
                  </a:lnTo>
                  <a:lnTo>
                    <a:pt x="99339" y="222250"/>
                  </a:lnTo>
                  <a:lnTo>
                    <a:pt x="99415" y="226060"/>
                  </a:lnTo>
                  <a:lnTo>
                    <a:pt x="94805" y="226060"/>
                  </a:lnTo>
                  <a:lnTo>
                    <a:pt x="96177" y="228600"/>
                  </a:lnTo>
                  <a:lnTo>
                    <a:pt x="96151" y="229870"/>
                  </a:lnTo>
                  <a:lnTo>
                    <a:pt x="95402" y="229870"/>
                  </a:lnTo>
                  <a:lnTo>
                    <a:pt x="95694" y="231140"/>
                  </a:lnTo>
                  <a:lnTo>
                    <a:pt x="93281" y="230022"/>
                  </a:lnTo>
                  <a:lnTo>
                    <a:pt x="93294" y="230212"/>
                  </a:lnTo>
                  <a:lnTo>
                    <a:pt x="94170" y="231140"/>
                  </a:lnTo>
                  <a:lnTo>
                    <a:pt x="93535" y="233680"/>
                  </a:lnTo>
                  <a:lnTo>
                    <a:pt x="93294" y="230212"/>
                  </a:lnTo>
                  <a:lnTo>
                    <a:pt x="92697" y="232410"/>
                  </a:lnTo>
                  <a:lnTo>
                    <a:pt x="92824" y="232410"/>
                  </a:lnTo>
                  <a:lnTo>
                    <a:pt x="93472" y="234950"/>
                  </a:lnTo>
                  <a:lnTo>
                    <a:pt x="93510" y="236220"/>
                  </a:lnTo>
                  <a:lnTo>
                    <a:pt x="89954" y="237490"/>
                  </a:lnTo>
                  <a:lnTo>
                    <a:pt x="89496" y="237490"/>
                  </a:lnTo>
                  <a:lnTo>
                    <a:pt x="89052" y="242570"/>
                  </a:lnTo>
                  <a:lnTo>
                    <a:pt x="86563" y="241300"/>
                  </a:lnTo>
                  <a:lnTo>
                    <a:pt x="85801" y="242570"/>
                  </a:lnTo>
                  <a:lnTo>
                    <a:pt x="86004" y="243840"/>
                  </a:lnTo>
                  <a:lnTo>
                    <a:pt x="85318" y="245110"/>
                  </a:lnTo>
                  <a:lnTo>
                    <a:pt x="85178" y="247650"/>
                  </a:lnTo>
                  <a:lnTo>
                    <a:pt x="84251" y="248920"/>
                  </a:lnTo>
                  <a:lnTo>
                    <a:pt x="82092" y="248920"/>
                  </a:lnTo>
                  <a:lnTo>
                    <a:pt x="82804" y="251460"/>
                  </a:lnTo>
                  <a:lnTo>
                    <a:pt x="81280" y="251460"/>
                  </a:lnTo>
                  <a:lnTo>
                    <a:pt x="81254" y="251193"/>
                  </a:lnTo>
                  <a:lnTo>
                    <a:pt x="80848" y="251028"/>
                  </a:lnTo>
                  <a:lnTo>
                    <a:pt x="80848" y="251155"/>
                  </a:lnTo>
                  <a:lnTo>
                    <a:pt x="80797" y="251307"/>
                  </a:lnTo>
                  <a:lnTo>
                    <a:pt x="80962" y="251650"/>
                  </a:lnTo>
                  <a:lnTo>
                    <a:pt x="81165" y="251637"/>
                  </a:lnTo>
                  <a:lnTo>
                    <a:pt x="80645" y="254000"/>
                  </a:lnTo>
                  <a:lnTo>
                    <a:pt x="79502" y="252730"/>
                  </a:lnTo>
                  <a:lnTo>
                    <a:pt x="79489" y="254000"/>
                  </a:lnTo>
                  <a:lnTo>
                    <a:pt x="77330" y="255270"/>
                  </a:lnTo>
                  <a:lnTo>
                    <a:pt x="79019" y="256540"/>
                  </a:lnTo>
                  <a:lnTo>
                    <a:pt x="78879" y="256540"/>
                  </a:lnTo>
                  <a:lnTo>
                    <a:pt x="77482" y="257810"/>
                  </a:lnTo>
                  <a:lnTo>
                    <a:pt x="76771" y="259080"/>
                  </a:lnTo>
                  <a:lnTo>
                    <a:pt x="76288" y="261620"/>
                  </a:lnTo>
                  <a:lnTo>
                    <a:pt x="74803" y="261620"/>
                  </a:lnTo>
                  <a:lnTo>
                    <a:pt x="74523" y="262890"/>
                  </a:lnTo>
                  <a:lnTo>
                    <a:pt x="72936" y="265430"/>
                  </a:lnTo>
                  <a:lnTo>
                    <a:pt x="72453" y="266700"/>
                  </a:lnTo>
                  <a:lnTo>
                    <a:pt x="69494" y="269240"/>
                  </a:lnTo>
                  <a:lnTo>
                    <a:pt x="69532" y="271780"/>
                  </a:lnTo>
                  <a:lnTo>
                    <a:pt x="69151" y="270510"/>
                  </a:lnTo>
                  <a:lnTo>
                    <a:pt x="67894" y="273050"/>
                  </a:lnTo>
                  <a:lnTo>
                    <a:pt x="67398" y="274320"/>
                  </a:lnTo>
                  <a:lnTo>
                    <a:pt x="66319" y="274320"/>
                  </a:lnTo>
                  <a:lnTo>
                    <a:pt x="68237" y="275590"/>
                  </a:lnTo>
                  <a:lnTo>
                    <a:pt x="66446" y="275590"/>
                  </a:lnTo>
                  <a:lnTo>
                    <a:pt x="66446" y="364490"/>
                  </a:lnTo>
                  <a:lnTo>
                    <a:pt x="65684" y="365760"/>
                  </a:lnTo>
                  <a:lnTo>
                    <a:pt x="65036" y="365760"/>
                  </a:lnTo>
                  <a:lnTo>
                    <a:pt x="65786" y="364490"/>
                  </a:lnTo>
                  <a:lnTo>
                    <a:pt x="66446" y="364490"/>
                  </a:lnTo>
                  <a:lnTo>
                    <a:pt x="66446" y="275590"/>
                  </a:lnTo>
                  <a:lnTo>
                    <a:pt x="65836" y="275590"/>
                  </a:lnTo>
                  <a:lnTo>
                    <a:pt x="65303" y="276860"/>
                  </a:lnTo>
                  <a:lnTo>
                    <a:pt x="65455" y="278130"/>
                  </a:lnTo>
                  <a:lnTo>
                    <a:pt x="64033" y="279400"/>
                  </a:lnTo>
                  <a:lnTo>
                    <a:pt x="64630" y="281940"/>
                  </a:lnTo>
                  <a:lnTo>
                    <a:pt x="64312" y="281940"/>
                  </a:lnTo>
                  <a:lnTo>
                    <a:pt x="62115" y="280670"/>
                  </a:lnTo>
                  <a:lnTo>
                    <a:pt x="60325" y="283210"/>
                  </a:lnTo>
                  <a:lnTo>
                    <a:pt x="61810" y="285750"/>
                  </a:lnTo>
                  <a:lnTo>
                    <a:pt x="60210" y="287020"/>
                  </a:lnTo>
                  <a:lnTo>
                    <a:pt x="60223" y="288290"/>
                  </a:lnTo>
                  <a:lnTo>
                    <a:pt x="59550" y="288290"/>
                  </a:lnTo>
                  <a:lnTo>
                    <a:pt x="58166" y="289560"/>
                  </a:lnTo>
                  <a:lnTo>
                    <a:pt x="57950" y="289560"/>
                  </a:lnTo>
                  <a:lnTo>
                    <a:pt x="58229" y="290830"/>
                  </a:lnTo>
                  <a:lnTo>
                    <a:pt x="58635" y="292100"/>
                  </a:lnTo>
                  <a:lnTo>
                    <a:pt x="56972" y="292100"/>
                  </a:lnTo>
                  <a:lnTo>
                    <a:pt x="56845" y="292544"/>
                  </a:lnTo>
                  <a:lnTo>
                    <a:pt x="56845" y="370840"/>
                  </a:lnTo>
                  <a:lnTo>
                    <a:pt x="56781" y="372110"/>
                  </a:lnTo>
                  <a:lnTo>
                    <a:pt x="55638" y="372110"/>
                  </a:lnTo>
                  <a:lnTo>
                    <a:pt x="54889" y="373380"/>
                  </a:lnTo>
                  <a:lnTo>
                    <a:pt x="53924" y="374650"/>
                  </a:lnTo>
                  <a:lnTo>
                    <a:pt x="52730" y="374650"/>
                  </a:lnTo>
                  <a:lnTo>
                    <a:pt x="52400" y="375920"/>
                  </a:lnTo>
                  <a:lnTo>
                    <a:pt x="51269" y="375920"/>
                  </a:lnTo>
                  <a:lnTo>
                    <a:pt x="51523" y="374650"/>
                  </a:lnTo>
                  <a:lnTo>
                    <a:pt x="50723" y="374650"/>
                  </a:lnTo>
                  <a:lnTo>
                    <a:pt x="51358" y="373380"/>
                  </a:lnTo>
                  <a:lnTo>
                    <a:pt x="51803" y="372110"/>
                  </a:lnTo>
                  <a:lnTo>
                    <a:pt x="52070" y="373380"/>
                  </a:lnTo>
                  <a:lnTo>
                    <a:pt x="53251" y="373380"/>
                  </a:lnTo>
                  <a:lnTo>
                    <a:pt x="53543" y="372110"/>
                  </a:lnTo>
                  <a:lnTo>
                    <a:pt x="53403" y="372110"/>
                  </a:lnTo>
                  <a:lnTo>
                    <a:pt x="53454" y="370840"/>
                  </a:lnTo>
                  <a:lnTo>
                    <a:pt x="53644" y="370840"/>
                  </a:lnTo>
                  <a:lnTo>
                    <a:pt x="53682" y="372084"/>
                  </a:lnTo>
                  <a:lnTo>
                    <a:pt x="54864" y="370840"/>
                  </a:lnTo>
                  <a:lnTo>
                    <a:pt x="56845" y="370840"/>
                  </a:lnTo>
                  <a:lnTo>
                    <a:pt x="56845" y="292544"/>
                  </a:lnTo>
                  <a:lnTo>
                    <a:pt x="56603" y="293370"/>
                  </a:lnTo>
                  <a:lnTo>
                    <a:pt x="56807" y="294640"/>
                  </a:lnTo>
                  <a:lnTo>
                    <a:pt x="55499" y="294640"/>
                  </a:lnTo>
                  <a:lnTo>
                    <a:pt x="55600" y="295440"/>
                  </a:lnTo>
                  <a:lnTo>
                    <a:pt x="55791" y="295910"/>
                  </a:lnTo>
                  <a:lnTo>
                    <a:pt x="55651" y="295910"/>
                  </a:lnTo>
                  <a:lnTo>
                    <a:pt x="55562" y="295363"/>
                  </a:lnTo>
                  <a:lnTo>
                    <a:pt x="55257" y="294640"/>
                  </a:lnTo>
                  <a:lnTo>
                    <a:pt x="55587" y="295910"/>
                  </a:lnTo>
                  <a:lnTo>
                    <a:pt x="55232" y="295440"/>
                  </a:lnTo>
                  <a:lnTo>
                    <a:pt x="55118" y="295211"/>
                  </a:lnTo>
                  <a:lnTo>
                    <a:pt x="54940" y="294982"/>
                  </a:lnTo>
                  <a:lnTo>
                    <a:pt x="55143" y="295910"/>
                  </a:lnTo>
                  <a:lnTo>
                    <a:pt x="55587" y="298450"/>
                  </a:lnTo>
                  <a:lnTo>
                    <a:pt x="54051" y="294703"/>
                  </a:lnTo>
                  <a:lnTo>
                    <a:pt x="54127" y="295236"/>
                  </a:lnTo>
                  <a:lnTo>
                    <a:pt x="54076" y="295109"/>
                  </a:lnTo>
                  <a:lnTo>
                    <a:pt x="53886" y="294767"/>
                  </a:lnTo>
                  <a:lnTo>
                    <a:pt x="53975" y="295033"/>
                  </a:lnTo>
                  <a:lnTo>
                    <a:pt x="54076" y="295224"/>
                  </a:lnTo>
                  <a:lnTo>
                    <a:pt x="54457" y="297180"/>
                  </a:lnTo>
                  <a:lnTo>
                    <a:pt x="53911" y="295910"/>
                  </a:lnTo>
                  <a:lnTo>
                    <a:pt x="54038" y="297180"/>
                  </a:lnTo>
                  <a:lnTo>
                    <a:pt x="53530" y="295910"/>
                  </a:lnTo>
                  <a:lnTo>
                    <a:pt x="53860" y="297180"/>
                  </a:lnTo>
                  <a:lnTo>
                    <a:pt x="53594" y="297180"/>
                  </a:lnTo>
                  <a:lnTo>
                    <a:pt x="53886" y="298450"/>
                  </a:lnTo>
                  <a:lnTo>
                    <a:pt x="53873" y="299720"/>
                  </a:lnTo>
                  <a:lnTo>
                    <a:pt x="53530" y="297688"/>
                  </a:lnTo>
                  <a:lnTo>
                    <a:pt x="53606" y="300990"/>
                  </a:lnTo>
                  <a:lnTo>
                    <a:pt x="53479" y="299720"/>
                  </a:lnTo>
                  <a:lnTo>
                    <a:pt x="53213" y="297459"/>
                  </a:lnTo>
                  <a:lnTo>
                    <a:pt x="53251" y="299720"/>
                  </a:lnTo>
                  <a:lnTo>
                    <a:pt x="53035" y="295363"/>
                  </a:lnTo>
                  <a:lnTo>
                    <a:pt x="52844" y="299720"/>
                  </a:lnTo>
                  <a:lnTo>
                    <a:pt x="52844" y="297180"/>
                  </a:lnTo>
                  <a:lnTo>
                    <a:pt x="52793" y="298450"/>
                  </a:lnTo>
                  <a:lnTo>
                    <a:pt x="52692" y="299720"/>
                  </a:lnTo>
                  <a:lnTo>
                    <a:pt x="52539" y="299720"/>
                  </a:lnTo>
                  <a:lnTo>
                    <a:pt x="52679" y="297180"/>
                  </a:lnTo>
                  <a:lnTo>
                    <a:pt x="52336" y="299720"/>
                  </a:lnTo>
                  <a:lnTo>
                    <a:pt x="52006" y="298450"/>
                  </a:lnTo>
                  <a:lnTo>
                    <a:pt x="51638" y="298450"/>
                  </a:lnTo>
                  <a:lnTo>
                    <a:pt x="51422" y="297180"/>
                  </a:lnTo>
                  <a:lnTo>
                    <a:pt x="51714" y="297180"/>
                  </a:lnTo>
                  <a:lnTo>
                    <a:pt x="52717" y="295910"/>
                  </a:lnTo>
                  <a:lnTo>
                    <a:pt x="52514" y="295910"/>
                  </a:lnTo>
                  <a:lnTo>
                    <a:pt x="51879" y="294640"/>
                  </a:lnTo>
                  <a:lnTo>
                    <a:pt x="51460" y="294640"/>
                  </a:lnTo>
                  <a:lnTo>
                    <a:pt x="50990" y="293370"/>
                  </a:lnTo>
                  <a:lnTo>
                    <a:pt x="51181" y="292100"/>
                  </a:lnTo>
                  <a:lnTo>
                    <a:pt x="51358" y="290830"/>
                  </a:lnTo>
                  <a:lnTo>
                    <a:pt x="50609" y="290830"/>
                  </a:lnTo>
                  <a:lnTo>
                    <a:pt x="50558" y="292100"/>
                  </a:lnTo>
                  <a:lnTo>
                    <a:pt x="50507" y="377190"/>
                  </a:lnTo>
                  <a:lnTo>
                    <a:pt x="50380" y="377190"/>
                  </a:lnTo>
                  <a:lnTo>
                    <a:pt x="50406" y="375920"/>
                  </a:lnTo>
                  <a:lnTo>
                    <a:pt x="50507" y="377190"/>
                  </a:lnTo>
                  <a:lnTo>
                    <a:pt x="50507" y="292100"/>
                  </a:lnTo>
                  <a:lnTo>
                    <a:pt x="50393" y="291846"/>
                  </a:lnTo>
                  <a:lnTo>
                    <a:pt x="50393" y="299720"/>
                  </a:lnTo>
                  <a:lnTo>
                    <a:pt x="50038" y="299720"/>
                  </a:lnTo>
                  <a:lnTo>
                    <a:pt x="50279" y="298450"/>
                  </a:lnTo>
                  <a:lnTo>
                    <a:pt x="50393" y="299720"/>
                  </a:lnTo>
                  <a:lnTo>
                    <a:pt x="50393" y="291846"/>
                  </a:lnTo>
                  <a:lnTo>
                    <a:pt x="50101" y="290830"/>
                  </a:lnTo>
                  <a:lnTo>
                    <a:pt x="51015" y="289560"/>
                  </a:lnTo>
                  <a:lnTo>
                    <a:pt x="50063" y="287020"/>
                  </a:lnTo>
                  <a:lnTo>
                    <a:pt x="51320" y="287020"/>
                  </a:lnTo>
                  <a:lnTo>
                    <a:pt x="51155" y="285750"/>
                  </a:lnTo>
                  <a:lnTo>
                    <a:pt x="51422" y="285750"/>
                  </a:lnTo>
                  <a:lnTo>
                    <a:pt x="50444" y="284480"/>
                  </a:lnTo>
                  <a:lnTo>
                    <a:pt x="49784" y="283210"/>
                  </a:lnTo>
                  <a:lnTo>
                    <a:pt x="49301" y="283210"/>
                  </a:lnTo>
                  <a:lnTo>
                    <a:pt x="50342" y="281940"/>
                  </a:lnTo>
                  <a:lnTo>
                    <a:pt x="50203" y="280670"/>
                  </a:lnTo>
                  <a:lnTo>
                    <a:pt x="48869" y="279400"/>
                  </a:lnTo>
                  <a:lnTo>
                    <a:pt x="48590" y="278130"/>
                  </a:lnTo>
                  <a:lnTo>
                    <a:pt x="49885" y="276860"/>
                  </a:lnTo>
                  <a:lnTo>
                    <a:pt x="49085" y="275590"/>
                  </a:lnTo>
                  <a:lnTo>
                    <a:pt x="48856" y="273050"/>
                  </a:lnTo>
                  <a:lnTo>
                    <a:pt x="48552" y="273050"/>
                  </a:lnTo>
                  <a:lnTo>
                    <a:pt x="47307" y="270510"/>
                  </a:lnTo>
                  <a:lnTo>
                    <a:pt x="47231" y="269240"/>
                  </a:lnTo>
                  <a:lnTo>
                    <a:pt x="49047" y="269240"/>
                  </a:lnTo>
                  <a:lnTo>
                    <a:pt x="48666" y="267970"/>
                  </a:lnTo>
                  <a:lnTo>
                    <a:pt x="47929" y="265430"/>
                  </a:lnTo>
                  <a:lnTo>
                    <a:pt x="45885" y="264160"/>
                  </a:lnTo>
                  <a:lnTo>
                    <a:pt x="47752" y="264160"/>
                  </a:lnTo>
                  <a:lnTo>
                    <a:pt x="48044" y="262890"/>
                  </a:lnTo>
                  <a:lnTo>
                    <a:pt x="48348" y="261620"/>
                  </a:lnTo>
                  <a:lnTo>
                    <a:pt x="47028" y="261620"/>
                  </a:lnTo>
                  <a:lnTo>
                    <a:pt x="47891" y="260350"/>
                  </a:lnTo>
                  <a:lnTo>
                    <a:pt x="46634" y="257810"/>
                  </a:lnTo>
                  <a:lnTo>
                    <a:pt x="45656" y="256654"/>
                  </a:lnTo>
                  <a:lnTo>
                    <a:pt x="45656" y="264160"/>
                  </a:lnTo>
                  <a:lnTo>
                    <a:pt x="45059" y="264160"/>
                  </a:lnTo>
                  <a:lnTo>
                    <a:pt x="44627" y="262991"/>
                  </a:lnTo>
                  <a:lnTo>
                    <a:pt x="44615" y="265430"/>
                  </a:lnTo>
                  <a:lnTo>
                    <a:pt x="44157" y="265430"/>
                  </a:lnTo>
                  <a:lnTo>
                    <a:pt x="43662" y="264160"/>
                  </a:lnTo>
                  <a:lnTo>
                    <a:pt x="43116" y="264160"/>
                  </a:lnTo>
                  <a:lnTo>
                    <a:pt x="44589" y="263029"/>
                  </a:lnTo>
                  <a:lnTo>
                    <a:pt x="44589" y="262890"/>
                  </a:lnTo>
                  <a:lnTo>
                    <a:pt x="44767" y="262890"/>
                  </a:lnTo>
                  <a:lnTo>
                    <a:pt x="45529" y="262890"/>
                  </a:lnTo>
                  <a:lnTo>
                    <a:pt x="45656" y="264160"/>
                  </a:lnTo>
                  <a:lnTo>
                    <a:pt x="45656" y="256654"/>
                  </a:lnTo>
                  <a:lnTo>
                    <a:pt x="46761" y="255270"/>
                  </a:lnTo>
                  <a:lnTo>
                    <a:pt x="46520" y="254000"/>
                  </a:lnTo>
                  <a:lnTo>
                    <a:pt x="46926" y="254000"/>
                  </a:lnTo>
                  <a:lnTo>
                    <a:pt x="46050" y="251460"/>
                  </a:lnTo>
                  <a:lnTo>
                    <a:pt x="44970" y="250190"/>
                  </a:lnTo>
                  <a:lnTo>
                    <a:pt x="44970" y="248920"/>
                  </a:lnTo>
                  <a:lnTo>
                    <a:pt x="46037" y="248920"/>
                  </a:lnTo>
                  <a:lnTo>
                    <a:pt x="46609"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43" y="351790"/>
                  </a:lnTo>
                  <a:lnTo>
                    <a:pt x="13512" y="353060"/>
                  </a:lnTo>
                  <a:lnTo>
                    <a:pt x="13436" y="351790"/>
                  </a:lnTo>
                  <a:lnTo>
                    <a:pt x="12954" y="350520"/>
                  </a:lnTo>
                  <a:lnTo>
                    <a:pt x="13538" y="349250"/>
                  </a:lnTo>
                  <a:lnTo>
                    <a:pt x="13766" y="350520"/>
                  </a:lnTo>
                  <a:lnTo>
                    <a:pt x="14020" y="350520"/>
                  </a:lnTo>
                  <a:lnTo>
                    <a:pt x="14033" y="351790"/>
                  </a:lnTo>
                  <a:lnTo>
                    <a:pt x="14033" y="246380"/>
                  </a:lnTo>
                  <a:lnTo>
                    <a:pt x="7708" y="246380"/>
                  </a:lnTo>
                  <a:lnTo>
                    <a:pt x="7708" y="314960"/>
                  </a:lnTo>
                  <a:lnTo>
                    <a:pt x="7708" y="316230"/>
                  </a:lnTo>
                  <a:lnTo>
                    <a:pt x="7188" y="316230"/>
                  </a:lnTo>
                  <a:lnTo>
                    <a:pt x="7048" y="314960"/>
                  </a:lnTo>
                  <a:lnTo>
                    <a:pt x="7708" y="314960"/>
                  </a:lnTo>
                  <a:lnTo>
                    <a:pt x="7708" y="246380"/>
                  </a:lnTo>
                  <a:lnTo>
                    <a:pt x="5740" y="246380"/>
                  </a:lnTo>
                  <a:lnTo>
                    <a:pt x="5740" y="247650"/>
                  </a:lnTo>
                  <a:lnTo>
                    <a:pt x="5664" y="248348"/>
                  </a:lnTo>
                  <a:lnTo>
                    <a:pt x="5664" y="283210"/>
                  </a:lnTo>
                  <a:lnTo>
                    <a:pt x="5511" y="284480"/>
                  </a:lnTo>
                  <a:lnTo>
                    <a:pt x="5207" y="284480"/>
                  </a:lnTo>
                  <a:lnTo>
                    <a:pt x="5130" y="283210"/>
                  </a:lnTo>
                  <a:lnTo>
                    <a:pt x="5664" y="283210"/>
                  </a:lnTo>
                  <a:lnTo>
                    <a:pt x="5664" y="248348"/>
                  </a:lnTo>
                  <a:lnTo>
                    <a:pt x="5600" y="248920"/>
                  </a:lnTo>
                  <a:lnTo>
                    <a:pt x="4203" y="248920"/>
                  </a:lnTo>
                  <a:lnTo>
                    <a:pt x="4114" y="247650"/>
                  </a:lnTo>
                  <a:lnTo>
                    <a:pt x="5740" y="247650"/>
                  </a:lnTo>
                  <a:lnTo>
                    <a:pt x="5740" y="246380"/>
                  </a:lnTo>
                  <a:lnTo>
                    <a:pt x="3048" y="246380"/>
                  </a:lnTo>
                  <a:lnTo>
                    <a:pt x="3225" y="247650"/>
                  </a:lnTo>
                  <a:lnTo>
                    <a:pt x="2755" y="247650"/>
                  </a:lnTo>
                  <a:lnTo>
                    <a:pt x="2273" y="247650"/>
                  </a:lnTo>
                  <a:lnTo>
                    <a:pt x="1333" y="248920"/>
                  </a:lnTo>
                  <a:lnTo>
                    <a:pt x="2743" y="252730"/>
                  </a:lnTo>
                  <a:lnTo>
                    <a:pt x="2019" y="254000"/>
                  </a:lnTo>
                  <a:lnTo>
                    <a:pt x="2578" y="256540"/>
                  </a:lnTo>
                  <a:lnTo>
                    <a:pt x="1549" y="256540"/>
                  </a:lnTo>
                  <a:lnTo>
                    <a:pt x="2374" y="257810"/>
                  </a:lnTo>
                  <a:lnTo>
                    <a:pt x="3263" y="257810"/>
                  </a:lnTo>
                  <a:lnTo>
                    <a:pt x="3365" y="259080"/>
                  </a:lnTo>
                  <a:lnTo>
                    <a:pt x="2438" y="259080"/>
                  </a:lnTo>
                  <a:lnTo>
                    <a:pt x="2997" y="262890"/>
                  </a:lnTo>
                  <a:lnTo>
                    <a:pt x="0" y="264160"/>
                  </a:lnTo>
                  <a:lnTo>
                    <a:pt x="101" y="265430"/>
                  </a:lnTo>
                  <a:lnTo>
                    <a:pt x="1028" y="265430"/>
                  </a:lnTo>
                  <a:lnTo>
                    <a:pt x="1587" y="266700"/>
                  </a:lnTo>
                  <a:lnTo>
                    <a:pt x="2565" y="265430"/>
                  </a:lnTo>
                  <a:lnTo>
                    <a:pt x="2870" y="265430"/>
                  </a:lnTo>
                  <a:lnTo>
                    <a:pt x="3225" y="266700"/>
                  </a:lnTo>
                  <a:lnTo>
                    <a:pt x="1587" y="266700"/>
                  </a:lnTo>
                  <a:lnTo>
                    <a:pt x="1295" y="266700"/>
                  </a:lnTo>
                  <a:lnTo>
                    <a:pt x="2667" y="269240"/>
                  </a:lnTo>
                  <a:lnTo>
                    <a:pt x="2019"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67" y="283210"/>
                  </a:lnTo>
                  <a:lnTo>
                    <a:pt x="1168" y="287020"/>
                  </a:lnTo>
                  <a:lnTo>
                    <a:pt x="1638" y="288290"/>
                  </a:lnTo>
                  <a:lnTo>
                    <a:pt x="3276" y="289560"/>
                  </a:lnTo>
                  <a:lnTo>
                    <a:pt x="3505" y="290830"/>
                  </a:lnTo>
                  <a:lnTo>
                    <a:pt x="2095" y="292100"/>
                  </a:lnTo>
                  <a:lnTo>
                    <a:pt x="3175" y="293370"/>
                  </a:lnTo>
                  <a:lnTo>
                    <a:pt x="2095" y="295910"/>
                  </a:lnTo>
                  <a:lnTo>
                    <a:pt x="2222" y="297180"/>
                  </a:lnTo>
                  <a:lnTo>
                    <a:pt x="3327" y="300990"/>
                  </a:lnTo>
                  <a:lnTo>
                    <a:pt x="4165" y="306070"/>
                  </a:lnTo>
                  <a:lnTo>
                    <a:pt x="3987" y="309880"/>
                  </a:lnTo>
                  <a:lnTo>
                    <a:pt x="4572" y="312420"/>
                  </a:lnTo>
                  <a:lnTo>
                    <a:pt x="5245" y="314960"/>
                  </a:lnTo>
                  <a:lnTo>
                    <a:pt x="5130" y="318770"/>
                  </a:lnTo>
                  <a:lnTo>
                    <a:pt x="6629" y="321310"/>
                  </a:lnTo>
                  <a:lnTo>
                    <a:pt x="6667" y="322580"/>
                  </a:lnTo>
                  <a:lnTo>
                    <a:pt x="6540" y="325120"/>
                  </a:lnTo>
                  <a:lnTo>
                    <a:pt x="6477" y="328930"/>
                  </a:lnTo>
                  <a:lnTo>
                    <a:pt x="7251" y="330200"/>
                  </a:lnTo>
                  <a:lnTo>
                    <a:pt x="6794" y="331470"/>
                  </a:lnTo>
                  <a:lnTo>
                    <a:pt x="7010" y="332740"/>
                  </a:lnTo>
                  <a:lnTo>
                    <a:pt x="7823" y="334010"/>
                  </a:lnTo>
                  <a:lnTo>
                    <a:pt x="10147" y="339090"/>
                  </a:lnTo>
                  <a:lnTo>
                    <a:pt x="10337" y="340360"/>
                  </a:lnTo>
                  <a:lnTo>
                    <a:pt x="9398" y="344170"/>
                  </a:lnTo>
                  <a:lnTo>
                    <a:pt x="9156" y="345440"/>
                  </a:lnTo>
                  <a:lnTo>
                    <a:pt x="8851" y="345440"/>
                  </a:lnTo>
                  <a:lnTo>
                    <a:pt x="8801" y="346710"/>
                  </a:lnTo>
                  <a:lnTo>
                    <a:pt x="9563" y="347980"/>
                  </a:lnTo>
                  <a:lnTo>
                    <a:pt x="10248" y="347980"/>
                  </a:lnTo>
                  <a:lnTo>
                    <a:pt x="11747" y="346710"/>
                  </a:lnTo>
                  <a:lnTo>
                    <a:pt x="11747" y="347980"/>
                  </a:lnTo>
                  <a:lnTo>
                    <a:pt x="11404" y="350520"/>
                  </a:lnTo>
                  <a:lnTo>
                    <a:pt x="10960" y="351790"/>
                  </a:lnTo>
                  <a:lnTo>
                    <a:pt x="12712" y="354330"/>
                  </a:lnTo>
                  <a:lnTo>
                    <a:pt x="12954" y="355600"/>
                  </a:lnTo>
                  <a:lnTo>
                    <a:pt x="13449" y="356870"/>
                  </a:lnTo>
                  <a:lnTo>
                    <a:pt x="13639" y="358140"/>
                  </a:lnTo>
                  <a:lnTo>
                    <a:pt x="14986" y="358140"/>
                  </a:lnTo>
                  <a:lnTo>
                    <a:pt x="14986" y="359410"/>
                  </a:lnTo>
                  <a:lnTo>
                    <a:pt x="15760" y="360680"/>
                  </a:lnTo>
                  <a:lnTo>
                    <a:pt x="16802" y="361950"/>
                  </a:lnTo>
                  <a:lnTo>
                    <a:pt x="18415"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58" y="373380"/>
                  </a:lnTo>
                  <a:lnTo>
                    <a:pt x="25260" y="374650"/>
                  </a:lnTo>
                  <a:lnTo>
                    <a:pt x="27178" y="374650"/>
                  </a:lnTo>
                  <a:lnTo>
                    <a:pt x="28409" y="375920"/>
                  </a:lnTo>
                  <a:lnTo>
                    <a:pt x="29616" y="373380"/>
                  </a:lnTo>
                  <a:lnTo>
                    <a:pt x="29921" y="373380"/>
                  </a:lnTo>
                  <a:lnTo>
                    <a:pt x="30594" y="374650"/>
                  </a:lnTo>
                  <a:lnTo>
                    <a:pt x="30149" y="375920"/>
                  </a:lnTo>
                  <a:lnTo>
                    <a:pt x="31013" y="377190"/>
                  </a:lnTo>
                  <a:lnTo>
                    <a:pt x="33909" y="377190"/>
                  </a:lnTo>
                  <a:lnTo>
                    <a:pt x="34937" y="378460"/>
                  </a:lnTo>
                  <a:lnTo>
                    <a:pt x="35560" y="378460"/>
                  </a:lnTo>
                  <a:lnTo>
                    <a:pt x="36360" y="379730"/>
                  </a:lnTo>
                  <a:lnTo>
                    <a:pt x="40640" y="379730"/>
                  </a:lnTo>
                  <a:lnTo>
                    <a:pt x="40474" y="378460"/>
                  </a:lnTo>
                  <a:lnTo>
                    <a:pt x="41211" y="377266"/>
                  </a:lnTo>
                  <a:lnTo>
                    <a:pt x="42468"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42" y="370840"/>
                  </a:lnTo>
                  <a:lnTo>
                    <a:pt x="62268" y="369570"/>
                  </a:lnTo>
                  <a:lnTo>
                    <a:pt x="62750"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99" y="358140"/>
                  </a:lnTo>
                  <a:lnTo>
                    <a:pt x="75069" y="358140"/>
                  </a:lnTo>
                  <a:lnTo>
                    <a:pt x="75514" y="356870"/>
                  </a:lnTo>
                  <a:lnTo>
                    <a:pt x="75692" y="356870"/>
                  </a:lnTo>
                  <a:lnTo>
                    <a:pt x="76212" y="355600"/>
                  </a:lnTo>
                  <a:lnTo>
                    <a:pt x="76492" y="355600"/>
                  </a:lnTo>
                  <a:lnTo>
                    <a:pt x="76987" y="354330"/>
                  </a:lnTo>
                  <a:lnTo>
                    <a:pt x="77647" y="353060"/>
                  </a:lnTo>
                  <a:lnTo>
                    <a:pt x="78955" y="350520"/>
                  </a:lnTo>
                  <a:lnTo>
                    <a:pt x="79908" y="349250"/>
                  </a:lnTo>
                  <a:lnTo>
                    <a:pt x="80302" y="346710"/>
                  </a:lnTo>
                  <a:lnTo>
                    <a:pt x="81165" y="346710"/>
                  </a:lnTo>
                  <a:lnTo>
                    <a:pt x="81457" y="347980"/>
                  </a:lnTo>
                  <a:lnTo>
                    <a:pt x="81991" y="346710"/>
                  </a:lnTo>
                  <a:lnTo>
                    <a:pt x="82511" y="345440"/>
                  </a:lnTo>
                  <a:lnTo>
                    <a:pt x="82791" y="344170"/>
                  </a:lnTo>
                  <a:lnTo>
                    <a:pt x="84353" y="345440"/>
                  </a:lnTo>
                  <a:lnTo>
                    <a:pt x="84391" y="344170"/>
                  </a:lnTo>
                  <a:lnTo>
                    <a:pt x="84467" y="341630"/>
                  </a:lnTo>
                  <a:lnTo>
                    <a:pt x="85026" y="339090"/>
                  </a:lnTo>
                  <a:lnTo>
                    <a:pt x="87172" y="339090"/>
                  </a:lnTo>
                  <a:lnTo>
                    <a:pt x="88506" y="335280"/>
                  </a:lnTo>
                  <a:lnTo>
                    <a:pt x="90208" y="335280"/>
                  </a:lnTo>
                  <a:lnTo>
                    <a:pt x="90208" y="332740"/>
                  </a:lnTo>
                  <a:lnTo>
                    <a:pt x="90881" y="331470"/>
                  </a:lnTo>
                  <a:lnTo>
                    <a:pt x="92760" y="328930"/>
                  </a:lnTo>
                  <a:lnTo>
                    <a:pt x="93395" y="327660"/>
                  </a:lnTo>
                  <a:lnTo>
                    <a:pt x="93624" y="327660"/>
                  </a:lnTo>
                  <a:lnTo>
                    <a:pt x="93675" y="326390"/>
                  </a:lnTo>
                  <a:lnTo>
                    <a:pt x="94259" y="326390"/>
                  </a:lnTo>
                  <a:lnTo>
                    <a:pt x="94818" y="325120"/>
                  </a:lnTo>
                  <a:lnTo>
                    <a:pt x="95351" y="323850"/>
                  </a:lnTo>
                  <a:lnTo>
                    <a:pt x="96253" y="322580"/>
                  </a:lnTo>
                  <a:lnTo>
                    <a:pt x="97015" y="322580"/>
                  </a:lnTo>
                  <a:lnTo>
                    <a:pt x="96761" y="321310"/>
                  </a:lnTo>
                  <a:lnTo>
                    <a:pt x="97116" y="320040"/>
                  </a:lnTo>
                  <a:lnTo>
                    <a:pt x="99263" y="317500"/>
                  </a:lnTo>
                  <a:lnTo>
                    <a:pt x="99796" y="316230"/>
                  </a:lnTo>
                  <a:lnTo>
                    <a:pt x="100342" y="314960"/>
                  </a:lnTo>
                  <a:lnTo>
                    <a:pt x="100888" y="313690"/>
                  </a:lnTo>
                  <a:lnTo>
                    <a:pt x="101460" y="312420"/>
                  </a:lnTo>
                  <a:lnTo>
                    <a:pt x="102362" y="311150"/>
                  </a:lnTo>
                  <a:lnTo>
                    <a:pt x="101866" y="309880"/>
                  </a:lnTo>
                  <a:lnTo>
                    <a:pt x="103809" y="309880"/>
                  </a:lnTo>
                  <a:lnTo>
                    <a:pt x="103543" y="307340"/>
                  </a:lnTo>
                  <a:lnTo>
                    <a:pt x="104063" y="307340"/>
                  </a:lnTo>
                  <a:lnTo>
                    <a:pt x="105105" y="306070"/>
                  </a:lnTo>
                  <a:lnTo>
                    <a:pt x="105537" y="306070"/>
                  </a:lnTo>
                  <a:lnTo>
                    <a:pt x="105778" y="304800"/>
                  </a:lnTo>
                  <a:lnTo>
                    <a:pt x="107391" y="304800"/>
                  </a:lnTo>
                  <a:lnTo>
                    <a:pt x="107137" y="303530"/>
                  </a:lnTo>
                  <a:lnTo>
                    <a:pt x="107035" y="302260"/>
                  </a:lnTo>
                  <a:lnTo>
                    <a:pt x="107454"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64" y="294640"/>
                  </a:lnTo>
                  <a:lnTo>
                    <a:pt x="113004" y="294640"/>
                  </a:lnTo>
                  <a:lnTo>
                    <a:pt x="112864" y="293370"/>
                  </a:lnTo>
                  <a:lnTo>
                    <a:pt x="113169" y="293370"/>
                  </a:lnTo>
                  <a:lnTo>
                    <a:pt x="113093" y="292874"/>
                  </a:lnTo>
                  <a:lnTo>
                    <a:pt x="113042" y="290830"/>
                  </a:lnTo>
                  <a:lnTo>
                    <a:pt x="114160" y="290830"/>
                  </a:lnTo>
                  <a:lnTo>
                    <a:pt x="115887" y="289560"/>
                  </a:lnTo>
                  <a:lnTo>
                    <a:pt x="115404" y="289560"/>
                  </a:lnTo>
                  <a:lnTo>
                    <a:pt x="115074" y="288290"/>
                  </a:lnTo>
                  <a:lnTo>
                    <a:pt x="115023" y="287020"/>
                  </a:lnTo>
                  <a:lnTo>
                    <a:pt x="115201" y="287020"/>
                  </a:lnTo>
                  <a:lnTo>
                    <a:pt x="115379" y="288290"/>
                  </a:lnTo>
                  <a:lnTo>
                    <a:pt x="116370" y="288290"/>
                  </a:lnTo>
                  <a:lnTo>
                    <a:pt x="116217" y="287020"/>
                  </a:lnTo>
                  <a:lnTo>
                    <a:pt x="116916" y="287020"/>
                  </a:lnTo>
                  <a:lnTo>
                    <a:pt x="116547" y="285750"/>
                  </a:lnTo>
                  <a:lnTo>
                    <a:pt x="117906" y="285750"/>
                  </a:lnTo>
                  <a:lnTo>
                    <a:pt x="118694" y="284480"/>
                  </a:lnTo>
                  <a:lnTo>
                    <a:pt x="118211" y="284480"/>
                  </a:lnTo>
                  <a:lnTo>
                    <a:pt x="118148" y="284314"/>
                  </a:lnTo>
                  <a:lnTo>
                    <a:pt x="117754" y="283210"/>
                  </a:lnTo>
                  <a:lnTo>
                    <a:pt x="118325" y="283210"/>
                  </a:lnTo>
                  <a:lnTo>
                    <a:pt x="118148" y="284314"/>
                  </a:lnTo>
                  <a:lnTo>
                    <a:pt x="118948" y="283210"/>
                  </a:lnTo>
                  <a:lnTo>
                    <a:pt x="119113" y="283210"/>
                  </a:lnTo>
                  <a:lnTo>
                    <a:pt x="119075" y="281940"/>
                  </a:lnTo>
                  <a:lnTo>
                    <a:pt x="120611" y="281940"/>
                  </a:lnTo>
                  <a:lnTo>
                    <a:pt x="120980" y="280670"/>
                  </a:lnTo>
                  <a:lnTo>
                    <a:pt x="122174" y="280670"/>
                  </a:lnTo>
                  <a:lnTo>
                    <a:pt x="122034" y="279400"/>
                  </a:lnTo>
                  <a:lnTo>
                    <a:pt x="121488" y="278130"/>
                  </a:lnTo>
                  <a:lnTo>
                    <a:pt x="121843"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92" y="269240"/>
                  </a:lnTo>
                  <a:lnTo>
                    <a:pt x="126606" y="267970"/>
                  </a:lnTo>
                  <a:lnTo>
                    <a:pt x="126568" y="269240"/>
                  </a:lnTo>
                  <a:lnTo>
                    <a:pt x="127050" y="269240"/>
                  </a:lnTo>
                  <a:lnTo>
                    <a:pt x="126873" y="270510"/>
                  </a:lnTo>
                  <a:lnTo>
                    <a:pt x="127241" y="270510"/>
                  </a:lnTo>
                  <a:lnTo>
                    <a:pt x="127342" y="269240"/>
                  </a:lnTo>
                  <a:lnTo>
                    <a:pt x="127393" y="267970"/>
                  </a:lnTo>
                  <a:lnTo>
                    <a:pt x="128231" y="267970"/>
                  </a:lnTo>
                  <a:lnTo>
                    <a:pt x="128790"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73" y="259080"/>
                  </a:lnTo>
                  <a:lnTo>
                    <a:pt x="133146" y="257810"/>
                  </a:lnTo>
                  <a:lnTo>
                    <a:pt x="133350" y="257810"/>
                  </a:lnTo>
                  <a:lnTo>
                    <a:pt x="134912" y="256540"/>
                  </a:lnTo>
                  <a:lnTo>
                    <a:pt x="135432" y="255270"/>
                  </a:lnTo>
                  <a:lnTo>
                    <a:pt x="136296" y="254000"/>
                  </a:lnTo>
                  <a:lnTo>
                    <a:pt x="135496" y="254000"/>
                  </a:lnTo>
                  <a:lnTo>
                    <a:pt x="135826" y="252730"/>
                  </a:lnTo>
                  <a:lnTo>
                    <a:pt x="136982" y="252730"/>
                  </a:lnTo>
                  <a:lnTo>
                    <a:pt x="137502" y="251460"/>
                  </a:lnTo>
                  <a:lnTo>
                    <a:pt x="137909" y="251460"/>
                  </a:lnTo>
                  <a:lnTo>
                    <a:pt x="139522" y="250190"/>
                  </a:lnTo>
                  <a:lnTo>
                    <a:pt x="140881" y="248920"/>
                  </a:lnTo>
                  <a:lnTo>
                    <a:pt x="140296" y="247650"/>
                  </a:lnTo>
                  <a:lnTo>
                    <a:pt x="140728" y="246380"/>
                  </a:lnTo>
                  <a:lnTo>
                    <a:pt x="142443" y="245110"/>
                  </a:lnTo>
                  <a:lnTo>
                    <a:pt x="143738" y="243840"/>
                  </a:lnTo>
                  <a:lnTo>
                    <a:pt x="143256" y="242570"/>
                  </a:lnTo>
                  <a:lnTo>
                    <a:pt x="143383" y="242570"/>
                  </a:lnTo>
                  <a:lnTo>
                    <a:pt x="143471" y="241300"/>
                  </a:lnTo>
                  <a:lnTo>
                    <a:pt x="144932" y="241300"/>
                  </a:lnTo>
                  <a:lnTo>
                    <a:pt x="145300" y="240030"/>
                  </a:lnTo>
                  <a:lnTo>
                    <a:pt x="146672" y="240030"/>
                  </a:lnTo>
                  <a:lnTo>
                    <a:pt x="146850" y="238760"/>
                  </a:lnTo>
                  <a:lnTo>
                    <a:pt x="146240" y="238760"/>
                  </a:lnTo>
                  <a:lnTo>
                    <a:pt x="146469" y="237490"/>
                  </a:lnTo>
                  <a:lnTo>
                    <a:pt x="146824" y="236220"/>
                  </a:lnTo>
                  <a:lnTo>
                    <a:pt x="147421" y="234950"/>
                  </a:lnTo>
                  <a:lnTo>
                    <a:pt x="149606" y="234950"/>
                  </a:lnTo>
                  <a:lnTo>
                    <a:pt x="149072" y="233680"/>
                  </a:lnTo>
                  <a:lnTo>
                    <a:pt x="149136" y="232410"/>
                  </a:lnTo>
                  <a:lnTo>
                    <a:pt x="150215" y="232410"/>
                  </a:lnTo>
                  <a:lnTo>
                    <a:pt x="152006" y="231140"/>
                  </a:lnTo>
                  <a:lnTo>
                    <a:pt x="152196" y="231140"/>
                  </a:lnTo>
                  <a:lnTo>
                    <a:pt x="151663" y="229870"/>
                  </a:lnTo>
                  <a:lnTo>
                    <a:pt x="151498" y="228600"/>
                  </a:lnTo>
                  <a:lnTo>
                    <a:pt x="152514" y="228600"/>
                  </a:lnTo>
                  <a:lnTo>
                    <a:pt x="153009" y="227330"/>
                  </a:lnTo>
                  <a:lnTo>
                    <a:pt x="154724" y="227330"/>
                  </a:lnTo>
                  <a:lnTo>
                    <a:pt x="154914" y="226060"/>
                  </a:lnTo>
                  <a:lnTo>
                    <a:pt x="154813" y="224790"/>
                  </a:lnTo>
                  <a:lnTo>
                    <a:pt x="155244" y="224790"/>
                  </a:lnTo>
                  <a:lnTo>
                    <a:pt x="155651" y="223520"/>
                  </a:lnTo>
                  <a:lnTo>
                    <a:pt x="156629" y="223520"/>
                  </a:lnTo>
                  <a:lnTo>
                    <a:pt x="156933" y="222250"/>
                  </a:lnTo>
                  <a:lnTo>
                    <a:pt x="157530" y="220980"/>
                  </a:lnTo>
                  <a:lnTo>
                    <a:pt x="158051" y="219710"/>
                  </a:lnTo>
                  <a:lnTo>
                    <a:pt x="158940" y="219710"/>
                  </a:lnTo>
                  <a:lnTo>
                    <a:pt x="160007" y="217170"/>
                  </a:lnTo>
                  <a:lnTo>
                    <a:pt x="160502" y="215900"/>
                  </a:lnTo>
                  <a:lnTo>
                    <a:pt x="161785" y="215900"/>
                  </a:lnTo>
                  <a:lnTo>
                    <a:pt x="162941" y="212090"/>
                  </a:lnTo>
                  <a:lnTo>
                    <a:pt x="164287" y="210820"/>
                  </a:lnTo>
                  <a:lnTo>
                    <a:pt x="165328" y="208280"/>
                  </a:lnTo>
                  <a:lnTo>
                    <a:pt x="167284" y="207010"/>
                  </a:lnTo>
                  <a:lnTo>
                    <a:pt x="166852" y="205740"/>
                  </a:lnTo>
                  <a:lnTo>
                    <a:pt x="167132" y="205740"/>
                  </a:lnTo>
                  <a:lnTo>
                    <a:pt x="167601" y="204470"/>
                  </a:lnTo>
                  <a:lnTo>
                    <a:pt x="169684" y="203200"/>
                  </a:lnTo>
                  <a:lnTo>
                    <a:pt x="170738" y="200660"/>
                  </a:lnTo>
                  <a:lnTo>
                    <a:pt x="171970" y="198120"/>
                  </a:lnTo>
                  <a:lnTo>
                    <a:pt x="172593" y="198120"/>
                  </a:lnTo>
                  <a:lnTo>
                    <a:pt x="173050" y="196850"/>
                  </a:lnTo>
                  <a:lnTo>
                    <a:pt x="172923" y="194310"/>
                  </a:lnTo>
                  <a:lnTo>
                    <a:pt x="173977" y="195580"/>
                  </a:lnTo>
                  <a:lnTo>
                    <a:pt x="175323" y="194310"/>
                  </a:lnTo>
                  <a:lnTo>
                    <a:pt x="176022" y="194310"/>
                  </a:lnTo>
                  <a:lnTo>
                    <a:pt x="175755" y="193040"/>
                  </a:lnTo>
                  <a:lnTo>
                    <a:pt x="177101"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38" y="182880"/>
                  </a:lnTo>
                  <a:lnTo>
                    <a:pt x="183400" y="181610"/>
                  </a:lnTo>
                  <a:lnTo>
                    <a:pt x="184861" y="181610"/>
                  </a:lnTo>
                  <a:lnTo>
                    <a:pt x="184899" y="180340"/>
                  </a:lnTo>
                  <a:lnTo>
                    <a:pt x="185140" y="179070"/>
                  </a:lnTo>
                  <a:lnTo>
                    <a:pt x="186867" y="179070"/>
                  </a:lnTo>
                  <a:lnTo>
                    <a:pt x="186905"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21" y="167640"/>
                  </a:lnTo>
                  <a:lnTo>
                    <a:pt x="194716" y="166370"/>
                  </a:lnTo>
                  <a:lnTo>
                    <a:pt x="193916" y="166370"/>
                  </a:lnTo>
                  <a:lnTo>
                    <a:pt x="194652" y="165100"/>
                  </a:lnTo>
                  <a:lnTo>
                    <a:pt x="194741" y="166370"/>
                  </a:lnTo>
                  <a:lnTo>
                    <a:pt x="195211" y="166370"/>
                  </a:lnTo>
                  <a:lnTo>
                    <a:pt x="196062" y="165100"/>
                  </a:lnTo>
                  <a:lnTo>
                    <a:pt x="195859" y="165100"/>
                  </a:lnTo>
                  <a:lnTo>
                    <a:pt x="196049" y="163830"/>
                  </a:lnTo>
                  <a:lnTo>
                    <a:pt x="196430" y="163830"/>
                  </a:lnTo>
                  <a:lnTo>
                    <a:pt x="196811" y="162560"/>
                  </a:lnTo>
                  <a:lnTo>
                    <a:pt x="197154" y="162560"/>
                  </a:lnTo>
                  <a:lnTo>
                    <a:pt x="197408" y="161290"/>
                  </a:lnTo>
                  <a:lnTo>
                    <a:pt x="198678" y="160020"/>
                  </a:lnTo>
                  <a:lnTo>
                    <a:pt x="199694" y="160020"/>
                  </a:lnTo>
                  <a:lnTo>
                    <a:pt x="199910" y="158750"/>
                  </a:lnTo>
                  <a:lnTo>
                    <a:pt x="200596" y="157480"/>
                  </a:lnTo>
                  <a:lnTo>
                    <a:pt x="201269" y="157480"/>
                  </a:lnTo>
                  <a:lnTo>
                    <a:pt x="201739" y="154940"/>
                  </a:lnTo>
                  <a:lnTo>
                    <a:pt x="203530" y="154940"/>
                  </a:lnTo>
                  <a:lnTo>
                    <a:pt x="203466" y="153670"/>
                  </a:lnTo>
                  <a:lnTo>
                    <a:pt x="204139" y="153670"/>
                  </a:lnTo>
                  <a:lnTo>
                    <a:pt x="204203" y="152400"/>
                  </a:lnTo>
                  <a:lnTo>
                    <a:pt x="205498" y="152400"/>
                  </a:lnTo>
                  <a:lnTo>
                    <a:pt x="205003" y="151130"/>
                  </a:lnTo>
                  <a:lnTo>
                    <a:pt x="205092" y="149860"/>
                  </a:lnTo>
                  <a:lnTo>
                    <a:pt x="206527"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82" y="139700"/>
                  </a:lnTo>
                  <a:lnTo>
                    <a:pt x="213271" y="139700"/>
                  </a:lnTo>
                  <a:lnTo>
                    <a:pt x="213779" y="138430"/>
                  </a:lnTo>
                  <a:lnTo>
                    <a:pt x="215798" y="138430"/>
                  </a:lnTo>
                  <a:lnTo>
                    <a:pt x="216166" y="137160"/>
                  </a:lnTo>
                  <a:lnTo>
                    <a:pt x="216662" y="135890"/>
                  </a:lnTo>
                  <a:lnTo>
                    <a:pt x="217093" y="134620"/>
                  </a:lnTo>
                  <a:lnTo>
                    <a:pt x="217678" y="133350"/>
                  </a:lnTo>
                  <a:lnTo>
                    <a:pt x="219773" y="133350"/>
                  </a:lnTo>
                  <a:lnTo>
                    <a:pt x="220319" y="132080"/>
                  </a:lnTo>
                  <a:lnTo>
                    <a:pt x="221767" y="129540"/>
                  </a:lnTo>
                  <a:lnTo>
                    <a:pt x="222148" y="128270"/>
                  </a:lnTo>
                  <a:lnTo>
                    <a:pt x="222885" y="128270"/>
                  </a:lnTo>
                  <a:lnTo>
                    <a:pt x="222885" y="127000"/>
                  </a:lnTo>
                  <a:lnTo>
                    <a:pt x="224688" y="127000"/>
                  </a:lnTo>
                  <a:lnTo>
                    <a:pt x="224828" y="125730"/>
                  </a:lnTo>
                  <a:lnTo>
                    <a:pt x="225056" y="125730"/>
                  </a:lnTo>
                  <a:lnTo>
                    <a:pt x="225348" y="124460"/>
                  </a:lnTo>
                  <a:lnTo>
                    <a:pt x="225602" y="124460"/>
                  </a:lnTo>
                  <a:lnTo>
                    <a:pt x="226504" y="123190"/>
                  </a:lnTo>
                  <a:lnTo>
                    <a:pt x="227863" y="121920"/>
                  </a:lnTo>
                  <a:lnTo>
                    <a:pt x="228422" y="120650"/>
                  </a:lnTo>
                  <a:lnTo>
                    <a:pt x="229590" y="120650"/>
                  </a:lnTo>
                  <a:lnTo>
                    <a:pt x="229793" y="119380"/>
                  </a:lnTo>
                  <a:lnTo>
                    <a:pt x="230174" y="118110"/>
                  </a:lnTo>
                  <a:lnTo>
                    <a:pt x="230809" y="118110"/>
                  </a:lnTo>
                  <a:lnTo>
                    <a:pt x="231076" y="116840"/>
                  </a:lnTo>
                  <a:lnTo>
                    <a:pt x="231597" y="116840"/>
                  </a:lnTo>
                  <a:lnTo>
                    <a:pt x="231457" y="115570"/>
                  </a:lnTo>
                  <a:lnTo>
                    <a:pt x="233311"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85" y="95250"/>
                  </a:lnTo>
                  <a:lnTo>
                    <a:pt x="250393" y="93980"/>
                  </a:lnTo>
                  <a:lnTo>
                    <a:pt x="250926" y="92710"/>
                  </a:lnTo>
                  <a:lnTo>
                    <a:pt x="250723" y="92710"/>
                  </a:lnTo>
                  <a:lnTo>
                    <a:pt x="251091" y="91440"/>
                  </a:lnTo>
                  <a:lnTo>
                    <a:pt x="251320" y="91440"/>
                  </a:lnTo>
                  <a:lnTo>
                    <a:pt x="253098" y="90170"/>
                  </a:lnTo>
                  <a:lnTo>
                    <a:pt x="254063" y="88900"/>
                  </a:lnTo>
                  <a:lnTo>
                    <a:pt x="254901" y="87630"/>
                  </a:lnTo>
                  <a:lnTo>
                    <a:pt x="255524" y="88900"/>
                  </a:lnTo>
                  <a:lnTo>
                    <a:pt x="255638" y="87630"/>
                  </a:lnTo>
                  <a:lnTo>
                    <a:pt x="255854" y="86360"/>
                  </a:lnTo>
                  <a:lnTo>
                    <a:pt x="256616" y="86360"/>
                  </a:lnTo>
                  <a:lnTo>
                    <a:pt x="257670" y="85090"/>
                  </a:lnTo>
                  <a:lnTo>
                    <a:pt x="258356" y="85090"/>
                  </a:lnTo>
                  <a:lnTo>
                    <a:pt x="258445" y="83820"/>
                  </a:lnTo>
                  <a:lnTo>
                    <a:pt x="260108" y="83820"/>
                  </a:lnTo>
                  <a:lnTo>
                    <a:pt x="260299" y="82550"/>
                  </a:lnTo>
                  <a:lnTo>
                    <a:pt x="261264" y="81280"/>
                  </a:lnTo>
                  <a:lnTo>
                    <a:pt x="261327" y="80010"/>
                  </a:lnTo>
                  <a:lnTo>
                    <a:pt x="263601" y="78740"/>
                  </a:lnTo>
                  <a:lnTo>
                    <a:pt x="263829" y="78740"/>
                  </a:lnTo>
                  <a:lnTo>
                    <a:pt x="263664" y="77470"/>
                  </a:lnTo>
                  <a:lnTo>
                    <a:pt x="264985" y="77470"/>
                  </a:lnTo>
                  <a:lnTo>
                    <a:pt x="265353" y="76200"/>
                  </a:lnTo>
                  <a:lnTo>
                    <a:pt x="265480" y="76200"/>
                  </a:lnTo>
                  <a:lnTo>
                    <a:pt x="266014" y="74930"/>
                  </a:lnTo>
                  <a:lnTo>
                    <a:pt x="268185" y="74930"/>
                  </a:lnTo>
                  <a:lnTo>
                    <a:pt x="267639" y="73660"/>
                  </a:lnTo>
                  <a:lnTo>
                    <a:pt x="268173" y="72390"/>
                  </a:lnTo>
                  <a:lnTo>
                    <a:pt x="270167" y="72390"/>
                  </a:lnTo>
                  <a:lnTo>
                    <a:pt x="271335" y="69850"/>
                  </a:lnTo>
                  <a:lnTo>
                    <a:pt x="273329" y="68580"/>
                  </a:lnTo>
                  <a:lnTo>
                    <a:pt x="274980" y="66040"/>
                  </a:lnTo>
                  <a:lnTo>
                    <a:pt x="275475" y="66040"/>
                  </a:lnTo>
                  <a:lnTo>
                    <a:pt x="276263" y="64770"/>
                  </a:lnTo>
                  <a:lnTo>
                    <a:pt x="276529" y="64770"/>
                  </a:lnTo>
                  <a:lnTo>
                    <a:pt x="276402"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388" y="52070"/>
                  </a:lnTo>
                  <a:lnTo>
                    <a:pt x="287794" y="50800"/>
                  </a:lnTo>
                  <a:lnTo>
                    <a:pt x="288607" y="50800"/>
                  </a:lnTo>
                  <a:lnTo>
                    <a:pt x="289826" y="49530"/>
                  </a:lnTo>
                  <a:lnTo>
                    <a:pt x="288912" y="52070"/>
                  </a:lnTo>
                  <a:lnTo>
                    <a:pt x="290220" y="49530"/>
                  </a:lnTo>
                  <a:lnTo>
                    <a:pt x="292862" y="45720"/>
                  </a:lnTo>
                  <a:lnTo>
                    <a:pt x="293458" y="44450"/>
                  </a:lnTo>
                  <a:lnTo>
                    <a:pt x="293649" y="45720"/>
                  </a:lnTo>
                  <a:lnTo>
                    <a:pt x="294462" y="45720"/>
                  </a:lnTo>
                  <a:lnTo>
                    <a:pt x="294462" y="44450"/>
                  </a:lnTo>
                  <a:lnTo>
                    <a:pt x="294741" y="44450"/>
                  </a:lnTo>
                  <a:lnTo>
                    <a:pt x="295871" y="43180"/>
                  </a:lnTo>
                  <a:lnTo>
                    <a:pt x="296062" y="43180"/>
                  </a:lnTo>
                  <a:lnTo>
                    <a:pt x="295059" y="41910"/>
                  </a:lnTo>
                  <a:lnTo>
                    <a:pt x="297916" y="41910"/>
                  </a:lnTo>
                  <a:lnTo>
                    <a:pt x="297484" y="40640"/>
                  </a:lnTo>
                  <a:lnTo>
                    <a:pt x="296494" y="40640"/>
                  </a:lnTo>
                  <a:lnTo>
                    <a:pt x="297319"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34" y="27940"/>
                  </a:lnTo>
                  <a:lnTo>
                    <a:pt x="317385" y="22860"/>
                  </a:lnTo>
                  <a:lnTo>
                    <a:pt x="318757" y="22860"/>
                  </a:lnTo>
                  <a:lnTo>
                    <a:pt x="317474" y="21590"/>
                  </a:lnTo>
                  <a:lnTo>
                    <a:pt x="318744" y="21590"/>
                  </a:lnTo>
                  <a:lnTo>
                    <a:pt x="319176" y="22860"/>
                  </a:lnTo>
                  <a:lnTo>
                    <a:pt x="319671" y="21590"/>
                  </a:lnTo>
                  <a:lnTo>
                    <a:pt x="320179" y="20320"/>
                  </a:lnTo>
                  <a:lnTo>
                    <a:pt x="321970" y="19050"/>
                  </a:lnTo>
                  <a:lnTo>
                    <a:pt x="324878" y="17780"/>
                  </a:lnTo>
                  <a:lnTo>
                    <a:pt x="325755" y="17780"/>
                  </a:lnTo>
                  <a:lnTo>
                    <a:pt x="326644" y="16510"/>
                  </a:lnTo>
                  <a:lnTo>
                    <a:pt x="327545" y="15240"/>
                  </a:lnTo>
                  <a:lnTo>
                    <a:pt x="328434" y="15240"/>
                  </a:lnTo>
                  <a:lnTo>
                    <a:pt x="329704" y="13970"/>
                  </a:lnTo>
                  <a:lnTo>
                    <a:pt x="328244" y="13970"/>
                  </a:lnTo>
                  <a:lnTo>
                    <a:pt x="327850" y="14020"/>
                  </a:lnTo>
                  <a:lnTo>
                    <a:pt x="327507" y="14173"/>
                  </a:lnTo>
                  <a:lnTo>
                    <a:pt x="327660" y="14274"/>
                  </a:lnTo>
                  <a:lnTo>
                    <a:pt x="326110" y="15240"/>
                  </a:lnTo>
                  <a:lnTo>
                    <a:pt x="326326" y="13970"/>
                  </a:lnTo>
                  <a:lnTo>
                    <a:pt x="327469" y="13970"/>
                  </a:lnTo>
                  <a:lnTo>
                    <a:pt x="327977" y="12700"/>
                  </a:lnTo>
                  <a:lnTo>
                    <a:pt x="329996" y="12700"/>
                  </a:lnTo>
                  <a:lnTo>
                    <a:pt x="330377" y="13970"/>
                  </a:lnTo>
                  <a:lnTo>
                    <a:pt x="331533" y="12700"/>
                  </a:lnTo>
                  <a:lnTo>
                    <a:pt x="330441" y="12700"/>
                  </a:lnTo>
                  <a:lnTo>
                    <a:pt x="330352" y="12306"/>
                  </a:lnTo>
                  <a:lnTo>
                    <a:pt x="332041" y="11785"/>
                  </a:lnTo>
                  <a:lnTo>
                    <a:pt x="332587" y="9982"/>
                  </a:lnTo>
                  <a:lnTo>
                    <a:pt x="332994" y="9690"/>
                  </a:lnTo>
                  <a:lnTo>
                    <a:pt x="333375" y="9931"/>
                  </a:lnTo>
                  <a:close/>
                </a:path>
              </a:pathLst>
            </a:custGeom>
            <a:solidFill>
              <a:srgbClr val="D02929">
                <a:alpha val="46669"/>
              </a:srgbClr>
            </a:solidFill>
          </p:spPr>
          <p:txBody>
            <a:bodyPr wrap="square" lIns="0" tIns="0" rIns="0" bIns="0" rtlCol="0"/>
            <a:lstStyle/>
            <a:p>
              <a:endParaRPr/>
            </a:p>
          </p:txBody>
        </p:sp>
        <p:sp>
          <p:nvSpPr>
            <p:cNvPr id="11" name="object 11"/>
            <p:cNvSpPr/>
            <p:nvPr/>
          </p:nvSpPr>
          <p:spPr>
            <a:xfrm>
              <a:off x="8808945" y="3766223"/>
              <a:ext cx="539750" cy="539750"/>
            </a:xfrm>
            <a:custGeom>
              <a:avLst/>
              <a:gdLst/>
              <a:ahLst/>
              <a:cxnLst/>
              <a:rect l="l" t="t" r="r" b="b"/>
              <a:pathLst>
                <a:path w="539750" h="539750">
                  <a:moveTo>
                    <a:pt x="269802" y="539603"/>
                  </a:moveTo>
                  <a:lnTo>
                    <a:pt x="221303" y="535256"/>
                  </a:lnTo>
                  <a:lnTo>
                    <a:pt x="175658" y="522723"/>
                  </a:lnTo>
                  <a:lnTo>
                    <a:pt x="133627" y="502767"/>
                  </a:lnTo>
                  <a:lnTo>
                    <a:pt x="95971" y="476149"/>
                  </a:lnTo>
                  <a:lnTo>
                    <a:pt x="63453" y="443631"/>
                  </a:lnTo>
                  <a:lnTo>
                    <a:pt x="36835" y="405975"/>
                  </a:lnTo>
                  <a:lnTo>
                    <a:pt x="16878" y="363944"/>
                  </a:lnTo>
                  <a:lnTo>
                    <a:pt x="4346" y="318298"/>
                  </a:lnTo>
                  <a:lnTo>
                    <a:pt x="0" y="269806"/>
                  </a:lnTo>
                  <a:lnTo>
                    <a:pt x="4346" y="221304"/>
                  </a:lnTo>
                  <a:lnTo>
                    <a:pt x="16878" y="175659"/>
                  </a:lnTo>
                  <a:lnTo>
                    <a:pt x="36835" y="133627"/>
                  </a:lnTo>
                  <a:lnTo>
                    <a:pt x="63453" y="95971"/>
                  </a:lnTo>
                  <a:lnTo>
                    <a:pt x="95971" y="63453"/>
                  </a:lnTo>
                  <a:lnTo>
                    <a:pt x="133627" y="36835"/>
                  </a:lnTo>
                  <a:lnTo>
                    <a:pt x="175658" y="16879"/>
                  </a:lnTo>
                  <a:lnTo>
                    <a:pt x="221303" y="4346"/>
                  </a:lnTo>
                  <a:lnTo>
                    <a:pt x="269801" y="0"/>
                  </a:lnTo>
                  <a:lnTo>
                    <a:pt x="318298" y="4346"/>
                  </a:lnTo>
                  <a:lnTo>
                    <a:pt x="363943" y="16879"/>
                  </a:lnTo>
                  <a:lnTo>
                    <a:pt x="405975" y="36835"/>
                  </a:lnTo>
                  <a:lnTo>
                    <a:pt x="443631" y="63453"/>
                  </a:lnTo>
                  <a:lnTo>
                    <a:pt x="476148" y="95971"/>
                  </a:lnTo>
                  <a:lnTo>
                    <a:pt x="502767" y="133627"/>
                  </a:lnTo>
                  <a:lnTo>
                    <a:pt x="522723" y="175659"/>
                  </a:lnTo>
                  <a:lnTo>
                    <a:pt x="535255" y="221304"/>
                  </a:lnTo>
                  <a:lnTo>
                    <a:pt x="539602" y="269806"/>
                  </a:lnTo>
                  <a:lnTo>
                    <a:pt x="535255" y="318298"/>
                  </a:lnTo>
                  <a:lnTo>
                    <a:pt x="522723" y="363944"/>
                  </a:lnTo>
                  <a:lnTo>
                    <a:pt x="502767" y="405975"/>
                  </a:lnTo>
                  <a:lnTo>
                    <a:pt x="476148" y="443631"/>
                  </a:lnTo>
                  <a:lnTo>
                    <a:pt x="443631" y="476149"/>
                  </a:lnTo>
                  <a:lnTo>
                    <a:pt x="405975" y="502767"/>
                  </a:lnTo>
                  <a:lnTo>
                    <a:pt x="363943" y="522723"/>
                  </a:lnTo>
                  <a:lnTo>
                    <a:pt x="318298" y="535256"/>
                  </a:lnTo>
                  <a:lnTo>
                    <a:pt x="269802" y="539603"/>
                  </a:lnTo>
                  <a:close/>
                </a:path>
              </a:pathLst>
            </a:custGeom>
            <a:solidFill>
              <a:srgbClr val="FFFFFF">
                <a:alpha val="46669"/>
              </a:srgbClr>
            </a:solidFill>
          </p:spPr>
          <p:txBody>
            <a:bodyPr wrap="square" lIns="0" tIns="0" rIns="0" bIns="0" rtlCol="0"/>
            <a:lstStyle/>
            <a:p>
              <a:endParaRPr/>
            </a:p>
          </p:txBody>
        </p:sp>
        <p:sp>
          <p:nvSpPr>
            <p:cNvPr id="12" name="object 12"/>
            <p:cNvSpPr/>
            <p:nvPr/>
          </p:nvSpPr>
          <p:spPr>
            <a:xfrm>
              <a:off x="8910675" y="3845546"/>
              <a:ext cx="333375" cy="379730"/>
            </a:xfrm>
            <a:custGeom>
              <a:avLst/>
              <a:gdLst/>
              <a:ahLst/>
              <a:cxnLst/>
              <a:rect l="l" t="t" r="r" b="b"/>
              <a:pathLst>
                <a:path w="333375" h="379729">
                  <a:moveTo>
                    <a:pt x="4483" y="313664"/>
                  </a:moveTo>
                  <a:lnTo>
                    <a:pt x="4279" y="313880"/>
                  </a:lnTo>
                  <a:lnTo>
                    <a:pt x="3886" y="314337"/>
                  </a:lnTo>
                  <a:lnTo>
                    <a:pt x="4013" y="314579"/>
                  </a:lnTo>
                  <a:lnTo>
                    <a:pt x="4381" y="314566"/>
                  </a:lnTo>
                  <a:lnTo>
                    <a:pt x="4457" y="314134"/>
                  </a:lnTo>
                  <a:lnTo>
                    <a:pt x="4483" y="313664"/>
                  </a:lnTo>
                  <a:close/>
                </a:path>
                <a:path w="333375" h="379729">
                  <a:moveTo>
                    <a:pt x="9690" y="230314"/>
                  </a:moveTo>
                  <a:lnTo>
                    <a:pt x="9652" y="230124"/>
                  </a:lnTo>
                  <a:lnTo>
                    <a:pt x="9436" y="229933"/>
                  </a:lnTo>
                  <a:lnTo>
                    <a:pt x="9309" y="230022"/>
                  </a:lnTo>
                  <a:lnTo>
                    <a:pt x="9245" y="230200"/>
                  </a:lnTo>
                  <a:lnTo>
                    <a:pt x="9296" y="230327"/>
                  </a:lnTo>
                  <a:lnTo>
                    <a:pt x="9321" y="230492"/>
                  </a:lnTo>
                  <a:lnTo>
                    <a:pt x="9550" y="230746"/>
                  </a:lnTo>
                  <a:lnTo>
                    <a:pt x="9690" y="230670"/>
                  </a:lnTo>
                  <a:lnTo>
                    <a:pt x="9690" y="230454"/>
                  </a:lnTo>
                  <a:lnTo>
                    <a:pt x="9690" y="230314"/>
                  </a:lnTo>
                  <a:close/>
                </a:path>
                <a:path w="333375" h="379729">
                  <a:moveTo>
                    <a:pt x="23914" y="371017"/>
                  </a:moveTo>
                  <a:lnTo>
                    <a:pt x="23812" y="370624"/>
                  </a:lnTo>
                  <a:lnTo>
                    <a:pt x="23685" y="370700"/>
                  </a:lnTo>
                  <a:lnTo>
                    <a:pt x="23774" y="371094"/>
                  </a:lnTo>
                  <a:lnTo>
                    <a:pt x="23914" y="371017"/>
                  </a:lnTo>
                  <a:close/>
                </a:path>
                <a:path w="333375" h="379729">
                  <a:moveTo>
                    <a:pt x="38735" y="223278"/>
                  </a:moveTo>
                  <a:lnTo>
                    <a:pt x="38696" y="222961"/>
                  </a:lnTo>
                  <a:lnTo>
                    <a:pt x="38544" y="222885"/>
                  </a:lnTo>
                  <a:lnTo>
                    <a:pt x="38328" y="223062"/>
                  </a:lnTo>
                  <a:lnTo>
                    <a:pt x="38227" y="223266"/>
                  </a:lnTo>
                  <a:lnTo>
                    <a:pt x="38150" y="223685"/>
                  </a:lnTo>
                  <a:lnTo>
                    <a:pt x="38290" y="223951"/>
                  </a:lnTo>
                  <a:lnTo>
                    <a:pt x="38557" y="223774"/>
                  </a:lnTo>
                  <a:lnTo>
                    <a:pt x="38646" y="223469"/>
                  </a:lnTo>
                  <a:lnTo>
                    <a:pt x="38735" y="223278"/>
                  </a:lnTo>
                  <a:close/>
                </a:path>
                <a:path w="333375" h="379729">
                  <a:moveTo>
                    <a:pt x="41998" y="222084"/>
                  </a:moveTo>
                  <a:lnTo>
                    <a:pt x="41884" y="221488"/>
                  </a:lnTo>
                  <a:lnTo>
                    <a:pt x="41795" y="221297"/>
                  </a:lnTo>
                  <a:lnTo>
                    <a:pt x="41567" y="220941"/>
                  </a:lnTo>
                  <a:lnTo>
                    <a:pt x="41427" y="220980"/>
                  </a:lnTo>
                  <a:lnTo>
                    <a:pt x="41122" y="222224"/>
                  </a:lnTo>
                  <a:lnTo>
                    <a:pt x="40805" y="223139"/>
                  </a:lnTo>
                  <a:lnTo>
                    <a:pt x="40322" y="224180"/>
                  </a:lnTo>
                  <a:lnTo>
                    <a:pt x="40297" y="224370"/>
                  </a:lnTo>
                  <a:lnTo>
                    <a:pt x="40500" y="224434"/>
                  </a:lnTo>
                  <a:lnTo>
                    <a:pt x="40741" y="224459"/>
                  </a:lnTo>
                  <a:lnTo>
                    <a:pt x="41998" y="222084"/>
                  </a:lnTo>
                  <a:close/>
                </a:path>
                <a:path w="333375" h="379729">
                  <a:moveTo>
                    <a:pt x="44716" y="229870"/>
                  </a:moveTo>
                  <a:lnTo>
                    <a:pt x="43840" y="228600"/>
                  </a:lnTo>
                  <a:lnTo>
                    <a:pt x="42506" y="227330"/>
                  </a:lnTo>
                  <a:lnTo>
                    <a:pt x="41275" y="228600"/>
                  </a:lnTo>
                  <a:lnTo>
                    <a:pt x="40982" y="228600"/>
                  </a:lnTo>
                  <a:lnTo>
                    <a:pt x="40716" y="229870"/>
                  </a:lnTo>
                  <a:lnTo>
                    <a:pt x="40551" y="228600"/>
                  </a:lnTo>
                  <a:lnTo>
                    <a:pt x="40170" y="228600"/>
                  </a:lnTo>
                  <a:lnTo>
                    <a:pt x="40640" y="227330"/>
                  </a:lnTo>
                  <a:lnTo>
                    <a:pt x="40957" y="227330"/>
                  </a:lnTo>
                  <a:lnTo>
                    <a:pt x="40932" y="226060"/>
                  </a:lnTo>
                  <a:lnTo>
                    <a:pt x="41021" y="224790"/>
                  </a:lnTo>
                  <a:lnTo>
                    <a:pt x="39814" y="226060"/>
                  </a:lnTo>
                  <a:lnTo>
                    <a:pt x="39814" y="231140"/>
                  </a:lnTo>
                  <a:lnTo>
                    <a:pt x="39420" y="231140"/>
                  </a:lnTo>
                  <a:lnTo>
                    <a:pt x="39293" y="229870"/>
                  </a:lnTo>
                  <a:lnTo>
                    <a:pt x="39585"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93" y="220980"/>
                  </a:lnTo>
                  <a:lnTo>
                    <a:pt x="37325" y="219710"/>
                  </a:lnTo>
                  <a:lnTo>
                    <a:pt x="37592" y="219710"/>
                  </a:lnTo>
                  <a:lnTo>
                    <a:pt x="38163" y="220980"/>
                  </a:lnTo>
                  <a:lnTo>
                    <a:pt x="38849" y="220980"/>
                  </a:lnTo>
                  <a:lnTo>
                    <a:pt x="39776" y="222250"/>
                  </a:lnTo>
                  <a:lnTo>
                    <a:pt x="40271" y="222250"/>
                  </a:lnTo>
                  <a:lnTo>
                    <a:pt x="40944" y="220980"/>
                  </a:lnTo>
                  <a:lnTo>
                    <a:pt x="40220" y="220980"/>
                  </a:lnTo>
                  <a:lnTo>
                    <a:pt x="39700" y="219710"/>
                  </a:lnTo>
                  <a:lnTo>
                    <a:pt x="38176" y="219710"/>
                  </a:lnTo>
                  <a:lnTo>
                    <a:pt x="38265" y="218440"/>
                  </a:lnTo>
                  <a:lnTo>
                    <a:pt x="38633" y="217170"/>
                  </a:lnTo>
                  <a:lnTo>
                    <a:pt x="39001" y="215900"/>
                  </a:lnTo>
                  <a:lnTo>
                    <a:pt x="38735" y="214630"/>
                  </a:lnTo>
                  <a:lnTo>
                    <a:pt x="37223" y="214630"/>
                  </a:lnTo>
                  <a:lnTo>
                    <a:pt x="36715" y="213360"/>
                  </a:lnTo>
                  <a:lnTo>
                    <a:pt x="36309" y="212090"/>
                  </a:lnTo>
                  <a:lnTo>
                    <a:pt x="35471" y="213360"/>
                  </a:lnTo>
                  <a:lnTo>
                    <a:pt x="35255" y="213360"/>
                  </a:lnTo>
                  <a:lnTo>
                    <a:pt x="35407"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72" y="214630"/>
                  </a:lnTo>
                  <a:lnTo>
                    <a:pt x="34163" y="213360"/>
                  </a:lnTo>
                  <a:lnTo>
                    <a:pt x="33832" y="213360"/>
                  </a:lnTo>
                  <a:lnTo>
                    <a:pt x="33832" y="226060"/>
                  </a:lnTo>
                  <a:lnTo>
                    <a:pt x="33388" y="226060"/>
                  </a:lnTo>
                  <a:lnTo>
                    <a:pt x="33172" y="224790"/>
                  </a:lnTo>
                  <a:lnTo>
                    <a:pt x="31496" y="224790"/>
                  </a:lnTo>
                  <a:lnTo>
                    <a:pt x="31229" y="223520"/>
                  </a:lnTo>
                  <a:lnTo>
                    <a:pt x="32118" y="223520"/>
                  </a:lnTo>
                  <a:lnTo>
                    <a:pt x="32550" y="222250"/>
                  </a:lnTo>
                  <a:lnTo>
                    <a:pt x="32981" y="223520"/>
                  </a:lnTo>
                  <a:lnTo>
                    <a:pt x="33464" y="223520"/>
                  </a:lnTo>
                  <a:lnTo>
                    <a:pt x="33604" y="224790"/>
                  </a:lnTo>
                  <a:lnTo>
                    <a:pt x="33832" y="226060"/>
                  </a:lnTo>
                  <a:lnTo>
                    <a:pt x="33832" y="213360"/>
                  </a:lnTo>
                  <a:lnTo>
                    <a:pt x="32778" y="213360"/>
                  </a:lnTo>
                  <a:lnTo>
                    <a:pt x="32054" y="214630"/>
                  </a:lnTo>
                  <a:lnTo>
                    <a:pt x="30010" y="214630"/>
                  </a:lnTo>
                  <a:lnTo>
                    <a:pt x="29806" y="213360"/>
                  </a:lnTo>
                  <a:lnTo>
                    <a:pt x="29222" y="213360"/>
                  </a:lnTo>
                  <a:lnTo>
                    <a:pt x="28613" y="212090"/>
                  </a:lnTo>
                  <a:lnTo>
                    <a:pt x="27355" y="213360"/>
                  </a:lnTo>
                  <a:lnTo>
                    <a:pt x="27038" y="213360"/>
                  </a:lnTo>
                  <a:lnTo>
                    <a:pt x="27292" y="214630"/>
                  </a:lnTo>
                  <a:lnTo>
                    <a:pt x="27762" y="215900"/>
                  </a:lnTo>
                  <a:lnTo>
                    <a:pt x="27152" y="215900"/>
                  </a:lnTo>
                  <a:lnTo>
                    <a:pt x="27038" y="217170"/>
                  </a:lnTo>
                  <a:lnTo>
                    <a:pt x="26263" y="217170"/>
                  </a:lnTo>
                  <a:lnTo>
                    <a:pt x="26327" y="215900"/>
                  </a:lnTo>
                  <a:lnTo>
                    <a:pt x="26314" y="214630"/>
                  </a:lnTo>
                  <a:lnTo>
                    <a:pt x="25412" y="213360"/>
                  </a:lnTo>
                  <a:lnTo>
                    <a:pt x="24650" y="213360"/>
                  </a:lnTo>
                  <a:lnTo>
                    <a:pt x="24650" y="224790"/>
                  </a:lnTo>
                  <a:lnTo>
                    <a:pt x="24384" y="224790"/>
                  </a:lnTo>
                  <a:lnTo>
                    <a:pt x="24638" y="226060"/>
                  </a:lnTo>
                  <a:lnTo>
                    <a:pt x="23977" y="226060"/>
                  </a:lnTo>
                  <a:lnTo>
                    <a:pt x="24066" y="224790"/>
                  </a:lnTo>
                  <a:lnTo>
                    <a:pt x="22796" y="224790"/>
                  </a:lnTo>
                  <a:lnTo>
                    <a:pt x="22593" y="226060"/>
                  </a:lnTo>
                  <a:lnTo>
                    <a:pt x="21234" y="226060"/>
                  </a:lnTo>
                  <a:lnTo>
                    <a:pt x="20891" y="224790"/>
                  </a:lnTo>
                  <a:lnTo>
                    <a:pt x="20447" y="224790"/>
                  </a:lnTo>
                  <a:lnTo>
                    <a:pt x="20993" y="223520"/>
                  </a:lnTo>
                  <a:lnTo>
                    <a:pt x="22415" y="223520"/>
                  </a:lnTo>
                  <a:lnTo>
                    <a:pt x="23075" y="222250"/>
                  </a:lnTo>
                  <a:lnTo>
                    <a:pt x="23723" y="223520"/>
                  </a:lnTo>
                  <a:lnTo>
                    <a:pt x="24434" y="223520"/>
                  </a:lnTo>
                  <a:lnTo>
                    <a:pt x="24650" y="224790"/>
                  </a:lnTo>
                  <a:lnTo>
                    <a:pt x="24650" y="213360"/>
                  </a:lnTo>
                  <a:lnTo>
                    <a:pt x="23329" y="213360"/>
                  </a:lnTo>
                  <a:lnTo>
                    <a:pt x="21869" y="214630"/>
                  </a:lnTo>
                  <a:lnTo>
                    <a:pt x="20967" y="215900"/>
                  </a:lnTo>
                  <a:lnTo>
                    <a:pt x="19748" y="217170"/>
                  </a:lnTo>
                  <a:lnTo>
                    <a:pt x="19545" y="217170"/>
                  </a:lnTo>
                  <a:lnTo>
                    <a:pt x="17907" y="214630"/>
                  </a:lnTo>
                  <a:lnTo>
                    <a:pt x="16802" y="215900"/>
                  </a:lnTo>
                  <a:lnTo>
                    <a:pt x="16471" y="218440"/>
                  </a:lnTo>
                  <a:lnTo>
                    <a:pt x="16408"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63" y="232410"/>
                  </a:lnTo>
                  <a:lnTo>
                    <a:pt x="9156" y="233680"/>
                  </a:lnTo>
                  <a:lnTo>
                    <a:pt x="7480" y="234950"/>
                  </a:lnTo>
                  <a:lnTo>
                    <a:pt x="7696" y="236220"/>
                  </a:lnTo>
                  <a:lnTo>
                    <a:pt x="6769" y="237490"/>
                  </a:lnTo>
                  <a:lnTo>
                    <a:pt x="5207" y="237490"/>
                  </a:lnTo>
                  <a:lnTo>
                    <a:pt x="4686" y="238760"/>
                  </a:lnTo>
                  <a:lnTo>
                    <a:pt x="3937" y="241300"/>
                  </a:lnTo>
                  <a:lnTo>
                    <a:pt x="1701" y="243840"/>
                  </a:lnTo>
                  <a:lnTo>
                    <a:pt x="800" y="243840"/>
                  </a:lnTo>
                  <a:lnTo>
                    <a:pt x="1193" y="245110"/>
                  </a:lnTo>
                  <a:lnTo>
                    <a:pt x="4064" y="245110"/>
                  </a:lnTo>
                  <a:lnTo>
                    <a:pt x="44500" y="245110"/>
                  </a:lnTo>
                  <a:lnTo>
                    <a:pt x="44500" y="243840"/>
                  </a:lnTo>
                  <a:lnTo>
                    <a:pt x="43903" y="241300"/>
                  </a:lnTo>
                  <a:lnTo>
                    <a:pt x="43726" y="240030"/>
                  </a:lnTo>
                  <a:lnTo>
                    <a:pt x="42659" y="240030"/>
                  </a:lnTo>
                  <a:lnTo>
                    <a:pt x="43180" y="238760"/>
                  </a:lnTo>
                  <a:lnTo>
                    <a:pt x="43662" y="238760"/>
                  </a:lnTo>
                  <a:lnTo>
                    <a:pt x="44030" y="236220"/>
                  </a:lnTo>
                  <a:lnTo>
                    <a:pt x="44018" y="234950"/>
                  </a:lnTo>
                  <a:lnTo>
                    <a:pt x="44145" y="233680"/>
                  </a:lnTo>
                  <a:lnTo>
                    <a:pt x="44259" y="232410"/>
                  </a:lnTo>
                  <a:lnTo>
                    <a:pt x="43624" y="232410"/>
                  </a:lnTo>
                  <a:lnTo>
                    <a:pt x="41135" y="232410"/>
                  </a:lnTo>
                  <a:lnTo>
                    <a:pt x="41135" y="234950"/>
                  </a:lnTo>
                  <a:lnTo>
                    <a:pt x="40525" y="234950"/>
                  </a:lnTo>
                  <a:lnTo>
                    <a:pt x="40551" y="233680"/>
                  </a:lnTo>
                  <a:lnTo>
                    <a:pt x="41071" y="233680"/>
                  </a:lnTo>
                  <a:lnTo>
                    <a:pt x="41135" y="234950"/>
                  </a:lnTo>
                  <a:lnTo>
                    <a:pt x="41135" y="232410"/>
                  </a:lnTo>
                  <a:lnTo>
                    <a:pt x="40640" y="232410"/>
                  </a:lnTo>
                  <a:lnTo>
                    <a:pt x="40894" y="231140"/>
                  </a:lnTo>
                  <a:lnTo>
                    <a:pt x="41363" y="231140"/>
                  </a:lnTo>
                  <a:lnTo>
                    <a:pt x="42506" y="229870"/>
                  </a:lnTo>
                  <a:lnTo>
                    <a:pt x="43167" y="229870"/>
                  </a:lnTo>
                  <a:lnTo>
                    <a:pt x="43865" y="231140"/>
                  </a:lnTo>
                  <a:lnTo>
                    <a:pt x="43624" y="232410"/>
                  </a:lnTo>
                  <a:lnTo>
                    <a:pt x="44704" y="231140"/>
                  </a:lnTo>
                  <a:lnTo>
                    <a:pt x="44716" y="229870"/>
                  </a:lnTo>
                  <a:close/>
                </a:path>
                <a:path w="333375" h="379729">
                  <a:moveTo>
                    <a:pt x="50495" y="279133"/>
                  </a:moveTo>
                  <a:lnTo>
                    <a:pt x="50355" y="278930"/>
                  </a:lnTo>
                  <a:lnTo>
                    <a:pt x="50152" y="278828"/>
                  </a:lnTo>
                  <a:lnTo>
                    <a:pt x="50139" y="279184"/>
                  </a:lnTo>
                  <a:lnTo>
                    <a:pt x="50266" y="279222"/>
                  </a:lnTo>
                  <a:lnTo>
                    <a:pt x="50482" y="279247"/>
                  </a:lnTo>
                  <a:close/>
                </a:path>
                <a:path w="333375" h="379729">
                  <a:moveTo>
                    <a:pt x="52070" y="294398"/>
                  </a:moveTo>
                  <a:lnTo>
                    <a:pt x="51904" y="294500"/>
                  </a:lnTo>
                  <a:lnTo>
                    <a:pt x="51739" y="294614"/>
                  </a:lnTo>
                  <a:lnTo>
                    <a:pt x="51879" y="294538"/>
                  </a:lnTo>
                  <a:lnTo>
                    <a:pt x="52070" y="294398"/>
                  </a:lnTo>
                  <a:close/>
                </a:path>
                <a:path w="333375" h="379729">
                  <a:moveTo>
                    <a:pt x="52870" y="294017"/>
                  </a:moveTo>
                  <a:lnTo>
                    <a:pt x="52781" y="294195"/>
                  </a:lnTo>
                  <a:lnTo>
                    <a:pt x="52870" y="294017"/>
                  </a:lnTo>
                  <a:close/>
                </a:path>
                <a:path w="333375" h="379729">
                  <a:moveTo>
                    <a:pt x="52895" y="295744"/>
                  </a:moveTo>
                  <a:lnTo>
                    <a:pt x="52844" y="296506"/>
                  </a:lnTo>
                  <a:lnTo>
                    <a:pt x="52844" y="296748"/>
                  </a:lnTo>
                  <a:lnTo>
                    <a:pt x="52870" y="296456"/>
                  </a:lnTo>
                  <a:lnTo>
                    <a:pt x="52895" y="295948"/>
                  </a:lnTo>
                  <a:lnTo>
                    <a:pt x="52895" y="295744"/>
                  </a:lnTo>
                  <a:close/>
                </a:path>
                <a:path w="333375" h="379729">
                  <a:moveTo>
                    <a:pt x="53060" y="294640"/>
                  </a:moveTo>
                  <a:lnTo>
                    <a:pt x="53035" y="295363"/>
                  </a:lnTo>
                  <a:lnTo>
                    <a:pt x="53060" y="294640"/>
                  </a:lnTo>
                  <a:close/>
                </a:path>
                <a:path w="333375" h="379729">
                  <a:moveTo>
                    <a:pt x="53213" y="297459"/>
                  </a:moveTo>
                  <a:lnTo>
                    <a:pt x="53200" y="297180"/>
                  </a:lnTo>
                  <a:lnTo>
                    <a:pt x="53213" y="297459"/>
                  </a:lnTo>
                  <a:close/>
                </a:path>
                <a:path w="333375" h="379729">
                  <a:moveTo>
                    <a:pt x="53263" y="296799"/>
                  </a:moveTo>
                  <a:lnTo>
                    <a:pt x="53200" y="295998"/>
                  </a:lnTo>
                  <a:lnTo>
                    <a:pt x="53174" y="295694"/>
                  </a:lnTo>
                  <a:lnTo>
                    <a:pt x="53136" y="295198"/>
                  </a:lnTo>
                  <a:lnTo>
                    <a:pt x="53174" y="295922"/>
                  </a:lnTo>
                  <a:lnTo>
                    <a:pt x="53200" y="296367"/>
                  </a:lnTo>
                  <a:lnTo>
                    <a:pt x="53225" y="296633"/>
                  </a:lnTo>
                  <a:lnTo>
                    <a:pt x="53263" y="296799"/>
                  </a:lnTo>
                  <a:close/>
                </a:path>
                <a:path w="333375" h="379729">
                  <a:moveTo>
                    <a:pt x="53530" y="297688"/>
                  </a:moveTo>
                  <a:lnTo>
                    <a:pt x="53517" y="297180"/>
                  </a:lnTo>
                  <a:lnTo>
                    <a:pt x="53530" y="297688"/>
                  </a:lnTo>
                  <a:close/>
                </a:path>
                <a:path w="333375" h="379729">
                  <a:moveTo>
                    <a:pt x="53619" y="295478"/>
                  </a:moveTo>
                  <a:lnTo>
                    <a:pt x="53581" y="295338"/>
                  </a:lnTo>
                  <a:lnTo>
                    <a:pt x="53467" y="295033"/>
                  </a:lnTo>
                  <a:lnTo>
                    <a:pt x="53555" y="295313"/>
                  </a:lnTo>
                  <a:lnTo>
                    <a:pt x="53619" y="295478"/>
                  </a:lnTo>
                  <a:close/>
                </a:path>
                <a:path w="333375" h="379729">
                  <a:moveTo>
                    <a:pt x="53682" y="372084"/>
                  </a:moveTo>
                  <a:close/>
                </a:path>
                <a:path w="333375" h="379729">
                  <a:moveTo>
                    <a:pt x="54051" y="294703"/>
                  </a:moveTo>
                  <a:close/>
                </a:path>
                <a:path w="333375" h="379729">
                  <a:moveTo>
                    <a:pt x="54838" y="294868"/>
                  </a:moveTo>
                  <a:lnTo>
                    <a:pt x="54775" y="294640"/>
                  </a:lnTo>
                  <a:lnTo>
                    <a:pt x="54838" y="294868"/>
                  </a:lnTo>
                  <a:close/>
                </a:path>
                <a:path w="333375" h="379729">
                  <a:moveTo>
                    <a:pt x="54965" y="294170"/>
                  </a:moveTo>
                  <a:lnTo>
                    <a:pt x="54825" y="294030"/>
                  </a:lnTo>
                  <a:lnTo>
                    <a:pt x="54914" y="294208"/>
                  </a:lnTo>
                  <a:close/>
                </a:path>
                <a:path w="333375" h="379729">
                  <a:moveTo>
                    <a:pt x="55295" y="295440"/>
                  </a:moveTo>
                  <a:close/>
                </a:path>
                <a:path w="333375" h="379729">
                  <a:moveTo>
                    <a:pt x="55880" y="292874"/>
                  </a:moveTo>
                  <a:lnTo>
                    <a:pt x="55346" y="292100"/>
                  </a:lnTo>
                  <a:lnTo>
                    <a:pt x="55880" y="292874"/>
                  </a:lnTo>
                  <a:close/>
                </a:path>
                <a:path w="333375" h="379729">
                  <a:moveTo>
                    <a:pt x="56273" y="293370"/>
                  </a:moveTo>
                  <a:lnTo>
                    <a:pt x="55880" y="292874"/>
                  </a:lnTo>
                  <a:lnTo>
                    <a:pt x="56222" y="293370"/>
                  </a:lnTo>
                  <a:close/>
                </a:path>
                <a:path w="333375" h="379729">
                  <a:moveTo>
                    <a:pt x="61607" y="280873"/>
                  </a:moveTo>
                  <a:lnTo>
                    <a:pt x="61252" y="280847"/>
                  </a:lnTo>
                  <a:lnTo>
                    <a:pt x="61226" y="280987"/>
                  </a:lnTo>
                  <a:lnTo>
                    <a:pt x="61163" y="281127"/>
                  </a:lnTo>
                  <a:lnTo>
                    <a:pt x="61239" y="281432"/>
                  </a:lnTo>
                  <a:lnTo>
                    <a:pt x="61391" y="281432"/>
                  </a:lnTo>
                  <a:lnTo>
                    <a:pt x="61493" y="281254"/>
                  </a:lnTo>
                  <a:lnTo>
                    <a:pt x="61569" y="281000"/>
                  </a:lnTo>
                  <a:lnTo>
                    <a:pt x="61607" y="280873"/>
                  </a:lnTo>
                  <a:close/>
                </a:path>
                <a:path w="333375" h="379729">
                  <a:moveTo>
                    <a:pt x="70370" y="266611"/>
                  </a:moveTo>
                  <a:lnTo>
                    <a:pt x="70281" y="266458"/>
                  </a:lnTo>
                  <a:lnTo>
                    <a:pt x="70142" y="266344"/>
                  </a:lnTo>
                  <a:lnTo>
                    <a:pt x="69964" y="266319"/>
                  </a:lnTo>
                  <a:lnTo>
                    <a:pt x="69850" y="266471"/>
                  </a:lnTo>
                  <a:lnTo>
                    <a:pt x="69799" y="266687"/>
                  </a:lnTo>
                  <a:lnTo>
                    <a:pt x="70002" y="266979"/>
                  </a:lnTo>
                  <a:lnTo>
                    <a:pt x="70205" y="266890"/>
                  </a:lnTo>
                  <a:lnTo>
                    <a:pt x="70332" y="266687"/>
                  </a:lnTo>
                  <a:close/>
                </a:path>
                <a:path w="333375" h="379729">
                  <a:moveTo>
                    <a:pt x="75057" y="260680"/>
                  </a:moveTo>
                  <a:lnTo>
                    <a:pt x="74942" y="260527"/>
                  </a:lnTo>
                  <a:lnTo>
                    <a:pt x="74752" y="260553"/>
                  </a:lnTo>
                  <a:lnTo>
                    <a:pt x="74625" y="260527"/>
                  </a:lnTo>
                  <a:lnTo>
                    <a:pt x="74599" y="260667"/>
                  </a:lnTo>
                  <a:lnTo>
                    <a:pt x="74536" y="260845"/>
                  </a:lnTo>
                  <a:lnTo>
                    <a:pt x="74625" y="261010"/>
                  </a:lnTo>
                  <a:lnTo>
                    <a:pt x="74828" y="260985"/>
                  </a:lnTo>
                  <a:lnTo>
                    <a:pt x="74955" y="261010"/>
                  </a:lnTo>
                  <a:lnTo>
                    <a:pt x="74968" y="260870"/>
                  </a:lnTo>
                  <a:lnTo>
                    <a:pt x="75057" y="260680"/>
                  </a:lnTo>
                  <a:close/>
                </a:path>
                <a:path w="333375" h="379729">
                  <a:moveTo>
                    <a:pt x="87096" y="240080"/>
                  </a:moveTo>
                  <a:lnTo>
                    <a:pt x="87007" y="239941"/>
                  </a:lnTo>
                  <a:lnTo>
                    <a:pt x="86702" y="239979"/>
                  </a:lnTo>
                  <a:lnTo>
                    <a:pt x="86461" y="240169"/>
                  </a:lnTo>
                  <a:lnTo>
                    <a:pt x="86601" y="240423"/>
                  </a:lnTo>
                  <a:lnTo>
                    <a:pt x="86868" y="240550"/>
                  </a:lnTo>
                  <a:lnTo>
                    <a:pt x="87020" y="240449"/>
                  </a:lnTo>
                  <a:lnTo>
                    <a:pt x="87096" y="240080"/>
                  </a:lnTo>
                  <a:close/>
                </a:path>
                <a:path w="333375" h="379729">
                  <a:moveTo>
                    <a:pt x="93243" y="229997"/>
                  </a:moveTo>
                  <a:lnTo>
                    <a:pt x="92976" y="229870"/>
                  </a:lnTo>
                  <a:lnTo>
                    <a:pt x="93218" y="230124"/>
                  </a:lnTo>
                  <a:lnTo>
                    <a:pt x="93243" y="229997"/>
                  </a:lnTo>
                  <a:close/>
                </a:path>
                <a:path w="333375" h="379729">
                  <a:moveTo>
                    <a:pt x="102323" y="215861"/>
                  </a:moveTo>
                  <a:lnTo>
                    <a:pt x="102184" y="215633"/>
                  </a:lnTo>
                  <a:lnTo>
                    <a:pt x="101930" y="215468"/>
                  </a:lnTo>
                  <a:lnTo>
                    <a:pt x="101803" y="215734"/>
                  </a:lnTo>
                  <a:lnTo>
                    <a:pt x="101917" y="216001"/>
                  </a:lnTo>
                  <a:lnTo>
                    <a:pt x="102082" y="216052"/>
                  </a:lnTo>
                  <a:lnTo>
                    <a:pt x="102209" y="215925"/>
                  </a:lnTo>
                  <a:close/>
                </a:path>
                <a:path w="333375" h="379729">
                  <a:moveTo>
                    <a:pt x="137248" y="255346"/>
                  </a:moveTo>
                  <a:lnTo>
                    <a:pt x="137198" y="254990"/>
                  </a:lnTo>
                  <a:lnTo>
                    <a:pt x="136969" y="254838"/>
                  </a:lnTo>
                  <a:lnTo>
                    <a:pt x="136779" y="254927"/>
                  </a:lnTo>
                  <a:lnTo>
                    <a:pt x="136652" y="255117"/>
                  </a:lnTo>
                  <a:lnTo>
                    <a:pt x="136550" y="255270"/>
                  </a:lnTo>
                  <a:lnTo>
                    <a:pt x="136652" y="255397"/>
                  </a:lnTo>
                  <a:lnTo>
                    <a:pt x="136969" y="255409"/>
                  </a:lnTo>
                  <a:lnTo>
                    <a:pt x="137109" y="255371"/>
                  </a:lnTo>
                  <a:lnTo>
                    <a:pt x="137248" y="255346"/>
                  </a:lnTo>
                  <a:close/>
                </a:path>
                <a:path w="333375" h="379729">
                  <a:moveTo>
                    <a:pt x="139903" y="250431"/>
                  </a:moveTo>
                  <a:lnTo>
                    <a:pt x="139750" y="250342"/>
                  </a:lnTo>
                  <a:lnTo>
                    <a:pt x="139598" y="250444"/>
                  </a:lnTo>
                  <a:lnTo>
                    <a:pt x="139471" y="250634"/>
                  </a:lnTo>
                  <a:lnTo>
                    <a:pt x="139369" y="250786"/>
                  </a:lnTo>
                  <a:lnTo>
                    <a:pt x="139661" y="250850"/>
                  </a:lnTo>
                  <a:lnTo>
                    <a:pt x="139890" y="250748"/>
                  </a:lnTo>
                  <a:lnTo>
                    <a:pt x="139903" y="250431"/>
                  </a:lnTo>
                  <a:close/>
                </a:path>
                <a:path w="333375" h="379729">
                  <a:moveTo>
                    <a:pt x="181317" y="109689"/>
                  </a:moveTo>
                  <a:lnTo>
                    <a:pt x="181254" y="109524"/>
                  </a:lnTo>
                  <a:lnTo>
                    <a:pt x="181076" y="109499"/>
                  </a:lnTo>
                  <a:lnTo>
                    <a:pt x="180936" y="109588"/>
                  </a:lnTo>
                  <a:lnTo>
                    <a:pt x="180898" y="109728"/>
                  </a:lnTo>
                  <a:lnTo>
                    <a:pt x="180898" y="110058"/>
                  </a:lnTo>
                  <a:lnTo>
                    <a:pt x="181165" y="109956"/>
                  </a:lnTo>
                  <a:lnTo>
                    <a:pt x="181317" y="109689"/>
                  </a:lnTo>
                  <a:close/>
                </a:path>
                <a:path w="333375" h="379729">
                  <a:moveTo>
                    <a:pt x="223012" y="128549"/>
                  </a:moveTo>
                  <a:close/>
                </a:path>
                <a:path w="333375" h="379729">
                  <a:moveTo>
                    <a:pt x="223659" y="128219"/>
                  </a:moveTo>
                  <a:lnTo>
                    <a:pt x="223469" y="128409"/>
                  </a:lnTo>
                  <a:lnTo>
                    <a:pt x="223227" y="128460"/>
                  </a:lnTo>
                  <a:lnTo>
                    <a:pt x="223012" y="128549"/>
                  </a:lnTo>
                  <a:lnTo>
                    <a:pt x="223342" y="129184"/>
                  </a:lnTo>
                  <a:lnTo>
                    <a:pt x="223481" y="128600"/>
                  </a:lnTo>
                  <a:lnTo>
                    <a:pt x="223659" y="128219"/>
                  </a:lnTo>
                  <a:close/>
                </a:path>
                <a:path w="333375" h="379729">
                  <a:moveTo>
                    <a:pt x="223812" y="128003"/>
                  </a:moveTo>
                  <a:lnTo>
                    <a:pt x="223697" y="128130"/>
                  </a:lnTo>
                  <a:lnTo>
                    <a:pt x="223812" y="128003"/>
                  </a:lnTo>
                  <a:close/>
                </a:path>
                <a:path w="333375" h="379729">
                  <a:moveTo>
                    <a:pt x="317665" y="1676"/>
                  </a:moveTo>
                  <a:lnTo>
                    <a:pt x="317588" y="1460"/>
                  </a:lnTo>
                  <a:lnTo>
                    <a:pt x="317449" y="1371"/>
                  </a:lnTo>
                  <a:lnTo>
                    <a:pt x="317284" y="1549"/>
                  </a:lnTo>
                  <a:lnTo>
                    <a:pt x="317360" y="1765"/>
                  </a:lnTo>
                  <a:lnTo>
                    <a:pt x="317500" y="1854"/>
                  </a:lnTo>
                  <a:lnTo>
                    <a:pt x="317665" y="1676"/>
                  </a:lnTo>
                  <a:close/>
                </a:path>
                <a:path w="333375" h="379729">
                  <a:moveTo>
                    <a:pt x="328155" y="3263"/>
                  </a:moveTo>
                  <a:lnTo>
                    <a:pt x="328104" y="3111"/>
                  </a:lnTo>
                  <a:lnTo>
                    <a:pt x="327901" y="3009"/>
                  </a:lnTo>
                  <a:lnTo>
                    <a:pt x="327812" y="3213"/>
                  </a:lnTo>
                  <a:lnTo>
                    <a:pt x="327863" y="3365"/>
                  </a:lnTo>
                  <a:lnTo>
                    <a:pt x="328053" y="3467"/>
                  </a:lnTo>
                  <a:lnTo>
                    <a:pt x="328155" y="3263"/>
                  </a:lnTo>
                  <a:close/>
                </a:path>
                <a:path w="333375" h="379729">
                  <a:moveTo>
                    <a:pt x="333375" y="9931"/>
                  </a:moveTo>
                  <a:lnTo>
                    <a:pt x="333336" y="9334"/>
                  </a:lnTo>
                  <a:lnTo>
                    <a:pt x="333133" y="9182"/>
                  </a:lnTo>
                  <a:lnTo>
                    <a:pt x="332828" y="9232"/>
                  </a:lnTo>
                  <a:lnTo>
                    <a:pt x="332308" y="9321"/>
                  </a:lnTo>
                  <a:lnTo>
                    <a:pt x="331724" y="9588"/>
                  </a:lnTo>
                  <a:lnTo>
                    <a:pt x="331812" y="10464"/>
                  </a:lnTo>
                  <a:lnTo>
                    <a:pt x="331558" y="10629"/>
                  </a:lnTo>
                  <a:lnTo>
                    <a:pt x="330161" y="10896"/>
                  </a:lnTo>
                  <a:lnTo>
                    <a:pt x="329793" y="11163"/>
                  </a:lnTo>
                  <a:lnTo>
                    <a:pt x="329704" y="11430"/>
                  </a:lnTo>
                  <a:lnTo>
                    <a:pt x="328396" y="11430"/>
                  </a:lnTo>
                  <a:lnTo>
                    <a:pt x="328968" y="10160"/>
                  </a:lnTo>
                  <a:lnTo>
                    <a:pt x="326402" y="10160"/>
                  </a:lnTo>
                  <a:lnTo>
                    <a:pt x="327418" y="8890"/>
                  </a:lnTo>
                  <a:lnTo>
                    <a:pt x="328993" y="7708"/>
                  </a:lnTo>
                  <a:lnTo>
                    <a:pt x="329247" y="8039"/>
                  </a:lnTo>
                  <a:lnTo>
                    <a:pt x="329349" y="8318"/>
                  </a:lnTo>
                  <a:lnTo>
                    <a:pt x="330060" y="7835"/>
                  </a:lnTo>
                  <a:lnTo>
                    <a:pt x="329971" y="7620"/>
                  </a:lnTo>
                  <a:lnTo>
                    <a:pt x="329704" y="7327"/>
                  </a:lnTo>
                  <a:lnTo>
                    <a:pt x="329501" y="7239"/>
                  </a:lnTo>
                  <a:lnTo>
                    <a:pt x="329171" y="7340"/>
                  </a:lnTo>
                  <a:lnTo>
                    <a:pt x="328980" y="7493"/>
                  </a:lnTo>
                  <a:lnTo>
                    <a:pt x="327787" y="6350"/>
                  </a:lnTo>
                  <a:lnTo>
                    <a:pt x="329006" y="6350"/>
                  </a:lnTo>
                  <a:lnTo>
                    <a:pt x="328536" y="5080"/>
                  </a:lnTo>
                  <a:lnTo>
                    <a:pt x="329044" y="3810"/>
                  </a:lnTo>
                  <a:lnTo>
                    <a:pt x="330771" y="3810"/>
                  </a:lnTo>
                  <a:lnTo>
                    <a:pt x="330454" y="2540"/>
                  </a:lnTo>
                  <a:lnTo>
                    <a:pt x="328726" y="3810"/>
                  </a:lnTo>
                  <a:lnTo>
                    <a:pt x="325678" y="3810"/>
                  </a:lnTo>
                  <a:lnTo>
                    <a:pt x="325005" y="2540"/>
                  </a:lnTo>
                  <a:lnTo>
                    <a:pt x="324726" y="2540"/>
                  </a:lnTo>
                  <a:lnTo>
                    <a:pt x="324726" y="15240"/>
                  </a:lnTo>
                  <a:lnTo>
                    <a:pt x="322986" y="15240"/>
                  </a:lnTo>
                  <a:lnTo>
                    <a:pt x="322897" y="16510"/>
                  </a:lnTo>
                  <a:lnTo>
                    <a:pt x="322491" y="16510"/>
                  </a:lnTo>
                  <a:lnTo>
                    <a:pt x="322643" y="15240"/>
                  </a:lnTo>
                  <a:lnTo>
                    <a:pt x="323329" y="13970"/>
                  </a:lnTo>
                  <a:lnTo>
                    <a:pt x="324205" y="13970"/>
                  </a:lnTo>
                  <a:lnTo>
                    <a:pt x="324726" y="15240"/>
                  </a:lnTo>
                  <a:lnTo>
                    <a:pt x="324726" y="2540"/>
                  </a:lnTo>
                  <a:lnTo>
                    <a:pt x="323303" y="2540"/>
                  </a:lnTo>
                  <a:lnTo>
                    <a:pt x="323303" y="5080"/>
                  </a:lnTo>
                  <a:lnTo>
                    <a:pt x="322872" y="5080"/>
                  </a:lnTo>
                  <a:lnTo>
                    <a:pt x="323011" y="3810"/>
                  </a:lnTo>
                  <a:lnTo>
                    <a:pt x="323253"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78" y="3810"/>
                  </a:lnTo>
                  <a:lnTo>
                    <a:pt x="296887" y="3810"/>
                  </a:lnTo>
                  <a:lnTo>
                    <a:pt x="294246" y="5080"/>
                  </a:lnTo>
                  <a:lnTo>
                    <a:pt x="292887" y="6350"/>
                  </a:lnTo>
                  <a:lnTo>
                    <a:pt x="291528"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75" y="29210"/>
                  </a:lnTo>
                  <a:lnTo>
                    <a:pt x="258889" y="31750"/>
                  </a:lnTo>
                  <a:lnTo>
                    <a:pt x="256552" y="31750"/>
                  </a:lnTo>
                  <a:lnTo>
                    <a:pt x="256120" y="34290"/>
                  </a:lnTo>
                  <a:lnTo>
                    <a:pt x="254292" y="35560"/>
                  </a:lnTo>
                  <a:lnTo>
                    <a:pt x="250215" y="39370"/>
                  </a:lnTo>
                  <a:lnTo>
                    <a:pt x="248462" y="39370"/>
                  </a:lnTo>
                  <a:lnTo>
                    <a:pt x="246354" y="43180"/>
                  </a:lnTo>
                  <a:lnTo>
                    <a:pt x="244881" y="44450"/>
                  </a:lnTo>
                  <a:lnTo>
                    <a:pt x="242341" y="45720"/>
                  </a:lnTo>
                  <a:lnTo>
                    <a:pt x="241503" y="45720"/>
                  </a:lnTo>
                  <a:lnTo>
                    <a:pt x="241922" y="48260"/>
                  </a:lnTo>
                  <a:lnTo>
                    <a:pt x="238975" y="48260"/>
                  </a:lnTo>
                  <a:lnTo>
                    <a:pt x="237324" y="52070"/>
                  </a:lnTo>
                  <a:lnTo>
                    <a:pt x="234772" y="53340"/>
                  </a:lnTo>
                  <a:lnTo>
                    <a:pt x="232397" y="55880"/>
                  </a:lnTo>
                  <a:lnTo>
                    <a:pt x="231381" y="57150"/>
                  </a:lnTo>
                  <a:lnTo>
                    <a:pt x="227761" y="58420"/>
                  </a:lnTo>
                  <a:lnTo>
                    <a:pt x="227545" y="60960"/>
                  </a:lnTo>
                  <a:lnTo>
                    <a:pt x="225412" y="62230"/>
                  </a:lnTo>
                  <a:lnTo>
                    <a:pt x="225425" y="63500"/>
                  </a:lnTo>
                  <a:lnTo>
                    <a:pt x="223367" y="63500"/>
                  </a:lnTo>
                  <a:lnTo>
                    <a:pt x="222910" y="64770"/>
                  </a:lnTo>
                  <a:lnTo>
                    <a:pt x="222681" y="66040"/>
                  </a:lnTo>
                  <a:lnTo>
                    <a:pt x="221957" y="67310"/>
                  </a:lnTo>
                  <a:lnTo>
                    <a:pt x="219989" y="68580"/>
                  </a:lnTo>
                  <a:lnTo>
                    <a:pt x="218490" y="68580"/>
                  </a:lnTo>
                  <a:lnTo>
                    <a:pt x="216941" y="71120"/>
                  </a:lnTo>
                  <a:lnTo>
                    <a:pt x="215734" y="72390"/>
                  </a:lnTo>
                  <a:lnTo>
                    <a:pt x="214960" y="74930"/>
                  </a:lnTo>
                  <a:lnTo>
                    <a:pt x="214058" y="74930"/>
                  </a:lnTo>
                  <a:lnTo>
                    <a:pt x="212229" y="76200"/>
                  </a:lnTo>
                  <a:lnTo>
                    <a:pt x="210172" y="78740"/>
                  </a:lnTo>
                  <a:lnTo>
                    <a:pt x="208470" y="80010"/>
                  </a:lnTo>
                  <a:lnTo>
                    <a:pt x="207327" y="81280"/>
                  </a:lnTo>
                  <a:lnTo>
                    <a:pt x="205409" y="83820"/>
                  </a:lnTo>
                  <a:lnTo>
                    <a:pt x="204876" y="85090"/>
                  </a:lnTo>
                  <a:lnTo>
                    <a:pt x="203962" y="86360"/>
                  </a:lnTo>
                  <a:lnTo>
                    <a:pt x="201498" y="87630"/>
                  </a:lnTo>
                  <a:lnTo>
                    <a:pt x="200304" y="88900"/>
                  </a:lnTo>
                  <a:lnTo>
                    <a:pt x="199796" y="90170"/>
                  </a:lnTo>
                  <a:lnTo>
                    <a:pt x="197345" y="90170"/>
                  </a:lnTo>
                  <a:lnTo>
                    <a:pt x="197993" y="91440"/>
                  </a:lnTo>
                  <a:lnTo>
                    <a:pt x="197904" y="93980"/>
                  </a:lnTo>
                  <a:lnTo>
                    <a:pt x="195478" y="93980"/>
                  </a:lnTo>
                  <a:lnTo>
                    <a:pt x="195262" y="95250"/>
                  </a:lnTo>
                  <a:lnTo>
                    <a:pt x="193408"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96"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34"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28" y="133350"/>
                  </a:lnTo>
                  <a:lnTo>
                    <a:pt x="163144" y="134620"/>
                  </a:lnTo>
                  <a:lnTo>
                    <a:pt x="162712" y="135890"/>
                  </a:lnTo>
                  <a:lnTo>
                    <a:pt x="162864" y="137160"/>
                  </a:lnTo>
                  <a:lnTo>
                    <a:pt x="159270" y="137160"/>
                  </a:lnTo>
                  <a:lnTo>
                    <a:pt x="159270" y="148590"/>
                  </a:lnTo>
                  <a:lnTo>
                    <a:pt x="159194" y="149860"/>
                  </a:lnTo>
                  <a:lnTo>
                    <a:pt x="158229" y="149860"/>
                  </a:lnTo>
                  <a:lnTo>
                    <a:pt x="158394" y="148590"/>
                  </a:lnTo>
                  <a:lnTo>
                    <a:pt x="159270" y="148590"/>
                  </a:lnTo>
                  <a:lnTo>
                    <a:pt x="159270" y="137160"/>
                  </a:lnTo>
                  <a:lnTo>
                    <a:pt x="158851" y="137160"/>
                  </a:lnTo>
                  <a:lnTo>
                    <a:pt x="159092" y="140970"/>
                  </a:lnTo>
                  <a:lnTo>
                    <a:pt x="156210" y="140970"/>
                  </a:lnTo>
                  <a:lnTo>
                    <a:pt x="156032" y="144780"/>
                  </a:lnTo>
                  <a:lnTo>
                    <a:pt x="154787" y="146050"/>
                  </a:lnTo>
                  <a:lnTo>
                    <a:pt x="152069"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42"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69"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66" y="170180"/>
                  </a:lnTo>
                  <a:lnTo>
                    <a:pt x="134277" y="171450"/>
                  </a:lnTo>
                  <a:lnTo>
                    <a:pt x="133248" y="171450"/>
                  </a:lnTo>
                  <a:lnTo>
                    <a:pt x="134239" y="173990"/>
                  </a:lnTo>
                  <a:lnTo>
                    <a:pt x="133273" y="175260"/>
                  </a:lnTo>
                  <a:lnTo>
                    <a:pt x="130822" y="176530"/>
                  </a:lnTo>
                  <a:lnTo>
                    <a:pt x="129857" y="179070"/>
                  </a:lnTo>
                  <a:lnTo>
                    <a:pt x="127190" y="180340"/>
                  </a:lnTo>
                  <a:lnTo>
                    <a:pt x="126936" y="180340"/>
                  </a:lnTo>
                  <a:lnTo>
                    <a:pt x="126873" y="182880"/>
                  </a:lnTo>
                  <a:lnTo>
                    <a:pt x="125831" y="185420"/>
                  </a:lnTo>
                  <a:lnTo>
                    <a:pt x="126009" y="187960"/>
                  </a:lnTo>
                  <a:lnTo>
                    <a:pt x="124587" y="187960"/>
                  </a:lnTo>
                  <a:lnTo>
                    <a:pt x="124002" y="189230"/>
                  </a:lnTo>
                  <a:lnTo>
                    <a:pt x="123228" y="187960"/>
                  </a:lnTo>
                  <a:lnTo>
                    <a:pt x="123037" y="189865"/>
                  </a:lnTo>
                  <a:lnTo>
                    <a:pt x="123037" y="269240"/>
                  </a:lnTo>
                  <a:lnTo>
                    <a:pt x="122669" y="269240"/>
                  </a:lnTo>
                  <a:lnTo>
                    <a:pt x="122872" y="267970"/>
                  </a:lnTo>
                  <a:lnTo>
                    <a:pt x="123037" y="269240"/>
                  </a:lnTo>
                  <a:lnTo>
                    <a:pt x="123037" y="189865"/>
                  </a:lnTo>
                  <a:lnTo>
                    <a:pt x="122974" y="190500"/>
                  </a:lnTo>
                  <a:lnTo>
                    <a:pt x="121780" y="190500"/>
                  </a:lnTo>
                  <a:lnTo>
                    <a:pt x="120357" y="191770"/>
                  </a:lnTo>
                  <a:lnTo>
                    <a:pt x="119684" y="191770"/>
                  </a:lnTo>
                  <a:lnTo>
                    <a:pt x="118198" y="193040"/>
                  </a:lnTo>
                  <a:lnTo>
                    <a:pt x="119761" y="193040"/>
                  </a:lnTo>
                  <a:lnTo>
                    <a:pt x="119176" y="194310"/>
                  </a:lnTo>
                  <a:lnTo>
                    <a:pt x="118033" y="195580"/>
                  </a:lnTo>
                  <a:lnTo>
                    <a:pt x="117906" y="198120"/>
                  </a:lnTo>
                  <a:lnTo>
                    <a:pt x="115493" y="198120"/>
                  </a:lnTo>
                  <a:lnTo>
                    <a:pt x="116395" y="200660"/>
                  </a:lnTo>
                  <a:lnTo>
                    <a:pt x="115404" y="200660"/>
                  </a:lnTo>
                  <a:lnTo>
                    <a:pt x="113461" y="201930"/>
                  </a:lnTo>
                  <a:lnTo>
                    <a:pt x="113017" y="203200"/>
                  </a:lnTo>
                  <a:lnTo>
                    <a:pt x="111671" y="204470"/>
                  </a:lnTo>
                  <a:lnTo>
                    <a:pt x="110871" y="205740"/>
                  </a:lnTo>
                  <a:lnTo>
                    <a:pt x="110629" y="207010"/>
                  </a:lnTo>
                  <a:lnTo>
                    <a:pt x="108140" y="207010"/>
                  </a:lnTo>
                  <a:lnTo>
                    <a:pt x="108813" y="208280"/>
                  </a:lnTo>
                  <a:lnTo>
                    <a:pt x="107721" y="210820"/>
                  </a:lnTo>
                  <a:lnTo>
                    <a:pt x="107391" y="212090"/>
                  </a:lnTo>
                  <a:lnTo>
                    <a:pt x="105460" y="212090"/>
                  </a:lnTo>
                  <a:lnTo>
                    <a:pt x="105956" y="214630"/>
                  </a:lnTo>
                  <a:lnTo>
                    <a:pt x="104559" y="215900"/>
                  </a:lnTo>
                  <a:lnTo>
                    <a:pt x="104787" y="217170"/>
                  </a:lnTo>
                  <a:lnTo>
                    <a:pt x="100672" y="217170"/>
                  </a:lnTo>
                  <a:lnTo>
                    <a:pt x="100291" y="218440"/>
                  </a:lnTo>
                  <a:lnTo>
                    <a:pt x="101041" y="222250"/>
                  </a:lnTo>
                  <a:lnTo>
                    <a:pt x="99339" y="222250"/>
                  </a:lnTo>
                  <a:lnTo>
                    <a:pt x="99415" y="226060"/>
                  </a:lnTo>
                  <a:lnTo>
                    <a:pt x="94805" y="226060"/>
                  </a:lnTo>
                  <a:lnTo>
                    <a:pt x="96177" y="228600"/>
                  </a:lnTo>
                  <a:lnTo>
                    <a:pt x="96139" y="229870"/>
                  </a:lnTo>
                  <a:lnTo>
                    <a:pt x="95402" y="229870"/>
                  </a:lnTo>
                  <a:lnTo>
                    <a:pt x="95694" y="231140"/>
                  </a:lnTo>
                  <a:lnTo>
                    <a:pt x="93281" y="230022"/>
                  </a:lnTo>
                  <a:lnTo>
                    <a:pt x="93294" y="230212"/>
                  </a:lnTo>
                  <a:lnTo>
                    <a:pt x="94170" y="231140"/>
                  </a:lnTo>
                  <a:lnTo>
                    <a:pt x="93535" y="233680"/>
                  </a:lnTo>
                  <a:lnTo>
                    <a:pt x="93294" y="230212"/>
                  </a:lnTo>
                  <a:lnTo>
                    <a:pt x="92697" y="232410"/>
                  </a:lnTo>
                  <a:lnTo>
                    <a:pt x="92824" y="232410"/>
                  </a:lnTo>
                  <a:lnTo>
                    <a:pt x="93472" y="234950"/>
                  </a:lnTo>
                  <a:lnTo>
                    <a:pt x="93510" y="236220"/>
                  </a:lnTo>
                  <a:lnTo>
                    <a:pt x="89954" y="237490"/>
                  </a:lnTo>
                  <a:lnTo>
                    <a:pt x="89496" y="237490"/>
                  </a:lnTo>
                  <a:lnTo>
                    <a:pt x="89052" y="242570"/>
                  </a:lnTo>
                  <a:lnTo>
                    <a:pt x="86563" y="241300"/>
                  </a:lnTo>
                  <a:lnTo>
                    <a:pt x="85801" y="242570"/>
                  </a:lnTo>
                  <a:lnTo>
                    <a:pt x="86004" y="243840"/>
                  </a:lnTo>
                  <a:lnTo>
                    <a:pt x="85318" y="245110"/>
                  </a:lnTo>
                  <a:lnTo>
                    <a:pt x="85178" y="247650"/>
                  </a:lnTo>
                  <a:lnTo>
                    <a:pt x="84251" y="248920"/>
                  </a:lnTo>
                  <a:lnTo>
                    <a:pt x="82092" y="248920"/>
                  </a:lnTo>
                  <a:lnTo>
                    <a:pt x="82804" y="251460"/>
                  </a:lnTo>
                  <a:lnTo>
                    <a:pt x="81280" y="251460"/>
                  </a:lnTo>
                  <a:lnTo>
                    <a:pt x="81254" y="251193"/>
                  </a:lnTo>
                  <a:lnTo>
                    <a:pt x="80848" y="251028"/>
                  </a:lnTo>
                  <a:lnTo>
                    <a:pt x="80848" y="251155"/>
                  </a:lnTo>
                  <a:lnTo>
                    <a:pt x="80797" y="251307"/>
                  </a:lnTo>
                  <a:lnTo>
                    <a:pt x="80962" y="251650"/>
                  </a:lnTo>
                  <a:lnTo>
                    <a:pt x="81165" y="251637"/>
                  </a:lnTo>
                  <a:lnTo>
                    <a:pt x="80645" y="254000"/>
                  </a:lnTo>
                  <a:lnTo>
                    <a:pt x="79502" y="252730"/>
                  </a:lnTo>
                  <a:lnTo>
                    <a:pt x="79489" y="254000"/>
                  </a:lnTo>
                  <a:lnTo>
                    <a:pt x="77330" y="255270"/>
                  </a:lnTo>
                  <a:lnTo>
                    <a:pt x="79019" y="256540"/>
                  </a:lnTo>
                  <a:lnTo>
                    <a:pt x="78879" y="256540"/>
                  </a:lnTo>
                  <a:lnTo>
                    <a:pt x="77482" y="257810"/>
                  </a:lnTo>
                  <a:lnTo>
                    <a:pt x="76771" y="259080"/>
                  </a:lnTo>
                  <a:lnTo>
                    <a:pt x="76288" y="261620"/>
                  </a:lnTo>
                  <a:lnTo>
                    <a:pt x="74803" y="261620"/>
                  </a:lnTo>
                  <a:lnTo>
                    <a:pt x="74523" y="262890"/>
                  </a:lnTo>
                  <a:lnTo>
                    <a:pt x="72936" y="265430"/>
                  </a:lnTo>
                  <a:lnTo>
                    <a:pt x="72453" y="266700"/>
                  </a:lnTo>
                  <a:lnTo>
                    <a:pt x="69494" y="269240"/>
                  </a:lnTo>
                  <a:lnTo>
                    <a:pt x="69532" y="271780"/>
                  </a:lnTo>
                  <a:lnTo>
                    <a:pt x="69151" y="270510"/>
                  </a:lnTo>
                  <a:lnTo>
                    <a:pt x="67894" y="273050"/>
                  </a:lnTo>
                  <a:lnTo>
                    <a:pt x="67398" y="274320"/>
                  </a:lnTo>
                  <a:lnTo>
                    <a:pt x="66319" y="274320"/>
                  </a:lnTo>
                  <a:lnTo>
                    <a:pt x="68237" y="275590"/>
                  </a:lnTo>
                  <a:lnTo>
                    <a:pt x="66446" y="275590"/>
                  </a:lnTo>
                  <a:lnTo>
                    <a:pt x="66446" y="364490"/>
                  </a:lnTo>
                  <a:lnTo>
                    <a:pt x="65684" y="365760"/>
                  </a:lnTo>
                  <a:lnTo>
                    <a:pt x="65036" y="365760"/>
                  </a:lnTo>
                  <a:lnTo>
                    <a:pt x="65786" y="364490"/>
                  </a:lnTo>
                  <a:lnTo>
                    <a:pt x="66446" y="364490"/>
                  </a:lnTo>
                  <a:lnTo>
                    <a:pt x="66446" y="275590"/>
                  </a:lnTo>
                  <a:lnTo>
                    <a:pt x="65836" y="275590"/>
                  </a:lnTo>
                  <a:lnTo>
                    <a:pt x="65303" y="276860"/>
                  </a:lnTo>
                  <a:lnTo>
                    <a:pt x="65455" y="278130"/>
                  </a:lnTo>
                  <a:lnTo>
                    <a:pt x="64033" y="279400"/>
                  </a:lnTo>
                  <a:lnTo>
                    <a:pt x="64630" y="281940"/>
                  </a:lnTo>
                  <a:lnTo>
                    <a:pt x="64312" y="281940"/>
                  </a:lnTo>
                  <a:lnTo>
                    <a:pt x="62115" y="280670"/>
                  </a:lnTo>
                  <a:lnTo>
                    <a:pt x="60325" y="283210"/>
                  </a:lnTo>
                  <a:lnTo>
                    <a:pt x="61810" y="285750"/>
                  </a:lnTo>
                  <a:lnTo>
                    <a:pt x="60210" y="287020"/>
                  </a:lnTo>
                  <a:lnTo>
                    <a:pt x="60223" y="288290"/>
                  </a:lnTo>
                  <a:lnTo>
                    <a:pt x="59550" y="288290"/>
                  </a:lnTo>
                  <a:lnTo>
                    <a:pt x="58166" y="289560"/>
                  </a:lnTo>
                  <a:lnTo>
                    <a:pt x="57950" y="289560"/>
                  </a:lnTo>
                  <a:lnTo>
                    <a:pt x="58229" y="290830"/>
                  </a:lnTo>
                  <a:lnTo>
                    <a:pt x="58635" y="292100"/>
                  </a:lnTo>
                  <a:lnTo>
                    <a:pt x="56972" y="292100"/>
                  </a:lnTo>
                  <a:lnTo>
                    <a:pt x="56845" y="292544"/>
                  </a:lnTo>
                  <a:lnTo>
                    <a:pt x="56845" y="370840"/>
                  </a:lnTo>
                  <a:lnTo>
                    <a:pt x="56781" y="372110"/>
                  </a:lnTo>
                  <a:lnTo>
                    <a:pt x="55638" y="372110"/>
                  </a:lnTo>
                  <a:lnTo>
                    <a:pt x="54889" y="373380"/>
                  </a:lnTo>
                  <a:lnTo>
                    <a:pt x="53924" y="374650"/>
                  </a:lnTo>
                  <a:lnTo>
                    <a:pt x="52730" y="374650"/>
                  </a:lnTo>
                  <a:lnTo>
                    <a:pt x="52400" y="375920"/>
                  </a:lnTo>
                  <a:lnTo>
                    <a:pt x="51269" y="375920"/>
                  </a:lnTo>
                  <a:lnTo>
                    <a:pt x="51523" y="374650"/>
                  </a:lnTo>
                  <a:lnTo>
                    <a:pt x="50723" y="374650"/>
                  </a:lnTo>
                  <a:lnTo>
                    <a:pt x="51358" y="373380"/>
                  </a:lnTo>
                  <a:lnTo>
                    <a:pt x="51790" y="372110"/>
                  </a:lnTo>
                  <a:lnTo>
                    <a:pt x="52070" y="373380"/>
                  </a:lnTo>
                  <a:lnTo>
                    <a:pt x="53251" y="373380"/>
                  </a:lnTo>
                  <a:lnTo>
                    <a:pt x="53543" y="372110"/>
                  </a:lnTo>
                  <a:lnTo>
                    <a:pt x="53403" y="372110"/>
                  </a:lnTo>
                  <a:lnTo>
                    <a:pt x="53454" y="370840"/>
                  </a:lnTo>
                  <a:lnTo>
                    <a:pt x="53644" y="370840"/>
                  </a:lnTo>
                  <a:lnTo>
                    <a:pt x="53682" y="372084"/>
                  </a:lnTo>
                  <a:lnTo>
                    <a:pt x="54851" y="370840"/>
                  </a:lnTo>
                  <a:lnTo>
                    <a:pt x="56845" y="370840"/>
                  </a:lnTo>
                  <a:lnTo>
                    <a:pt x="56845" y="292544"/>
                  </a:lnTo>
                  <a:lnTo>
                    <a:pt x="56603" y="293370"/>
                  </a:lnTo>
                  <a:lnTo>
                    <a:pt x="56807" y="294640"/>
                  </a:lnTo>
                  <a:lnTo>
                    <a:pt x="55499" y="294640"/>
                  </a:lnTo>
                  <a:lnTo>
                    <a:pt x="55600" y="295440"/>
                  </a:lnTo>
                  <a:lnTo>
                    <a:pt x="55791" y="295910"/>
                  </a:lnTo>
                  <a:lnTo>
                    <a:pt x="55651" y="295910"/>
                  </a:lnTo>
                  <a:lnTo>
                    <a:pt x="55562" y="295363"/>
                  </a:lnTo>
                  <a:lnTo>
                    <a:pt x="55257" y="294640"/>
                  </a:lnTo>
                  <a:lnTo>
                    <a:pt x="55587" y="295910"/>
                  </a:lnTo>
                  <a:lnTo>
                    <a:pt x="55232" y="295440"/>
                  </a:lnTo>
                  <a:lnTo>
                    <a:pt x="55118" y="295211"/>
                  </a:lnTo>
                  <a:lnTo>
                    <a:pt x="54940" y="294982"/>
                  </a:lnTo>
                  <a:lnTo>
                    <a:pt x="55143" y="295910"/>
                  </a:lnTo>
                  <a:lnTo>
                    <a:pt x="55587" y="298450"/>
                  </a:lnTo>
                  <a:lnTo>
                    <a:pt x="54051" y="294703"/>
                  </a:lnTo>
                  <a:lnTo>
                    <a:pt x="54127" y="295236"/>
                  </a:lnTo>
                  <a:lnTo>
                    <a:pt x="54076" y="295109"/>
                  </a:lnTo>
                  <a:lnTo>
                    <a:pt x="53886" y="294767"/>
                  </a:lnTo>
                  <a:lnTo>
                    <a:pt x="53975" y="295033"/>
                  </a:lnTo>
                  <a:lnTo>
                    <a:pt x="54076" y="295224"/>
                  </a:lnTo>
                  <a:lnTo>
                    <a:pt x="54457" y="297180"/>
                  </a:lnTo>
                  <a:lnTo>
                    <a:pt x="53911" y="295910"/>
                  </a:lnTo>
                  <a:lnTo>
                    <a:pt x="54038" y="297180"/>
                  </a:lnTo>
                  <a:lnTo>
                    <a:pt x="53530" y="295910"/>
                  </a:lnTo>
                  <a:lnTo>
                    <a:pt x="53860" y="297180"/>
                  </a:lnTo>
                  <a:lnTo>
                    <a:pt x="53594" y="297180"/>
                  </a:lnTo>
                  <a:lnTo>
                    <a:pt x="53886" y="298450"/>
                  </a:lnTo>
                  <a:lnTo>
                    <a:pt x="53873" y="299720"/>
                  </a:lnTo>
                  <a:lnTo>
                    <a:pt x="53530" y="297688"/>
                  </a:lnTo>
                  <a:lnTo>
                    <a:pt x="53606" y="300990"/>
                  </a:lnTo>
                  <a:lnTo>
                    <a:pt x="53479" y="299720"/>
                  </a:lnTo>
                  <a:lnTo>
                    <a:pt x="53213" y="297459"/>
                  </a:lnTo>
                  <a:lnTo>
                    <a:pt x="53251" y="299720"/>
                  </a:lnTo>
                  <a:lnTo>
                    <a:pt x="53035" y="295363"/>
                  </a:lnTo>
                  <a:lnTo>
                    <a:pt x="52844" y="299720"/>
                  </a:lnTo>
                  <a:lnTo>
                    <a:pt x="52844" y="297180"/>
                  </a:lnTo>
                  <a:lnTo>
                    <a:pt x="52793" y="298450"/>
                  </a:lnTo>
                  <a:lnTo>
                    <a:pt x="52692" y="299720"/>
                  </a:lnTo>
                  <a:lnTo>
                    <a:pt x="52539" y="299720"/>
                  </a:lnTo>
                  <a:lnTo>
                    <a:pt x="52679" y="297180"/>
                  </a:lnTo>
                  <a:lnTo>
                    <a:pt x="52336" y="299720"/>
                  </a:lnTo>
                  <a:lnTo>
                    <a:pt x="52006" y="298450"/>
                  </a:lnTo>
                  <a:lnTo>
                    <a:pt x="51638" y="298450"/>
                  </a:lnTo>
                  <a:lnTo>
                    <a:pt x="51422" y="297180"/>
                  </a:lnTo>
                  <a:lnTo>
                    <a:pt x="51714" y="297180"/>
                  </a:lnTo>
                  <a:lnTo>
                    <a:pt x="52717" y="295910"/>
                  </a:lnTo>
                  <a:lnTo>
                    <a:pt x="52514" y="295910"/>
                  </a:lnTo>
                  <a:lnTo>
                    <a:pt x="51879" y="294640"/>
                  </a:lnTo>
                  <a:lnTo>
                    <a:pt x="51460" y="294640"/>
                  </a:lnTo>
                  <a:lnTo>
                    <a:pt x="50990" y="293370"/>
                  </a:lnTo>
                  <a:lnTo>
                    <a:pt x="51181" y="292100"/>
                  </a:lnTo>
                  <a:lnTo>
                    <a:pt x="51358" y="290830"/>
                  </a:lnTo>
                  <a:lnTo>
                    <a:pt x="50609" y="290830"/>
                  </a:lnTo>
                  <a:lnTo>
                    <a:pt x="50558" y="292100"/>
                  </a:lnTo>
                  <a:lnTo>
                    <a:pt x="50507" y="377190"/>
                  </a:lnTo>
                  <a:lnTo>
                    <a:pt x="50380" y="377190"/>
                  </a:lnTo>
                  <a:lnTo>
                    <a:pt x="50406" y="375920"/>
                  </a:lnTo>
                  <a:lnTo>
                    <a:pt x="50507" y="377190"/>
                  </a:lnTo>
                  <a:lnTo>
                    <a:pt x="50507" y="292100"/>
                  </a:lnTo>
                  <a:lnTo>
                    <a:pt x="50393" y="291846"/>
                  </a:lnTo>
                  <a:lnTo>
                    <a:pt x="50393" y="299720"/>
                  </a:lnTo>
                  <a:lnTo>
                    <a:pt x="50038" y="299720"/>
                  </a:lnTo>
                  <a:lnTo>
                    <a:pt x="50279" y="298450"/>
                  </a:lnTo>
                  <a:lnTo>
                    <a:pt x="50393" y="299720"/>
                  </a:lnTo>
                  <a:lnTo>
                    <a:pt x="50393" y="291846"/>
                  </a:lnTo>
                  <a:lnTo>
                    <a:pt x="50101" y="290830"/>
                  </a:lnTo>
                  <a:lnTo>
                    <a:pt x="51015" y="289560"/>
                  </a:lnTo>
                  <a:lnTo>
                    <a:pt x="50063" y="287020"/>
                  </a:lnTo>
                  <a:lnTo>
                    <a:pt x="51320" y="287020"/>
                  </a:lnTo>
                  <a:lnTo>
                    <a:pt x="51155" y="285750"/>
                  </a:lnTo>
                  <a:lnTo>
                    <a:pt x="51422" y="285750"/>
                  </a:lnTo>
                  <a:lnTo>
                    <a:pt x="50444" y="284480"/>
                  </a:lnTo>
                  <a:lnTo>
                    <a:pt x="49784" y="283210"/>
                  </a:lnTo>
                  <a:lnTo>
                    <a:pt x="49288" y="283210"/>
                  </a:lnTo>
                  <a:lnTo>
                    <a:pt x="50342" y="281940"/>
                  </a:lnTo>
                  <a:lnTo>
                    <a:pt x="50203" y="280670"/>
                  </a:lnTo>
                  <a:lnTo>
                    <a:pt x="48869" y="279400"/>
                  </a:lnTo>
                  <a:lnTo>
                    <a:pt x="48590" y="278130"/>
                  </a:lnTo>
                  <a:lnTo>
                    <a:pt x="49885" y="276860"/>
                  </a:lnTo>
                  <a:lnTo>
                    <a:pt x="49085" y="275590"/>
                  </a:lnTo>
                  <a:lnTo>
                    <a:pt x="48856" y="273050"/>
                  </a:lnTo>
                  <a:lnTo>
                    <a:pt x="48552" y="273050"/>
                  </a:lnTo>
                  <a:lnTo>
                    <a:pt x="47307" y="270510"/>
                  </a:lnTo>
                  <a:lnTo>
                    <a:pt x="47231" y="269240"/>
                  </a:lnTo>
                  <a:lnTo>
                    <a:pt x="49047" y="269240"/>
                  </a:lnTo>
                  <a:lnTo>
                    <a:pt x="48666" y="267970"/>
                  </a:lnTo>
                  <a:lnTo>
                    <a:pt x="47929" y="265430"/>
                  </a:lnTo>
                  <a:lnTo>
                    <a:pt x="45885" y="264160"/>
                  </a:lnTo>
                  <a:lnTo>
                    <a:pt x="47752" y="264160"/>
                  </a:lnTo>
                  <a:lnTo>
                    <a:pt x="48044" y="262890"/>
                  </a:lnTo>
                  <a:lnTo>
                    <a:pt x="48348" y="261620"/>
                  </a:lnTo>
                  <a:lnTo>
                    <a:pt x="47028" y="261620"/>
                  </a:lnTo>
                  <a:lnTo>
                    <a:pt x="47891" y="260350"/>
                  </a:lnTo>
                  <a:lnTo>
                    <a:pt x="46634" y="257810"/>
                  </a:lnTo>
                  <a:lnTo>
                    <a:pt x="45656" y="256654"/>
                  </a:lnTo>
                  <a:lnTo>
                    <a:pt x="45656" y="264160"/>
                  </a:lnTo>
                  <a:lnTo>
                    <a:pt x="45059" y="264160"/>
                  </a:lnTo>
                  <a:lnTo>
                    <a:pt x="44627" y="262991"/>
                  </a:lnTo>
                  <a:lnTo>
                    <a:pt x="44615" y="265430"/>
                  </a:lnTo>
                  <a:lnTo>
                    <a:pt x="44157" y="265430"/>
                  </a:lnTo>
                  <a:lnTo>
                    <a:pt x="43662" y="264160"/>
                  </a:lnTo>
                  <a:lnTo>
                    <a:pt x="43116" y="264160"/>
                  </a:lnTo>
                  <a:lnTo>
                    <a:pt x="44589" y="263029"/>
                  </a:lnTo>
                  <a:lnTo>
                    <a:pt x="44589" y="262890"/>
                  </a:lnTo>
                  <a:lnTo>
                    <a:pt x="44767" y="262890"/>
                  </a:lnTo>
                  <a:lnTo>
                    <a:pt x="45529" y="262890"/>
                  </a:lnTo>
                  <a:lnTo>
                    <a:pt x="45656" y="264160"/>
                  </a:lnTo>
                  <a:lnTo>
                    <a:pt x="45656" y="256654"/>
                  </a:lnTo>
                  <a:lnTo>
                    <a:pt x="46761" y="255270"/>
                  </a:lnTo>
                  <a:lnTo>
                    <a:pt x="46520" y="254000"/>
                  </a:lnTo>
                  <a:lnTo>
                    <a:pt x="46926" y="254000"/>
                  </a:lnTo>
                  <a:lnTo>
                    <a:pt x="46050" y="251460"/>
                  </a:lnTo>
                  <a:lnTo>
                    <a:pt x="44970" y="250190"/>
                  </a:lnTo>
                  <a:lnTo>
                    <a:pt x="44970" y="248920"/>
                  </a:lnTo>
                  <a:lnTo>
                    <a:pt x="46037" y="248920"/>
                  </a:lnTo>
                  <a:lnTo>
                    <a:pt x="46609"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43" y="351790"/>
                  </a:lnTo>
                  <a:lnTo>
                    <a:pt x="13512" y="353060"/>
                  </a:lnTo>
                  <a:lnTo>
                    <a:pt x="13436" y="351790"/>
                  </a:lnTo>
                  <a:lnTo>
                    <a:pt x="12954" y="350520"/>
                  </a:lnTo>
                  <a:lnTo>
                    <a:pt x="13538" y="349250"/>
                  </a:lnTo>
                  <a:lnTo>
                    <a:pt x="13766" y="350520"/>
                  </a:lnTo>
                  <a:lnTo>
                    <a:pt x="14020" y="350520"/>
                  </a:lnTo>
                  <a:lnTo>
                    <a:pt x="14033" y="351790"/>
                  </a:lnTo>
                  <a:lnTo>
                    <a:pt x="14033" y="246380"/>
                  </a:lnTo>
                  <a:lnTo>
                    <a:pt x="7708" y="246380"/>
                  </a:lnTo>
                  <a:lnTo>
                    <a:pt x="7708" y="314960"/>
                  </a:lnTo>
                  <a:lnTo>
                    <a:pt x="7708" y="316230"/>
                  </a:lnTo>
                  <a:lnTo>
                    <a:pt x="7188" y="316230"/>
                  </a:lnTo>
                  <a:lnTo>
                    <a:pt x="7048" y="314960"/>
                  </a:lnTo>
                  <a:lnTo>
                    <a:pt x="7708" y="314960"/>
                  </a:lnTo>
                  <a:lnTo>
                    <a:pt x="7708" y="246380"/>
                  </a:lnTo>
                  <a:lnTo>
                    <a:pt x="5740" y="246380"/>
                  </a:lnTo>
                  <a:lnTo>
                    <a:pt x="5740" y="247650"/>
                  </a:lnTo>
                  <a:lnTo>
                    <a:pt x="5664" y="248348"/>
                  </a:lnTo>
                  <a:lnTo>
                    <a:pt x="5664" y="283210"/>
                  </a:lnTo>
                  <a:lnTo>
                    <a:pt x="5511" y="284480"/>
                  </a:lnTo>
                  <a:lnTo>
                    <a:pt x="5207" y="284480"/>
                  </a:lnTo>
                  <a:lnTo>
                    <a:pt x="5130" y="283210"/>
                  </a:lnTo>
                  <a:lnTo>
                    <a:pt x="5664" y="283210"/>
                  </a:lnTo>
                  <a:lnTo>
                    <a:pt x="5664" y="248348"/>
                  </a:lnTo>
                  <a:lnTo>
                    <a:pt x="5600" y="248920"/>
                  </a:lnTo>
                  <a:lnTo>
                    <a:pt x="4203" y="248920"/>
                  </a:lnTo>
                  <a:lnTo>
                    <a:pt x="4114" y="247650"/>
                  </a:lnTo>
                  <a:lnTo>
                    <a:pt x="5740" y="247650"/>
                  </a:lnTo>
                  <a:lnTo>
                    <a:pt x="5740" y="246380"/>
                  </a:lnTo>
                  <a:lnTo>
                    <a:pt x="3048" y="246380"/>
                  </a:lnTo>
                  <a:lnTo>
                    <a:pt x="3225" y="247650"/>
                  </a:lnTo>
                  <a:lnTo>
                    <a:pt x="2755" y="247650"/>
                  </a:lnTo>
                  <a:lnTo>
                    <a:pt x="2273" y="247650"/>
                  </a:lnTo>
                  <a:lnTo>
                    <a:pt x="1333" y="248920"/>
                  </a:lnTo>
                  <a:lnTo>
                    <a:pt x="2743" y="252730"/>
                  </a:lnTo>
                  <a:lnTo>
                    <a:pt x="2019" y="254000"/>
                  </a:lnTo>
                  <a:lnTo>
                    <a:pt x="2578" y="256540"/>
                  </a:lnTo>
                  <a:lnTo>
                    <a:pt x="1549" y="256540"/>
                  </a:lnTo>
                  <a:lnTo>
                    <a:pt x="2374" y="257810"/>
                  </a:lnTo>
                  <a:lnTo>
                    <a:pt x="3263" y="257810"/>
                  </a:lnTo>
                  <a:lnTo>
                    <a:pt x="3365" y="259080"/>
                  </a:lnTo>
                  <a:lnTo>
                    <a:pt x="2438" y="259080"/>
                  </a:lnTo>
                  <a:lnTo>
                    <a:pt x="2997" y="262890"/>
                  </a:lnTo>
                  <a:lnTo>
                    <a:pt x="0" y="264160"/>
                  </a:lnTo>
                  <a:lnTo>
                    <a:pt x="101" y="265430"/>
                  </a:lnTo>
                  <a:lnTo>
                    <a:pt x="1028" y="265430"/>
                  </a:lnTo>
                  <a:lnTo>
                    <a:pt x="1587" y="266700"/>
                  </a:lnTo>
                  <a:lnTo>
                    <a:pt x="2565" y="265430"/>
                  </a:lnTo>
                  <a:lnTo>
                    <a:pt x="2870" y="265430"/>
                  </a:lnTo>
                  <a:lnTo>
                    <a:pt x="3225" y="266700"/>
                  </a:lnTo>
                  <a:lnTo>
                    <a:pt x="1587" y="266700"/>
                  </a:lnTo>
                  <a:lnTo>
                    <a:pt x="1295" y="266700"/>
                  </a:lnTo>
                  <a:lnTo>
                    <a:pt x="2667" y="269240"/>
                  </a:lnTo>
                  <a:lnTo>
                    <a:pt x="2019"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67" y="283210"/>
                  </a:lnTo>
                  <a:lnTo>
                    <a:pt x="1168" y="287020"/>
                  </a:lnTo>
                  <a:lnTo>
                    <a:pt x="1638" y="288290"/>
                  </a:lnTo>
                  <a:lnTo>
                    <a:pt x="3276" y="289560"/>
                  </a:lnTo>
                  <a:lnTo>
                    <a:pt x="3505" y="290830"/>
                  </a:lnTo>
                  <a:lnTo>
                    <a:pt x="2095" y="292100"/>
                  </a:lnTo>
                  <a:lnTo>
                    <a:pt x="3175" y="293370"/>
                  </a:lnTo>
                  <a:lnTo>
                    <a:pt x="2095" y="295910"/>
                  </a:lnTo>
                  <a:lnTo>
                    <a:pt x="2222" y="297180"/>
                  </a:lnTo>
                  <a:lnTo>
                    <a:pt x="3327" y="300990"/>
                  </a:lnTo>
                  <a:lnTo>
                    <a:pt x="4165" y="306070"/>
                  </a:lnTo>
                  <a:lnTo>
                    <a:pt x="3987" y="309880"/>
                  </a:lnTo>
                  <a:lnTo>
                    <a:pt x="4572" y="312420"/>
                  </a:lnTo>
                  <a:lnTo>
                    <a:pt x="5245" y="314960"/>
                  </a:lnTo>
                  <a:lnTo>
                    <a:pt x="5130" y="318770"/>
                  </a:lnTo>
                  <a:lnTo>
                    <a:pt x="6629" y="321310"/>
                  </a:lnTo>
                  <a:lnTo>
                    <a:pt x="6667" y="322580"/>
                  </a:lnTo>
                  <a:lnTo>
                    <a:pt x="6540" y="325120"/>
                  </a:lnTo>
                  <a:lnTo>
                    <a:pt x="6477" y="328930"/>
                  </a:lnTo>
                  <a:lnTo>
                    <a:pt x="7251" y="330200"/>
                  </a:lnTo>
                  <a:lnTo>
                    <a:pt x="6794" y="331470"/>
                  </a:lnTo>
                  <a:lnTo>
                    <a:pt x="7010" y="332740"/>
                  </a:lnTo>
                  <a:lnTo>
                    <a:pt x="7823" y="334010"/>
                  </a:lnTo>
                  <a:lnTo>
                    <a:pt x="10147" y="339090"/>
                  </a:lnTo>
                  <a:lnTo>
                    <a:pt x="10337" y="340360"/>
                  </a:lnTo>
                  <a:lnTo>
                    <a:pt x="9398" y="344170"/>
                  </a:lnTo>
                  <a:lnTo>
                    <a:pt x="9156" y="345440"/>
                  </a:lnTo>
                  <a:lnTo>
                    <a:pt x="8851" y="345440"/>
                  </a:lnTo>
                  <a:lnTo>
                    <a:pt x="8801" y="346710"/>
                  </a:lnTo>
                  <a:lnTo>
                    <a:pt x="9563" y="347980"/>
                  </a:lnTo>
                  <a:lnTo>
                    <a:pt x="10248" y="347980"/>
                  </a:lnTo>
                  <a:lnTo>
                    <a:pt x="11747" y="346710"/>
                  </a:lnTo>
                  <a:lnTo>
                    <a:pt x="11747" y="347980"/>
                  </a:lnTo>
                  <a:lnTo>
                    <a:pt x="11404" y="350520"/>
                  </a:lnTo>
                  <a:lnTo>
                    <a:pt x="10960" y="351790"/>
                  </a:lnTo>
                  <a:lnTo>
                    <a:pt x="12712" y="354330"/>
                  </a:lnTo>
                  <a:lnTo>
                    <a:pt x="12954" y="355600"/>
                  </a:lnTo>
                  <a:lnTo>
                    <a:pt x="13449" y="356870"/>
                  </a:lnTo>
                  <a:lnTo>
                    <a:pt x="13639" y="358140"/>
                  </a:lnTo>
                  <a:lnTo>
                    <a:pt x="14986" y="358140"/>
                  </a:lnTo>
                  <a:lnTo>
                    <a:pt x="14986" y="359410"/>
                  </a:lnTo>
                  <a:lnTo>
                    <a:pt x="15760" y="360680"/>
                  </a:lnTo>
                  <a:lnTo>
                    <a:pt x="16802" y="361950"/>
                  </a:lnTo>
                  <a:lnTo>
                    <a:pt x="18415"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58" y="373380"/>
                  </a:lnTo>
                  <a:lnTo>
                    <a:pt x="25260" y="374650"/>
                  </a:lnTo>
                  <a:lnTo>
                    <a:pt x="27178" y="374650"/>
                  </a:lnTo>
                  <a:lnTo>
                    <a:pt x="28409" y="375920"/>
                  </a:lnTo>
                  <a:lnTo>
                    <a:pt x="29616" y="373380"/>
                  </a:lnTo>
                  <a:lnTo>
                    <a:pt x="29921" y="373380"/>
                  </a:lnTo>
                  <a:lnTo>
                    <a:pt x="30594" y="374650"/>
                  </a:lnTo>
                  <a:lnTo>
                    <a:pt x="30149" y="375920"/>
                  </a:lnTo>
                  <a:lnTo>
                    <a:pt x="31013" y="377190"/>
                  </a:lnTo>
                  <a:lnTo>
                    <a:pt x="33909" y="377190"/>
                  </a:lnTo>
                  <a:lnTo>
                    <a:pt x="34937" y="378460"/>
                  </a:lnTo>
                  <a:lnTo>
                    <a:pt x="35560" y="378460"/>
                  </a:lnTo>
                  <a:lnTo>
                    <a:pt x="36360" y="379730"/>
                  </a:lnTo>
                  <a:lnTo>
                    <a:pt x="40640" y="379730"/>
                  </a:lnTo>
                  <a:lnTo>
                    <a:pt x="40474" y="378460"/>
                  </a:lnTo>
                  <a:lnTo>
                    <a:pt x="41211" y="377266"/>
                  </a:lnTo>
                  <a:lnTo>
                    <a:pt x="42468"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29" y="370840"/>
                  </a:lnTo>
                  <a:lnTo>
                    <a:pt x="62268" y="369570"/>
                  </a:lnTo>
                  <a:lnTo>
                    <a:pt x="62750"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99" y="358140"/>
                  </a:lnTo>
                  <a:lnTo>
                    <a:pt x="75069" y="358140"/>
                  </a:lnTo>
                  <a:lnTo>
                    <a:pt x="75514" y="356870"/>
                  </a:lnTo>
                  <a:lnTo>
                    <a:pt x="75692" y="356870"/>
                  </a:lnTo>
                  <a:lnTo>
                    <a:pt x="76212" y="355600"/>
                  </a:lnTo>
                  <a:lnTo>
                    <a:pt x="76492" y="355600"/>
                  </a:lnTo>
                  <a:lnTo>
                    <a:pt x="76987" y="354330"/>
                  </a:lnTo>
                  <a:lnTo>
                    <a:pt x="77647" y="353060"/>
                  </a:lnTo>
                  <a:lnTo>
                    <a:pt x="78955" y="350520"/>
                  </a:lnTo>
                  <a:lnTo>
                    <a:pt x="79908" y="349250"/>
                  </a:lnTo>
                  <a:lnTo>
                    <a:pt x="80302" y="346710"/>
                  </a:lnTo>
                  <a:lnTo>
                    <a:pt x="81165" y="346710"/>
                  </a:lnTo>
                  <a:lnTo>
                    <a:pt x="81457" y="347980"/>
                  </a:lnTo>
                  <a:lnTo>
                    <a:pt x="81991" y="346710"/>
                  </a:lnTo>
                  <a:lnTo>
                    <a:pt x="82511" y="345440"/>
                  </a:lnTo>
                  <a:lnTo>
                    <a:pt x="82791" y="344170"/>
                  </a:lnTo>
                  <a:lnTo>
                    <a:pt x="84353" y="345440"/>
                  </a:lnTo>
                  <a:lnTo>
                    <a:pt x="84391" y="344170"/>
                  </a:lnTo>
                  <a:lnTo>
                    <a:pt x="84467" y="341630"/>
                  </a:lnTo>
                  <a:lnTo>
                    <a:pt x="85026" y="339090"/>
                  </a:lnTo>
                  <a:lnTo>
                    <a:pt x="87172" y="339090"/>
                  </a:lnTo>
                  <a:lnTo>
                    <a:pt x="88506" y="335280"/>
                  </a:lnTo>
                  <a:lnTo>
                    <a:pt x="90208" y="335280"/>
                  </a:lnTo>
                  <a:lnTo>
                    <a:pt x="90208" y="332740"/>
                  </a:lnTo>
                  <a:lnTo>
                    <a:pt x="90881" y="331470"/>
                  </a:lnTo>
                  <a:lnTo>
                    <a:pt x="92760" y="328930"/>
                  </a:lnTo>
                  <a:lnTo>
                    <a:pt x="93395" y="327660"/>
                  </a:lnTo>
                  <a:lnTo>
                    <a:pt x="93624" y="327660"/>
                  </a:lnTo>
                  <a:lnTo>
                    <a:pt x="93675" y="326390"/>
                  </a:lnTo>
                  <a:lnTo>
                    <a:pt x="94259" y="326390"/>
                  </a:lnTo>
                  <a:lnTo>
                    <a:pt x="94818" y="325120"/>
                  </a:lnTo>
                  <a:lnTo>
                    <a:pt x="95351" y="323850"/>
                  </a:lnTo>
                  <a:lnTo>
                    <a:pt x="96253" y="322580"/>
                  </a:lnTo>
                  <a:lnTo>
                    <a:pt x="97015" y="322580"/>
                  </a:lnTo>
                  <a:lnTo>
                    <a:pt x="96761" y="321310"/>
                  </a:lnTo>
                  <a:lnTo>
                    <a:pt x="97116" y="320040"/>
                  </a:lnTo>
                  <a:lnTo>
                    <a:pt x="99263" y="317500"/>
                  </a:lnTo>
                  <a:lnTo>
                    <a:pt x="99796" y="316230"/>
                  </a:lnTo>
                  <a:lnTo>
                    <a:pt x="100342" y="314960"/>
                  </a:lnTo>
                  <a:lnTo>
                    <a:pt x="100888" y="313690"/>
                  </a:lnTo>
                  <a:lnTo>
                    <a:pt x="101460" y="312420"/>
                  </a:lnTo>
                  <a:lnTo>
                    <a:pt x="102362" y="311150"/>
                  </a:lnTo>
                  <a:lnTo>
                    <a:pt x="101866" y="309880"/>
                  </a:lnTo>
                  <a:lnTo>
                    <a:pt x="103809" y="309880"/>
                  </a:lnTo>
                  <a:lnTo>
                    <a:pt x="103543" y="307340"/>
                  </a:lnTo>
                  <a:lnTo>
                    <a:pt x="104063" y="307340"/>
                  </a:lnTo>
                  <a:lnTo>
                    <a:pt x="105105" y="306070"/>
                  </a:lnTo>
                  <a:lnTo>
                    <a:pt x="105537" y="306070"/>
                  </a:lnTo>
                  <a:lnTo>
                    <a:pt x="105778" y="304800"/>
                  </a:lnTo>
                  <a:lnTo>
                    <a:pt x="107391" y="304800"/>
                  </a:lnTo>
                  <a:lnTo>
                    <a:pt x="107137" y="303530"/>
                  </a:lnTo>
                  <a:lnTo>
                    <a:pt x="107035" y="302260"/>
                  </a:lnTo>
                  <a:lnTo>
                    <a:pt x="107454"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64" y="294640"/>
                  </a:lnTo>
                  <a:lnTo>
                    <a:pt x="113004" y="294640"/>
                  </a:lnTo>
                  <a:lnTo>
                    <a:pt x="112864" y="293370"/>
                  </a:lnTo>
                  <a:lnTo>
                    <a:pt x="113169" y="293370"/>
                  </a:lnTo>
                  <a:lnTo>
                    <a:pt x="113093" y="292874"/>
                  </a:lnTo>
                  <a:lnTo>
                    <a:pt x="113042" y="290830"/>
                  </a:lnTo>
                  <a:lnTo>
                    <a:pt x="114160" y="290830"/>
                  </a:lnTo>
                  <a:lnTo>
                    <a:pt x="115887" y="289560"/>
                  </a:lnTo>
                  <a:lnTo>
                    <a:pt x="115404" y="289560"/>
                  </a:lnTo>
                  <a:lnTo>
                    <a:pt x="115062" y="288290"/>
                  </a:lnTo>
                  <a:lnTo>
                    <a:pt x="115023" y="287020"/>
                  </a:lnTo>
                  <a:lnTo>
                    <a:pt x="115201" y="287020"/>
                  </a:lnTo>
                  <a:lnTo>
                    <a:pt x="115379" y="288290"/>
                  </a:lnTo>
                  <a:lnTo>
                    <a:pt x="116370" y="288290"/>
                  </a:lnTo>
                  <a:lnTo>
                    <a:pt x="116217" y="287020"/>
                  </a:lnTo>
                  <a:lnTo>
                    <a:pt x="116916" y="287020"/>
                  </a:lnTo>
                  <a:lnTo>
                    <a:pt x="116547" y="285750"/>
                  </a:lnTo>
                  <a:lnTo>
                    <a:pt x="117906" y="285750"/>
                  </a:lnTo>
                  <a:lnTo>
                    <a:pt x="118694" y="284480"/>
                  </a:lnTo>
                  <a:lnTo>
                    <a:pt x="118211" y="284480"/>
                  </a:lnTo>
                  <a:lnTo>
                    <a:pt x="118148" y="284314"/>
                  </a:lnTo>
                  <a:lnTo>
                    <a:pt x="117754" y="283210"/>
                  </a:lnTo>
                  <a:lnTo>
                    <a:pt x="118313" y="283210"/>
                  </a:lnTo>
                  <a:lnTo>
                    <a:pt x="118148" y="284314"/>
                  </a:lnTo>
                  <a:lnTo>
                    <a:pt x="118948" y="283210"/>
                  </a:lnTo>
                  <a:lnTo>
                    <a:pt x="119113" y="283210"/>
                  </a:lnTo>
                  <a:lnTo>
                    <a:pt x="119075" y="281940"/>
                  </a:lnTo>
                  <a:lnTo>
                    <a:pt x="120611" y="281940"/>
                  </a:lnTo>
                  <a:lnTo>
                    <a:pt x="120980" y="280670"/>
                  </a:lnTo>
                  <a:lnTo>
                    <a:pt x="122174" y="280670"/>
                  </a:lnTo>
                  <a:lnTo>
                    <a:pt x="122034" y="279400"/>
                  </a:lnTo>
                  <a:lnTo>
                    <a:pt x="121488" y="278130"/>
                  </a:lnTo>
                  <a:lnTo>
                    <a:pt x="121843"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92" y="269240"/>
                  </a:lnTo>
                  <a:lnTo>
                    <a:pt x="126606" y="267970"/>
                  </a:lnTo>
                  <a:lnTo>
                    <a:pt x="126568" y="269240"/>
                  </a:lnTo>
                  <a:lnTo>
                    <a:pt x="127050" y="269240"/>
                  </a:lnTo>
                  <a:lnTo>
                    <a:pt x="126873" y="270510"/>
                  </a:lnTo>
                  <a:lnTo>
                    <a:pt x="127241" y="270510"/>
                  </a:lnTo>
                  <a:lnTo>
                    <a:pt x="127342" y="269240"/>
                  </a:lnTo>
                  <a:lnTo>
                    <a:pt x="127393" y="267970"/>
                  </a:lnTo>
                  <a:lnTo>
                    <a:pt x="128231" y="267970"/>
                  </a:lnTo>
                  <a:lnTo>
                    <a:pt x="128790"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73"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43" y="245110"/>
                  </a:lnTo>
                  <a:lnTo>
                    <a:pt x="143738" y="243840"/>
                  </a:lnTo>
                  <a:lnTo>
                    <a:pt x="143256" y="242570"/>
                  </a:lnTo>
                  <a:lnTo>
                    <a:pt x="143383" y="242570"/>
                  </a:lnTo>
                  <a:lnTo>
                    <a:pt x="143471" y="241300"/>
                  </a:lnTo>
                  <a:lnTo>
                    <a:pt x="144932" y="241300"/>
                  </a:lnTo>
                  <a:lnTo>
                    <a:pt x="145300" y="240030"/>
                  </a:lnTo>
                  <a:lnTo>
                    <a:pt x="146672" y="240030"/>
                  </a:lnTo>
                  <a:lnTo>
                    <a:pt x="146850" y="238760"/>
                  </a:lnTo>
                  <a:lnTo>
                    <a:pt x="146240" y="238760"/>
                  </a:lnTo>
                  <a:lnTo>
                    <a:pt x="146469" y="237490"/>
                  </a:lnTo>
                  <a:lnTo>
                    <a:pt x="146824" y="236220"/>
                  </a:lnTo>
                  <a:lnTo>
                    <a:pt x="147421" y="234950"/>
                  </a:lnTo>
                  <a:lnTo>
                    <a:pt x="149606" y="234950"/>
                  </a:lnTo>
                  <a:lnTo>
                    <a:pt x="149072" y="233680"/>
                  </a:lnTo>
                  <a:lnTo>
                    <a:pt x="149136" y="232410"/>
                  </a:lnTo>
                  <a:lnTo>
                    <a:pt x="150215" y="232410"/>
                  </a:lnTo>
                  <a:lnTo>
                    <a:pt x="152006" y="231140"/>
                  </a:lnTo>
                  <a:lnTo>
                    <a:pt x="152196" y="231140"/>
                  </a:lnTo>
                  <a:lnTo>
                    <a:pt x="151663" y="229870"/>
                  </a:lnTo>
                  <a:lnTo>
                    <a:pt x="151498" y="228600"/>
                  </a:lnTo>
                  <a:lnTo>
                    <a:pt x="152514" y="228600"/>
                  </a:lnTo>
                  <a:lnTo>
                    <a:pt x="153009" y="227330"/>
                  </a:lnTo>
                  <a:lnTo>
                    <a:pt x="154724" y="227330"/>
                  </a:lnTo>
                  <a:lnTo>
                    <a:pt x="154914" y="226060"/>
                  </a:lnTo>
                  <a:lnTo>
                    <a:pt x="154813" y="224790"/>
                  </a:lnTo>
                  <a:lnTo>
                    <a:pt x="155244" y="224790"/>
                  </a:lnTo>
                  <a:lnTo>
                    <a:pt x="155651" y="223520"/>
                  </a:lnTo>
                  <a:lnTo>
                    <a:pt x="156629" y="223520"/>
                  </a:lnTo>
                  <a:lnTo>
                    <a:pt x="156933" y="222250"/>
                  </a:lnTo>
                  <a:lnTo>
                    <a:pt x="157518" y="220980"/>
                  </a:lnTo>
                  <a:lnTo>
                    <a:pt x="158051" y="219710"/>
                  </a:lnTo>
                  <a:lnTo>
                    <a:pt x="158940" y="219710"/>
                  </a:lnTo>
                  <a:lnTo>
                    <a:pt x="160007" y="217170"/>
                  </a:lnTo>
                  <a:lnTo>
                    <a:pt x="160502" y="215900"/>
                  </a:lnTo>
                  <a:lnTo>
                    <a:pt x="161785" y="215900"/>
                  </a:lnTo>
                  <a:lnTo>
                    <a:pt x="162941" y="212090"/>
                  </a:lnTo>
                  <a:lnTo>
                    <a:pt x="164287" y="210820"/>
                  </a:lnTo>
                  <a:lnTo>
                    <a:pt x="165328" y="208280"/>
                  </a:lnTo>
                  <a:lnTo>
                    <a:pt x="167271" y="207010"/>
                  </a:lnTo>
                  <a:lnTo>
                    <a:pt x="166852" y="205740"/>
                  </a:lnTo>
                  <a:lnTo>
                    <a:pt x="167132" y="205740"/>
                  </a:lnTo>
                  <a:lnTo>
                    <a:pt x="167601" y="204470"/>
                  </a:lnTo>
                  <a:lnTo>
                    <a:pt x="169684" y="203200"/>
                  </a:lnTo>
                  <a:lnTo>
                    <a:pt x="170738" y="200660"/>
                  </a:lnTo>
                  <a:lnTo>
                    <a:pt x="171970" y="198120"/>
                  </a:lnTo>
                  <a:lnTo>
                    <a:pt x="172593" y="198120"/>
                  </a:lnTo>
                  <a:lnTo>
                    <a:pt x="173050" y="196850"/>
                  </a:lnTo>
                  <a:lnTo>
                    <a:pt x="172923" y="194310"/>
                  </a:lnTo>
                  <a:lnTo>
                    <a:pt x="173977" y="195580"/>
                  </a:lnTo>
                  <a:lnTo>
                    <a:pt x="175323" y="194310"/>
                  </a:lnTo>
                  <a:lnTo>
                    <a:pt x="176022" y="194310"/>
                  </a:lnTo>
                  <a:lnTo>
                    <a:pt x="175755" y="193040"/>
                  </a:lnTo>
                  <a:lnTo>
                    <a:pt x="177101"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38" y="182880"/>
                  </a:lnTo>
                  <a:lnTo>
                    <a:pt x="183400" y="181610"/>
                  </a:lnTo>
                  <a:lnTo>
                    <a:pt x="184861" y="181610"/>
                  </a:lnTo>
                  <a:lnTo>
                    <a:pt x="184899" y="180340"/>
                  </a:lnTo>
                  <a:lnTo>
                    <a:pt x="185140" y="179070"/>
                  </a:lnTo>
                  <a:lnTo>
                    <a:pt x="186867" y="179070"/>
                  </a:lnTo>
                  <a:lnTo>
                    <a:pt x="186905"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21" y="167640"/>
                  </a:lnTo>
                  <a:lnTo>
                    <a:pt x="194716" y="166370"/>
                  </a:lnTo>
                  <a:lnTo>
                    <a:pt x="193916" y="166370"/>
                  </a:lnTo>
                  <a:lnTo>
                    <a:pt x="194652" y="165100"/>
                  </a:lnTo>
                  <a:lnTo>
                    <a:pt x="194741" y="166370"/>
                  </a:lnTo>
                  <a:lnTo>
                    <a:pt x="195211" y="166370"/>
                  </a:lnTo>
                  <a:lnTo>
                    <a:pt x="196062" y="165100"/>
                  </a:lnTo>
                  <a:lnTo>
                    <a:pt x="195859" y="165100"/>
                  </a:lnTo>
                  <a:lnTo>
                    <a:pt x="196049" y="163830"/>
                  </a:lnTo>
                  <a:lnTo>
                    <a:pt x="196430" y="163830"/>
                  </a:lnTo>
                  <a:lnTo>
                    <a:pt x="196811" y="162560"/>
                  </a:lnTo>
                  <a:lnTo>
                    <a:pt x="197154" y="162560"/>
                  </a:lnTo>
                  <a:lnTo>
                    <a:pt x="197408" y="161290"/>
                  </a:lnTo>
                  <a:lnTo>
                    <a:pt x="198678" y="160020"/>
                  </a:lnTo>
                  <a:lnTo>
                    <a:pt x="199694" y="160020"/>
                  </a:lnTo>
                  <a:lnTo>
                    <a:pt x="199910" y="158750"/>
                  </a:lnTo>
                  <a:lnTo>
                    <a:pt x="200596" y="157480"/>
                  </a:lnTo>
                  <a:lnTo>
                    <a:pt x="201269" y="157480"/>
                  </a:lnTo>
                  <a:lnTo>
                    <a:pt x="201739" y="154940"/>
                  </a:lnTo>
                  <a:lnTo>
                    <a:pt x="203530" y="154940"/>
                  </a:lnTo>
                  <a:lnTo>
                    <a:pt x="203466" y="153670"/>
                  </a:lnTo>
                  <a:lnTo>
                    <a:pt x="204139" y="153670"/>
                  </a:lnTo>
                  <a:lnTo>
                    <a:pt x="204203" y="152400"/>
                  </a:lnTo>
                  <a:lnTo>
                    <a:pt x="205498" y="152400"/>
                  </a:lnTo>
                  <a:lnTo>
                    <a:pt x="205003" y="151130"/>
                  </a:lnTo>
                  <a:lnTo>
                    <a:pt x="205092" y="149860"/>
                  </a:lnTo>
                  <a:lnTo>
                    <a:pt x="206527"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82" y="139700"/>
                  </a:lnTo>
                  <a:lnTo>
                    <a:pt x="213271" y="139700"/>
                  </a:lnTo>
                  <a:lnTo>
                    <a:pt x="213779" y="138430"/>
                  </a:lnTo>
                  <a:lnTo>
                    <a:pt x="215798" y="138430"/>
                  </a:lnTo>
                  <a:lnTo>
                    <a:pt x="216166" y="137160"/>
                  </a:lnTo>
                  <a:lnTo>
                    <a:pt x="216662" y="135890"/>
                  </a:lnTo>
                  <a:lnTo>
                    <a:pt x="217093" y="134620"/>
                  </a:lnTo>
                  <a:lnTo>
                    <a:pt x="217678" y="133350"/>
                  </a:lnTo>
                  <a:lnTo>
                    <a:pt x="219773" y="133350"/>
                  </a:lnTo>
                  <a:lnTo>
                    <a:pt x="220319" y="132080"/>
                  </a:lnTo>
                  <a:lnTo>
                    <a:pt x="221767" y="129540"/>
                  </a:lnTo>
                  <a:lnTo>
                    <a:pt x="222148" y="128270"/>
                  </a:lnTo>
                  <a:lnTo>
                    <a:pt x="222885" y="128270"/>
                  </a:lnTo>
                  <a:lnTo>
                    <a:pt x="222885" y="127000"/>
                  </a:lnTo>
                  <a:lnTo>
                    <a:pt x="224688" y="127000"/>
                  </a:lnTo>
                  <a:lnTo>
                    <a:pt x="224828" y="125730"/>
                  </a:lnTo>
                  <a:lnTo>
                    <a:pt x="225056" y="125730"/>
                  </a:lnTo>
                  <a:lnTo>
                    <a:pt x="225348" y="124460"/>
                  </a:lnTo>
                  <a:lnTo>
                    <a:pt x="225602" y="124460"/>
                  </a:lnTo>
                  <a:lnTo>
                    <a:pt x="226504" y="123190"/>
                  </a:lnTo>
                  <a:lnTo>
                    <a:pt x="227863" y="121920"/>
                  </a:lnTo>
                  <a:lnTo>
                    <a:pt x="228422" y="120650"/>
                  </a:lnTo>
                  <a:lnTo>
                    <a:pt x="229590" y="120650"/>
                  </a:lnTo>
                  <a:lnTo>
                    <a:pt x="229793" y="119380"/>
                  </a:lnTo>
                  <a:lnTo>
                    <a:pt x="230174" y="118110"/>
                  </a:lnTo>
                  <a:lnTo>
                    <a:pt x="230809" y="118110"/>
                  </a:lnTo>
                  <a:lnTo>
                    <a:pt x="231076" y="116840"/>
                  </a:lnTo>
                  <a:lnTo>
                    <a:pt x="231597" y="116840"/>
                  </a:lnTo>
                  <a:lnTo>
                    <a:pt x="231457" y="115570"/>
                  </a:lnTo>
                  <a:lnTo>
                    <a:pt x="233311"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72" y="95250"/>
                  </a:lnTo>
                  <a:lnTo>
                    <a:pt x="250393" y="93980"/>
                  </a:lnTo>
                  <a:lnTo>
                    <a:pt x="250926" y="92710"/>
                  </a:lnTo>
                  <a:lnTo>
                    <a:pt x="250723" y="92710"/>
                  </a:lnTo>
                  <a:lnTo>
                    <a:pt x="251091" y="91440"/>
                  </a:lnTo>
                  <a:lnTo>
                    <a:pt x="251320" y="91440"/>
                  </a:lnTo>
                  <a:lnTo>
                    <a:pt x="253098" y="90170"/>
                  </a:lnTo>
                  <a:lnTo>
                    <a:pt x="254063" y="88900"/>
                  </a:lnTo>
                  <a:lnTo>
                    <a:pt x="254901" y="87630"/>
                  </a:lnTo>
                  <a:lnTo>
                    <a:pt x="255524" y="88900"/>
                  </a:lnTo>
                  <a:lnTo>
                    <a:pt x="255638" y="87630"/>
                  </a:lnTo>
                  <a:lnTo>
                    <a:pt x="255854" y="86360"/>
                  </a:lnTo>
                  <a:lnTo>
                    <a:pt x="256616" y="86360"/>
                  </a:lnTo>
                  <a:lnTo>
                    <a:pt x="257670" y="85090"/>
                  </a:lnTo>
                  <a:lnTo>
                    <a:pt x="258343" y="85090"/>
                  </a:lnTo>
                  <a:lnTo>
                    <a:pt x="258445" y="83820"/>
                  </a:lnTo>
                  <a:lnTo>
                    <a:pt x="260108" y="83820"/>
                  </a:lnTo>
                  <a:lnTo>
                    <a:pt x="260299" y="82550"/>
                  </a:lnTo>
                  <a:lnTo>
                    <a:pt x="261264" y="81280"/>
                  </a:lnTo>
                  <a:lnTo>
                    <a:pt x="261327" y="80010"/>
                  </a:lnTo>
                  <a:lnTo>
                    <a:pt x="263601" y="78740"/>
                  </a:lnTo>
                  <a:lnTo>
                    <a:pt x="263829" y="78740"/>
                  </a:lnTo>
                  <a:lnTo>
                    <a:pt x="263664" y="77470"/>
                  </a:lnTo>
                  <a:lnTo>
                    <a:pt x="264985" y="77470"/>
                  </a:lnTo>
                  <a:lnTo>
                    <a:pt x="265353" y="76200"/>
                  </a:lnTo>
                  <a:lnTo>
                    <a:pt x="265480" y="76200"/>
                  </a:lnTo>
                  <a:lnTo>
                    <a:pt x="266014" y="74930"/>
                  </a:lnTo>
                  <a:lnTo>
                    <a:pt x="268185" y="74930"/>
                  </a:lnTo>
                  <a:lnTo>
                    <a:pt x="267639" y="73660"/>
                  </a:lnTo>
                  <a:lnTo>
                    <a:pt x="268173" y="72390"/>
                  </a:lnTo>
                  <a:lnTo>
                    <a:pt x="270167" y="72390"/>
                  </a:lnTo>
                  <a:lnTo>
                    <a:pt x="271335" y="69850"/>
                  </a:lnTo>
                  <a:lnTo>
                    <a:pt x="273329" y="68580"/>
                  </a:lnTo>
                  <a:lnTo>
                    <a:pt x="274980" y="66040"/>
                  </a:lnTo>
                  <a:lnTo>
                    <a:pt x="275475" y="66040"/>
                  </a:lnTo>
                  <a:lnTo>
                    <a:pt x="276263" y="64770"/>
                  </a:lnTo>
                  <a:lnTo>
                    <a:pt x="276529" y="64770"/>
                  </a:lnTo>
                  <a:lnTo>
                    <a:pt x="276402"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388" y="52070"/>
                  </a:lnTo>
                  <a:lnTo>
                    <a:pt x="287794" y="50800"/>
                  </a:lnTo>
                  <a:lnTo>
                    <a:pt x="288607" y="50800"/>
                  </a:lnTo>
                  <a:lnTo>
                    <a:pt x="289826" y="49530"/>
                  </a:lnTo>
                  <a:lnTo>
                    <a:pt x="288912" y="52070"/>
                  </a:lnTo>
                  <a:lnTo>
                    <a:pt x="290220" y="49530"/>
                  </a:lnTo>
                  <a:lnTo>
                    <a:pt x="292862" y="45720"/>
                  </a:lnTo>
                  <a:lnTo>
                    <a:pt x="293458" y="44450"/>
                  </a:lnTo>
                  <a:lnTo>
                    <a:pt x="293649" y="45720"/>
                  </a:lnTo>
                  <a:lnTo>
                    <a:pt x="294462" y="45720"/>
                  </a:lnTo>
                  <a:lnTo>
                    <a:pt x="294462" y="44450"/>
                  </a:lnTo>
                  <a:lnTo>
                    <a:pt x="294741" y="44450"/>
                  </a:lnTo>
                  <a:lnTo>
                    <a:pt x="295871" y="43180"/>
                  </a:lnTo>
                  <a:lnTo>
                    <a:pt x="296062" y="43180"/>
                  </a:lnTo>
                  <a:lnTo>
                    <a:pt x="295059" y="41910"/>
                  </a:lnTo>
                  <a:lnTo>
                    <a:pt x="297916" y="41910"/>
                  </a:lnTo>
                  <a:lnTo>
                    <a:pt x="297484" y="40640"/>
                  </a:lnTo>
                  <a:lnTo>
                    <a:pt x="296494" y="40640"/>
                  </a:lnTo>
                  <a:lnTo>
                    <a:pt x="297319"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34" y="27940"/>
                  </a:lnTo>
                  <a:lnTo>
                    <a:pt x="317385" y="22860"/>
                  </a:lnTo>
                  <a:lnTo>
                    <a:pt x="318757" y="22860"/>
                  </a:lnTo>
                  <a:lnTo>
                    <a:pt x="317474" y="21590"/>
                  </a:lnTo>
                  <a:lnTo>
                    <a:pt x="318731" y="21590"/>
                  </a:lnTo>
                  <a:lnTo>
                    <a:pt x="319176" y="22860"/>
                  </a:lnTo>
                  <a:lnTo>
                    <a:pt x="319671" y="21590"/>
                  </a:lnTo>
                  <a:lnTo>
                    <a:pt x="320179" y="20320"/>
                  </a:lnTo>
                  <a:lnTo>
                    <a:pt x="321970" y="19050"/>
                  </a:lnTo>
                  <a:lnTo>
                    <a:pt x="324878" y="17780"/>
                  </a:lnTo>
                  <a:lnTo>
                    <a:pt x="325755" y="17780"/>
                  </a:lnTo>
                  <a:lnTo>
                    <a:pt x="326644" y="16510"/>
                  </a:lnTo>
                  <a:lnTo>
                    <a:pt x="327545" y="15240"/>
                  </a:lnTo>
                  <a:lnTo>
                    <a:pt x="328434" y="15240"/>
                  </a:lnTo>
                  <a:lnTo>
                    <a:pt x="329704" y="13970"/>
                  </a:lnTo>
                  <a:lnTo>
                    <a:pt x="328244" y="13970"/>
                  </a:lnTo>
                  <a:lnTo>
                    <a:pt x="327850" y="14020"/>
                  </a:lnTo>
                  <a:lnTo>
                    <a:pt x="327507" y="14173"/>
                  </a:lnTo>
                  <a:lnTo>
                    <a:pt x="327660" y="14274"/>
                  </a:lnTo>
                  <a:lnTo>
                    <a:pt x="326110" y="15240"/>
                  </a:lnTo>
                  <a:lnTo>
                    <a:pt x="326326" y="13970"/>
                  </a:lnTo>
                  <a:lnTo>
                    <a:pt x="327469" y="13970"/>
                  </a:lnTo>
                  <a:lnTo>
                    <a:pt x="327977" y="12700"/>
                  </a:lnTo>
                  <a:lnTo>
                    <a:pt x="329996" y="12700"/>
                  </a:lnTo>
                  <a:lnTo>
                    <a:pt x="330377" y="13970"/>
                  </a:lnTo>
                  <a:lnTo>
                    <a:pt x="331533" y="12700"/>
                  </a:lnTo>
                  <a:lnTo>
                    <a:pt x="330441" y="12700"/>
                  </a:lnTo>
                  <a:lnTo>
                    <a:pt x="330352" y="12306"/>
                  </a:lnTo>
                  <a:lnTo>
                    <a:pt x="332041" y="11785"/>
                  </a:lnTo>
                  <a:lnTo>
                    <a:pt x="332587" y="9982"/>
                  </a:lnTo>
                  <a:lnTo>
                    <a:pt x="332994" y="9690"/>
                  </a:lnTo>
                  <a:lnTo>
                    <a:pt x="333375" y="9931"/>
                  </a:lnTo>
                  <a:close/>
                </a:path>
              </a:pathLst>
            </a:custGeom>
            <a:solidFill>
              <a:srgbClr val="D02929">
                <a:alpha val="46669"/>
              </a:srgbClr>
            </a:solidFill>
          </p:spPr>
          <p:txBody>
            <a:bodyPr wrap="square" lIns="0" tIns="0" rIns="0" bIns="0" rtlCol="0"/>
            <a:lstStyle/>
            <a:p>
              <a:endParaRPr/>
            </a:p>
          </p:txBody>
        </p:sp>
        <p:sp>
          <p:nvSpPr>
            <p:cNvPr id="13" name="object 13"/>
            <p:cNvSpPr/>
            <p:nvPr/>
          </p:nvSpPr>
          <p:spPr>
            <a:xfrm>
              <a:off x="13782387" y="3766223"/>
              <a:ext cx="539750" cy="539750"/>
            </a:xfrm>
            <a:custGeom>
              <a:avLst/>
              <a:gdLst/>
              <a:ahLst/>
              <a:cxnLst/>
              <a:rect l="l" t="t" r="r" b="b"/>
              <a:pathLst>
                <a:path w="539750" h="539750">
                  <a:moveTo>
                    <a:pt x="269802" y="539603"/>
                  </a:moveTo>
                  <a:lnTo>
                    <a:pt x="221304" y="535256"/>
                  </a:lnTo>
                  <a:lnTo>
                    <a:pt x="175659" y="522723"/>
                  </a:lnTo>
                  <a:lnTo>
                    <a:pt x="133627" y="502767"/>
                  </a:lnTo>
                  <a:lnTo>
                    <a:pt x="95971" y="476149"/>
                  </a:lnTo>
                  <a:lnTo>
                    <a:pt x="63453" y="443631"/>
                  </a:lnTo>
                  <a:lnTo>
                    <a:pt x="36835" y="405975"/>
                  </a:lnTo>
                  <a:lnTo>
                    <a:pt x="16879" y="363944"/>
                  </a:lnTo>
                  <a:lnTo>
                    <a:pt x="4346" y="318298"/>
                  </a:lnTo>
                  <a:lnTo>
                    <a:pt x="0" y="269800"/>
                  </a:lnTo>
                  <a:lnTo>
                    <a:pt x="4346" y="221304"/>
                  </a:lnTo>
                  <a:lnTo>
                    <a:pt x="16879" y="175659"/>
                  </a:lnTo>
                  <a:lnTo>
                    <a:pt x="36835" y="133627"/>
                  </a:lnTo>
                  <a:lnTo>
                    <a:pt x="63453" y="95971"/>
                  </a:lnTo>
                  <a:lnTo>
                    <a:pt x="95971" y="63453"/>
                  </a:lnTo>
                  <a:lnTo>
                    <a:pt x="133627" y="36835"/>
                  </a:lnTo>
                  <a:lnTo>
                    <a:pt x="175659" y="16879"/>
                  </a:lnTo>
                  <a:lnTo>
                    <a:pt x="221304" y="4346"/>
                  </a:lnTo>
                  <a:lnTo>
                    <a:pt x="269801" y="0"/>
                  </a:lnTo>
                  <a:lnTo>
                    <a:pt x="318298" y="4346"/>
                  </a:lnTo>
                  <a:lnTo>
                    <a:pt x="363943" y="16879"/>
                  </a:lnTo>
                  <a:lnTo>
                    <a:pt x="405975" y="36835"/>
                  </a:lnTo>
                  <a:lnTo>
                    <a:pt x="443630" y="63453"/>
                  </a:lnTo>
                  <a:lnTo>
                    <a:pt x="476148" y="95971"/>
                  </a:lnTo>
                  <a:lnTo>
                    <a:pt x="502766" y="133627"/>
                  </a:lnTo>
                  <a:lnTo>
                    <a:pt x="522723" y="175659"/>
                  </a:lnTo>
                  <a:lnTo>
                    <a:pt x="535256" y="221304"/>
                  </a:lnTo>
                  <a:lnTo>
                    <a:pt x="539602" y="269801"/>
                  </a:lnTo>
                  <a:lnTo>
                    <a:pt x="535256" y="318298"/>
                  </a:lnTo>
                  <a:lnTo>
                    <a:pt x="522723" y="363944"/>
                  </a:lnTo>
                  <a:lnTo>
                    <a:pt x="502766" y="405975"/>
                  </a:lnTo>
                  <a:lnTo>
                    <a:pt x="476148" y="443631"/>
                  </a:lnTo>
                  <a:lnTo>
                    <a:pt x="443630" y="476149"/>
                  </a:lnTo>
                  <a:lnTo>
                    <a:pt x="405975" y="502767"/>
                  </a:lnTo>
                  <a:lnTo>
                    <a:pt x="363943" y="522723"/>
                  </a:lnTo>
                  <a:lnTo>
                    <a:pt x="318298" y="535256"/>
                  </a:lnTo>
                  <a:lnTo>
                    <a:pt x="269802" y="539603"/>
                  </a:lnTo>
                  <a:close/>
                </a:path>
              </a:pathLst>
            </a:custGeom>
            <a:solidFill>
              <a:srgbClr val="FFFFFF">
                <a:alpha val="46669"/>
              </a:srgbClr>
            </a:solidFill>
          </p:spPr>
          <p:txBody>
            <a:bodyPr wrap="square" lIns="0" tIns="0" rIns="0" bIns="0" rtlCol="0"/>
            <a:lstStyle/>
            <a:p>
              <a:endParaRPr/>
            </a:p>
          </p:txBody>
        </p:sp>
        <p:sp>
          <p:nvSpPr>
            <p:cNvPr id="14" name="object 14"/>
            <p:cNvSpPr/>
            <p:nvPr/>
          </p:nvSpPr>
          <p:spPr>
            <a:xfrm>
              <a:off x="13884122" y="3845546"/>
              <a:ext cx="333375" cy="379730"/>
            </a:xfrm>
            <a:custGeom>
              <a:avLst/>
              <a:gdLst/>
              <a:ahLst/>
              <a:cxnLst/>
              <a:rect l="l" t="t" r="r" b="b"/>
              <a:pathLst>
                <a:path w="333375" h="379729">
                  <a:moveTo>
                    <a:pt x="4483" y="313664"/>
                  </a:moveTo>
                  <a:lnTo>
                    <a:pt x="4279" y="313880"/>
                  </a:lnTo>
                  <a:lnTo>
                    <a:pt x="3873" y="314337"/>
                  </a:lnTo>
                  <a:lnTo>
                    <a:pt x="4000" y="314579"/>
                  </a:lnTo>
                  <a:lnTo>
                    <a:pt x="4368" y="314566"/>
                  </a:lnTo>
                  <a:lnTo>
                    <a:pt x="4445" y="314134"/>
                  </a:lnTo>
                  <a:lnTo>
                    <a:pt x="4483" y="313664"/>
                  </a:lnTo>
                  <a:close/>
                </a:path>
                <a:path w="333375" h="379729">
                  <a:moveTo>
                    <a:pt x="9690" y="230314"/>
                  </a:moveTo>
                  <a:lnTo>
                    <a:pt x="9652" y="230124"/>
                  </a:lnTo>
                  <a:lnTo>
                    <a:pt x="9436" y="229933"/>
                  </a:lnTo>
                  <a:lnTo>
                    <a:pt x="9296" y="230022"/>
                  </a:lnTo>
                  <a:lnTo>
                    <a:pt x="9245" y="230200"/>
                  </a:lnTo>
                  <a:lnTo>
                    <a:pt x="9296" y="230327"/>
                  </a:lnTo>
                  <a:lnTo>
                    <a:pt x="9321" y="230492"/>
                  </a:lnTo>
                  <a:lnTo>
                    <a:pt x="9550" y="230746"/>
                  </a:lnTo>
                  <a:lnTo>
                    <a:pt x="9690" y="230670"/>
                  </a:lnTo>
                  <a:lnTo>
                    <a:pt x="9690" y="230454"/>
                  </a:lnTo>
                  <a:lnTo>
                    <a:pt x="9690" y="230314"/>
                  </a:lnTo>
                  <a:close/>
                </a:path>
                <a:path w="333375" h="379729">
                  <a:moveTo>
                    <a:pt x="23914" y="371017"/>
                  </a:moveTo>
                  <a:lnTo>
                    <a:pt x="23812" y="370624"/>
                  </a:lnTo>
                  <a:lnTo>
                    <a:pt x="23685" y="370700"/>
                  </a:lnTo>
                  <a:lnTo>
                    <a:pt x="23761" y="371094"/>
                  </a:lnTo>
                  <a:lnTo>
                    <a:pt x="23914" y="371017"/>
                  </a:lnTo>
                  <a:close/>
                </a:path>
                <a:path w="333375" h="379729">
                  <a:moveTo>
                    <a:pt x="38735" y="223278"/>
                  </a:moveTo>
                  <a:lnTo>
                    <a:pt x="38684" y="222961"/>
                  </a:lnTo>
                  <a:lnTo>
                    <a:pt x="38544" y="222885"/>
                  </a:lnTo>
                  <a:lnTo>
                    <a:pt x="38328" y="223062"/>
                  </a:lnTo>
                  <a:lnTo>
                    <a:pt x="38227" y="223266"/>
                  </a:lnTo>
                  <a:lnTo>
                    <a:pt x="38138" y="223685"/>
                  </a:lnTo>
                  <a:lnTo>
                    <a:pt x="38290" y="223951"/>
                  </a:lnTo>
                  <a:lnTo>
                    <a:pt x="38544" y="223774"/>
                  </a:lnTo>
                  <a:lnTo>
                    <a:pt x="38633" y="223469"/>
                  </a:lnTo>
                  <a:lnTo>
                    <a:pt x="38735" y="223278"/>
                  </a:lnTo>
                  <a:close/>
                </a:path>
                <a:path w="333375" h="379729">
                  <a:moveTo>
                    <a:pt x="41986" y="222084"/>
                  </a:moveTo>
                  <a:lnTo>
                    <a:pt x="41884" y="221488"/>
                  </a:lnTo>
                  <a:lnTo>
                    <a:pt x="41783" y="221297"/>
                  </a:lnTo>
                  <a:lnTo>
                    <a:pt x="41567" y="220941"/>
                  </a:lnTo>
                  <a:lnTo>
                    <a:pt x="41427" y="220980"/>
                  </a:lnTo>
                  <a:lnTo>
                    <a:pt x="41122" y="222224"/>
                  </a:lnTo>
                  <a:lnTo>
                    <a:pt x="40805" y="223139"/>
                  </a:lnTo>
                  <a:lnTo>
                    <a:pt x="40322" y="224180"/>
                  </a:lnTo>
                  <a:lnTo>
                    <a:pt x="40297" y="224370"/>
                  </a:lnTo>
                  <a:lnTo>
                    <a:pt x="40500" y="224434"/>
                  </a:lnTo>
                  <a:lnTo>
                    <a:pt x="40741" y="224459"/>
                  </a:lnTo>
                  <a:lnTo>
                    <a:pt x="41986" y="222084"/>
                  </a:lnTo>
                  <a:close/>
                </a:path>
                <a:path w="333375" h="379729">
                  <a:moveTo>
                    <a:pt x="44716" y="229870"/>
                  </a:moveTo>
                  <a:lnTo>
                    <a:pt x="43840" y="228600"/>
                  </a:lnTo>
                  <a:lnTo>
                    <a:pt x="42506" y="227330"/>
                  </a:lnTo>
                  <a:lnTo>
                    <a:pt x="41275" y="228600"/>
                  </a:lnTo>
                  <a:lnTo>
                    <a:pt x="40982" y="228600"/>
                  </a:lnTo>
                  <a:lnTo>
                    <a:pt x="40703" y="229870"/>
                  </a:lnTo>
                  <a:lnTo>
                    <a:pt x="40551" y="228600"/>
                  </a:lnTo>
                  <a:lnTo>
                    <a:pt x="40157" y="228600"/>
                  </a:lnTo>
                  <a:lnTo>
                    <a:pt x="40640" y="227330"/>
                  </a:lnTo>
                  <a:lnTo>
                    <a:pt x="40957" y="227330"/>
                  </a:lnTo>
                  <a:lnTo>
                    <a:pt x="40932" y="226060"/>
                  </a:lnTo>
                  <a:lnTo>
                    <a:pt x="41021" y="224790"/>
                  </a:lnTo>
                  <a:lnTo>
                    <a:pt x="39814" y="226060"/>
                  </a:lnTo>
                  <a:lnTo>
                    <a:pt x="39814" y="231140"/>
                  </a:lnTo>
                  <a:lnTo>
                    <a:pt x="39420" y="231140"/>
                  </a:lnTo>
                  <a:lnTo>
                    <a:pt x="39281" y="229870"/>
                  </a:lnTo>
                  <a:lnTo>
                    <a:pt x="39585"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80" y="220980"/>
                  </a:lnTo>
                  <a:lnTo>
                    <a:pt x="37325" y="219710"/>
                  </a:lnTo>
                  <a:lnTo>
                    <a:pt x="37592" y="219710"/>
                  </a:lnTo>
                  <a:lnTo>
                    <a:pt x="38163" y="220980"/>
                  </a:lnTo>
                  <a:lnTo>
                    <a:pt x="38849" y="220980"/>
                  </a:lnTo>
                  <a:lnTo>
                    <a:pt x="39776" y="222250"/>
                  </a:lnTo>
                  <a:lnTo>
                    <a:pt x="40271" y="222250"/>
                  </a:lnTo>
                  <a:lnTo>
                    <a:pt x="40944" y="220980"/>
                  </a:lnTo>
                  <a:lnTo>
                    <a:pt x="40208" y="220980"/>
                  </a:lnTo>
                  <a:lnTo>
                    <a:pt x="39700" y="219710"/>
                  </a:lnTo>
                  <a:lnTo>
                    <a:pt x="38163" y="219710"/>
                  </a:lnTo>
                  <a:lnTo>
                    <a:pt x="38265" y="218440"/>
                  </a:lnTo>
                  <a:lnTo>
                    <a:pt x="38633" y="217170"/>
                  </a:lnTo>
                  <a:lnTo>
                    <a:pt x="39001" y="215900"/>
                  </a:lnTo>
                  <a:lnTo>
                    <a:pt x="38735" y="214630"/>
                  </a:lnTo>
                  <a:lnTo>
                    <a:pt x="37223" y="214630"/>
                  </a:lnTo>
                  <a:lnTo>
                    <a:pt x="36715" y="213360"/>
                  </a:lnTo>
                  <a:lnTo>
                    <a:pt x="36309" y="212090"/>
                  </a:lnTo>
                  <a:lnTo>
                    <a:pt x="35458" y="213360"/>
                  </a:lnTo>
                  <a:lnTo>
                    <a:pt x="35242" y="213360"/>
                  </a:lnTo>
                  <a:lnTo>
                    <a:pt x="35407"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63" y="213360"/>
                  </a:lnTo>
                  <a:lnTo>
                    <a:pt x="33820" y="213360"/>
                  </a:lnTo>
                  <a:lnTo>
                    <a:pt x="33820" y="226060"/>
                  </a:lnTo>
                  <a:lnTo>
                    <a:pt x="33388" y="226060"/>
                  </a:lnTo>
                  <a:lnTo>
                    <a:pt x="33172" y="224790"/>
                  </a:lnTo>
                  <a:lnTo>
                    <a:pt x="31483" y="224790"/>
                  </a:lnTo>
                  <a:lnTo>
                    <a:pt x="31229" y="223520"/>
                  </a:lnTo>
                  <a:lnTo>
                    <a:pt x="32105" y="223520"/>
                  </a:lnTo>
                  <a:lnTo>
                    <a:pt x="32550" y="222250"/>
                  </a:lnTo>
                  <a:lnTo>
                    <a:pt x="32981" y="223520"/>
                  </a:lnTo>
                  <a:lnTo>
                    <a:pt x="33451" y="223520"/>
                  </a:lnTo>
                  <a:lnTo>
                    <a:pt x="33591" y="224790"/>
                  </a:lnTo>
                  <a:lnTo>
                    <a:pt x="33820" y="226060"/>
                  </a:lnTo>
                  <a:lnTo>
                    <a:pt x="33820" y="213360"/>
                  </a:lnTo>
                  <a:lnTo>
                    <a:pt x="32778" y="213360"/>
                  </a:lnTo>
                  <a:lnTo>
                    <a:pt x="32054" y="214630"/>
                  </a:lnTo>
                  <a:lnTo>
                    <a:pt x="30010" y="214630"/>
                  </a:lnTo>
                  <a:lnTo>
                    <a:pt x="29794" y="213360"/>
                  </a:lnTo>
                  <a:lnTo>
                    <a:pt x="29222" y="213360"/>
                  </a:lnTo>
                  <a:lnTo>
                    <a:pt x="28613" y="212090"/>
                  </a:lnTo>
                  <a:lnTo>
                    <a:pt x="27355" y="213360"/>
                  </a:lnTo>
                  <a:lnTo>
                    <a:pt x="27038" y="213360"/>
                  </a:lnTo>
                  <a:lnTo>
                    <a:pt x="27279" y="214630"/>
                  </a:lnTo>
                  <a:lnTo>
                    <a:pt x="27762" y="215900"/>
                  </a:lnTo>
                  <a:lnTo>
                    <a:pt x="27152" y="215900"/>
                  </a:lnTo>
                  <a:lnTo>
                    <a:pt x="27038" y="217170"/>
                  </a:lnTo>
                  <a:lnTo>
                    <a:pt x="26250" y="217170"/>
                  </a:lnTo>
                  <a:lnTo>
                    <a:pt x="26314" y="215900"/>
                  </a:lnTo>
                  <a:lnTo>
                    <a:pt x="26314" y="214630"/>
                  </a:lnTo>
                  <a:lnTo>
                    <a:pt x="25400" y="213360"/>
                  </a:lnTo>
                  <a:lnTo>
                    <a:pt x="24650" y="213360"/>
                  </a:lnTo>
                  <a:lnTo>
                    <a:pt x="24650" y="224790"/>
                  </a:lnTo>
                  <a:lnTo>
                    <a:pt x="24384" y="224790"/>
                  </a:lnTo>
                  <a:lnTo>
                    <a:pt x="24638" y="226060"/>
                  </a:lnTo>
                  <a:lnTo>
                    <a:pt x="23977" y="226060"/>
                  </a:lnTo>
                  <a:lnTo>
                    <a:pt x="24053" y="224790"/>
                  </a:lnTo>
                  <a:lnTo>
                    <a:pt x="22796" y="224790"/>
                  </a:lnTo>
                  <a:lnTo>
                    <a:pt x="22593" y="226060"/>
                  </a:lnTo>
                  <a:lnTo>
                    <a:pt x="21234" y="226060"/>
                  </a:lnTo>
                  <a:lnTo>
                    <a:pt x="20891" y="224790"/>
                  </a:lnTo>
                  <a:lnTo>
                    <a:pt x="20447" y="224790"/>
                  </a:lnTo>
                  <a:lnTo>
                    <a:pt x="20993" y="223520"/>
                  </a:lnTo>
                  <a:lnTo>
                    <a:pt x="22415" y="223520"/>
                  </a:lnTo>
                  <a:lnTo>
                    <a:pt x="23063" y="222250"/>
                  </a:lnTo>
                  <a:lnTo>
                    <a:pt x="23723" y="223520"/>
                  </a:lnTo>
                  <a:lnTo>
                    <a:pt x="24434" y="223520"/>
                  </a:lnTo>
                  <a:lnTo>
                    <a:pt x="24650" y="224790"/>
                  </a:lnTo>
                  <a:lnTo>
                    <a:pt x="24650" y="213360"/>
                  </a:lnTo>
                  <a:lnTo>
                    <a:pt x="23329" y="213360"/>
                  </a:lnTo>
                  <a:lnTo>
                    <a:pt x="21869" y="214630"/>
                  </a:lnTo>
                  <a:lnTo>
                    <a:pt x="20955" y="215900"/>
                  </a:lnTo>
                  <a:lnTo>
                    <a:pt x="19735" y="217170"/>
                  </a:lnTo>
                  <a:lnTo>
                    <a:pt x="19545" y="217170"/>
                  </a:lnTo>
                  <a:lnTo>
                    <a:pt x="17907" y="214630"/>
                  </a:lnTo>
                  <a:lnTo>
                    <a:pt x="16789" y="215900"/>
                  </a:lnTo>
                  <a:lnTo>
                    <a:pt x="16471" y="218440"/>
                  </a:lnTo>
                  <a:lnTo>
                    <a:pt x="16408" y="219710"/>
                  </a:lnTo>
                  <a:lnTo>
                    <a:pt x="13817" y="218440"/>
                  </a:lnTo>
                  <a:lnTo>
                    <a:pt x="13970" y="219710"/>
                  </a:lnTo>
                  <a:lnTo>
                    <a:pt x="14757" y="220980"/>
                  </a:lnTo>
                  <a:lnTo>
                    <a:pt x="15468" y="223520"/>
                  </a:lnTo>
                  <a:lnTo>
                    <a:pt x="15328" y="224790"/>
                  </a:lnTo>
                  <a:lnTo>
                    <a:pt x="14617" y="224790"/>
                  </a:lnTo>
                  <a:lnTo>
                    <a:pt x="14389"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50" y="232410"/>
                  </a:lnTo>
                  <a:lnTo>
                    <a:pt x="9144" y="233680"/>
                  </a:lnTo>
                  <a:lnTo>
                    <a:pt x="7480" y="234950"/>
                  </a:lnTo>
                  <a:lnTo>
                    <a:pt x="7683" y="236220"/>
                  </a:lnTo>
                  <a:lnTo>
                    <a:pt x="6769" y="237490"/>
                  </a:lnTo>
                  <a:lnTo>
                    <a:pt x="5207" y="237490"/>
                  </a:lnTo>
                  <a:lnTo>
                    <a:pt x="4686" y="238760"/>
                  </a:lnTo>
                  <a:lnTo>
                    <a:pt x="3937" y="241300"/>
                  </a:lnTo>
                  <a:lnTo>
                    <a:pt x="1701" y="243840"/>
                  </a:lnTo>
                  <a:lnTo>
                    <a:pt x="800" y="243840"/>
                  </a:lnTo>
                  <a:lnTo>
                    <a:pt x="1193" y="245110"/>
                  </a:lnTo>
                  <a:lnTo>
                    <a:pt x="4051" y="245110"/>
                  </a:lnTo>
                  <a:lnTo>
                    <a:pt x="44488" y="245110"/>
                  </a:lnTo>
                  <a:lnTo>
                    <a:pt x="44500" y="243840"/>
                  </a:lnTo>
                  <a:lnTo>
                    <a:pt x="43891" y="241300"/>
                  </a:lnTo>
                  <a:lnTo>
                    <a:pt x="43726" y="240030"/>
                  </a:lnTo>
                  <a:lnTo>
                    <a:pt x="42646" y="240030"/>
                  </a:lnTo>
                  <a:lnTo>
                    <a:pt x="43167" y="238760"/>
                  </a:lnTo>
                  <a:lnTo>
                    <a:pt x="43662" y="238760"/>
                  </a:lnTo>
                  <a:lnTo>
                    <a:pt x="44018" y="236220"/>
                  </a:lnTo>
                  <a:lnTo>
                    <a:pt x="44018" y="234950"/>
                  </a:lnTo>
                  <a:lnTo>
                    <a:pt x="44132" y="233680"/>
                  </a:lnTo>
                  <a:lnTo>
                    <a:pt x="44259" y="232410"/>
                  </a:lnTo>
                  <a:lnTo>
                    <a:pt x="43624" y="232410"/>
                  </a:lnTo>
                  <a:lnTo>
                    <a:pt x="41122" y="232410"/>
                  </a:lnTo>
                  <a:lnTo>
                    <a:pt x="41122" y="234950"/>
                  </a:lnTo>
                  <a:lnTo>
                    <a:pt x="40525" y="234950"/>
                  </a:lnTo>
                  <a:lnTo>
                    <a:pt x="40551" y="233680"/>
                  </a:lnTo>
                  <a:lnTo>
                    <a:pt x="41071" y="233680"/>
                  </a:lnTo>
                  <a:lnTo>
                    <a:pt x="41122" y="234950"/>
                  </a:lnTo>
                  <a:lnTo>
                    <a:pt x="41122" y="232410"/>
                  </a:lnTo>
                  <a:lnTo>
                    <a:pt x="40640" y="232410"/>
                  </a:lnTo>
                  <a:lnTo>
                    <a:pt x="40894" y="231140"/>
                  </a:lnTo>
                  <a:lnTo>
                    <a:pt x="41363" y="231140"/>
                  </a:lnTo>
                  <a:lnTo>
                    <a:pt x="42494" y="229870"/>
                  </a:lnTo>
                  <a:lnTo>
                    <a:pt x="43167" y="229870"/>
                  </a:lnTo>
                  <a:lnTo>
                    <a:pt x="43853" y="231140"/>
                  </a:lnTo>
                  <a:lnTo>
                    <a:pt x="43624" y="232410"/>
                  </a:lnTo>
                  <a:lnTo>
                    <a:pt x="44704" y="231140"/>
                  </a:lnTo>
                  <a:lnTo>
                    <a:pt x="44716" y="229870"/>
                  </a:lnTo>
                  <a:close/>
                </a:path>
                <a:path w="333375" h="379729">
                  <a:moveTo>
                    <a:pt x="50495" y="279133"/>
                  </a:moveTo>
                  <a:lnTo>
                    <a:pt x="50355" y="278930"/>
                  </a:lnTo>
                  <a:lnTo>
                    <a:pt x="50139" y="278828"/>
                  </a:lnTo>
                  <a:lnTo>
                    <a:pt x="50139" y="279184"/>
                  </a:lnTo>
                  <a:lnTo>
                    <a:pt x="50342" y="279285"/>
                  </a:lnTo>
                  <a:lnTo>
                    <a:pt x="50482" y="279247"/>
                  </a:lnTo>
                  <a:close/>
                </a:path>
                <a:path w="333375" h="379729">
                  <a:moveTo>
                    <a:pt x="52070" y="294398"/>
                  </a:moveTo>
                  <a:lnTo>
                    <a:pt x="51892" y="294500"/>
                  </a:lnTo>
                  <a:lnTo>
                    <a:pt x="51739" y="294614"/>
                  </a:lnTo>
                  <a:lnTo>
                    <a:pt x="51866" y="294538"/>
                  </a:lnTo>
                  <a:lnTo>
                    <a:pt x="52070" y="294398"/>
                  </a:lnTo>
                  <a:close/>
                </a:path>
                <a:path w="333375" h="379729">
                  <a:moveTo>
                    <a:pt x="52755" y="294246"/>
                  </a:moveTo>
                  <a:close/>
                </a:path>
                <a:path w="333375" h="379729">
                  <a:moveTo>
                    <a:pt x="52870" y="294017"/>
                  </a:moveTo>
                  <a:lnTo>
                    <a:pt x="52781" y="294195"/>
                  </a:lnTo>
                  <a:lnTo>
                    <a:pt x="52870" y="294017"/>
                  </a:lnTo>
                  <a:close/>
                </a:path>
                <a:path w="333375" h="379729">
                  <a:moveTo>
                    <a:pt x="52895" y="295744"/>
                  </a:moveTo>
                  <a:lnTo>
                    <a:pt x="52844" y="296506"/>
                  </a:lnTo>
                  <a:lnTo>
                    <a:pt x="52895" y="295948"/>
                  </a:lnTo>
                  <a:lnTo>
                    <a:pt x="52895" y="295744"/>
                  </a:lnTo>
                  <a:close/>
                </a:path>
                <a:path w="333375" h="379729">
                  <a:moveTo>
                    <a:pt x="53060" y="294640"/>
                  </a:moveTo>
                  <a:lnTo>
                    <a:pt x="53035" y="295363"/>
                  </a:lnTo>
                  <a:lnTo>
                    <a:pt x="53060" y="294640"/>
                  </a:lnTo>
                  <a:close/>
                </a:path>
                <a:path w="333375" h="379729">
                  <a:moveTo>
                    <a:pt x="53200" y="297180"/>
                  </a:moveTo>
                  <a:lnTo>
                    <a:pt x="53200" y="297459"/>
                  </a:lnTo>
                  <a:lnTo>
                    <a:pt x="53200" y="297180"/>
                  </a:lnTo>
                  <a:close/>
                </a:path>
                <a:path w="333375" h="379729">
                  <a:moveTo>
                    <a:pt x="53251" y="296799"/>
                  </a:moveTo>
                  <a:lnTo>
                    <a:pt x="53200" y="295998"/>
                  </a:lnTo>
                  <a:lnTo>
                    <a:pt x="53174" y="295694"/>
                  </a:lnTo>
                  <a:lnTo>
                    <a:pt x="53136" y="295198"/>
                  </a:lnTo>
                  <a:lnTo>
                    <a:pt x="53174" y="295922"/>
                  </a:lnTo>
                  <a:lnTo>
                    <a:pt x="53200" y="296367"/>
                  </a:lnTo>
                  <a:lnTo>
                    <a:pt x="53225" y="296633"/>
                  </a:lnTo>
                  <a:lnTo>
                    <a:pt x="53251" y="296799"/>
                  </a:lnTo>
                  <a:close/>
                </a:path>
                <a:path w="333375" h="379729">
                  <a:moveTo>
                    <a:pt x="53530" y="297688"/>
                  </a:moveTo>
                  <a:lnTo>
                    <a:pt x="53517" y="297180"/>
                  </a:lnTo>
                  <a:lnTo>
                    <a:pt x="53530" y="297688"/>
                  </a:lnTo>
                  <a:close/>
                </a:path>
                <a:path w="333375" h="379729">
                  <a:moveTo>
                    <a:pt x="53606" y="295478"/>
                  </a:moveTo>
                  <a:lnTo>
                    <a:pt x="53581" y="295338"/>
                  </a:lnTo>
                  <a:lnTo>
                    <a:pt x="53467" y="295033"/>
                  </a:lnTo>
                  <a:lnTo>
                    <a:pt x="53555" y="295313"/>
                  </a:lnTo>
                  <a:lnTo>
                    <a:pt x="53606" y="295478"/>
                  </a:lnTo>
                  <a:close/>
                </a:path>
                <a:path w="333375" h="379729">
                  <a:moveTo>
                    <a:pt x="53682" y="372084"/>
                  </a:moveTo>
                  <a:close/>
                </a:path>
                <a:path w="333375" h="379729">
                  <a:moveTo>
                    <a:pt x="54051" y="294703"/>
                  </a:moveTo>
                  <a:close/>
                </a:path>
                <a:path w="333375" h="379729">
                  <a:moveTo>
                    <a:pt x="54838" y="294868"/>
                  </a:moveTo>
                  <a:lnTo>
                    <a:pt x="54775" y="294640"/>
                  </a:lnTo>
                  <a:lnTo>
                    <a:pt x="54838" y="294868"/>
                  </a:lnTo>
                  <a:close/>
                </a:path>
                <a:path w="333375" h="379729">
                  <a:moveTo>
                    <a:pt x="54952" y="294170"/>
                  </a:moveTo>
                  <a:lnTo>
                    <a:pt x="54825" y="294030"/>
                  </a:lnTo>
                  <a:lnTo>
                    <a:pt x="54914" y="294208"/>
                  </a:lnTo>
                  <a:close/>
                </a:path>
                <a:path w="333375" h="379729">
                  <a:moveTo>
                    <a:pt x="55308" y="295465"/>
                  </a:moveTo>
                  <a:close/>
                </a:path>
                <a:path w="333375" h="379729">
                  <a:moveTo>
                    <a:pt x="55880" y="292874"/>
                  </a:moveTo>
                  <a:lnTo>
                    <a:pt x="55346" y="292100"/>
                  </a:lnTo>
                  <a:lnTo>
                    <a:pt x="55880" y="292874"/>
                  </a:lnTo>
                  <a:close/>
                </a:path>
                <a:path w="333375" h="379729">
                  <a:moveTo>
                    <a:pt x="56261" y="293370"/>
                  </a:moveTo>
                  <a:lnTo>
                    <a:pt x="55880" y="292874"/>
                  </a:lnTo>
                  <a:lnTo>
                    <a:pt x="56222" y="293370"/>
                  </a:lnTo>
                  <a:close/>
                </a:path>
                <a:path w="333375" h="379729">
                  <a:moveTo>
                    <a:pt x="61607" y="280873"/>
                  </a:moveTo>
                  <a:lnTo>
                    <a:pt x="61252" y="280847"/>
                  </a:lnTo>
                  <a:lnTo>
                    <a:pt x="61226" y="280987"/>
                  </a:lnTo>
                  <a:lnTo>
                    <a:pt x="61150" y="281127"/>
                  </a:lnTo>
                  <a:lnTo>
                    <a:pt x="61239" y="281432"/>
                  </a:lnTo>
                  <a:lnTo>
                    <a:pt x="61391" y="281432"/>
                  </a:lnTo>
                  <a:lnTo>
                    <a:pt x="61493" y="281254"/>
                  </a:lnTo>
                  <a:lnTo>
                    <a:pt x="61569" y="281000"/>
                  </a:lnTo>
                  <a:lnTo>
                    <a:pt x="61607" y="280873"/>
                  </a:lnTo>
                  <a:close/>
                </a:path>
                <a:path w="333375" h="379729">
                  <a:moveTo>
                    <a:pt x="70370" y="266611"/>
                  </a:moveTo>
                  <a:lnTo>
                    <a:pt x="70281" y="266458"/>
                  </a:lnTo>
                  <a:lnTo>
                    <a:pt x="70129" y="266344"/>
                  </a:lnTo>
                  <a:lnTo>
                    <a:pt x="69964" y="266319"/>
                  </a:lnTo>
                  <a:lnTo>
                    <a:pt x="69850" y="266471"/>
                  </a:lnTo>
                  <a:lnTo>
                    <a:pt x="69786" y="266687"/>
                  </a:lnTo>
                  <a:lnTo>
                    <a:pt x="70002" y="266979"/>
                  </a:lnTo>
                  <a:lnTo>
                    <a:pt x="70205" y="266890"/>
                  </a:lnTo>
                  <a:lnTo>
                    <a:pt x="70332" y="266687"/>
                  </a:lnTo>
                  <a:close/>
                </a:path>
                <a:path w="333375" h="379729">
                  <a:moveTo>
                    <a:pt x="75044" y="260680"/>
                  </a:moveTo>
                  <a:lnTo>
                    <a:pt x="74930" y="260527"/>
                  </a:lnTo>
                  <a:lnTo>
                    <a:pt x="74752" y="260553"/>
                  </a:lnTo>
                  <a:lnTo>
                    <a:pt x="74625" y="260527"/>
                  </a:lnTo>
                  <a:lnTo>
                    <a:pt x="74599" y="260667"/>
                  </a:lnTo>
                  <a:lnTo>
                    <a:pt x="74523" y="260845"/>
                  </a:lnTo>
                  <a:lnTo>
                    <a:pt x="74625" y="261010"/>
                  </a:lnTo>
                  <a:lnTo>
                    <a:pt x="74815" y="260985"/>
                  </a:lnTo>
                  <a:lnTo>
                    <a:pt x="74942" y="261010"/>
                  </a:lnTo>
                  <a:lnTo>
                    <a:pt x="74968" y="260870"/>
                  </a:lnTo>
                  <a:lnTo>
                    <a:pt x="75044" y="260680"/>
                  </a:lnTo>
                  <a:close/>
                </a:path>
                <a:path w="333375" h="379729">
                  <a:moveTo>
                    <a:pt x="87096" y="240080"/>
                  </a:moveTo>
                  <a:lnTo>
                    <a:pt x="87007" y="239941"/>
                  </a:lnTo>
                  <a:lnTo>
                    <a:pt x="86702" y="239979"/>
                  </a:lnTo>
                  <a:lnTo>
                    <a:pt x="86461" y="240169"/>
                  </a:lnTo>
                  <a:lnTo>
                    <a:pt x="86601" y="240423"/>
                  </a:lnTo>
                  <a:lnTo>
                    <a:pt x="86868" y="240550"/>
                  </a:lnTo>
                  <a:lnTo>
                    <a:pt x="87020" y="240449"/>
                  </a:lnTo>
                  <a:lnTo>
                    <a:pt x="87096" y="240080"/>
                  </a:lnTo>
                  <a:close/>
                </a:path>
                <a:path w="333375" h="379729">
                  <a:moveTo>
                    <a:pt x="93243" y="229997"/>
                  </a:moveTo>
                  <a:lnTo>
                    <a:pt x="92964" y="229870"/>
                  </a:lnTo>
                  <a:lnTo>
                    <a:pt x="93205" y="230124"/>
                  </a:lnTo>
                  <a:lnTo>
                    <a:pt x="93243" y="229997"/>
                  </a:lnTo>
                  <a:close/>
                </a:path>
                <a:path w="333375" h="379729">
                  <a:moveTo>
                    <a:pt x="102323" y="215861"/>
                  </a:moveTo>
                  <a:lnTo>
                    <a:pt x="102184" y="215633"/>
                  </a:lnTo>
                  <a:lnTo>
                    <a:pt x="101930" y="215468"/>
                  </a:lnTo>
                  <a:lnTo>
                    <a:pt x="101803" y="215734"/>
                  </a:lnTo>
                  <a:lnTo>
                    <a:pt x="101904" y="216001"/>
                  </a:lnTo>
                  <a:lnTo>
                    <a:pt x="102082" y="216052"/>
                  </a:lnTo>
                  <a:lnTo>
                    <a:pt x="102209" y="215925"/>
                  </a:lnTo>
                  <a:close/>
                </a:path>
                <a:path w="333375" h="379729">
                  <a:moveTo>
                    <a:pt x="137236" y="255346"/>
                  </a:moveTo>
                  <a:lnTo>
                    <a:pt x="137198" y="254990"/>
                  </a:lnTo>
                  <a:lnTo>
                    <a:pt x="136969" y="254838"/>
                  </a:lnTo>
                  <a:lnTo>
                    <a:pt x="136779" y="254927"/>
                  </a:lnTo>
                  <a:lnTo>
                    <a:pt x="136652" y="255117"/>
                  </a:lnTo>
                  <a:lnTo>
                    <a:pt x="136550" y="255270"/>
                  </a:lnTo>
                  <a:lnTo>
                    <a:pt x="136639" y="255397"/>
                  </a:lnTo>
                  <a:lnTo>
                    <a:pt x="136969" y="255409"/>
                  </a:lnTo>
                  <a:lnTo>
                    <a:pt x="137109" y="255371"/>
                  </a:lnTo>
                  <a:lnTo>
                    <a:pt x="137236" y="255346"/>
                  </a:lnTo>
                  <a:close/>
                </a:path>
                <a:path w="333375" h="379729">
                  <a:moveTo>
                    <a:pt x="139903" y="250431"/>
                  </a:moveTo>
                  <a:lnTo>
                    <a:pt x="139750" y="250342"/>
                  </a:lnTo>
                  <a:lnTo>
                    <a:pt x="139585" y="250444"/>
                  </a:lnTo>
                  <a:lnTo>
                    <a:pt x="139458" y="250634"/>
                  </a:lnTo>
                  <a:lnTo>
                    <a:pt x="139369" y="250786"/>
                  </a:lnTo>
                  <a:lnTo>
                    <a:pt x="139661" y="250850"/>
                  </a:lnTo>
                  <a:lnTo>
                    <a:pt x="139877" y="250748"/>
                  </a:lnTo>
                  <a:lnTo>
                    <a:pt x="139903" y="250431"/>
                  </a:lnTo>
                  <a:close/>
                </a:path>
                <a:path w="333375" h="379729">
                  <a:moveTo>
                    <a:pt x="181305" y="109689"/>
                  </a:moveTo>
                  <a:lnTo>
                    <a:pt x="181254" y="109524"/>
                  </a:lnTo>
                  <a:lnTo>
                    <a:pt x="181076" y="109499"/>
                  </a:lnTo>
                  <a:lnTo>
                    <a:pt x="180936" y="109588"/>
                  </a:lnTo>
                  <a:lnTo>
                    <a:pt x="180886" y="109728"/>
                  </a:lnTo>
                  <a:lnTo>
                    <a:pt x="180898" y="110058"/>
                  </a:lnTo>
                  <a:lnTo>
                    <a:pt x="181152" y="109956"/>
                  </a:lnTo>
                  <a:lnTo>
                    <a:pt x="181305" y="109689"/>
                  </a:lnTo>
                  <a:close/>
                </a:path>
                <a:path w="333375" h="379729">
                  <a:moveTo>
                    <a:pt x="223012" y="128549"/>
                  </a:moveTo>
                  <a:close/>
                </a:path>
                <a:path w="333375" h="379729">
                  <a:moveTo>
                    <a:pt x="223659" y="128219"/>
                  </a:moveTo>
                  <a:lnTo>
                    <a:pt x="223456" y="128409"/>
                  </a:lnTo>
                  <a:lnTo>
                    <a:pt x="223227" y="128460"/>
                  </a:lnTo>
                  <a:lnTo>
                    <a:pt x="223012" y="128549"/>
                  </a:lnTo>
                  <a:lnTo>
                    <a:pt x="223342" y="129184"/>
                  </a:lnTo>
                  <a:lnTo>
                    <a:pt x="223481" y="128600"/>
                  </a:lnTo>
                  <a:lnTo>
                    <a:pt x="223659" y="128219"/>
                  </a:lnTo>
                  <a:close/>
                </a:path>
                <a:path w="333375" h="379729">
                  <a:moveTo>
                    <a:pt x="223812" y="128003"/>
                  </a:moveTo>
                  <a:lnTo>
                    <a:pt x="223697" y="128130"/>
                  </a:lnTo>
                  <a:lnTo>
                    <a:pt x="223812" y="128003"/>
                  </a:lnTo>
                  <a:close/>
                </a:path>
                <a:path w="333375" h="379729">
                  <a:moveTo>
                    <a:pt x="317665" y="1676"/>
                  </a:moveTo>
                  <a:lnTo>
                    <a:pt x="317588" y="1460"/>
                  </a:lnTo>
                  <a:lnTo>
                    <a:pt x="317449" y="1371"/>
                  </a:lnTo>
                  <a:lnTo>
                    <a:pt x="317284" y="1549"/>
                  </a:lnTo>
                  <a:lnTo>
                    <a:pt x="317360" y="1765"/>
                  </a:lnTo>
                  <a:lnTo>
                    <a:pt x="317500" y="1854"/>
                  </a:lnTo>
                  <a:lnTo>
                    <a:pt x="317665" y="1676"/>
                  </a:lnTo>
                  <a:close/>
                </a:path>
                <a:path w="333375" h="379729">
                  <a:moveTo>
                    <a:pt x="328155" y="3263"/>
                  </a:moveTo>
                  <a:lnTo>
                    <a:pt x="328104" y="3111"/>
                  </a:lnTo>
                  <a:lnTo>
                    <a:pt x="327901" y="3009"/>
                  </a:lnTo>
                  <a:lnTo>
                    <a:pt x="327799" y="3213"/>
                  </a:lnTo>
                  <a:lnTo>
                    <a:pt x="327863" y="3365"/>
                  </a:lnTo>
                  <a:lnTo>
                    <a:pt x="328053" y="3467"/>
                  </a:lnTo>
                  <a:lnTo>
                    <a:pt x="328155" y="3263"/>
                  </a:lnTo>
                  <a:close/>
                </a:path>
                <a:path w="333375" h="379729">
                  <a:moveTo>
                    <a:pt x="333375" y="9931"/>
                  </a:moveTo>
                  <a:lnTo>
                    <a:pt x="333324" y="9334"/>
                  </a:lnTo>
                  <a:lnTo>
                    <a:pt x="333133" y="9182"/>
                  </a:lnTo>
                  <a:lnTo>
                    <a:pt x="332828" y="9232"/>
                  </a:lnTo>
                  <a:lnTo>
                    <a:pt x="332308" y="9321"/>
                  </a:lnTo>
                  <a:lnTo>
                    <a:pt x="331724" y="9588"/>
                  </a:lnTo>
                  <a:lnTo>
                    <a:pt x="331800" y="10464"/>
                  </a:lnTo>
                  <a:lnTo>
                    <a:pt x="331558" y="10629"/>
                  </a:lnTo>
                  <a:lnTo>
                    <a:pt x="330161" y="10896"/>
                  </a:lnTo>
                  <a:lnTo>
                    <a:pt x="329793" y="11163"/>
                  </a:lnTo>
                  <a:lnTo>
                    <a:pt x="329692" y="11430"/>
                  </a:lnTo>
                  <a:lnTo>
                    <a:pt x="328396" y="11430"/>
                  </a:lnTo>
                  <a:lnTo>
                    <a:pt x="328955" y="10160"/>
                  </a:lnTo>
                  <a:lnTo>
                    <a:pt x="326402" y="10160"/>
                  </a:lnTo>
                  <a:lnTo>
                    <a:pt x="327406" y="8890"/>
                  </a:lnTo>
                  <a:lnTo>
                    <a:pt x="328993" y="7708"/>
                  </a:lnTo>
                  <a:lnTo>
                    <a:pt x="329234" y="8039"/>
                  </a:lnTo>
                  <a:lnTo>
                    <a:pt x="329336" y="8318"/>
                  </a:lnTo>
                  <a:lnTo>
                    <a:pt x="330060" y="7835"/>
                  </a:lnTo>
                  <a:lnTo>
                    <a:pt x="329971" y="7620"/>
                  </a:lnTo>
                  <a:lnTo>
                    <a:pt x="329692" y="7327"/>
                  </a:lnTo>
                  <a:lnTo>
                    <a:pt x="329501" y="7239"/>
                  </a:lnTo>
                  <a:lnTo>
                    <a:pt x="329171" y="7340"/>
                  </a:lnTo>
                  <a:lnTo>
                    <a:pt x="328968" y="7493"/>
                  </a:lnTo>
                  <a:lnTo>
                    <a:pt x="327774" y="6350"/>
                  </a:lnTo>
                  <a:lnTo>
                    <a:pt x="328993" y="6350"/>
                  </a:lnTo>
                  <a:lnTo>
                    <a:pt x="328523" y="5080"/>
                  </a:lnTo>
                  <a:lnTo>
                    <a:pt x="329044" y="3810"/>
                  </a:lnTo>
                  <a:lnTo>
                    <a:pt x="330758" y="3810"/>
                  </a:lnTo>
                  <a:lnTo>
                    <a:pt x="330454" y="2540"/>
                  </a:lnTo>
                  <a:lnTo>
                    <a:pt x="328726" y="3810"/>
                  </a:lnTo>
                  <a:lnTo>
                    <a:pt x="325678" y="3810"/>
                  </a:lnTo>
                  <a:lnTo>
                    <a:pt x="325005" y="2540"/>
                  </a:lnTo>
                  <a:lnTo>
                    <a:pt x="324713" y="2540"/>
                  </a:lnTo>
                  <a:lnTo>
                    <a:pt x="324713" y="15240"/>
                  </a:lnTo>
                  <a:lnTo>
                    <a:pt x="322973" y="15240"/>
                  </a:lnTo>
                  <a:lnTo>
                    <a:pt x="322897" y="16510"/>
                  </a:lnTo>
                  <a:lnTo>
                    <a:pt x="322478" y="16510"/>
                  </a:lnTo>
                  <a:lnTo>
                    <a:pt x="322643" y="15240"/>
                  </a:lnTo>
                  <a:lnTo>
                    <a:pt x="323316" y="13970"/>
                  </a:lnTo>
                  <a:lnTo>
                    <a:pt x="324205" y="13970"/>
                  </a:lnTo>
                  <a:lnTo>
                    <a:pt x="324713" y="15240"/>
                  </a:lnTo>
                  <a:lnTo>
                    <a:pt x="324713" y="2540"/>
                  </a:lnTo>
                  <a:lnTo>
                    <a:pt x="323291" y="2540"/>
                  </a:lnTo>
                  <a:lnTo>
                    <a:pt x="323291" y="5080"/>
                  </a:lnTo>
                  <a:lnTo>
                    <a:pt x="322872" y="5080"/>
                  </a:lnTo>
                  <a:lnTo>
                    <a:pt x="323011" y="3810"/>
                  </a:lnTo>
                  <a:lnTo>
                    <a:pt x="323253" y="3810"/>
                  </a:lnTo>
                  <a:lnTo>
                    <a:pt x="323291" y="5080"/>
                  </a:lnTo>
                  <a:lnTo>
                    <a:pt x="323291" y="2540"/>
                  </a:lnTo>
                  <a:lnTo>
                    <a:pt x="315214" y="2540"/>
                  </a:lnTo>
                  <a:lnTo>
                    <a:pt x="314248"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65" y="3810"/>
                  </a:lnTo>
                  <a:lnTo>
                    <a:pt x="296887" y="3810"/>
                  </a:lnTo>
                  <a:lnTo>
                    <a:pt x="294233" y="5080"/>
                  </a:lnTo>
                  <a:lnTo>
                    <a:pt x="292887" y="6350"/>
                  </a:lnTo>
                  <a:lnTo>
                    <a:pt x="291528" y="6350"/>
                  </a:lnTo>
                  <a:lnTo>
                    <a:pt x="288861" y="8890"/>
                  </a:lnTo>
                  <a:lnTo>
                    <a:pt x="284962" y="10160"/>
                  </a:lnTo>
                  <a:lnTo>
                    <a:pt x="282943" y="12700"/>
                  </a:lnTo>
                  <a:lnTo>
                    <a:pt x="278828" y="15240"/>
                  </a:lnTo>
                  <a:lnTo>
                    <a:pt x="276809" y="15240"/>
                  </a:lnTo>
                  <a:lnTo>
                    <a:pt x="275386" y="17780"/>
                  </a:lnTo>
                  <a:lnTo>
                    <a:pt x="274421" y="19050"/>
                  </a:lnTo>
                  <a:lnTo>
                    <a:pt x="271411" y="20320"/>
                  </a:lnTo>
                  <a:lnTo>
                    <a:pt x="269913" y="22860"/>
                  </a:lnTo>
                  <a:lnTo>
                    <a:pt x="267817" y="24130"/>
                  </a:lnTo>
                  <a:lnTo>
                    <a:pt x="265836" y="24130"/>
                  </a:lnTo>
                  <a:lnTo>
                    <a:pt x="265176" y="26670"/>
                  </a:lnTo>
                  <a:lnTo>
                    <a:pt x="264337" y="26670"/>
                  </a:lnTo>
                  <a:lnTo>
                    <a:pt x="262470" y="29210"/>
                  </a:lnTo>
                  <a:lnTo>
                    <a:pt x="261175" y="29210"/>
                  </a:lnTo>
                  <a:lnTo>
                    <a:pt x="258876" y="31750"/>
                  </a:lnTo>
                  <a:lnTo>
                    <a:pt x="256552" y="31750"/>
                  </a:lnTo>
                  <a:lnTo>
                    <a:pt x="256120" y="34290"/>
                  </a:lnTo>
                  <a:lnTo>
                    <a:pt x="254292" y="35560"/>
                  </a:lnTo>
                  <a:lnTo>
                    <a:pt x="250215" y="39370"/>
                  </a:lnTo>
                  <a:lnTo>
                    <a:pt x="248462" y="39370"/>
                  </a:lnTo>
                  <a:lnTo>
                    <a:pt x="246341" y="43180"/>
                  </a:lnTo>
                  <a:lnTo>
                    <a:pt x="244881" y="44450"/>
                  </a:lnTo>
                  <a:lnTo>
                    <a:pt x="242341" y="45720"/>
                  </a:lnTo>
                  <a:lnTo>
                    <a:pt x="241490" y="45720"/>
                  </a:lnTo>
                  <a:lnTo>
                    <a:pt x="241922" y="48260"/>
                  </a:lnTo>
                  <a:lnTo>
                    <a:pt x="238963" y="48260"/>
                  </a:lnTo>
                  <a:lnTo>
                    <a:pt x="237312" y="52070"/>
                  </a:lnTo>
                  <a:lnTo>
                    <a:pt x="234772" y="53340"/>
                  </a:lnTo>
                  <a:lnTo>
                    <a:pt x="232397" y="55880"/>
                  </a:lnTo>
                  <a:lnTo>
                    <a:pt x="231381" y="57150"/>
                  </a:lnTo>
                  <a:lnTo>
                    <a:pt x="227761" y="58420"/>
                  </a:lnTo>
                  <a:lnTo>
                    <a:pt x="227533" y="60960"/>
                  </a:lnTo>
                  <a:lnTo>
                    <a:pt x="225412" y="62230"/>
                  </a:lnTo>
                  <a:lnTo>
                    <a:pt x="225425" y="63500"/>
                  </a:lnTo>
                  <a:lnTo>
                    <a:pt x="223367" y="63500"/>
                  </a:lnTo>
                  <a:lnTo>
                    <a:pt x="222897" y="64770"/>
                  </a:lnTo>
                  <a:lnTo>
                    <a:pt x="222681" y="66040"/>
                  </a:lnTo>
                  <a:lnTo>
                    <a:pt x="221957" y="67310"/>
                  </a:lnTo>
                  <a:lnTo>
                    <a:pt x="219989" y="68580"/>
                  </a:lnTo>
                  <a:lnTo>
                    <a:pt x="218490" y="68580"/>
                  </a:lnTo>
                  <a:lnTo>
                    <a:pt x="216928" y="71120"/>
                  </a:lnTo>
                  <a:lnTo>
                    <a:pt x="215734" y="72390"/>
                  </a:lnTo>
                  <a:lnTo>
                    <a:pt x="214960" y="74930"/>
                  </a:lnTo>
                  <a:lnTo>
                    <a:pt x="214058" y="74930"/>
                  </a:lnTo>
                  <a:lnTo>
                    <a:pt x="212229" y="76200"/>
                  </a:lnTo>
                  <a:lnTo>
                    <a:pt x="210172" y="78740"/>
                  </a:lnTo>
                  <a:lnTo>
                    <a:pt x="208457" y="80010"/>
                  </a:lnTo>
                  <a:lnTo>
                    <a:pt x="207327" y="81280"/>
                  </a:lnTo>
                  <a:lnTo>
                    <a:pt x="205409" y="83820"/>
                  </a:lnTo>
                  <a:lnTo>
                    <a:pt x="204863" y="85090"/>
                  </a:lnTo>
                  <a:lnTo>
                    <a:pt x="203949" y="86360"/>
                  </a:lnTo>
                  <a:lnTo>
                    <a:pt x="201485" y="87630"/>
                  </a:lnTo>
                  <a:lnTo>
                    <a:pt x="200304" y="88900"/>
                  </a:lnTo>
                  <a:lnTo>
                    <a:pt x="199796" y="90170"/>
                  </a:lnTo>
                  <a:lnTo>
                    <a:pt x="197345" y="90170"/>
                  </a:lnTo>
                  <a:lnTo>
                    <a:pt x="197980" y="91440"/>
                  </a:lnTo>
                  <a:lnTo>
                    <a:pt x="197904" y="93980"/>
                  </a:lnTo>
                  <a:lnTo>
                    <a:pt x="195465"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84" y="116840"/>
                  </a:lnTo>
                  <a:lnTo>
                    <a:pt x="175018" y="116840"/>
                  </a:lnTo>
                  <a:lnTo>
                    <a:pt x="174904" y="120650"/>
                  </a:lnTo>
                  <a:lnTo>
                    <a:pt x="172935" y="120650"/>
                  </a:lnTo>
                  <a:lnTo>
                    <a:pt x="172935" y="139700"/>
                  </a:lnTo>
                  <a:lnTo>
                    <a:pt x="171678" y="139700"/>
                  </a:lnTo>
                  <a:lnTo>
                    <a:pt x="171729" y="138430"/>
                  </a:lnTo>
                  <a:lnTo>
                    <a:pt x="172694" y="138430"/>
                  </a:lnTo>
                  <a:lnTo>
                    <a:pt x="172935" y="139700"/>
                  </a:lnTo>
                  <a:lnTo>
                    <a:pt x="172935" y="120650"/>
                  </a:lnTo>
                  <a:lnTo>
                    <a:pt x="172046" y="120650"/>
                  </a:lnTo>
                  <a:lnTo>
                    <a:pt x="171970" y="124460"/>
                  </a:lnTo>
                  <a:lnTo>
                    <a:pt x="170726" y="125234"/>
                  </a:lnTo>
                  <a:lnTo>
                    <a:pt x="170726"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68" y="127000"/>
                  </a:lnTo>
                  <a:lnTo>
                    <a:pt x="167411" y="127000"/>
                  </a:lnTo>
                  <a:lnTo>
                    <a:pt x="167627"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16" y="149860"/>
                  </a:lnTo>
                  <a:lnTo>
                    <a:pt x="158394" y="148590"/>
                  </a:lnTo>
                  <a:lnTo>
                    <a:pt x="159270" y="148590"/>
                  </a:lnTo>
                  <a:lnTo>
                    <a:pt x="159270" y="137160"/>
                  </a:lnTo>
                  <a:lnTo>
                    <a:pt x="158838" y="137160"/>
                  </a:lnTo>
                  <a:lnTo>
                    <a:pt x="159092" y="140970"/>
                  </a:lnTo>
                  <a:lnTo>
                    <a:pt x="156210" y="140970"/>
                  </a:lnTo>
                  <a:lnTo>
                    <a:pt x="156019" y="144780"/>
                  </a:lnTo>
                  <a:lnTo>
                    <a:pt x="154787" y="146050"/>
                  </a:lnTo>
                  <a:lnTo>
                    <a:pt x="152057" y="147320"/>
                  </a:lnTo>
                  <a:lnTo>
                    <a:pt x="151790" y="148590"/>
                  </a:lnTo>
                  <a:lnTo>
                    <a:pt x="152552" y="148590"/>
                  </a:lnTo>
                  <a:lnTo>
                    <a:pt x="151968" y="149860"/>
                  </a:lnTo>
                  <a:lnTo>
                    <a:pt x="150952" y="151130"/>
                  </a:lnTo>
                  <a:lnTo>
                    <a:pt x="150825" y="151130"/>
                  </a:lnTo>
                  <a:lnTo>
                    <a:pt x="149415" y="153670"/>
                  </a:lnTo>
                  <a:lnTo>
                    <a:pt x="149758" y="154940"/>
                  </a:lnTo>
                  <a:lnTo>
                    <a:pt x="151536" y="154940"/>
                  </a:lnTo>
                  <a:lnTo>
                    <a:pt x="151130" y="153670"/>
                  </a:lnTo>
                  <a:lnTo>
                    <a:pt x="151968" y="153670"/>
                  </a:lnTo>
                  <a:lnTo>
                    <a:pt x="153047" y="153670"/>
                  </a:lnTo>
                  <a:lnTo>
                    <a:pt x="152742" y="152400"/>
                  </a:lnTo>
                  <a:lnTo>
                    <a:pt x="153746" y="152400"/>
                  </a:lnTo>
                  <a:lnTo>
                    <a:pt x="153365" y="153670"/>
                  </a:lnTo>
                  <a:lnTo>
                    <a:pt x="153123" y="154940"/>
                  </a:lnTo>
                  <a:lnTo>
                    <a:pt x="151968" y="153670"/>
                  </a:lnTo>
                  <a:lnTo>
                    <a:pt x="152692" y="154940"/>
                  </a:lnTo>
                  <a:lnTo>
                    <a:pt x="151193" y="156210"/>
                  </a:lnTo>
                  <a:lnTo>
                    <a:pt x="150291" y="157480"/>
                  </a:lnTo>
                  <a:lnTo>
                    <a:pt x="147853" y="157480"/>
                  </a:lnTo>
                  <a:lnTo>
                    <a:pt x="147777" y="156210"/>
                  </a:lnTo>
                  <a:lnTo>
                    <a:pt x="147205" y="154940"/>
                  </a:lnTo>
                  <a:lnTo>
                    <a:pt x="145478" y="154940"/>
                  </a:lnTo>
                  <a:lnTo>
                    <a:pt x="145656" y="157480"/>
                  </a:lnTo>
                  <a:lnTo>
                    <a:pt x="144691" y="157480"/>
                  </a:lnTo>
                  <a:lnTo>
                    <a:pt x="143141" y="160020"/>
                  </a:lnTo>
                  <a:lnTo>
                    <a:pt x="141478" y="160020"/>
                  </a:lnTo>
                  <a:lnTo>
                    <a:pt x="142582" y="162560"/>
                  </a:lnTo>
                  <a:lnTo>
                    <a:pt x="142354" y="162560"/>
                  </a:lnTo>
                  <a:lnTo>
                    <a:pt x="140182" y="163830"/>
                  </a:lnTo>
                  <a:lnTo>
                    <a:pt x="138709" y="166370"/>
                  </a:lnTo>
                  <a:lnTo>
                    <a:pt x="136918" y="168910"/>
                  </a:lnTo>
                  <a:lnTo>
                    <a:pt x="135966" y="170180"/>
                  </a:lnTo>
                  <a:lnTo>
                    <a:pt x="134264" y="171450"/>
                  </a:lnTo>
                  <a:lnTo>
                    <a:pt x="133235" y="171450"/>
                  </a:lnTo>
                  <a:lnTo>
                    <a:pt x="134226" y="173990"/>
                  </a:lnTo>
                  <a:lnTo>
                    <a:pt x="133273" y="175260"/>
                  </a:lnTo>
                  <a:lnTo>
                    <a:pt x="130822" y="176530"/>
                  </a:lnTo>
                  <a:lnTo>
                    <a:pt x="129857" y="179070"/>
                  </a:lnTo>
                  <a:lnTo>
                    <a:pt x="127177" y="180340"/>
                  </a:lnTo>
                  <a:lnTo>
                    <a:pt x="126936" y="180340"/>
                  </a:lnTo>
                  <a:lnTo>
                    <a:pt x="126860" y="182880"/>
                  </a:lnTo>
                  <a:lnTo>
                    <a:pt x="125831" y="185420"/>
                  </a:lnTo>
                  <a:lnTo>
                    <a:pt x="126009" y="187960"/>
                  </a:lnTo>
                  <a:lnTo>
                    <a:pt x="124574" y="187960"/>
                  </a:lnTo>
                  <a:lnTo>
                    <a:pt x="124002" y="189230"/>
                  </a:lnTo>
                  <a:lnTo>
                    <a:pt x="123215" y="187960"/>
                  </a:lnTo>
                  <a:lnTo>
                    <a:pt x="123037" y="189839"/>
                  </a:lnTo>
                  <a:lnTo>
                    <a:pt x="123037" y="269240"/>
                  </a:lnTo>
                  <a:lnTo>
                    <a:pt x="122656" y="269240"/>
                  </a:lnTo>
                  <a:lnTo>
                    <a:pt x="122872" y="267970"/>
                  </a:lnTo>
                  <a:lnTo>
                    <a:pt x="123037" y="269240"/>
                  </a:lnTo>
                  <a:lnTo>
                    <a:pt x="123037" y="189839"/>
                  </a:lnTo>
                  <a:lnTo>
                    <a:pt x="122974" y="190500"/>
                  </a:lnTo>
                  <a:lnTo>
                    <a:pt x="121780" y="190500"/>
                  </a:lnTo>
                  <a:lnTo>
                    <a:pt x="120357" y="191770"/>
                  </a:lnTo>
                  <a:lnTo>
                    <a:pt x="119684" y="191770"/>
                  </a:lnTo>
                  <a:lnTo>
                    <a:pt x="118198" y="193040"/>
                  </a:lnTo>
                  <a:lnTo>
                    <a:pt x="119761" y="193040"/>
                  </a:lnTo>
                  <a:lnTo>
                    <a:pt x="119176" y="194310"/>
                  </a:lnTo>
                  <a:lnTo>
                    <a:pt x="118033" y="195580"/>
                  </a:lnTo>
                  <a:lnTo>
                    <a:pt x="117906" y="198120"/>
                  </a:lnTo>
                  <a:lnTo>
                    <a:pt x="115481" y="198120"/>
                  </a:lnTo>
                  <a:lnTo>
                    <a:pt x="116395" y="200660"/>
                  </a:lnTo>
                  <a:lnTo>
                    <a:pt x="115392" y="200660"/>
                  </a:lnTo>
                  <a:lnTo>
                    <a:pt x="113461" y="201930"/>
                  </a:lnTo>
                  <a:lnTo>
                    <a:pt x="113017" y="203200"/>
                  </a:lnTo>
                  <a:lnTo>
                    <a:pt x="111658" y="204470"/>
                  </a:lnTo>
                  <a:lnTo>
                    <a:pt x="110871" y="205740"/>
                  </a:lnTo>
                  <a:lnTo>
                    <a:pt x="110629" y="207010"/>
                  </a:lnTo>
                  <a:lnTo>
                    <a:pt x="108127" y="207010"/>
                  </a:lnTo>
                  <a:lnTo>
                    <a:pt x="108800" y="208280"/>
                  </a:lnTo>
                  <a:lnTo>
                    <a:pt x="107721" y="210820"/>
                  </a:lnTo>
                  <a:lnTo>
                    <a:pt x="107378" y="212090"/>
                  </a:lnTo>
                  <a:lnTo>
                    <a:pt x="105460" y="212090"/>
                  </a:lnTo>
                  <a:lnTo>
                    <a:pt x="105956" y="214630"/>
                  </a:lnTo>
                  <a:lnTo>
                    <a:pt x="104559" y="215900"/>
                  </a:lnTo>
                  <a:lnTo>
                    <a:pt x="104787" y="217170"/>
                  </a:lnTo>
                  <a:lnTo>
                    <a:pt x="100660" y="217170"/>
                  </a:lnTo>
                  <a:lnTo>
                    <a:pt x="100291" y="218440"/>
                  </a:lnTo>
                  <a:lnTo>
                    <a:pt x="101028" y="222250"/>
                  </a:lnTo>
                  <a:lnTo>
                    <a:pt x="99339" y="222250"/>
                  </a:lnTo>
                  <a:lnTo>
                    <a:pt x="99415" y="226060"/>
                  </a:lnTo>
                  <a:lnTo>
                    <a:pt x="94805" y="226060"/>
                  </a:lnTo>
                  <a:lnTo>
                    <a:pt x="96164" y="228600"/>
                  </a:lnTo>
                  <a:lnTo>
                    <a:pt x="96139" y="229870"/>
                  </a:lnTo>
                  <a:lnTo>
                    <a:pt x="95402" y="229870"/>
                  </a:lnTo>
                  <a:lnTo>
                    <a:pt x="95681" y="231140"/>
                  </a:lnTo>
                  <a:lnTo>
                    <a:pt x="93281" y="230022"/>
                  </a:lnTo>
                  <a:lnTo>
                    <a:pt x="93294" y="230212"/>
                  </a:lnTo>
                  <a:lnTo>
                    <a:pt x="94170" y="231140"/>
                  </a:lnTo>
                  <a:lnTo>
                    <a:pt x="93535" y="233680"/>
                  </a:lnTo>
                  <a:lnTo>
                    <a:pt x="93294" y="230212"/>
                  </a:lnTo>
                  <a:lnTo>
                    <a:pt x="92684" y="232410"/>
                  </a:lnTo>
                  <a:lnTo>
                    <a:pt x="92811" y="232410"/>
                  </a:lnTo>
                  <a:lnTo>
                    <a:pt x="93472"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92" y="248920"/>
                  </a:lnTo>
                  <a:lnTo>
                    <a:pt x="82804" y="251460"/>
                  </a:lnTo>
                  <a:lnTo>
                    <a:pt x="81267" y="251460"/>
                  </a:lnTo>
                  <a:lnTo>
                    <a:pt x="81241" y="251193"/>
                  </a:lnTo>
                  <a:lnTo>
                    <a:pt x="80835" y="251028"/>
                  </a:lnTo>
                  <a:lnTo>
                    <a:pt x="80835" y="251155"/>
                  </a:lnTo>
                  <a:lnTo>
                    <a:pt x="80797" y="251307"/>
                  </a:lnTo>
                  <a:lnTo>
                    <a:pt x="80962" y="251650"/>
                  </a:lnTo>
                  <a:lnTo>
                    <a:pt x="81153" y="251637"/>
                  </a:lnTo>
                  <a:lnTo>
                    <a:pt x="80645" y="254000"/>
                  </a:lnTo>
                  <a:lnTo>
                    <a:pt x="79502" y="252730"/>
                  </a:lnTo>
                  <a:lnTo>
                    <a:pt x="79489" y="254000"/>
                  </a:lnTo>
                  <a:lnTo>
                    <a:pt x="77317" y="255270"/>
                  </a:lnTo>
                  <a:lnTo>
                    <a:pt x="79019" y="256540"/>
                  </a:lnTo>
                  <a:lnTo>
                    <a:pt x="78879" y="256540"/>
                  </a:lnTo>
                  <a:lnTo>
                    <a:pt x="77470" y="257810"/>
                  </a:lnTo>
                  <a:lnTo>
                    <a:pt x="76771" y="259080"/>
                  </a:lnTo>
                  <a:lnTo>
                    <a:pt x="76288" y="261620"/>
                  </a:lnTo>
                  <a:lnTo>
                    <a:pt x="74790" y="261620"/>
                  </a:lnTo>
                  <a:lnTo>
                    <a:pt x="74510" y="262890"/>
                  </a:lnTo>
                  <a:lnTo>
                    <a:pt x="72936" y="265430"/>
                  </a:lnTo>
                  <a:lnTo>
                    <a:pt x="72453" y="266700"/>
                  </a:lnTo>
                  <a:lnTo>
                    <a:pt x="69494" y="269240"/>
                  </a:lnTo>
                  <a:lnTo>
                    <a:pt x="69519" y="271780"/>
                  </a:lnTo>
                  <a:lnTo>
                    <a:pt x="69138" y="270510"/>
                  </a:lnTo>
                  <a:lnTo>
                    <a:pt x="67894" y="273050"/>
                  </a:lnTo>
                  <a:lnTo>
                    <a:pt x="67398"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303" y="276860"/>
                  </a:lnTo>
                  <a:lnTo>
                    <a:pt x="65443" y="278130"/>
                  </a:lnTo>
                  <a:lnTo>
                    <a:pt x="64033" y="279400"/>
                  </a:lnTo>
                  <a:lnTo>
                    <a:pt x="64617" y="281940"/>
                  </a:lnTo>
                  <a:lnTo>
                    <a:pt x="64312" y="281940"/>
                  </a:lnTo>
                  <a:lnTo>
                    <a:pt x="62115" y="280670"/>
                  </a:lnTo>
                  <a:lnTo>
                    <a:pt x="60312" y="283210"/>
                  </a:lnTo>
                  <a:lnTo>
                    <a:pt x="61810" y="285750"/>
                  </a:lnTo>
                  <a:lnTo>
                    <a:pt x="60210" y="287020"/>
                  </a:lnTo>
                  <a:lnTo>
                    <a:pt x="60223" y="288290"/>
                  </a:lnTo>
                  <a:lnTo>
                    <a:pt x="59550" y="288290"/>
                  </a:lnTo>
                  <a:lnTo>
                    <a:pt x="58153" y="289560"/>
                  </a:lnTo>
                  <a:lnTo>
                    <a:pt x="57950" y="289560"/>
                  </a:lnTo>
                  <a:lnTo>
                    <a:pt x="58229" y="290830"/>
                  </a:lnTo>
                  <a:lnTo>
                    <a:pt x="58635" y="292100"/>
                  </a:lnTo>
                  <a:lnTo>
                    <a:pt x="56959" y="292100"/>
                  </a:lnTo>
                  <a:lnTo>
                    <a:pt x="56845" y="292519"/>
                  </a:lnTo>
                  <a:lnTo>
                    <a:pt x="56845" y="370840"/>
                  </a:lnTo>
                  <a:lnTo>
                    <a:pt x="56781" y="372110"/>
                  </a:lnTo>
                  <a:lnTo>
                    <a:pt x="55626" y="372110"/>
                  </a:lnTo>
                  <a:lnTo>
                    <a:pt x="54876" y="373380"/>
                  </a:lnTo>
                  <a:lnTo>
                    <a:pt x="53924" y="374650"/>
                  </a:lnTo>
                  <a:lnTo>
                    <a:pt x="52730" y="374650"/>
                  </a:lnTo>
                  <a:lnTo>
                    <a:pt x="52400" y="375920"/>
                  </a:lnTo>
                  <a:lnTo>
                    <a:pt x="51269" y="375920"/>
                  </a:lnTo>
                  <a:lnTo>
                    <a:pt x="51523" y="374650"/>
                  </a:lnTo>
                  <a:lnTo>
                    <a:pt x="50723" y="374650"/>
                  </a:lnTo>
                  <a:lnTo>
                    <a:pt x="51358" y="373380"/>
                  </a:lnTo>
                  <a:lnTo>
                    <a:pt x="51790" y="372110"/>
                  </a:lnTo>
                  <a:lnTo>
                    <a:pt x="52057" y="373380"/>
                  </a:lnTo>
                  <a:lnTo>
                    <a:pt x="53251" y="373380"/>
                  </a:lnTo>
                  <a:lnTo>
                    <a:pt x="53543" y="372110"/>
                  </a:lnTo>
                  <a:lnTo>
                    <a:pt x="53403" y="372110"/>
                  </a:lnTo>
                  <a:lnTo>
                    <a:pt x="53454" y="370840"/>
                  </a:lnTo>
                  <a:lnTo>
                    <a:pt x="53644" y="370840"/>
                  </a:lnTo>
                  <a:lnTo>
                    <a:pt x="53682" y="372084"/>
                  </a:lnTo>
                  <a:lnTo>
                    <a:pt x="54851" y="370840"/>
                  </a:lnTo>
                  <a:lnTo>
                    <a:pt x="56845" y="370840"/>
                  </a:lnTo>
                  <a:lnTo>
                    <a:pt x="56845" y="292519"/>
                  </a:lnTo>
                  <a:lnTo>
                    <a:pt x="56603" y="293370"/>
                  </a:lnTo>
                  <a:lnTo>
                    <a:pt x="56807" y="294640"/>
                  </a:lnTo>
                  <a:lnTo>
                    <a:pt x="55499" y="294640"/>
                  </a:lnTo>
                  <a:lnTo>
                    <a:pt x="55587" y="295440"/>
                  </a:lnTo>
                  <a:lnTo>
                    <a:pt x="55791" y="295910"/>
                  </a:lnTo>
                  <a:lnTo>
                    <a:pt x="55651" y="295910"/>
                  </a:lnTo>
                  <a:lnTo>
                    <a:pt x="55562" y="295363"/>
                  </a:lnTo>
                  <a:lnTo>
                    <a:pt x="55257" y="294640"/>
                  </a:lnTo>
                  <a:lnTo>
                    <a:pt x="55587" y="295910"/>
                  </a:lnTo>
                  <a:lnTo>
                    <a:pt x="55232" y="295440"/>
                  </a:lnTo>
                  <a:lnTo>
                    <a:pt x="55105" y="295211"/>
                  </a:lnTo>
                  <a:lnTo>
                    <a:pt x="54940" y="294982"/>
                  </a:lnTo>
                  <a:lnTo>
                    <a:pt x="55143" y="295910"/>
                  </a:lnTo>
                  <a:lnTo>
                    <a:pt x="55587" y="298450"/>
                  </a:lnTo>
                  <a:lnTo>
                    <a:pt x="54051" y="294703"/>
                  </a:lnTo>
                  <a:lnTo>
                    <a:pt x="54140" y="295262"/>
                  </a:lnTo>
                  <a:lnTo>
                    <a:pt x="54076" y="295109"/>
                  </a:lnTo>
                  <a:lnTo>
                    <a:pt x="53886" y="294767"/>
                  </a:lnTo>
                  <a:lnTo>
                    <a:pt x="53975" y="295033"/>
                  </a:lnTo>
                  <a:lnTo>
                    <a:pt x="54076" y="295224"/>
                  </a:lnTo>
                  <a:lnTo>
                    <a:pt x="54457" y="297180"/>
                  </a:lnTo>
                  <a:lnTo>
                    <a:pt x="53911" y="295910"/>
                  </a:lnTo>
                  <a:lnTo>
                    <a:pt x="54025" y="297180"/>
                  </a:lnTo>
                  <a:lnTo>
                    <a:pt x="53530" y="295910"/>
                  </a:lnTo>
                  <a:lnTo>
                    <a:pt x="53860" y="297180"/>
                  </a:lnTo>
                  <a:lnTo>
                    <a:pt x="53594" y="297180"/>
                  </a:lnTo>
                  <a:lnTo>
                    <a:pt x="53886" y="298450"/>
                  </a:lnTo>
                  <a:lnTo>
                    <a:pt x="53860" y="299720"/>
                  </a:lnTo>
                  <a:lnTo>
                    <a:pt x="53530" y="297688"/>
                  </a:lnTo>
                  <a:lnTo>
                    <a:pt x="53594" y="300990"/>
                  </a:lnTo>
                  <a:lnTo>
                    <a:pt x="53467" y="299720"/>
                  </a:lnTo>
                  <a:lnTo>
                    <a:pt x="53200" y="297459"/>
                  </a:lnTo>
                  <a:lnTo>
                    <a:pt x="53238" y="299720"/>
                  </a:lnTo>
                  <a:lnTo>
                    <a:pt x="53035" y="295363"/>
                  </a:lnTo>
                  <a:lnTo>
                    <a:pt x="52844" y="299720"/>
                  </a:lnTo>
                  <a:lnTo>
                    <a:pt x="52844" y="297180"/>
                  </a:lnTo>
                  <a:lnTo>
                    <a:pt x="52793" y="298450"/>
                  </a:lnTo>
                  <a:lnTo>
                    <a:pt x="52679" y="299720"/>
                  </a:lnTo>
                  <a:lnTo>
                    <a:pt x="52527" y="299720"/>
                  </a:lnTo>
                  <a:lnTo>
                    <a:pt x="52679" y="297180"/>
                  </a:lnTo>
                  <a:lnTo>
                    <a:pt x="52336" y="299720"/>
                  </a:lnTo>
                  <a:lnTo>
                    <a:pt x="52006" y="298450"/>
                  </a:lnTo>
                  <a:lnTo>
                    <a:pt x="51638" y="298450"/>
                  </a:lnTo>
                  <a:lnTo>
                    <a:pt x="51409" y="297180"/>
                  </a:lnTo>
                  <a:lnTo>
                    <a:pt x="51714" y="297180"/>
                  </a:lnTo>
                  <a:lnTo>
                    <a:pt x="52717" y="295910"/>
                  </a:lnTo>
                  <a:lnTo>
                    <a:pt x="52501" y="295910"/>
                  </a:lnTo>
                  <a:lnTo>
                    <a:pt x="51879" y="294640"/>
                  </a:lnTo>
                  <a:lnTo>
                    <a:pt x="51460" y="294640"/>
                  </a:lnTo>
                  <a:lnTo>
                    <a:pt x="50990"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84"/>
                  </a:lnTo>
                  <a:lnTo>
                    <a:pt x="50393" y="299720"/>
                  </a:lnTo>
                  <a:lnTo>
                    <a:pt x="50025" y="299720"/>
                  </a:lnTo>
                  <a:lnTo>
                    <a:pt x="50279" y="298450"/>
                  </a:lnTo>
                  <a:lnTo>
                    <a:pt x="50393" y="299720"/>
                  </a:lnTo>
                  <a:lnTo>
                    <a:pt x="50393" y="291884"/>
                  </a:lnTo>
                  <a:lnTo>
                    <a:pt x="50101" y="290830"/>
                  </a:lnTo>
                  <a:lnTo>
                    <a:pt x="51015" y="289560"/>
                  </a:lnTo>
                  <a:lnTo>
                    <a:pt x="50063" y="287020"/>
                  </a:lnTo>
                  <a:lnTo>
                    <a:pt x="51320" y="287020"/>
                  </a:lnTo>
                  <a:lnTo>
                    <a:pt x="51155" y="285750"/>
                  </a:lnTo>
                  <a:lnTo>
                    <a:pt x="51422" y="285750"/>
                  </a:lnTo>
                  <a:lnTo>
                    <a:pt x="50444" y="284480"/>
                  </a:lnTo>
                  <a:lnTo>
                    <a:pt x="49784" y="283210"/>
                  </a:lnTo>
                  <a:lnTo>
                    <a:pt x="49288" y="283210"/>
                  </a:lnTo>
                  <a:lnTo>
                    <a:pt x="50342" y="281940"/>
                  </a:lnTo>
                  <a:lnTo>
                    <a:pt x="50203" y="280670"/>
                  </a:lnTo>
                  <a:lnTo>
                    <a:pt x="48869" y="279400"/>
                  </a:lnTo>
                  <a:lnTo>
                    <a:pt x="48590" y="278130"/>
                  </a:lnTo>
                  <a:lnTo>
                    <a:pt x="49885" y="276860"/>
                  </a:lnTo>
                  <a:lnTo>
                    <a:pt x="49085" y="275590"/>
                  </a:lnTo>
                  <a:lnTo>
                    <a:pt x="48856" y="273050"/>
                  </a:lnTo>
                  <a:lnTo>
                    <a:pt x="48539" y="273050"/>
                  </a:lnTo>
                  <a:lnTo>
                    <a:pt x="47307" y="270510"/>
                  </a:lnTo>
                  <a:lnTo>
                    <a:pt x="47231" y="269240"/>
                  </a:lnTo>
                  <a:lnTo>
                    <a:pt x="49047" y="269240"/>
                  </a:lnTo>
                  <a:lnTo>
                    <a:pt x="48653" y="267970"/>
                  </a:lnTo>
                  <a:lnTo>
                    <a:pt x="47929" y="265430"/>
                  </a:lnTo>
                  <a:lnTo>
                    <a:pt x="45885" y="264160"/>
                  </a:lnTo>
                  <a:lnTo>
                    <a:pt x="47739" y="264160"/>
                  </a:lnTo>
                  <a:lnTo>
                    <a:pt x="48044" y="262890"/>
                  </a:lnTo>
                  <a:lnTo>
                    <a:pt x="48348" y="261620"/>
                  </a:lnTo>
                  <a:lnTo>
                    <a:pt x="47028" y="261620"/>
                  </a:lnTo>
                  <a:lnTo>
                    <a:pt x="47879" y="260350"/>
                  </a:lnTo>
                  <a:lnTo>
                    <a:pt x="46634" y="257810"/>
                  </a:lnTo>
                  <a:lnTo>
                    <a:pt x="45643" y="256641"/>
                  </a:lnTo>
                  <a:lnTo>
                    <a:pt x="45643" y="264160"/>
                  </a:lnTo>
                  <a:lnTo>
                    <a:pt x="45059" y="264160"/>
                  </a:lnTo>
                  <a:lnTo>
                    <a:pt x="44627" y="262991"/>
                  </a:lnTo>
                  <a:lnTo>
                    <a:pt x="44615" y="265430"/>
                  </a:lnTo>
                  <a:lnTo>
                    <a:pt x="44157" y="265430"/>
                  </a:lnTo>
                  <a:lnTo>
                    <a:pt x="43662" y="264160"/>
                  </a:lnTo>
                  <a:lnTo>
                    <a:pt x="43116" y="264160"/>
                  </a:lnTo>
                  <a:lnTo>
                    <a:pt x="44577" y="263029"/>
                  </a:lnTo>
                  <a:lnTo>
                    <a:pt x="44589" y="262890"/>
                  </a:lnTo>
                  <a:lnTo>
                    <a:pt x="44754" y="262890"/>
                  </a:lnTo>
                  <a:lnTo>
                    <a:pt x="45529" y="262890"/>
                  </a:lnTo>
                  <a:lnTo>
                    <a:pt x="45643" y="264160"/>
                  </a:lnTo>
                  <a:lnTo>
                    <a:pt x="45643" y="256641"/>
                  </a:lnTo>
                  <a:lnTo>
                    <a:pt x="46761" y="255270"/>
                  </a:lnTo>
                  <a:lnTo>
                    <a:pt x="46520" y="254000"/>
                  </a:lnTo>
                  <a:lnTo>
                    <a:pt x="46926" y="254000"/>
                  </a:lnTo>
                  <a:lnTo>
                    <a:pt x="46050" y="251460"/>
                  </a:lnTo>
                  <a:lnTo>
                    <a:pt x="44958" y="250190"/>
                  </a:lnTo>
                  <a:lnTo>
                    <a:pt x="44958" y="248920"/>
                  </a:lnTo>
                  <a:lnTo>
                    <a:pt x="46024" y="248920"/>
                  </a:lnTo>
                  <a:lnTo>
                    <a:pt x="46596"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30" y="351790"/>
                  </a:lnTo>
                  <a:lnTo>
                    <a:pt x="13512" y="353060"/>
                  </a:lnTo>
                  <a:lnTo>
                    <a:pt x="13423"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40" y="246380"/>
                  </a:lnTo>
                  <a:lnTo>
                    <a:pt x="5740" y="247650"/>
                  </a:lnTo>
                  <a:lnTo>
                    <a:pt x="5664" y="248348"/>
                  </a:lnTo>
                  <a:lnTo>
                    <a:pt x="5664" y="283210"/>
                  </a:lnTo>
                  <a:lnTo>
                    <a:pt x="5499" y="284480"/>
                  </a:lnTo>
                  <a:lnTo>
                    <a:pt x="5207" y="284480"/>
                  </a:lnTo>
                  <a:lnTo>
                    <a:pt x="5118" y="283210"/>
                  </a:lnTo>
                  <a:lnTo>
                    <a:pt x="5664" y="283210"/>
                  </a:lnTo>
                  <a:lnTo>
                    <a:pt x="5664" y="248348"/>
                  </a:lnTo>
                  <a:lnTo>
                    <a:pt x="5600" y="248920"/>
                  </a:lnTo>
                  <a:lnTo>
                    <a:pt x="4203" y="248920"/>
                  </a:lnTo>
                  <a:lnTo>
                    <a:pt x="4102" y="247650"/>
                  </a:lnTo>
                  <a:lnTo>
                    <a:pt x="5740" y="247650"/>
                  </a:lnTo>
                  <a:lnTo>
                    <a:pt x="5740" y="246380"/>
                  </a:lnTo>
                  <a:lnTo>
                    <a:pt x="3048" y="246380"/>
                  </a:lnTo>
                  <a:lnTo>
                    <a:pt x="3225" y="247650"/>
                  </a:lnTo>
                  <a:lnTo>
                    <a:pt x="2755" y="247650"/>
                  </a:lnTo>
                  <a:lnTo>
                    <a:pt x="2273" y="247650"/>
                  </a:lnTo>
                  <a:lnTo>
                    <a:pt x="1333" y="248920"/>
                  </a:lnTo>
                  <a:lnTo>
                    <a:pt x="2730" y="252730"/>
                  </a:lnTo>
                  <a:lnTo>
                    <a:pt x="2019" y="254000"/>
                  </a:lnTo>
                  <a:lnTo>
                    <a:pt x="2578" y="256540"/>
                  </a:lnTo>
                  <a:lnTo>
                    <a:pt x="1549" y="256540"/>
                  </a:lnTo>
                  <a:lnTo>
                    <a:pt x="2362" y="257810"/>
                  </a:lnTo>
                  <a:lnTo>
                    <a:pt x="3263" y="257810"/>
                  </a:lnTo>
                  <a:lnTo>
                    <a:pt x="3365" y="259080"/>
                  </a:lnTo>
                  <a:lnTo>
                    <a:pt x="2438" y="259080"/>
                  </a:lnTo>
                  <a:lnTo>
                    <a:pt x="2997" y="262890"/>
                  </a:lnTo>
                  <a:lnTo>
                    <a:pt x="0" y="264160"/>
                  </a:lnTo>
                  <a:lnTo>
                    <a:pt x="88" y="265430"/>
                  </a:lnTo>
                  <a:lnTo>
                    <a:pt x="1028" y="265430"/>
                  </a:lnTo>
                  <a:lnTo>
                    <a:pt x="1587" y="266700"/>
                  </a:lnTo>
                  <a:lnTo>
                    <a:pt x="2565" y="265430"/>
                  </a:lnTo>
                  <a:lnTo>
                    <a:pt x="2870" y="265430"/>
                  </a:lnTo>
                  <a:lnTo>
                    <a:pt x="3213" y="266700"/>
                  </a:lnTo>
                  <a:lnTo>
                    <a:pt x="1587" y="266700"/>
                  </a:lnTo>
                  <a:lnTo>
                    <a:pt x="1295" y="266700"/>
                  </a:lnTo>
                  <a:lnTo>
                    <a:pt x="2667" y="269240"/>
                  </a:lnTo>
                  <a:lnTo>
                    <a:pt x="2006"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54" y="283210"/>
                  </a:lnTo>
                  <a:lnTo>
                    <a:pt x="1168" y="287020"/>
                  </a:lnTo>
                  <a:lnTo>
                    <a:pt x="1638" y="288290"/>
                  </a:lnTo>
                  <a:lnTo>
                    <a:pt x="3263" y="289560"/>
                  </a:lnTo>
                  <a:lnTo>
                    <a:pt x="3505" y="290830"/>
                  </a:lnTo>
                  <a:lnTo>
                    <a:pt x="2095" y="292100"/>
                  </a:lnTo>
                  <a:lnTo>
                    <a:pt x="3175" y="293370"/>
                  </a:lnTo>
                  <a:lnTo>
                    <a:pt x="2095" y="295910"/>
                  </a:lnTo>
                  <a:lnTo>
                    <a:pt x="2222" y="297180"/>
                  </a:lnTo>
                  <a:lnTo>
                    <a:pt x="3327" y="300990"/>
                  </a:lnTo>
                  <a:lnTo>
                    <a:pt x="4152" y="306070"/>
                  </a:lnTo>
                  <a:lnTo>
                    <a:pt x="3987" y="309880"/>
                  </a:lnTo>
                  <a:lnTo>
                    <a:pt x="4559" y="312420"/>
                  </a:lnTo>
                  <a:lnTo>
                    <a:pt x="5245" y="314960"/>
                  </a:lnTo>
                  <a:lnTo>
                    <a:pt x="5130" y="318770"/>
                  </a:lnTo>
                  <a:lnTo>
                    <a:pt x="6629" y="321310"/>
                  </a:lnTo>
                  <a:lnTo>
                    <a:pt x="6667" y="322580"/>
                  </a:lnTo>
                  <a:lnTo>
                    <a:pt x="6540" y="325120"/>
                  </a:lnTo>
                  <a:lnTo>
                    <a:pt x="6477" y="328930"/>
                  </a:lnTo>
                  <a:lnTo>
                    <a:pt x="7239" y="330200"/>
                  </a:lnTo>
                  <a:lnTo>
                    <a:pt x="6781" y="331470"/>
                  </a:lnTo>
                  <a:lnTo>
                    <a:pt x="7010" y="332740"/>
                  </a:lnTo>
                  <a:lnTo>
                    <a:pt x="7823" y="334010"/>
                  </a:lnTo>
                  <a:lnTo>
                    <a:pt x="10147" y="339090"/>
                  </a:lnTo>
                  <a:lnTo>
                    <a:pt x="10337" y="340360"/>
                  </a:lnTo>
                  <a:lnTo>
                    <a:pt x="9398" y="344170"/>
                  </a:lnTo>
                  <a:lnTo>
                    <a:pt x="9144" y="345440"/>
                  </a:lnTo>
                  <a:lnTo>
                    <a:pt x="8839" y="345440"/>
                  </a:lnTo>
                  <a:lnTo>
                    <a:pt x="8788" y="346710"/>
                  </a:lnTo>
                  <a:lnTo>
                    <a:pt x="9563" y="347980"/>
                  </a:lnTo>
                  <a:lnTo>
                    <a:pt x="10236" y="347980"/>
                  </a:lnTo>
                  <a:lnTo>
                    <a:pt x="11747" y="346710"/>
                  </a:lnTo>
                  <a:lnTo>
                    <a:pt x="11747" y="347980"/>
                  </a:lnTo>
                  <a:lnTo>
                    <a:pt x="11404" y="350520"/>
                  </a:lnTo>
                  <a:lnTo>
                    <a:pt x="10960" y="351790"/>
                  </a:lnTo>
                  <a:lnTo>
                    <a:pt x="12712" y="354330"/>
                  </a:lnTo>
                  <a:lnTo>
                    <a:pt x="12941" y="355600"/>
                  </a:lnTo>
                  <a:lnTo>
                    <a:pt x="13449" y="356870"/>
                  </a:lnTo>
                  <a:lnTo>
                    <a:pt x="13639" y="358140"/>
                  </a:lnTo>
                  <a:lnTo>
                    <a:pt x="14986" y="358140"/>
                  </a:lnTo>
                  <a:lnTo>
                    <a:pt x="14986" y="359410"/>
                  </a:lnTo>
                  <a:lnTo>
                    <a:pt x="15760" y="360680"/>
                  </a:lnTo>
                  <a:lnTo>
                    <a:pt x="16802" y="361950"/>
                  </a:lnTo>
                  <a:lnTo>
                    <a:pt x="18415" y="363220"/>
                  </a:lnTo>
                  <a:lnTo>
                    <a:pt x="18897"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46" y="373380"/>
                  </a:lnTo>
                  <a:lnTo>
                    <a:pt x="25260" y="374650"/>
                  </a:lnTo>
                  <a:lnTo>
                    <a:pt x="27178" y="374650"/>
                  </a:lnTo>
                  <a:lnTo>
                    <a:pt x="28409" y="375920"/>
                  </a:lnTo>
                  <a:lnTo>
                    <a:pt x="29603" y="373380"/>
                  </a:lnTo>
                  <a:lnTo>
                    <a:pt x="29921" y="373380"/>
                  </a:lnTo>
                  <a:lnTo>
                    <a:pt x="30594" y="374650"/>
                  </a:lnTo>
                  <a:lnTo>
                    <a:pt x="30137" y="375920"/>
                  </a:lnTo>
                  <a:lnTo>
                    <a:pt x="31013" y="377190"/>
                  </a:lnTo>
                  <a:lnTo>
                    <a:pt x="33909" y="377190"/>
                  </a:lnTo>
                  <a:lnTo>
                    <a:pt x="34925" y="378460"/>
                  </a:lnTo>
                  <a:lnTo>
                    <a:pt x="35560" y="378460"/>
                  </a:lnTo>
                  <a:lnTo>
                    <a:pt x="36360" y="379730"/>
                  </a:lnTo>
                  <a:lnTo>
                    <a:pt x="40640" y="379730"/>
                  </a:lnTo>
                  <a:lnTo>
                    <a:pt x="40474" y="378460"/>
                  </a:lnTo>
                  <a:lnTo>
                    <a:pt x="41211" y="377266"/>
                  </a:lnTo>
                  <a:lnTo>
                    <a:pt x="42468" y="378460"/>
                  </a:lnTo>
                  <a:lnTo>
                    <a:pt x="45453" y="378460"/>
                  </a:lnTo>
                  <a:lnTo>
                    <a:pt x="45097" y="377190"/>
                  </a:lnTo>
                  <a:lnTo>
                    <a:pt x="46101" y="377190"/>
                  </a:lnTo>
                  <a:lnTo>
                    <a:pt x="46355" y="378460"/>
                  </a:lnTo>
                  <a:lnTo>
                    <a:pt x="46228" y="379730"/>
                  </a:lnTo>
                  <a:lnTo>
                    <a:pt x="48539" y="378460"/>
                  </a:lnTo>
                  <a:lnTo>
                    <a:pt x="49707" y="378460"/>
                  </a:lnTo>
                  <a:lnTo>
                    <a:pt x="51422" y="377190"/>
                  </a:lnTo>
                  <a:lnTo>
                    <a:pt x="55549" y="377190"/>
                  </a:lnTo>
                  <a:lnTo>
                    <a:pt x="56807" y="373380"/>
                  </a:lnTo>
                  <a:lnTo>
                    <a:pt x="59245" y="370840"/>
                  </a:lnTo>
                  <a:lnTo>
                    <a:pt x="61137" y="372110"/>
                  </a:lnTo>
                  <a:lnTo>
                    <a:pt x="61429" y="370840"/>
                  </a:lnTo>
                  <a:lnTo>
                    <a:pt x="62268" y="369570"/>
                  </a:lnTo>
                  <a:lnTo>
                    <a:pt x="62738"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92" y="356870"/>
                  </a:lnTo>
                  <a:lnTo>
                    <a:pt x="76200" y="355600"/>
                  </a:lnTo>
                  <a:lnTo>
                    <a:pt x="76492" y="355600"/>
                  </a:lnTo>
                  <a:lnTo>
                    <a:pt x="76987" y="354330"/>
                  </a:lnTo>
                  <a:lnTo>
                    <a:pt x="77635" y="353060"/>
                  </a:lnTo>
                  <a:lnTo>
                    <a:pt x="78943" y="350520"/>
                  </a:lnTo>
                  <a:lnTo>
                    <a:pt x="79908" y="349250"/>
                  </a:lnTo>
                  <a:lnTo>
                    <a:pt x="80302" y="346710"/>
                  </a:lnTo>
                  <a:lnTo>
                    <a:pt x="81153" y="346710"/>
                  </a:lnTo>
                  <a:lnTo>
                    <a:pt x="81457" y="347980"/>
                  </a:lnTo>
                  <a:lnTo>
                    <a:pt x="81978" y="346710"/>
                  </a:lnTo>
                  <a:lnTo>
                    <a:pt x="82511" y="345440"/>
                  </a:lnTo>
                  <a:lnTo>
                    <a:pt x="82791" y="344170"/>
                  </a:lnTo>
                  <a:lnTo>
                    <a:pt x="84340" y="345440"/>
                  </a:lnTo>
                  <a:lnTo>
                    <a:pt x="84378" y="344170"/>
                  </a:lnTo>
                  <a:lnTo>
                    <a:pt x="84467" y="341630"/>
                  </a:lnTo>
                  <a:lnTo>
                    <a:pt x="85026" y="339090"/>
                  </a:lnTo>
                  <a:lnTo>
                    <a:pt x="87172" y="339090"/>
                  </a:lnTo>
                  <a:lnTo>
                    <a:pt x="88506" y="335280"/>
                  </a:lnTo>
                  <a:lnTo>
                    <a:pt x="90208" y="335280"/>
                  </a:lnTo>
                  <a:lnTo>
                    <a:pt x="90208" y="332740"/>
                  </a:lnTo>
                  <a:lnTo>
                    <a:pt x="90881" y="331470"/>
                  </a:lnTo>
                  <a:lnTo>
                    <a:pt x="92748" y="328930"/>
                  </a:lnTo>
                  <a:lnTo>
                    <a:pt x="93395" y="327660"/>
                  </a:lnTo>
                  <a:lnTo>
                    <a:pt x="93624" y="327660"/>
                  </a:lnTo>
                  <a:lnTo>
                    <a:pt x="93662" y="326390"/>
                  </a:lnTo>
                  <a:lnTo>
                    <a:pt x="94259" y="326390"/>
                  </a:lnTo>
                  <a:lnTo>
                    <a:pt x="94818" y="325120"/>
                  </a:lnTo>
                  <a:lnTo>
                    <a:pt x="95338" y="323850"/>
                  </a:lnTo>
                  <a:lnTo>
                    <a:pt x="96253" y="322580"/>
                  </a:lnTo>
                  <a:lnTo>
                    <a:pt x="97015" y="322580"/>
                  </a:lnTo>
                  <a:lnTo>
                    <a:pt x="96761" y="321310"/>
                  </a:lnTo>
                  <a:lnTo>
                    <a:pt x="97116" y="320040"/>
                  </a:lnTo>
                  <a:lnTo>
                    <a:pt x="99250" y="317500"/>
                  </a:lnTo>
                  <a:lnTo>
                    <a:pt x="99796" y="316230"/>
                  </a:lnTo>
                  <a:lnTo>
                    <a:pt x="100342" y="314960"/>
                  </a:lnTo>
                  <a:lnTo>
                    <a:pt x="100876" y="313690"/>
                  </a:lnTo>
                  <a:lnTo>
                    <a:pt x="101003"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78" y="304800"/>
                  </a:lnTo>
                  <a:lnTo>
                    <a:pt x="107137" y="303530"/>
                  </a:lnTo>
                  <a:lnTo>
                    <a:pt x="107022" y="302260"/>
                  </a:lnTo>
                  <a:lnTo>
                    <a:pt x="107442"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52" y="294640"/>
                  </a:lnTo>
                  <a:lnTo>
                    <a:pt x="113004" y="294640"/>
                  </a:lnTo>
                  <a:lnTo>
                    <a:pt x="112864" y="293370"/>
                  </a:lnTo>
                  <a:lnTo>
                    <a:pt x="113169" y="293370"/>
                  </a:lnTo>
                  <a:lnTo>
                    <a:pt x="113093" y="292874"/>
                  </a:lnTo>
                  <a:lnTo>
                    <a:pt x="113030" y="290830"/>
                  </a:lnTo>
                  <a:lnTo>
                    <a:pt x="114160" y="290830"/>
                  </a:lnTo>
                  <a:lnTo>
                    <a:pt x="115874" y="289560"/>
                  </a:lnTo>
                  <a:lnTo>
                    <a:pt x="115392" y="289560"/>
                  </a:lnTo>
                  <a:lnTo>
                    <a:pt x="115062" y="288290"/>
                  </a:lnTo>
                  <a:lnTo>
                    <a:pt x="115023" y="287020"/>
                  </a:lnTo>
                  <a:lnTo>
                    <a:pt x="115201" y="287020"/>
                  </a:lnTo>
                  <a:lnTo>
                    <a:pt x="115379" y="288290"/>
                  </a:lnTo>
                  <a:lnTo>
                    <a:pt x="116357" y="288290"/>
                  </a:lnTo>
                  <a:lnTo>
                    <a:pt x="116217" y="287020"/>
                  </a:lnTo>
                  <a:lnTo>
                    <a:pt x="116916" y="287020"/>
                  </a:lnTo>
                  <a:lnTo>
                    <a:pt x="116547" y="285750"/>
                  </a:lnTo>
                  <a:lnTo>
                    <a:pt x="117906" y="285750"/>
                  </a:lnTo>
                  <a:lnTo>
                    <a:pt x="118681" y="284480"/>
                  </a:lnTo>
                  <a:lnTo>
                    <a:pt x="118198" y="284480"/>
                  </a:lnTo>
                  <a:lnTo>
                    <a:pt x="118148" y="284314"/>
                  </a:lnTo>
                  <a:lnTo>
                    <a:pt x="117754" y="283210"/>
                  </a:lnTo>
                  <a:lnTo>
                    <a:pt x="118313" y="283210"/>
                  </a:lnTo>
                  <a:lnTo>
                    <a:pt x="118148" y="284314"/>
                  </a:lnTo>
                  <a:lnTo>
                    <a:pt x="118948" y="283210"/>
                  </a:lnTo>
                  <a:lnTo>
                    <a:pt x="119100" y="283210"/>
                  </a:lnTo>
                  <a:lnTo>
                    <a:pt x="119075" y="281940"/>
                  </a:lnTo>
                  <a:lnTo>
                    <a:pt x="120611" y="281940"/>
                  </a:lnTo>
                  <a:lnTo>
                    <a:pt x="120980" y="280670"/>
                  </a:lnTo>
                  <a:lnTo>
                    <a:pt x="122161" y="280670"/>
                  </a:lnTo>
                  <a:lnTo>
                    <a:pt x="122021" y="279400"/>
                  </a:lnTo>
                  <a:lnTo>
                    <a:pt x="121475" y="278130"/>
                  </a:lnTo>
                  <a:lnTo>
                    <a:pt x="121831"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79" y="269240"/>
                  </a:lnTo>
                  <a:lnTo>
                    <a:pt x="126593" y="267970"/>
                  </a:lnTo>
                  <a:lnTo>
                    <a:pt x="126568" y="269240"/>
                  </a:lnTo>
                  <a:lnTo>
                    <a:pt x="127050" y="269240"/>
                  </a:lnTo>
                  <a:lnTo>
                    <a:pt x="126873" y="270510"/>
                  </a:lnTo>
                  <a:lnTo>
                    <a:pt x="127228" y="270510"/>
                  </a:lnTo>
                  <a:lnTo>
                    <a:pt x="127330" y="269240"/>
                  </a:lnTo>
                  <a:lnTo>
                    <a:pt x="127381" y="267970"/>
                  </a:lnTo>
                  <a:lnTo>
                    <a:pt x="128231" y="267970"/>
                  </a:lnTo>
                  <a:lnTo>
                    <a:pt x="128778"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61"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59" y="241300"/>
                  </a:lnTo>
                  <a:lnTo>
                    <a:pt x="144932" y="241300"/>
                  </a:lnTo>
                  <a:lnTo>
                    <a:pt x="145288" y="240030"/>
                  </a:lnTo>
                  <a:lnTo>
                    <a:pt x="146659" y="240030"/>
                  </a:lnTo>
                  <a:lnTo>
                    <a:pt x="146850" y="238760"/>
                  </a:lnTo>
                  <a:lnTo>
                    <a:pt x="146240" y="238760"/>
                  </a:lnTo>
                  <a:lnTo>
                    <a:pt x="146456" y="237490"/>
                  </a:lnTo>
                  <a:lnTo>
                    <a:pt x="146824" y="236220"/>
                  </a:lnTo>
                  <a:lnTo>
                    <a:pt x="147421" y="234950"/>
                  </a:lnTo>
                  <a:lnTo>
                    <a:pt x="149606" y="234950"/>
                  </a:lnTo>
                  <a:lnTo>
                    <a:pt x="149059" y="233680"/>
                  </a:lnTo>
                  <a:lnTo>
                    <a:pt x="149123" y="232410"/>
                  </a:lnTo>
                  <a:lnTo>
                    <a:pt x="150215" y="232410"/>
                  </a:lnTo>
                  <a:lnTo>
                    <a:pt x="152006" y="231140"/>
                  </a:lnTo>
                  <a:lnTo>
                    <a:pt x="152184" y="231140"/>
                  </a:lnTo>
                  <a:lnTo>
                    <a:pt x="151663" y="229870"/>
                  </a:lnTo>
                  <a:lnTo>
                    <a:pt x="151498" y="228600"/>
                  </a:lnTo>
                  <a:lnTo>
                    <a:pt x="152501" y="228600"/>
                  </a:lnTo>
                  <a:lnTo>
                    <a:pt x="153009" y="227330"/>
                  </a:lnTo>
                  <a:lnTo>
                    <a:pt x="154724" y="227330"/>
                  </a:lnTo>
                  <a:lnTo>
                    <a:pt x="154914" y="226060"/>
                  </a:lnTo>
                  <a:lnTo>
                    <a:pt x="154800" y="224790"/>
                  </a:lnTo>
                  <a:lnTo>
                    <a:pt x="155244" y="224790"/>
                  </a:lnTo>
                  <a:lnTo>
                    <a:pt x="155638" y="223520"/>
                  </a:lnTo>
                  <a:lnTo>
                    <a:pt x="156629" y="223520"/>
                  </a:lnTo>
                  <a:lnTo>
                    <a:pt x="156921" y="222250"/>
                  </a:lnTo>
                  <a:lnTo>
                    <a:pt x="157518" y="220980"/>
                  </a:lnTo>
                  <a:lnTo>
                    <a:pt x="158038" y="219710"/>
                  </a:lnTo>
                  <a:lnTo>
                    <a:pt x="158940" y="219710"/>
                  </a:lnTo>
                  <a:lnTo>
                    <a:pt x="160007" y="217170"/>
                  </a:lnTo>
                  <a:lnTo>
                    <a:pt x="160502" y="215900"/>
                  </a:lnTo>
                  <a:lnTo>
                    <a:pt x="161772" y="215900"/>
                  </a:lnTo>
                  <a:lnTo>
                    <a:pt x="162941" y="212090"/>
                  </a:lnTo>
                  <a:lnTo>
                    <a:pt x="164287" y="210820"/>
                  </a:lnTo>
                  <a:lnTo>
                    <a:pt x="165315" y="208280"/>
                  </a:lnTo>
                  <a:lnTo>
                    <a:pt x="167271" y="207010"/>
                  </a:lnTo>
                  <a:lnTo>
                    <a:pt x="166852" y="205740"/>
                  </a:lnTo>
                  <a:lnTo>
                    <a:pt x="167119" y="205740"/>
                  </a:lnTo>
                  <a:lnTo>
                    <a:pt x="167601" y="204470"/>
                  </a:lnTo>
                  <a:lnTo>
                    <a:pt x="169672" y="203200"/>
                  </a:lnTo>
                  <a:lnTo>
                    <a:pt x="170726" y="200660"/>
                  </a:lnTo>
                  <a:lnTo>
                    <a:pt x="171970" y="198120"/>
                  </a:lnTo>
                  <a:lnTo>
                    <a:pt x="172580" y="198120"/>
                  </a:lnTo>
                  <a:lnTo>
                    <a:pt x="173050" y="196850"/>
                  </a:lnTo>
                  <a:lnTo>
                    <a:pt x="172910" y="194310"/>
                  </a:lnTo>
                  <a:lnTo>
                    <a:pt x="173977" y="195580"/>
                  </a:lnTo>
                  <a:lnTo>
                    <a:pt x="175323" y="194310"/>
                  </a:lnTo>
                  <a:lnTo>
                    <a:pt x="176022" y="194310"/>
                  </a:lnTo>
                  <a:lnTo>
                    <a:pt x="175742" y="193040"/>
                  </a:lnTo>
                  <a:lnTo>
                    <a:pt x="177101" y="191770"/>
                  </a:lnTo>
                  <a:lnTo>
                    <a:pt x="176898" y="190500"/>
                  </a:lnTo>
                  <a:lnTo>
                    <a:pt x="179031" y="190500"/>
                  </a:lnTo>
                  <a:lnTo>
                    <a:pt x="179082" y="189230"/>
                  </a:lnTo>
                  <a:lnTo>
                    <a:pt x="179146" y="187960"/>
                  </a:lnTo>
                  <a:lnTo>
                    <a:pt x="180314" y="187960"/>
                  </a:lnTo>
                  <a:lnTo>
                    <a:pt x="180365" y="186690"/>
                  </a:lnTo>
                  <a:lnTo>
                    <a:pt x="180467" y="185420"/>
                  </a:lnTo>
                  <a:lnTo>
                    <a:pt x="180809" y="185420"/>
                  </a:lnTo>
                  <a:lnTo>
                    <a:pt x="181698" y="186690"/>
                  </a:lnTo>
                  <a:lnTo>
                    <a:pt x="181571" y="185420"/>
                  </a:lnTo>
                  <a:lnTo>
                    <a:pt x="181622" y="184150"/>
                  </a:lnTo>
                  <a:lnTo>
                    <a:pt x="182511" y="184150"/>
                  </a:lnTo>
                  <a:lnTo>
                    <a:pt x="182308" y="182880"/>
                  </a:lnTo>
                  <a:lnTo>
                    <a:pt x="183426" y="182880"/>
                  </a:lnTo>
                  <a:lnTo>
                    <a:pt x="183388" y="181610"/>
                  </a:lnTo>
                  <a:lnTo>
                    <a:pt x="184861" y="181610"/>
                  </a:lnTo>
                  <a:lnTo>
                    <a:pt x="184899" y="180340"/>
                  </a:lnTo>
                  <a:lnTo>
                    <a:pt x="185140" y="179070"/>
                  </a:lnTo>
                  <a:lnTo>
                    <a:pt x="186855" y="179070"/>
                  </a:lnTo>
                  <a:lnTo>
                    <a:pt x="186905" y="176530"/>
                  </a:lnTo>
                  <a:lnTo>
                    <a:pt x="187947" y="176530"/>
                  </a:lnTo>
                  <a:lnTo>
                    <a:pt x="188290" y="175260"/>
                  </a:lnTo>
                  <a:lnTo>
                    <a:pt x="188582" y="175260"/>
                  </a:lnTo>
                  <a:lnTo>
                    <a:pt x="189598" y="173990"/>
                  </a:lnTo>
                  <a:lnTo>
                    <a:pt x="189750" y="172720"/>
                  </a:lnTo>
                  <a:lnTo>
                    <a:pt x="191135" y="171450"/>
                  </a:lnTo>
                  <a:lnTo>
                    <a:pt x="190385" y="171450"/>
                  </a:lnTo>
                  <a:lnTo>
                    <a:pt x="190398" y="170180"/>
                  </a:lnTo>
                  <a:lnTo>
                    <a:pt x="192430" y="170180"/>
                  </a:lnTo>
                  <a:lnTo>
                    <a:pt x="193065" y="168910"/>
                  </a:lnTo>
                  <a:lnTo>
                    <a:pt x="193408" y="167640"/>
                  </a:lnTo>
                  <a:lnTo>
                    <a:pt x="194703" y="166370"/>
                  </a:lnTo>
                  <a:lnTo>
                    <a:pt x="193903" y="166370"/>
                  </a:lnTo>
                  <a:lnTo>
                    <a:pt x="194640" y="165100"/>
                  </a:lnTo>
                  <a:lnTo>
                    <a:pt x="194729" y="166370"/>
                  </a:lnTo>
                  <a:lnTo>
                    <a:pt x="195211" y="166370"/>
                  </a:lnTo>
                  <a:lnTo>
                    <a:pt x="196062" y="165100"/>
                  </a:lnTo>
                  <a:lnTo>
                    <a:pt x="195846" y="165100"/>
                  </a:lnTo>
                  <a:lnTo>
                    <a:pt x="196037" y="163830"/>
                  </a:lnTo>
                  <a:lnTo>
                    <a:pt x="196430" y="163830"/>
                  </a:lnTo>
                  <a:lnTo>
                    <a:pt x="196811" y="162560"/>
                  </a:lnTo>
                  <a:lnTo>
                    <a:pt x="197154" y="162560"/>
                  </a:lnTo>
                  <a:lnTo>
                    <a:pt x="197396" y="161290"/>
                  </a:lnTo>
                  <a:lnTo>
                    <a:pt x="198678" y="160020"/>
                  </a:lnTo>
                  <a:lnTo>
                    <a:pt x="199694" y="160020"/>
                  </a:lnTo>
                  <a:lnTo>
                    <a:pt x="199910" y="158750"/>
                  </a:lnTo>
                  <a:lnTo>
                    <a:pt x="200583" y="157480"/>
                  </a:lnTo>
                  <a:lnTo>
                    <a:pt x="201269" y="157480"/>
                  </a:lnTo>
                  <a:lnTo>
                    <a:pt x="201739" y="154940"/>
                  </a:lnTo>
                  <a:lnTo>
                    <a:pt x="203530" y="154940"/>
                  </a:lnTo>
                  <a:lnTo>
                    <a:pt x="203466" y="153670"/>
                  </a:lnTo>
                  <a:lnTo>
                    <a:pt x="204139" y="153670"/>
                  </a:lnTo>
                  <a:lnTo>
                    <a:pt x="204203" y="152400"/>
                  </a:lnTo>
                  <a:lnTo>
                    <a:pt x="205486" y="152400"/>
                  </a:lnTo>
                  <a:lnTo>
                    <a:pt x="204990"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69" y="139700"/>
                  </a:lnTo>
                  <a:lnTo>
                    <a:pt x="213258" y="139700"/>
                  </a:lnTo>
                  <a:lnTo>
                    <a:pt x="213779" y="138430"/>
                  </a:lnTo>
                  <a:lnTo>
                    <a:pt x="215798" y="138430"/>
                  </a:lnTo>
                  <a:lnTo>
                    <a:pt x="216154" y="137160"/>
                  </a:lnTo>
                  <a:lnTo>
                    <a:pt x="216662" y="135890"/>
                  </a:lnTo>
                  <a:lnTo>
                    <a:pt x="217093" y="134620"/>
                  </a:lnTo>
                  <a:lnTo>
                    <a:pt x="217665" y="133350"/>
                  </a:lnTo>
                  <a:lnTo>
                    <a:pt x="219760" y="133350"/>
                  </a:lnTo>
                  <a:lnTo>
                    <a:pt x="220319" y="132080"/>
                  </a:lnTo>
                  <a:lnTo>
                    <a:pt x="221767" y="129540"/>
                  </a:lnTo>
                  <a:lnTo>
                    <a:pt x="222148" y="128270"/>
                  </a:lnTo>
                  <a:lnTo>
                    <a:pt x="222872" y="128270"/>
                  </a:lnTo>
                  <a:lnTo>
                    <a:pt x="222885" y="127000"/>
                  </a:lnTo>
                  <a:lnTo>
                    <a:pt x="224688" y="127000"/>
                  </a:lnTo>
                  <a:lnTo>
                    <a:pt x="224828" y="125730"/>
                  </a:lnTo>
                  <a:lnTo>
                    <a:pt x="225044" y="125730"/>
                  </a:lnTo>
                  <a:lnTo>
                    <a:pt x="225348" y="124460"/>
                  </a:lnTo>
                  <a:lnTo>
                    <a:pt x="225590" y="124460"/>
                  </a:lnTo>
                  <a:lnTo>
                    <a:pt x="226504" y="123190"/>
                  </a:lnTo>
                  <a:lnTo>
                    <a:pt x="227863" y="121920"/>
                  </a:lnTo>
                  <a:lnTo>
                    <a:pt x="228409" y="120650"/>
                  </a:lnTo>
                  <a:lnTo>
                    <a:pt x="229577" y="120650"/>
                  </a:lnTo>
                  <a:lnTo>
                    <a:pt x="229793" y="119380"/>
                  </a:lnTo>
                  <a:lnTo>
                    <a:pt x="230174" y="118110"/>
                  </a:lnTo>
                  <a:lnTo>
                    <a:pt x="230809" y="118110"/>
                  </a:lnTo>
                  <a:lnTo>
                    <a:pt x="231063" y="116840"/>
                  </a:lnTo>
                  <a:lnTo>
                    <a:pt x="231597"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31" y="102870"/>
                  </a:lnTo>
                  <a:lnTo>
                    <a:pt x="241122" y="101600"/>
                  </a:lnTo>
                  <a:lnTo>
                    <a:pt x="241858" y="104140"/>
                  </a:lnTo>
                  <a:lnTo>
                    <a:pt x="242824"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07" y="91440"/>
                  </a:lnTo>
                  <a:lnTo>
                    <a:pt x="253085" y="90170"/>
                  </a:lnTo>
                  <a:lnTo>
                    <a:pt x="254050" y="88900"/>
                  </a:lnTo>
                  <a:lnTo>
                    <a:pt x="254901" y="87630"/>
                  </a:lnTo>
                  <a:lnTo>
                    <a:pt x="255524" y="88900"/>
                  </a:lnTo>
                  <a:lnTo>
                    <a:pt x="255625" y="87630"/>
                  </a:lnTo>
                  <a:lnTo>
                    <a:pt x="255854" y="86360"/>
                  </a:lnTo>
                  <a:lnTo>
                    <a:pt x="256616" y="86360"/>
                  </a:lnTo>
                  <a:lnTo>
                    <a:pt x="257670" y="85090"/>
                  </a:lnTo>
                  <a:lnTo>
                    <a:pt x="258343" y="85090"/>
                  </a:lnTo>
                  <a:lnTo>
                    <a:pt x="258445" y="83820"/>
                  </a:lnTo>
                  <a:lnTo>
                    <a:pt x="260108" y="83820"/>
                  </a:lnTo>
                  <a:lnTo>
                    <a:pt x="260286" y="82550"/>
                  </a:lnTo>
                  <a:lnTo>
                    <a:pt x="261264" y="81280"/>
                  </a:lnTo>
                  <a:lnTo>
                    <a:pt x="261327" y="80010"/>
                  </a:lnTo>
                  <a:lnTo>
                    <a:pt x="263588" y="78740"/>
                  </a:lnTo>
                  <a:lnTo>
                    <a:pt x="263817" y="78740"/>
                  </a:lnTo>
                  <a:lnTo>
                    <a:pt x="263652" y="77470"/>
                  </a:lnTo>
                  <a:lnTo>
                    <a:pt x="264972" y="77470"/>
                  </a:lnTo>
                  <a:lnTo>
                    <a:pt x="265341" y="76200"/>
                  </a:lnTo>
                  <a:lnTo>
                    <a:pt x="265480" y="76200"/>
                  </a:lnTo>
                  <a:lnTo>
                    <a:pt x="266014" y="74930"/>
                  </a:lnTo>
                  <a:lnTo>
                    <a:pt x="268185" y="74930"/>
                  </a:lnTo>
                  <a:lnTo>
                    <a:pt x="267639" y="73660"/>
                  </a:lnTo>
                  <a:lnTo>
                    <a:pt x="268173" y="72390"/>
                  </a:lnTo>
                  <a:lnTo>
                    <a:pt x="270167" y="72390"/>
                  </a:lnTo>
                  <a:lnTo>
                    <a:pt x="271322" y="69850"/>
                  </a:lnTo>
                  <a:lnTo>
                    <a:pt x="273329" y="68580"/>
                  </a:lnTo>
                  <a:lnTo>
                    <a:pt x="274980" y="66040"/>
                  </a:lnTo>
                  <a:lnTo>
                    <a:pt x="275475" y="66040"/>
                  </a:lnTo>
                  <a:lnTo>
                    <a:pt x="276250" y="64770"/>
                  </a:lnTo>
                  <a:lnTo>
                    <a:pt x="276529" y="64770"/>
                  </a:lnTo>
                  <a:lnTo>
                    <a:pt x="276402" y="63500"/>
                  </a:lnTo>
                  <a:lnTo>
                    <a:pt x="277139" y="63500"/>
                  </a:lnTo>
                  <a:lnTo>
                    <a:pt x="277329" y="62230"/>
                  </a:lnTo>
                  <a:lnTo>
                    <a:pt x="278688" y="62230"/>
                  </a:lnTo>
                  <a:lnTo>
                    <a:pt x="279260" y="60960"/>
                  </a:lnTo>
                  <a:lnTo>
                    <a:pt x="280606" y="58420"/>
                  </a:lnTo>
                  <a:lnTo>
                    <a:pt x="282359" y="59690"/>
                  </a:lnTo>
                  <a:lnTo>
                    <a:pt x="282587" y="58420"/>
                  </a:lnTo>
                  <a:lnTo>
                    <a:pt x="283679" y="55880"/>
                  </a:lnTo>
                  <a:lnTo>
                    <a:pt x="283578" y="54610"/>
                  </a:lnTo>
                  <a:lnTo>
                    <a:pt x="285318" y="54610"/>
                  </a:lnTo>
                  <a:lnTo>
                    <a:pt x="285902" y="53340"/>
                  </a:lnTo>
                  <a:lnTo>
                    <a:pt x="287540" y="53340"/>
                  </a:lnTo>
                  <a:lnTo>
                    <a:pt x="287388" y="52070"/>
                  </a:lnTo>
                  <a:lnTo>
                    <a:pt x="287782" y="50800"/>
                  </a:lnTo>
                  <a:lnTo>
                    <a:pt x="288607" y="50800"/>
                  </a:lnTo>
                  <a:lnTo>
                    <a:pt x="289826" y="49530"/>
                  </a:lnTo>
                  <a:lnTo>
                    <a:pt x="288912" y="52070"/>
                  </a:lnTo>
                  <a:lnTo>
                    <a:pt x="290220" y="49530"/>
                  </a:lnTo>
                  <a:lnTo>
                    <a:pt x="292862" y="45720"/>
                  </a:lnTo>
                  <a:lnTo>
                    <a:pt x="293446" y="44450"/>
                  </a:lnTo>
                  <a:lnTo>
                    <a:pt x="293636" y="45720"/>
                  </a:lnTo>
                  <a:lnTo>
                    <a:pt x="294462" y="45720"/>
                  </a:lnTo>
                  <a:lnTo>
                    <a:pt x="294462" y="44450"/>
                  </a:lnTo>
                  <a:lnTo>
                    <a:pt x="294741" y="44450"/>
                  </a:lnTo>
                  <a:lnTo>
                    <a:pt x="295859" y="43180"/>
                  </a:lnTo>
                  <a:lnTo>
                    <a:pt x="296062" y="43180"/>
                  </a:lnTo>
                  <a:lnTo>
                    <a:pt x="295046" y="41910"/>
                  </a:lnTo>
                  <a:lnTo>
                    <a:pt x="297916" y="41910"/>
                  </a:lnTo>
                  <a:lnTo>
                    <a:pt x="297484" y="40640"/>
                  </a:lnTo>
                  <a:lnTo>
                    <a:pt x="296481" y="40640"/>
                  </a:lnTo>
                  <a:lnTo>
                    <a:pt x="297307" y="39370"/>
                  </a:lnTo>
                  <a:lnTo>
                    <a:pt x="297434"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21" y="27940"/>
                  </a:lnTo>
                  <a:lnTo>
                    <a:pt x="317385" y="22860"/>
                  </a:lnTo>
                  <a:lnTo>
                    <a:pt x="318757" y="22860"/>
                  </a:lnTo>
                  <a:lnTo>
                    <a:pt x="317474" y="21590"/>
                  </a:lnTo>
                  <a:lnTo>
                    <a:pt x="318731" y="21590"/>
                  </a:lnTo>
                  <a:lnTo>
                    <a:pt x="319163" y="22860"/>
                  </a:lnTo>
                  <a:lnTo>
                    <a:pt x="319671" y="21590"/>
                  </a:lnTo>
                  <a:lnTo>
                    <a:pt x="320179" y="20320"/>
                  </a:lnTo>
                  <a:lnTo>
                    <a:pt x="321970" y="19050"/>
                  </a:lnTo>
                  <a:lnTo>
                    <a:pt x="324866" y="17780"/>
                  </a:lnTo>
                  <a:lnTo>
                    <a:pt x="325742" y="17780"/>
                  </a:lnTo>
                  <a:lnTo>
                    <a:pt x="326644" y="16510"/>
                  </a:lnTo>
                  <a:lnTo>
                    <a:pt x="327545" y="15240"/>
                  </a:lnTo>
                  <a:lnTo>
                    <a:pt x="328422" y="15240"/>
                  </a:lnTo>
                  <a:lnTo>
                    <a:pt x="329704" y="13970"/>
                  </a:lnTo>
                  <a:lnTo>
                    <a:pt x="328244" y="13970"/>
                  </a:lnTo>
                  <a:lnTo>
                    <a:pt x="327850" y="14020"/>
                  </a:lnTo>
                  <a:lnTo>
                    <a:pt x="327507" y="14173"/>
                  </a:lnTo>
                  <a:lnTo>
                    <a:pt x="327660" y="14274"/>
                  </a:lnTo>
                  <a:lnTo>
                    <a:pt x="326110" y="15240"/>
                  </a:lnTo>
                  <a:lnTo>
                    <a:pt x="326326" y="13970"/>
                  </a:lnTo>
                  <a:lnTo>
                    <a:pt x="327469" y="13970"/>
                  </a:lnTo>
                  <a:lnTo>
                    <a:pt x="327964" y="12700"/>
                  </a:lnTo>
                  <a:lnTo>
                    <a:pt x="329996" y="12700"/>
                  </a:lnTo>
                  <a:lnTo>
                    <a:pt x="330377" y="13970"/>
                  </a:lnTo>
                  <a:lnTo>
                    <a:pt x="331533" y="12700"/>
                  </a:lnTo>
                  <a:lnTo>
                    <a:pt x="330441" y="12700"/>
                  </a:lnTo>
                  <a:lnTo>
                    <a:pt x="330339" y="12306"/>
                  </a:lnTo>
                  <a:lnTo>
                    <a:pt x="332041" y="11785"/>
                  </a:lnTo>
                  <a:lnTo>
                    <a:pt x="332587" y="9982"/>
                  </a:lnTo>
                  <a:lnTo>
                    <a:pt x="332994" y="9690"/>
                  </a:lnTo>
                  <a:lnTo>
                    <a:pt x="333375" y="9931"/>
                  </a:lnTo>
                  <a:close/>
                </a:path>
              </a:pathLst>
            </a:custGeom>
            <a:solidFill>
              <a:srgbClr val="D02929">
                <a:alpha val="46669"/>
              </a:srgbClr>
            </a:solidFill>
          </p:spPr>
          <p:txBody>
            <a:bodyPr wrap="square" lIns="0" tIns="0" rIns="0" bIns="0" rtlCol="0"/>
            <a:lstStyle/>
            <a:p>
              <a:endParaRPr/>
            </a:p>
          </p:txBody>
        </p:sp>
      </p:grpSp>
      <p:sp>
        <p:nvSpPr>
          <p:cNvPr id="15" name="object 15"/>
          <p:cNvSpPr txBox="1"/>
          <p:nvPr/>
        </p:nvSpPr>
        <p:spPr>
          <a:xfrm>
            <a:off x="8233085" y="2454310"/>
            <a:ext cx="2444115" cy="746125"/>
          </a:xfrm>
          <a:prstGeom prst="rect">
            <a:avLst/>
          </a:prstGeom>
        </p:spPr>
        <p:txBody>
          <a:bodyPr vert="horz" wrap="square" lIns="0" tIns="24765" rIns="0" bIns="0" rtlCol="0">
            <a:spAutoFit/>
          </a:bodyPr>
          <a:lstStyle/>
          <a:p>
            <a:pPr marL="12700" marR="5080" indent="85725">
              <a:lnSpc>
                <a:spcPts val="1880"/>
              </a:lnSpc>
              <a:spcBef>
                <a:spcPts val="195"/>
              </a:spcBef>
            </a:pPr>
            <a:r>
              <a:rPr sz="1600" spc="-20" dirty="0">
                <a:solidFill>
                  <a:srgbClr val="FFFFFF"/>
                </a:solidFill>
                <a:latin typeface="Roboto"/>
                <a:cs typeface="Roboto"/>
              </a:rPr>
              <a:t>MAYOR</a:t>
            </a:r>
            <a:r>
              <a:rPr sz="1600" spc="-45" dirty="0">
                <a:solidFill>
                  <a:srgbClr val="FFFFFF"/>
                </a:solidFill>
                <a:latin typeface="Roboto"/>
                <a:cs typeface="Roboto"/>
              </a:rPr>
              <a:t> </a:t>
            </a:r>
            <a:r>
              <a:rPr sz="1600" spc="-10" dirty="0">
                <a:solidFill>
                  <a:srgbClr val="FFFFFF"/>
                </a:solidFill>
                <a:latin typeface="Roboto"/>
                <a:cs typeface="Roboto"/>
              </a:rPr>
              <a:t>CONTRIBUCIÓN </a:t>
            </a:r>
            <a:r>
              <a:rPr sz="1600" dirty="0">
                <a:solidFill>
                  <a:srgbClr val="FFFFFF"/>
                </a:solidFill>
                <a:latin typeface="Roboto"/>
                <a:cs typeface="Roboto"/>
              </a:rPr>
              <a:t>DEL</a:t>
            </a:r>
            <a:r>
              <a:rPr sz="1600" spc="-50" dirty="0">
                <a:solidFill>
                  <a:srgbClr val="FFFFFF"/>
                </a:solidFill>
                <a:latin typeface="Roboto"/>
                <a:cs typeface="Roboto"/>
              </a:rPr>
              <a:t> </a:t>
            </a:r>
            <a:r>
              <a:rPr sz="1600" spc="-30" dirty="0">
                <a:solidFill>
                  <a:srgbClr val="FFFFFF"/>
                </a:solidFill>
                <a:latin typeface="Roboto"/>
                <a:cs typeface="Roboto"/>
              </a:rPr>
              <a:t>TURISMO</a:t>
            </a:r>
            <a:r>
              <a:rPr sz="1600" spc="-50" dirty="0">
                <a:solidFill>
                  <a:srgbClr val="FFFFFF"/>
                </a:solidFill>
                <a:latin typeface="Roboto"/>
                <a:cs typeface="Roboto"/>
              </a:rPr>
              <a:t> </a:t>
            </a:r>
            <a:r>
              <a:rPr sz="1600" b="1" spc="-10" dirty="0">
                <a:solidFill>
                  <a:srgbClr val="FFFFFF"/>
                </a:solidFill>
                <a:latin typeface="Roboto"/>
                <a:cs typeface="Roboto"/>
              </a:rPr>
              <a:t>RECEPTIVO </a:t>
            </a:r>
            <a:r>
              <a:rPr sz="1600" dirty="0">
                <a:solidFill>
                  <a:srgbClr val="FFFFFF"/>
                </a:solidFill>
                <a:latin typeface="Roboto"/>
                <a:cs typeface="Roboto"/>
              </a:rPr>
              <a:t>A</a:t>
            </a:r>
            <a:r>
              <a:rPr sz="1600" spc="-45" dirty="0">
                <a:solidFill>
                  <a:srgbClr val="FFFFFF"/>
                </a:solidFill>
                <a:latin typeface="Roboto"/>
                <a:cs typeface="Roboto"/>
              </a:rPr>
              <a:t> </a:t>
            </a:r>
            <a:r>
              <a:rPr sz="1600" dirty="0">
                <a:solidFill>
                  <a:srgbClr val="FFFFFF"/>
                </a:solidFill>
                <a:latin typeface="Roboto"/>
                <a:cs typeface="Roboto"/>
              </a:rPr>
              <a:t>LA</a:t>
            </a:r>
            <a:r>
              <a:rPr sz="1600" spc="-40" dirty="0">
                <a:solidFill>
                  <a:srgbClr val="FFFFFF"/>
                </a:solidFill>
                <a:latin typeface="Roboto"/>
                <a:cs typeface="Roboto"/>
              </a:rPr>
              <a:t> </a:t>
            </a:r>
            <a:r>
              <a:rPr sz="1600" dirty="0">
                <a:solidFill>
                  <a:srgbClr val="FFFFFF"/>
                </a:solidFill>
                <a:latin typeface="Roboto"/>
                <a:cs typeface="Roboto"/>
              </a:rPr>
              <a:t>ECONOMÍA</a:t>
            </a:r>
            <a:r>
              <a:rPr sz="1600" spc="-40" dirty="0">
                <a:solidFill>
                  <a:srgbClr val="FFFFFF"/>
                </a:solidFill>
                <a:latin typeface="Roboto"/>
                <a:cs typeface="Roboto"/>
              </a:rPr>
              <a:t> </a:t>
            </a:r>
            <a:r>
              <a:rPr sz="1600" dirty="0">
                <a:solidFill>
                  <a:srgbClr val="FFFFFF"/>
                </a:solidFill>
                <a:latin typeface="Roboto"/>
                <a:cs typeface="Roboto"/>
              </a:rPr>
              <a:t>DE</a:t>
            </a:r>
            <a:r>
              <a:rPr sz="1600" spc="-40" dirty="0">
                <a:solidFill>
                  <a:srgbClr val="FFFFFF"/>
                </a:solidFill>
                <a:latin typeface="Roboto"/>
                <a:cs typeface="Roboto"/>
              </a:rPr>
              <a:t> </a:t>
            </a:r>
            <a:r>
              <a:rPr sz="1600" spc="-20" dirty="0">
                <a:solidFill>
                  <a:srgbClr val="FFFFFF"/>
                </a:solidFill>
                <a:latin typeface="Roboto"/>
                <a:cs typeface="Roboto"/>
              </a:rPr>
              <a:t>CHILE</a:t>
            </a:r>
            <a:endParaRPr sz="1600">
              <a:latin typeface="Roboto"/>
              <a:cs typeface="Roboto"/>
            </a:endParaRPr>
          </a:p>
        </p:txBody>
      </p:sp>
      <p:sp>
        <p:nvSpPr>
          <p:cNvPr id="16" name="object 16"/>
          <p:cNvSpPr txBox="1"/>
          <p:nvPr/>
        </p:nvSpPr>
        <p:spPr>
          <a:xfrm>
            <a:off x="3013845" y="4388546"/>
            <a:ext cx="2180590" cy="269875"/>
          </a:xfrm>
          <a:prstGeom prst="rect">
            <a:avLst/>
          </a:prstGeom>
        </p:spPr>
        <p:txBody>
          <a:bodyPr vert="horz" wrap="square" lIns="0" tIns="12700" rIns="0" bIns="0" rtlCol="0">
            <a:spAutoFit/>
          </a:bodyPr>
          <a:lstStyle/>
          <a:p>
            <a:pPr marL="12700">
              <a:lnSpc>
                <a:spcPct val="100000"/>
              </a:lnSpc>
              <a:spcBef>
                <a:spcPts val="100"/>
              </a:spcBef>
            </a:pPr>
            <a:r>
              <a:rPr sz="1600" b="1" spc="-20" dirty="0">
                <a:solidFill>
                  <a:srgbClr val="FFFFFF"/>
                </a:solidFill>
                <a:latin typeface="Roboto"/>
                <a:cs typeface="Roboto"/>
              </a:rPr>
              <a:t>RECUPERAR</a:t>
            </a:r>
            <a:r>
              <a:rPr sz="1600" b="1" spc="-45" dirty="0">
                <a:solidFill>
                  <a:srgbClr val="FFFFFF"/>
                </a:solidFill>
                <a:latin typeface="Roboto"/>
                <a:cs typeface="Roboto"/>
              </a:rPr>
              <a:t> </a:t>
            </a:r>
            <a:r>
              <a:rPr sz="1600" b="1" spc="-10" dirty="0">
                <a:solidFill>
                  <a:srgbClr val="FFFFFF"/>
                </a:solidFill>
                <a:latin typeface="Roboto"/>
                <a:cs typeface="Roboto"/>
              </a:rPr>
              <a:t>VOLUMEN</a:t>
            </a:r>
            <a:endParaRPr sz="1600">
              <a:latin typeface="Roboto"/>
              <a:cs typeface="Roboto"/>
            </a:endParaRPr>
          </a:p>
        </p:txBody>
      </p:sp>
      <p:sp>
        <p:nvSpPr>
          <p:cNvPr id="17" name="object 17"/>
          <p:cNvSpPr txBox="1"/>
          <p:nvPr/>
        </p:nvSpPr>
        <p:spPr>
          <a:xfrm>
            <a:off x="2812778" y="4626671"/>
            <a:ext cx="2582545" cy="269875"/>
          </a:xfrm>
          <a:prstGeom prst="rect">
            <a:avLst/>
          </a:prstGeom>
        </p:spPr>
        <p:txBody>
          <a:bodyPr vert="horz" wrap="square" lIns="0" tIns="12700" rIns="0" bIns="0" rtlCol="0">
            <a:spAutoFit/>
          </a:bodyPr>
          <a:lstStyle/>
          <a:p>
            <a:pPr marL="12700">
              <a:lnSpc>
                <a:spcPct val="100000"/>
              </a:lnSpc>
              <a:spcBef>
                <a:spcPts val="100"/>
              </a:spcBef>
            </a:pPr>
            <a:r>
              <a:rPr sz="1600" spc="-20" dirty="0">
                <a:solidFill>
                  <a:srgbClr val="FFFFFF"/>
                </a:solidFill>
                <a:latin typeface="Roboto"/>
                <a:cs typeface="Roboto"/>
              </a:rPr>
              <a:t>Objetivo</a:t>
            </a:r>
            <a:r>
              <a:rPr sz="1600" spc="-50" dirty="0">
                <a:solidFill>
                  <a:srgbClr val="FFFFFF"/>
                </a:solidFill>
                <a:latin typeface="Roboto"/>
                <a:cs typeface="Roboto"/>
              </a:rPr>
              <a:t> </a:t>
            </a:r>
            <a:r>
              <a:rPr sz="1600" spc="-10" dirty="0">
                <a:solidFill>
                  <a:srgbClr val="FFFFFF"/>
                </a:solidFill>
                <a:latin typeface="Roboto"/>
                <a:cs typeface="Roboto"/>
              </a:rPr>
              <a:t>inmediato</a:t>
            </a:r>
            <a:r>
              <a:rPr sz="1600" spc="-45" dirty="0">
                <a:solidFill>
                  <a:srgbClr val="FFFFFF"/>
                </a:solidFill>
                <a:latin typeface="Roboto"/>
                <a:cs typeface="Roboto"/>
              </a:rPr>
              <a:t> </a:t>
            </a:r>
            <a:r>
              <a:rPr sz="1600" dirty="0">
                <a:solidFill>
                  <a:srgbClr val="FFFFFF"/>
                </a:solidFill>
                <a:latin typeface="Roboto"/>
                <a:cs typeface="Roboto"/>
              </a:rPr>
              <a:t>(año</a:t>
            </a:r>
            <a:r>
              <a:rPr sz="1600" spc="-45" dirty="0">
                <a:solidFill>
                  <a:srgbClr val="FFFFFF"/>
                </a:solidFill>
                <a:latin typeface="Roboto"/>
                <a:cs typeface="Roboto"/>
              </a:rPr>
              <a:t> </a:t>
            </a:r>
            <a:r>
              <a:rPr sz="1600" spc="-10" dirty="0">
                <a:solidFill>
                  <a:srgbClr val="FFFFFF"/>
                </a:solidFill>
                <a:latin typeface="Roboto"/>
                <a:cs typeface="Roboto"/>
              </a:rPr>
              <a:t>1-</a:t>
            </a:r>
            <a:r>
              <a:rPr sz="1600" spc="-25" dirty="0">
                <a:solidFill>
                  <a:srgbClr val="FFFFFF"/>
                </a:solidFill>
                <a:latin typeface="Roboto"/>
                <a:cs typeface="Roboto"/>
              </a:rPr>
              <a:t>2)</a:t>
            </a:r>
            <a:endParaRPr sz="1600">
              <a:latin typeface="Roboto"/>
              <a:cs typeface="Roboto"/>
            </a:endParaRPr>
          </a:p>
        </p:txBody>
      </p:sp>
      <p:sp>
        <p:nvSpPr>
          <p:cNvPr id="18" name="object 18"/>
          <p:cNvSpPr txBox="1"/>
          <p:nvPr/>
        </p:nvSpPr>
        <p:spPr>
          <a:xfrm>
            <a:off x="7718709" y="4391721"/>
            <a:ext cx="2854325" cy="485775"/>
          </a:xfrm>
          <a:prstGeom prst="rect">
            <a:avLst/>
          </a:prstGeom>
        </p:spPr>
        <p:txBody>
          <a:bodyPr vert="horz" wrap="square" lIns="0" tIns="12700" rIns="0" bIns="0" rtlCol="0">
            <a:spAutoFit/>
          </a:bodyPr>
          <a:lstStyle/>
          <a:p>
            <a:pPr marL="12700">
              <a:lnSpc>
                <a:spcPts val="1750"/>
              </a:lnSpc>
              <a:spcBef>
                <a:spcPts val="100"/>
              </a:spcBef>
            </a:pPr>
            <a:r>
              <a:rPr sz="1500" b="1" dirty="0">
                <a:solidFill>
                  <a:srgbClr val="FFFFFF"/>
                </a:solidFill>
                <a:latin typeface="Roboto"/>
                <a:cs typeface="Roboto"/>
              </a:rPr>
              <a:t>AUMENTAR</a:t>
            </a:r>
            <a:r>
              <a:rPr sz="1500" b="1" spc="65" dirty="0">
                <a:solidFill>
                  <a:srgbClr val="FFFFFF"/>
                </a:solidFill>
                <a:latin typeface="Roboto"/>
                <a:cs typeface="Roboto"/>
              </a:rPr>
              <a:t> </a:t>
            </a:r>
            <a:r>
              <a:rPr sz="1500" b="1" dirty="0">
                <a:solidFill>
                  <a:srgbClr val="FFFFFF"/>
                </a:solidFill>
                <a:latin typeface="Roboto"/>
                <a:cs typeface="Roboto"/>
              </a:rPr>
              <a:t>IMPACTO</a:t>
            </a:r>
            <a:r>
              <a:rPr sz="1500" b="1" spc="65" dirty="0">
                <a:solidFill>
                  <a:srgbClr val="FFFFFF"/>
                </a:solidFill>
                <a:latin typeface="Roboto"/>
                <a:cs typeface="Roboto"/>
              </a:rPr>
              <a:t> </a:t>
            </a:r>
            <a:r>
              <a:rPr sz="1500" b="1" spc="-10" dirty="0">
                <a:solidFill>
                  <a:srgbClr val="FFFFFF"/>
                </a:solidFill>
                <a:latin typeface="Roboto"/>
                <a:cs typeface="Roboto"/>
              </a:rPr>
              <a:t>POSITIVO</a:t>
            </a:r>
            <a:endParaRPr sz="1500">
              <a:latin typeface="Roboto"/>
              <a:cs typeface="Roboto"/>
            </a:endParaRPr>
          </a:p>
          <a:p>
            <a:pPr marL="46990">
              <a:lnSpc>
                <a:spcPts val="1870"/>
              </a:lnSpc>
            </a:pPr>
            <a:r>
              <a:rPr sz="1600" spc="-20" dirty="0">
                <a:solidFill>
                  <a:srgbClr val="FFFFFF"/>
                </a:solidFill>
                <a:latin typeface="Roboto"/>
                <a:cs typeface="Roboto"/>
              </a:rPr>
              <a:t>Objetivo</a:t>
            </a:r>
            <a:r>
              <a:rPr sz="1600" spc="-55" dirty="0">
                <a:solidFill>
                  <a:srgbClr val="FFFFFF"/>
                </a:solidFill>
                <a:latin typeface="Roboto"/>
                <a:cs typeface="Roboto"/>
              </a:rPr>
              <a:t> </a:t>
            </a:r>
            <a:r>
              <a:rPr sz="1600" dirty="0">
                <a:solidFill>
                  <a:srgbClr val="FFFFFF"/>
                </a:solidFill>
                <a:latin typeface="Roboto"/>
                <a:cs typeface="Roboto"/>
              </a:rPr>
              <a:t>medio</a:t>
            </a:r>
            <a:r>
              <a:rPr sz="1600" spc="-50" dirty="0">
                <a:solidFill>
                  <a:srgbClr val="FFFFFF"/>
                </a:solidFill>
                <a:latin typeface="Roboto"/>
                <a:cs typeface="Roboto"/>
              </a:rPr>
              <a:t> </a:t>
            </a:r>
            <a:r>
              <a:rPr sz="1600" dirty="0">
                <a:solidFill>
                  <a:srgbClr val="FFFFFF"/>
                </a:solidFill>
                <a:latin typeface="Roboto"/>
                <a:cs typeface="Roboto"/>
              </a:rPr>
              <a:t>plazo</a:t>
            </a:r>
            <a:r>
              <a:rPr sz="1600" spc="-50" dirty="0">
                <a:solidFill>
                  <a:srgbClr val="FFFFFF"/>
                </a:solidFill>
                <a:latin typeface="Roboto"/>
                <a:cs typeface="Roboto"/>
              </a:rPr>
              <a:t> </a:t>
            </a:r>
            <a:r>
              <a:rPr sz="1600" dirty="0">
                <a:solidFill>
                  <a:srgbClr val="FFFFFF"/>
                </a:solidFill>
                <a:latin typeface="Roboto"/>
                <a:cs typeface="Roboto"/>
              </a:rPr>
              <a:t>(año</a:t>
            </a:r>
            <a:r>
              <a:rPr sz="1600" spc="-50" dirty="0">
                <a:solidFill>
                  <a:srgbClr val="FFFFFF"/>
                </a:solidFill>
                <a:latin typeface="Roboto"/>
                <a:cs typeface="Roboto"/>
              </a:rPr>
              <a:t> </a:t>
            </a:r>
            <a:r>
              <a:rPr sz="1600" spc="-10" dirty="0">
                <a:solidFill>
                  <a:srgbClr val="FFFFFF"/>
                </a:solidFill>
                <a:latin typeface="Roboto"/>
                <a:cs typeface="Roboto"/>
              </a:rPr>
              <a:t>3-</a:t>
            </a:r>
            <a:r>
              <a:rPr sz="1600" spc="-25" dirty="0">
                <a:solidFill>
                  <a:srgbClr val="FFFFFF"/>
                </a:solidFill>
                <a:latin typeface="Roboto"/>
                <a:cs typeface="Roboto"/>
              </a:rPr>
              <a:t>5)</a:t>
            </a:r>
            <a:endParaRPr sz="1600">
              <a:latin typeface="Roboto"/>
              <a:cs typeface="Roboto"/>
            </a:endParaRPr>
          </a:p>
        </p:txBody>
      </p:sp>
      <p:sp>
        <p:nvSpPr>
          <p:cNvPr id="19" name="object 19"/>
          <p:cNvSpPr txBox="1"/>
          <p:nvPr/>
        </p:nvSpPr>
        <p:spPr>
          <a:xfrm>
            <a:off x="12355779" y="4369435"/>
            <a:ext cx="3348990" cy="508000"/>
          </a:xfrm>
          <a:prstGeom prst="rect">
            <a:avLst/>
          </a:prstGeom>
        </p:spPr>
        <p:txBody>
          <a:bodyPr vert="horz" wrap="square" lIns="0" tIns="12700" rIns="0" bIns="0" rtlCol="0">
            <a:spAutoFit/>
          </a:bodyPr>
          <a:lstStyle/>
          <a:p>
            <a:pPr algn="ctr">
              <a:lnSpc>
                <a:spcPts val="1900"/>
              </a:lnSpc>
              <a:spcBef>
                <a:spcPts val="100"/>
              </a:spcBef>
            </a:pPr>
            <a:r>
              <a:rPr sz="1600" b="1" spc="-20" dirty="0">
                <a:solidFill>
                  <a:srgbClr val="FFFFFF"/>
                </a:solidFill>
                <a:latin typeface="Roboto"/>
                <a:cs typeface="Roboto"/>
              </a:rPr>
              <a:t>DISTRIBUIR</a:t>
            </a:r>
            <a:r>
              <a:rPr sz="1600" b="1" spc="55" dirty="0">
                <a:solidFill>
                  <a:srgbClr val="FFFFFF"/>
                </a:solidFill>
                <a:latin typeface="Roboto"/>
                <a:cs typeface="Roboto"/>
              </a:rPr>
              <a:t> </a:t>
            </a:r>
            <a:r>
              <a:rPr sz="1600" b="1" dirty="0">
                <a:solidFill>
                  <a:srgbClr val="FFFFFF"/>
                </a:solidFill>
                <a:latin typeface="Roboto"/>
                <a:cs typeface="Roboto"/>
              </a:rPr>
              <a:t>IMPACTO</a:t>
            </a:r>
            <a:r>
              <a:rPr sz="1600" b="1" spc="55" dirty="0">
                <a:solidFill>
                  <a:srgbClr val="FFFFFF"/>
                </a:solidFill>
                <a:latin typeface="Roboto"/>
                <a:cs typeface="Roboto"/>
              </a:rPr>
              <a:t> </a:t>
            </a:r>
            <a:r>
              <a:rPr sz="1600" b="1" spc="-10" dirty="0">
                <a:solidFill>
                  <a:srgbClr val="FFFFFF"/>
                </a:solidFill>
                <a:latin typeface="Roboto"/>
                <a:cs typeface="Roboto"/>
              </a:rPr>
              <a:t>POSITIVO</a:t>
            </a:r>
            <a:endParaRPr sz="1600">
              <a:latin typeface="Roboto"/>
              <a:cs typeface="Roboto"/>
            </a:endParaRPr>
          </a:p>
          <a:p>
            <a:pPr algn="ctr">
              <a:lnSpc>
                <a:spcPts val="1895"/>
              </a:lnSpc>
            </a:pPr>
            <a:r>
              <a:rPr sz="1600" spc="-20" dirty="0">
                <a:solidFill>
                  <a:srgbClr val="FFFFFF"/>
                </a:solidFill>
                <a:latin typeface="Roboto"/>
                <a:cs typeface="Roboto"/>
              </a:rPr>
              <a:t>Objetivo</a:t>
            </a:r>
            <a:r>
              <a:rPr sz="1600" spc="-55" dirty="0">
                <a:solidFill>
                  <a:srgbClr val="FFFFFF"/>
                </a:solidFill>
                <a:latin typeface="Roboto"/>
                <a:cs typeface="Roboto"/>
              </a:rPr>
              <a:t> </a:t>
            </a:r>
            <a:r>
              <a:rPr sz="1600" spc="-10" dirty="0">
                <a:solidFill>
                  <a:srgbClr val="FFFFFF"/>
                </a:solidFill>
                <a:latin typeface="Roboto"/>
                <a:cs typeface="Roboto"/>
              </a:rPr>
              <a:t>medio-</a:t>
            </a:r>
            <a:r>
              <a:rPr sz="1600" dirty="0">
                <a:solidFill>
                  <a:srgbClr val="FFFFFF"/>
                </a:solidFill>
                <a:latin typeface="Roboto"/>
                <a:cs typeface="Roboto"/>
              </a:rPr>
              <a:t>largo</a:t>
            </a:r>
            <a:r>
              <a:rPr sz="1600" spc="-50" dirty="0">
                <a:solidFill>
                  <a:srgbClr val="FFFFFF"/>
                </a:solidFill>
                <a:latin typeface="Roboto"/>
                <a:cs typeface="Roboto"/>
              </a:rPr>
              <a:t> </a:t>
            </a:r>
            <a:r>
              <a:rPr sz="1600" dirty="0">
                <a:solidFill>
                  <a:srgbClr val="FFFFFF"/>
                </a:solidFill>
                <a:latin typeface="Roboto"/>
                <a:cs typeface="Roboto"/>
              </a:rPr>
              <a:t>plazo</a:t>
            </a:r>
            <a:r>
              <a:rPr sz="1600" spc="-50" dirty="0">
                <a:solidFill>
                  <a:srgbClr val="FFFFFF"/>
                </a:solidFill>
                <a:latin typeface="Roboto"/>
                <a:cs typeface="Roboto"/>
              </a:rPr>
              <a:t> </a:t>
            </a:r>
            <a:r>
              <a:rPr sz="1600" dirty="0">
                <a:solidFill>
                  <a:srgbClr val="FFFFFF"/>
                </a:solidFill>
                <a:latin typeface="Roboto"/>
                <a:cs typeface="Roboto"/>
              </a:rPr>
              <a:t>(+5</a:t>
            </a:r>
            <a:r>
              <a:rPr sz="1600" spc="-55" dirty="0">
                <a:solidFill>
                  <a:srgbClr val="FFFFFF"/>
                </a:solidFill>
                <a:latin typeface="Roboto"/>
                <a:cs typeface="Roboto"/>
              </a:rPr>
              <a:t> </a:t>
            </a:r>
            <a:r>
              <a:rPr sz="1600" spc="-10" dirty="0">
                <a:solidFill>
                  <a:srgbClr val="FFFFFF"/>
                </a:solidFill>
                <a:latin typeface="Roboto"/>
                <a:cs typeface="Roboto"/>
              </a:rPr>
              <a:t>años)</a:t>
            </a:r>
            <a:endParaRPr sz="1600">
              <a:latin typeface="Roboto"/>
              <a:cs typeface="Roboto"/>
            </a:endParaRPr>
          </a:p>
        </p:txBody>
      </p:sp>
      <p:sp>
        <p:nvSpPr>
          <p:cNvPr id="20" name="object 20"/>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1.</a:t>
            </a:r>
            <a:r>
              <a:rPr spc="-100" dirty="0"/>
              <a:t> </a:t>
            </a:r>
            <a:r>
              <a:rPr dirty="0"/>
              <a:t>Plan</a:t>
            </a:r>
            <a:r>
              <a:rPr spc="-95" dirty="0"/>
              <a:t> </a:t>
            </a:r>
            <a:r>
              <a:rPr dirty="0"/>
              <a:t>de</a:t>
            </a:r>
            <a:r>
              <a:rPr spc="-100" dirty="0"/>
              <a:t> </a:t>
            </a:r>
            <a:r>
              <a:rPr spc="-20" dirty="0"/>
              <a:t>marketing</a:t>
            </a:r>
            <a:r>
              <a:rPr spc="-95" dirty="0"/>
              <a:t> </a:t>
            </a:r>
            <a:r>
              <a:rPr spc="-25" dirty="0"/>
              <a:t>turístico</a:t>
            </a:r>
            <a:r>
              <a:rPr spc="-95" dirty="0"/>
              <a:t> </a:t>
            </a:r>
            <a:r>
              <a:rPr spc="-10" dirty="0"/>
              <a:t>internacional</a:t>
            </a:r>
          </a:p>
        </p:txBody>
      </p:sp>
      <p:grpSp>
        <p:nvGrpSpPr>
          <p:cNvPr id="21" name="object 21"/>
          <p:cNvGrpSpPr/>
          <p:nvPr/>
        </p:nvGrpSpPr>
        <p:grpSpPr>
          <a:xfrm>
            <a:off x="1749392" y="5468123"/>
            <a:ext cx="15190469" cy="4114165"/>
            <a:chOff x="1749392" y="5468123"/>
            <a:chExt cx="15190469" cy="4114165"/>
          </a:xfrm>
        </p:grpSpPr>
        <p:sp>
          <p:nvSpPr>
            <p:cNvPr id="22" name="object 22"/>
            <p:cNvSpPr/>
            <p:nvPr/>
          </p:nvSpPr>
          <p:spPr>
            <a:xfrm>
              <a:off x="2028166" y="5468123"/>
              <a:ext cx="2138680" cy="4114165"/>
            </a:xfrm>
            <a:custGeom>
              <a:avLst/>
              <a:gdLst/>
              <a:ahLst/>
              <a:cxnLst/>
              <a:rect l="l" t="t" r="r" b="b"/>
              <a:pathLst>
                <a:path w="2138679" h="4114165">
                  <a:moveTo>
                    <a:pt x="1069333" y="4113966"/>
                  </a:moveTo>
                  <a:lnTo>
                    <a:pt x="996175" y="4113386"/>
                  </a:lnTo>
                  <a:lnTo>
                    <a:pt x="924333" y="4111671"/>
                  </a:lnTo>
                  <a:lnTo>
                    <a:pt x="853964" y="4108859"/>
                  </a:lnTo>
                  <a:lnTo>
                    <a:pt x="785230" y="4104985"/>
                  </a:lnTo>
                  <a:lnTo>
                    <a:pt x="718290" y="4100087"/>
                  </a:lnTo>
                  <a:lnTo>
                    <a:pt x="653305" y="4094201"/>
                  </a:lnTo>
                  <a:lnTo>
                    <a:pt x="590433" y="4087365"/>
                  </a:lnTo>
                  <a:lnTo>
                    <a:pt x="529835" y="4079616"/>
                  </a:lnTo>
                  <a:lnTo>
                    <a:pt x="471671" y="4070989"/>
                  </a:lnTo>
                  <a:lnTo>
                    <a:pt x="416101" y="4061523"/>
                  </a:lnTo>
                  <a:lnTo>
                    <a:pt x="363285" y="4051254"/>
                  </a:lnTo>
                  <a:lnTo>
                    <a:pt x="313382" y="4040219"/>
                  </a:lnTo>
                  <a:lnTo>
                    <a:pt x="266552" y="4028455"/>
                  </a:lnTo>
                  <a:lnTo>
                    <a:pt x="222956" y="4015999"/>
                  </a:lnTo>
                  <a:lnTo>
                    <a:pt x="182753" y="4002887"/>
                  </a:lnTo>
                  <a:lnTo>
                    <a:pt x="146103" y="3989157"/>
                  </a:lnTo>
                  <a:lnTo>
                    <a:pt x="84101" y="3959989"/>
                  </a:lnTo>
                  <a:lnTo>
                    <a:pt x="38231" y="3928790"/>
                  </a:lnTo>
                  <a:lnTo>
                    <a:pt x="9771" y="3895854"/>
                  </a:lnTo>
                  <a:lnTo>
                    <a:pt x="0" y="3861478"/>
                  </a:lnTo>
                  <a:lnTo>
                    <a:pt x="0" y="252487"/>
                  </a:lnTo>
                  <a:lnTo>
                    <a:pt x="21710" y="201684"/>
                  </a:lnTo>
                  <a:lnTo>
                    <a:pt x="58984" y="169667"/>
                  </a:lnTo>
                  <a:lnTo>
                    <a:pt x="113015" y="139486"/>
                  </a:lnTo>
                  <a:lnTo>
                    <a:pt x="182533" y="111444"/>
                  </a:lnTo>
                  <a:lnTo>
                    <a:pt x="222703" y="98321"/>
                  </a:lnTo>
                  <a:lnTo>
                    <a:pt x="266268" y="85846"/>
                  </a:lnTo>
                  <a:lnTo>
                    <a:pt x="313069" y="74058"/>
                  </a:lnTo>
                  <a:lnTo>
                    <a:pt x="362948" y="62995"/>
                  </a:lnTo>
                  <a:lnTo>
                    <a:pt x="415747" y="52695"/>
                  </a:lnTo>
                  <a:lnTo>
                    <a:pt x="471305" y="43196"/>
                  </a:lnTo>
                  <a:lnTo>
                    <a:pt x="529465" y="34535"/>
                  </a:lnTo>
                  <a:lnTo>
                    <a:pt x="590067" y="26751"/>
                  </a:lnTo>
                  <a:lnTo>
                    <a:pt x="652953" y="19881"/>
                  </a:lnTo>
                  <a:lnTo>
                    <a:pt x="717964" y="13965"/>
                  </a:lnTo>
                  <a:lnTo>
                    <a:pt x="784941" y="9039"/>
                  </a:lnTo>
                  <a:lnTo>
                    <a:pt x="853725" y="5141"/>
                  </a:lnTo>
                  <a:lnTo>
                    <a:pt x="924157" y="2310"/>
                  </a:lnTo>
                  <a:lnTo>
                    <a:pt x="996080" y="584"/>
                  </a:lnTo>
                  <a:lnTo>
                    <a:pt x="1069333" y="0"/>
                  </a:lnTo>
                  <a:lnTo>
                    <a:pt x="1142590" y="583"/>
                  </a:lnTo>
                  <a:lnTo>
                    <a:pt x="1214524" y="2310"/>
                  </a:lnTo>
                  <a:lnTo>
                    <a:pt x="1284975" y="5141"/>
                  </a:lnTo>
                  <a:lnTo>
                    <a:pt x="1353783" y="9038"/>
                  </a:lnTo>
                  <a:lnTo>
                    <a:pt x="1420788" y="13965"/>
                  </a:lnTo>
                  <a:lnTo>
                    <a:pt x="1485830" y="19881"/>
                  </a:lnTo>
                  <a:lnTo>
                    <a:pt x="1548750" y="26751"/>
                  </a:lnTo>
                  <a:lnTo>
                    <a:pt x="1609386" y="34535"/>
                  </a:lnTo>
                  <a:lnTo>
                    <a:pt x="1667581" y="43196"/>
                  </a:lnTo>
                  <a:lnTo>
                    <a:pt x="1723172" y="52695"/>
                  </a:lnTo>
                  <a:lnTo>
                    <a:pt x="1776002" y="62995"/>
                  </a:lnTo>
                  <a:lnTo>
                    <a:pt x="1825909" y="74058"/>
                  </a:lnTo>
                  <a:lnTo>
                    <a:pt x="1872735" y="85846"/>
                  </a:lnTo>
                  <a:lnTo>
                    <a:pt x="1916318" y="98321"/>
                  </a:lnTo>
                  <a:lnTo>
                    <a:pt x="1956499" y="111444"/>
                  </a:lnTo>
                  <a:lnTo>
                    <a:pt x="1993119" y="125179"/>
                  </a:lnTo>
                  <a:lnTo>
                    <a:pt x="2055034" y="154328"/>
                  </a:lnTo>
                  <a:lnTo>
                    <a:pt x="2100782" y="185465"/>
                  </a:lnTo>
                  <a:lnTo>
                    <a:pt x="2129086" y="218286"/>
                  </a:lnTo>
                  <a:lnTo>
                    <a:pt x="2138666" y="252487"/>
                  </a:lnTo>
                  <a:lnTo>
                    <a:pt x="2138666" y="3861478"/>
                  </a:lnTo>
                  <a:lnTo>
                    <a:pt x="2116956" y="3912281"/>
                  </a:lnTo>
                  <a:lnTo>
                    <a:pt x="2079682" y="3944298"/>
                  </a:lnTo>
                  <a:lnTo>
                    <a:pt x="2025651" y="3974480"/>
                  </a:lnTo>
                  <a:lnTo>
                    <a:pt x="1956133" y="4002521"/>
                  </a:lnTo>
                  <a:lnTo>
                    <a:pt x="1915963" y="4015645"/>
                  </a:lnTo>
                  <a:lnTo>
                    <a:pt x="1872398" y="4028119"/>
                  </a:lnTo>
                  <a:lnTo>
                    <a:pt x="1825597" y="4039907"/>
                  </a:lnTo>
                  <a:lnTo>
                    <a:pt x="1775717" y="4050970"/>
                  </a:lnTo>
                  <a:lnTo>
                    <a:pt x="1722919" y="4061270"/>
                  </a:lnTo>
                  <a:lnTo>
                    <a:pt x="1667361" y="4070770"/>
                  </a:lnTo>
                  <a:lnTo>
                    <a:pt x="1609201" y="4079430"/>
                  </a:lnTo>
                  <a:lnTo>
                    <a:pt x="1548599" y="4087215"/>
                  </a:lnTo>
                  <a:lnTo>
                    <a:pt x="1485713" y="4094084"/>
                  </a:lnTo>
                  <a:lnTo>
                    <a:pt x="1420702" y="4100001"/>
                  </a:lnTo>
                  <a:lnTo>
                    <a:pt x="1353725" y="4104927"/>
                  </a:lnTo>
                  <a:lnTo>
                    <a:pt x="1284941" y="4108824"/>
                  </a:lnTo>
                  <a:lnTo>
                    <a:pt x="1214508" y="4111655"/>
                  </a:lnTo>
                  <a:lnTo>
                    <a:pt x="1142586" y="4113382"/>
                  </a:lnTo>
                  <a:lnTo>
                    <a:pt x="1069333" y="4113966"/>
                  </a:lnTo>
                  <a:close/>
                </a:path>
              </a:pathLst>
            </a:custGeom>
            <a:solidFill>
              <a:srgbClr val="ECE4D5"/>
            </a:solidFill>
          </p:spPr>
          <p:txBody>
            <a:bodyPr wrap="square" lIns="0" tIns="0" rIns="0" bIns="0" rtlCol="0"/>
            <a:lstStyle/>
            <a:p>
              <a:endParaRPr/>
            </a:p>
          </p:txBody>
        </p:sp>
        <p:sp>
          <p:nvSpPr>
            <p:cNvPr id="23" name="object 23"/>
            <p:cNvSpPr/>
            <p:nvPr/>
          </p:nvSpPr>
          <p:spPr>
            <a:xfrm>
              <a:off x="2028166" y="5468123"/>
              <a:ext cx="2138680" cy="505459"/>
            </a:xfrm>
            <a:custGeom>
              <a:avLst/>
              <a:gdLst/>
              <a:ahLst/>
              <a:cxnLst/>
              <a:rect l="l" t="t" r="r" b="b"/>
              <a:pathLst>
                <a:path w="2138679" h="505460">
                  <a:moveTo>
                    <a:pt x="1069333" y="504975"/>
                  </a:moveTo>
                  <a:lnTo>
                    <a:pt x="1016863" y="504671"/>
                  </a:lnTo>
                  <a:lnTo>
                    <a:pt x="964520" y="503759"/>
                  </a:lnTo>
                  <a:lnTo>
                    <a:pt x="912429" y="502242"/>
                  </a:lnTo>
                  <a:lnTo>
                    <a:pt x="860716" y="500123"/>
                  </a:lnTo>
                  <a:lnTo>
                    <a:pt x="809506" y="497408"/>
                  </a:lnTo>
                  <a:lnTo>
                    <a:pt x="758922" y="494103"/>
                  </a:lnTo>
                  <a:lnTo>
                    <a:pt x="709085" y="490216"/>
                  </a:lnTo>
                  <a:lnTo>
                    <a:pt x="660117" y="485755"/>
                  </a:lnTo>
                  <a:lnTo>
                    <a:pt x="612134" y="480734"/>
                  </a:lnTo>
                  <a:lnTo>
                    <a:pt x="565253" y="475161"/>
                  </a:lnTo>
                  <a:lnTo>
                    <a:pt x="519585" y="469053"/>
                  </a:lnTo>
                  <a:lnTo>
                    <a:pt x="475243" y="462423"/>
                  </a:lnTo>
                  <a:lnTo>
                    <a:pt x="432331" y="455287"/>
                  </a:lnTo>
                  <a:lnTo>
                    <a:pt x="390955" y="447663"/>
                  </a:lnTo>
                  <a:lnTo>
                    <a:pt x="351212" y="439568"/>
                  </a:lnTo>
                  <a:lnTo>
                    <a:pt x="313200" y="431023"/>
                  </a:lnTo>
                  <a:lnTo>
                    <a:pt x="259629" y="417407"/>
                  </a:lnTo>
                  <a:lnTo>
                    <a:pt x="210436" y="402894"/>
                  </a:lnTo>
                  <a:lnTo>
                    <a:pt x="165898" y="387566"/>
                  </a:lnTo>
                  <a:lnTo>
                    <a:pt x="126265" y="371509"/>
                  </a:lnTo>
                  <a:lnTo>
                    <a:pt x="91741" y="354807"/>
                  </a:lnTo>
                  <a:lnTo>
                    <a:pt x="53973" y="331690"/>
                  </a:lnTo>
                  <a:lnTo>
                    <a:pt x="20546" y="301745"/>
                  </a:lnTo>
                  <a:lnTo>
                    <a:pt x="0" y="260757"/>
                  </a:lnTo>
                  <a:lnTo>
                    <a:pt x="0" y="244218"/>
                  </a:lnTo>
                  <a:lnTo>
                    <a:pt x="15741" y="209323"/>
                  </a:lnTo>
                  <a:lnTo>
                    <a:pt x="46045" y="179194"/>
                  </a:lnTo>
                  <a:lnTo>
                    <a:pt x="81398" y="155864"/>
                  </a:lnTo>
                  <a:lnTo>
                    <a:pt x="126265" y="133465"/>
                  </a:lnTo>
                  <a:lnTo>
                    <a:pt x="165898" y="117408"/>
                  </a:lnTo>
                  <a:lnTo>
                    <a:pt x="210436" y="102080"/>
                  </a:lnTo>
                  <a:lnTo>
                    <a:pt x="259629" y="87568"/>
                  </a:lnTo>
                  <a:lnTo>
                    <a:pt x="313200" y="73951"/>
                  </a:lnTo>
                  <a:lnTo>
                    <a:pt x="351212" y="65406"/>
                  </a:lnTo>
                  <a:lnTo>
                    <a:pt x="390955" y="57312"/>
                  </a:lnTo>
                  <a:lnTo>
                    <a:pt x="432331" y="49687"/>
                  </a:lnTo>
                  <a:lnTo>
                    <a:pt x="475243" y="42551"/>
                  </a:lnTo>
                  <a:lnTo>
                    <a:pt x="519585" y="35921"/>
                  </a:lnTo>
                  <a:lnTo>
                    <a:pt x="565253" y="29813"/>
                  </a:lnTo>
                  <a:lnTo>
                    <a:pt x="612134" y="24241"/>
                  </a:lnTo>
                  <a:lnTo>
                    <a:pt x="660117" y="19219"/>
                  </a:lnTo>
                  <a:lnTo>
                    <a:pt x="709085" y="14759"/>
                  </a:lnTo>
                  <a:lnTo>
                    <a:pt x="758922" y="10872"/>
                  </a:lnTo>
                  <a:lnTo>
                    <a:pt x="809506" y="7566"/>
                  </a:lnTo>
                  <a:lnTo>
                    <a:pt x="860716" y="4851"/>
                  </a:lnTo>
                  <a:lnTo>
                    <a:pt x="912429" y="2732"/>
                  </a:lnTo>
                  <a:lnTo>
                    <a:pt x="964520" y="1215"/>
                  </a:lnTo>
                  <a:lnTo>
                    <a:pt x="1016863" y="303"/>
                  </a:lnTo>
                  <a:lnTo>
                    <a:pt x="1069333" y="0"/>
                  </a:lnTo>
                  <a:lnTo>
                    <a:pt x="1121803" y="303"/>
                  </a:lnTo>
                  <a:lnTo>
                    <a:pt x="1174146" y="1215"/>
                  </a:lnTo>
                  <a:lnTo>
                    <a:pt x="1226237" y="2732"/>
                  </a:lnTo>
                  <a:lnTo>
                    <a:pt x="1277949" y="4851"/>
                  </a:lnTo>
                  <a:lnTo>
                    <a:pt x="1329160" y="7566"/>
                  </a:lnTo>
                  <a:lnTo>
                    <a:pt x="1379744" y="10872"/>
                  </a:lnTo>
                  <a:lnTo>
                    <a:pt x="1429581" y="14759"/>
                  </a:lnTo>
                  <a:lnTo>
                    <a:pt x="1478549" y="19219"/>
                  </a:lnTo>
                  <a:lnTo>
                    <a:pt x="1526532" y="24241"/>
                  </a:lnTo>
                  <a:lnTo>
                    <a:pt x="1573413" y="29813"/>
                  </a:lnTo>
                  <a:lnTo>
                    <a:pt x="1619080" y="35921"/>
                  </a:lnTo>
                  <a:lnTo>
                    <a:pt x="1663423" y="42551"/>
                  </a:lnTo>
                  <a:lnTo>
                    <a:pt x="1706334" y="49687"/>
                  </a:lnTo>
                  <a:lnTo>
                    <a:pt x="1747711" y="57312"/>
                  </a:lnTo>
                  <a:lnTo>
                    <a:pt x="1787454" y="65406"/>
                  </a:lnTo>
                  <a:lnTo>
                    <a:pt x="1825466" y="73951"/>
                  </a:lnTo>
                  <a:lnTo>
                    <a:pt x="1879037" y="87568"/>
                  </a:lnTo>
                  <a:lnTo>
                    <a:pt x="1928230" y="102080"/>
                  </a:lnTo>
                  <a:lnTo>
                    <a:pt x="1972768" y="117408"/>
                  </a:lnTo>
                  <a:lnTo>
                    <a:pt x="2012401" y="133465"/>
                  </a:lnTo>
                  <a:lnTo>
                    <a:pt x="2046925" y="150167"/>
                  </a:lnTo>
                  <a:lnTo>
                    <a:pt x="2084693" y="173285"/>
                  </a:lnTo>
                  <a:lnTo>
                    <a:pt x="2118119" y="203229"/>
                  </a:lnTo>
                  <a:lnTo>
                    <a:pt x="2138666" y="244218"/>
                  </a:lnTo>
                  <a:lnTo>
                    <a:pt x="2138666" y="252487"/>
                  </a:lnTo>
                  <a:lnTo>
                    <a:pt x="2138666" y="260757"/>
                  </a:lnTo>
                  <a:lnTo>
                    <a:pt x="2122925" y="295651"/>
                  </a:lnTo>
                  <a:lnTo>
                    <a:pt x="2092621" y="325780"/>
                  </a:lnTo>
                  <a:lnTo>
                    <a:pt x="2057268" y="349110"/>
                  </a:lnTo>
                  <a:lnTo>
                    <a:pt x="2012401" y="371509"/>
                  </a:lnTo>
                  <a:lnTo>
                    <a:pt x="1972767" y="387566"/>
                  </a:lnTo>
                  <a:lnTo>
                    <a:pt x="1928230" y="402894"/>
                  </a:lnTo>
                  <a:lnTo>
                    <a:pt x="1879037" y="417407"/>
                  </a:lnTo>
                  <a:lnTo>
                    <a:pt x="1825466" y="431023"/>
                  </a:lnTo>
                  <a:lnTo>
                    <a:pt x="1787454" y="439568"/>
                  </a:lnTo>
                  <a:lnTo>
                    <a:pt x="1747711" y="447663"/>
                  </a:lnTo>
                  <a:lnTo>
                    <a:pt x="1706334" y="455287"/>
                  </a:lnTo>
                  <a:lnTo>
                    <a:pt x="1663423" y="462423"/>
                  </a:lnTo>
                  <a:lnTo>
                    <a:pt x="1619080" y="469053"/>
                  </a:lnTo>
                  <a:lnTo>
                    <a:pt x="1573413" y="475161"/>
                  </a:lnTo>
                  <a:lnTo>
                    <a:pt x="1526532" y="480734"/>
                  </a:lnTo>
                  <a:lnTo>
                    <a:pt x="1478549" y="485755"/>
                  </a:lnTo>
                  <a:lnTo>
                    <a:pt x="1429581" y="490216"/>
                  </a:lnTo>
                  <a:lnTo>
                    <a:pt x="1379744" y="494103"/>
                  </a:lnTo>
                  <a:lnTo>
                    <a:pt x="1329160" y="497408"/>
                  </a:lnTo>
                  <a:lnTo>
                    <a:pt x="1277949" y="500123"/>
                  </a:lnTo>
                  <a:lnTo>
                    <a:pt x="1226237" y="502242"/>
                  </a:lnTo>
                  <a:lnTo>
                    <a:pt x="1174146" y="503759"/>
                  </a:lnTo>
                  <a:lnTo>
                    <a:pt x="1121803" y="504671"/>
                  </a:lnTo>
                  <a:lnTo>
                    <a:pt x="1069333" y="504975"/>
                  </a:lnTo>
                  <a:close/>
                </a:path>
              </a:pathLst>
            </a:custGeom>
            <a:solidFill>
              <a:srgbClr val="0090AE">
                <a:alpha val="49798"/>
              </a:srgbClr>
            </a:solidFill>
          </p:spPr>
          <p:txBody>
            <a:bodyPr wrap="square" lIns="0" tIns="0" rIns="0" bIns="0" rtlCol="0"/>
            <a:lstStyle/>
            <a:p>
              <a:endParaRPr/>
            </a:p>
          </p:txBody>
        </p:sp>
        <p:sp>
          <p:nvSpPr>
            <p:cNvPr id="24" name="object 24"/>
            <p:cNvSpPr/>
            <p:nvPr/>
          </p:nvSpPr>
          <p:spPr>
            <a:xfrm>
              <a:off x="5055811" y="5468123"/>
              <a:ext cx="2138680" cy="4114165"/>
            </a:xfrm>
            <a:custGeom>
              <a:avLst/>
              <a:gdLst/>
              <a:ahLst/>
              <a:cxnLst/>
              <a:rect l="l" t="t" r="r" b="b"/>
              <a:pathLst>
                <a:path w="2138679" h="4114165">
                  <a:moveTo>
                    <a:pt x="1069333" y="4113966"/>
                  </a:moveTo>
                  <a:lnTo>
                    <a:pt x="996175" y="4113386"/>
                  </a:lnTo>
                  <a:lnTo>
                    <a:pt x="924333" y="4111671"/>
                  </a:lnTo>
                  <a:lnTo>
                    <a:pt x="853964" y="4108859"/>
                  </a:lnTo>
                  <a:lnTo>
                    <a:pt x="785230" y="4104985"/>
                  </a:lnTo>
                  <a:lnTo>
                    <a:pt x="718290" y="4100087"/>
                  </a:lnTo>
                  <a:lnTo>
                    <a:pt x="653305" y="4094201"/>
                  </a:lnTo>
                  <a:lnTo>
                    <a:pt x="590433" y="4087365"/>
                  </a:lnTo>
                  <a:lnTo>
                    <a:pt x="529835" y="4079616"/>
                  </a:lnTo>
                  <a:lnTo>
                    <a:pt x="471671" y="4070989"/>
                  </a:lnTo>
                  <a:lnTo>
                    <a:pt x="416101" y="4061523"/>
                  </a:lnTo>
                  <a:lnTo>
                    <a:pt x="363285" y="4051254"/>
                  </a:lnTo>
                  <a:lnTo>
                    <a:pt x="313382" y="4040219"/>
                  </a:lnTo>
                  <a:lnTo>
                    <a:pt x="266552" y="4028455"/>
                  </a:lnTo>
                  <a:lnTo>
                    <a:pt x="222956" y="4015999"/>
                  </a:lnTo>
                  <a:lnTo>
                    <a:pt x="182753" y="4002887"/>
                  </a:lnTo>
                  <a:lnTo>
                    <a:pt x="146103" y="3989157"/>
                  </a:lnTo>
                  <a:lnTo>
                    <a:pt x="84101" y="3959989"/>
                  </a:lnTo>
                  <a:lnTo>
                    <a:pt x="38231" y="3928790"/>
                  </a:lnTo>
                  <a:lnTo>
                    <a:pt x="9771" y="3895854"/>
                  </a:lnTo>
                  <a:lnTo>
                    <a:pt x="0" y="3861478"/>
                  </a:lnTo>
                  <a:lnTo>
                    <a:pt x="0" y="252487"/>
                  </a:lnTo>
                  <a:lnTo>
                    <a:pt x="21710" y="201684"/>
                  </a:lnTo>
                  <a:lnTo>
                    <a:pt x="58984" y="169667"/>
                  </a:lnTo>
                  <a:lnTo>
                    <a:pt x="113015" y="139486"/>
                  </a:lnTo>
                  <a:lnTo>
                    <a:pt x="182533" y="111444"/>
                  </a:lnTo>
                  <a:lnTo>
                    <a:pt x="222703" y="98321"/>
                  </a:lnTo>
                  <a:lnTo>
                    <a:pt x="266268" y="85846"/>
                  </a:lnTo>
                  <a:lnTo>
                    <a:pt x="313069" y="74058"/>
                  </a:lnTo>
                  <a:lnTo>
                    <a:pt x="362948" y="62995"/>
                  </a:lnTo>
                  <a:lnTo>
                    <a:pt x="415747" y="52695"/>
                  </a:lnTo>
                  <a:lnTo>
                    <a:pt x="471305" y="43196"/>
                  </a:lnTo>
                  <a:lnTo>
                    <a:pt x="529465" y="34535"/>
                  </a:lnTo>
                  <a:lnTo>
                    <a:pt x="590067" y="26751"/>
                  </a:lnTo>
                  <a:lnTo>
                    <a:pt x="652953" y="19881"/>
                  </a:lnTo>
                  <a:lnTo>
                    <a:pt x="717964" y="13965"/>
                  </a:lnTo>
                  <a:lnTo>
                    <a:pt x="784941" y="9039"/>
                  </a:lnTo>
                  <a:lnTo>
                    <a:pt x="853725" y="5141"/>
                  </a:lnTo>
                  <a:lnTo>
                    <a:pt x="924157" y="2310"/>
                  </a:lnTo>
                  <a:lnTo>
                    <a:pt x="996080" y="584"/>
                  </a:lnTo>
                  <a:lnTo>
                    <a:pt x="1069333" y="0"/>
                  </a:lnTo>
                  <a:lnTo>
                    <a:pt x="1142590" y="583"/>
                  </a:lnTo>
                  <a:lnTo>
                    <a:pt x="1214524" y="2310"/>
                  </a:lnTo>
                  <a:lnTo>
                    <a:pt x="1284975" y="5141"/>
                  </a:lnTo>
                  <a:lnTo>
                    <a:pt x="1353783" y="9038"/>
                  </a:lnTo>
                  <a:lnTo>
                    <a:pt x="1420788" y="13965"/>
                  </a:lnTo>
                  <a:lnTo>
                    <a:pt x="1485830" y="19881"/>
                  </a:lnTo>
                  <a:lnTo>
                    <a:pt x="1548750" y="26751"/>
                  </a:lnTo>
                  <a:lnTo>
                    <a:pt x="1609386" y="34535"/>
                  </a:lnTo>
                  <a:lnTo>
                    <a:pt x="1667581" y="43196"/>
                  </a:lnTo>
                  <a:lnTo>
                    <a:pt x="1723172" y="52695"/>
                  </a:lnTo>
                  <a:lnTo>
                    <a:pt x="1776002" y="62995"/>
                  </a:lnTo>
                  <a:lnTo>
                    <a:pt x="1825909" y="74058"/>
                  </a:lnTo>
                  <a:lnTo>
                    <a:pt x="1872735" y="85846"/>
                  </a:lnTo>
                  <a:lnTo>
                    <a:pt x="1916318" y="98321"/>
                  </a:lnTo>
                  <a:lnTo>
                    <a:pt x="1956499" y="111444"/>
                  </a:lnTo>
                  <a:lnTo>
                    <a:pt x="1993119" y="125179"/>
                  </a:lnTo>
                  <a:lnTo>
                    <a:pt x="2055034" y="154328"/>
                  </a:lnTo>
                  <a:lnTo>
                    <a:pt x="2100782" y="185465"/>
                  </a:lnTo>
                  <a:lnTo>
                    <a:pt x="2129086" y="218286"/>
                  </a:lnTo>
                  <a:lnTo>
                    <a:pt x="2138666" y="252487"/>
                  </a:lnTo>
                  <a:lnTo>
                    <a:pt x="2138666" y="3861478"/>
                  </a:lnTo>
                  <a:lnTo>
                    <a:pt x="2116956" y="3912281"/>
                  </a:lnTo>
                  <a:lnTo>
                    <a:pt x="2079682" y="3944298"/>
                  </a:lnTo>
                  <a:lnTo>
                    <a:pt x="2025651" y="3974480"/>
                  </a:lnTo>
                  <a:lnTo>
                    <a:pt x="1956133" y="4002521"/>
                  </a:lnTo>
                  <a:lnTo>
                    <a:pt x="1915963" y="4015645"/>
                  </a:lnTo>
                  <a:lnTo>
                    <a:pt x="1872398" y="4028119"/>
                  </a:lnTo>
                  <a:lnTo>
                    <a:pt x="1825597" y="4039907"/>
                  </a:lnTo>
                  <a:lnTo>
                    <a:pt x="1775717" y="4050970"/>
                  </a:lnTo>
                  <a:lnTo>
                    <a:pt x="1722919" y="4061270"/>
                  </a:lnTo>
                  <a:lnTo>
                    <a:pt x="1667361" y="4070770"/>
                  </a:lnTo>
                  <a:lnTo>
                    <a:pt x="1609201" y="4079430"/>
                  </a:lnTo>
                  <a:lnTo>
                    <a:pt x="1548599" y="4087215"/>
                  </a:lnTo>
                  <a:lnTo>
                    <a:pt x="1485713" y="4094084"/>
                  </a:lnTo>
                  <a:lnTo>
                    <a:pt x="1420702" y="4100001"/>
                  </a:lnTo>
                  <a:lnTo>
                    <a:pt x="1353725" y="4104927"/>
                  </a:lnTo>
                  <a:lnTo>
                    <a:pt x="1284941" y="4108824"/>
                  </a:lnTo>
                  <a:lnTo>
                    <a:pt x="1214508" y="4111655"/>
                  </a:lnTo>
                  <a:lnTo>
                    <a:pt x="1142586" y="4113382"/>
                  </a:lnTo>
                  <a:lnTo>
                    <a:pt x="1069333" y="4113966"/>
                  </a:lnTo>
                  <a:close/>
                </a:path>
              </a:pathLst>
            </a:custGeom>
            <a:solidFill>
              <a:srgbClr val="ECE4D5"/>
            </a:solidFill>
          </p:spPr>
          <p:txBody>
            <a:bodyPr wrap="square" lIns="0" tIns="0" rIns="0" bIns="0" rtlCol="0"/>
            <a:lstStyle/>
            <a:p>
              <a:endParaRPr/>
            </a:p>
          </p:txBody>
        </p:sp>
        <p:sp>
          <p:nvSpPr>
            <p:cNvPr id="25" name="object 25"/>
            <p:cNvSpPr/>
            <p:nvPr/>
          </p:nvSpPr>
          <p:spPr>
            <a:xfrm>
              <a:off x="5055811" y="5468123"/>
              <a:ext cx="2138680" cy="505459"/>
            </a:xfrm>
            <a:custGeom>
              <a:avLst/>
              <a:gdLst/>
              <a:ahLst/>
              <a:cxnLst/>
              <a:rect l="l" t="t" r="r" b="b"/>
              <a:pathLst>
                <a:path w="2138679" h="505460">
                  <a:moveTo>
                    <a:pt x="1069333" y="504975"/>
                  </a:moveTo>
                  <a:lnTo>
                    <a:pt x="1016863" y="504671"/>
                  </a:lnTo>
                  <a:lnTo>
                    <a:pt x="964520" y="503759"/>
                  </a:lnTo>
                  <a:lnTo>
                    <a:pt x="912429" y="502242"/>
                  </a:lnTo>
                  <a:lnTo>
                    <a:pt x="860716" y="500123"/>
                  </a:lnTo>
                  <a:lnTo>
                    <a:pt x="809506" y="497408"/>
                  </a:lnTo>
                  <a:lnTo>
                    <a:pt x="758922" y="494103"/>
                  </a:lnTo>
                  <a:lnTo>
                    <a:pt x="709085" y="490216"/>
                  </a:lnTo>
                  <a:lnTo>
                    <a:pt x="660117" y="485755"/>
                  </a:lnTo>
                  <a:lnTo>
                    <a:pt x="612134" y="480734"/>
                  </a:lnTo>
                  <a:lnTo>
                    <a:pt x="565253" y="475161"/>
                  </a:lnTo>
                  <a:lnTo>
                    <a:pt x="519585" y="469053"/>
                  </a:lnTo>
                  <a:lnTo>
                    <a:pt x="475243" y="462423"/>
                  </a:lnTo>
                  <a:lnTo>
                    <a:pt x="432331" y="455287"/>
                  </a:lnTo>
                  <a:lnTo>
                    <a:pt x="390955" y="447663"/>
                  </a:lnTo>
                  <a:lnTo>
                    <a:pt x="351212" y="439568"/>
                  </a:lnTo>
                  <a:lnTo>
                    <a:pt x="313200" y="431023"/>
                  </a:lnTo>
                  <a:lnTo>
                    <a:pt x="259629" y="417407"/>
                  </a:lnTo>
                  <a:lnTo>
                    <a:pt x="210436" y="402894"/>
                  </a:lnTo>
                  <a:lnTo>
                    <a:pt x="165898" y="387566"/>
                  </a:lnTo>
                  <a:lnTo>
                    <a:pt x="126265" y="371509"/>
                  </a:lnTo>
                  <a:lnTo>
                    <a:pt x="91741" y="354807"/>
                  </a:lnTo>
                  <a:lnTo>
                    <a:pt x="53973" y="331690"/>
                  </a:lnTo>
                  <a:lnTo>
                    <a:pt x="20546" y="301745"/>
                  </a:lnTo>
                  <a:lnTo>
                    <a:pt x="0" y="260757"/>
                  </a:lnTo>
                  <a:lnTo>
                    <a:pt x="0" y="244218"/>
                  </a:lnTo>
                  <a:lnTo>
                    <a:pt x="15741" y="209323"/>
                  </a:lnTo>
                  <a:lnTo>
                    <a:pt x="46045" y="179194"/>
                  </a:lnTo>
                  <a:lnTo>
                    <a:pt x="81398" y="155864"/>
                  </a:lnTo>
                  <a:lnTo>
                    <a:pt x="126265" y="133465"/>
                  </a:lnTo>
                  <a:lnTo>
                    <a:pt x="165898" y="117408"/>
                  </a:lnTo>
                  <a:lnTo>
                    <a:pt x="210436" y="102080"/>
                  </a:lnTo>
                  <a:lnTo>
                    <a:pt x="259629" y="87568"/>
                  </a:lnTo>
                  <a:lnTo>
                    <a:pt x="313200" y="73951"/>
                  </a:lnTo>
                  <a:lnTo>
                    <a:pt x="351212" y="65406"/>
                  </a:lnTo>
                  <a:lnTo>
                    <a:pt x="390955" y="57312"/>
                  </a:lnTo>
                  <a:lnTo>
                    <a:pt x="432331" y="49687"/>
                  </a:lnTo>
                  <a:lnTo>
                    <a:pt x="475243" y="42551"/>
                  </a:lnTo>
                  <a:lnTo>
                    <a:pt x="519585" y="35921"/>
                  </a:lnTo>
                  <a:lnTo>
                    <a:pt x="565253" y="29813"/>
                  </a:lnTo>
                  <a:lnTo>
                    <a:pt x="612134" y="24241"/>
                  </a:lnTo>
                  <a:lnTo>
                    <a:pt x="660117" y="19219"/>
                  </a:lnTo>
                  <a:lnTo>
                    <a:pt x="709085" y="14759"/>
                  </a:lnTo>
                  <a:lnTo>
                    <a:pt x="758922" y="10872"/>
                  </a:lnTo>
                  <a:lnTo>
                    <a:pt x="809506" y="7566"/>
                  </a:lnTo>
                  <a:lnTo>
                    <a:pt x="860716" y="4851"/>
                  </a:lnTo>
                  <a:lnTo>
                    <a:pt x="912429" y="2732"/>
                  </a:lnTo>
                  <a:lnTo>
                    <a:pt x="964520" y="1215"/>
                  </a:lnTo>
                  <a:lnTo>
                    <a:pt x="1016863" y="303"/>
                  </a:lnTo>
                  <a:lnTo>
                    <a:pt x="1069333" y="0"/>
                  </a:lnTo>
                  <a:lnTo>
                    <a:pt x="1121803" y="303"/>
                  </a:lnTo>
                  <a:lnTo>
                    <a:pt x="1174146" y="1215"/>
                  </a:lnTo>
                  <a:lnTo>
                    <a:pt x="1226237" y="2732"/>
                  </a:lnTo>
                  <a:lnTo>
                    <a:pt x="1277949" y="4851"/>
                  </a:lnTo>
                  <a:lnTo>
                    <a:pt x="1329160" y="7566"/>
                  </a:lnTo>
                  <a:lnTo>
                    <a:pt x="1379744" y="10872"/>
                  </a:lnTo>
                  <a:lnTo>
                    <a:pt x="1429581" y="14759"/>
                  </a:lnTo>
                  <a:lnTo>
                    <a:pt x="1478549" y="19219"/>
                  </a:lnTo>
                  <a:lnTo>
                    <a:pt x="1526532" y="24241"/>
                  </a:lnTo>
                  <a:lnTo>
                    <a:pt x="1573413" y="29813"/>
                  </a:lnTo>
                  <a:lnTo>
                    <a:pt x="1619080" y="35921"/>
                  </a:lnTo>
                  <a:lnTo>
                    <a:pt x="1663423" y="42551"/>
                  </a:lnTo>
                  <a:lnTo>
                    <a:pt x="1706334" y="49687"/>
                  </a:lnTo>
                  <a:lnTo>
                    <a:pt x="1747711" y="57312"/>
                  </a:lnTo>
                  <a:lnTo>
                    <a:pt x="1787454" y="65406"/>
                  </a:lnTo>
                  <a:lnTo>
                    <a:pt x="1825466" y="73951"/>
                  </a:lnTo>
                  <a:lnTo>
                    <a:pt x="1879037" y="87568"/>
                  </a:lnTo>
                  <a:lnTo>
                    <a:pt x="1928230" y="102080"/>
                  </a:lnTo>
                  <a:lnTo>
                    <a:pt x="1972768" y="117408"/>
                  </a:lnTo>
                  <a:lnTo>
                    <a:pt x="2012401" y="133465"/>
                  </a:lnTo>
                  <a:lnTo>
                    <a:pt x="2046925" y="150167"/>
                  </a:lnTo>
                  <a:lnTo>
                    <a:pt x="2084693" y="173285"/>
                  </a:lnTo>
                  <a:lnTo>
                    <a:pt x="2118119" y="203229"/>
                  </a:lnTo>
                  <a:lnTo>
                    <a:pt x="2138666" y="244218"/>
                  </a:lnTo>
                  <a:lnTo>
                    <a:pt x="2138666" y="252487"/>
                  </a:lnTo>
                  <a:lnTo>
                    <a:pt x="2138666" y="260757"/>
                  </a:lnTo>
                  <a:lnTo>
                    <a:pt x="2122925" y="295651"/>
                  </a:lnTo>
                  <a:lnTo>
                    <a:pt x="2092621" y="325780"/>
                  </a:lnTo>
                  <a:lnTo>
                    <a:pt x="2057268" y="349110"/>
                  </a:lnTo>
                  <a:lnTo>
                    <a:pt x="2012401" y="371509"/>
                  </a:lnTo>
                  <a:lnTo>
                    <a:pt x="1972767" y="387566"/>
                  </a:lnTo>
                  <a:lnTo>
                    <a:pt x="1928230" y="402894"/>
                  </a:lnTo>
                  <a:lnTo>
                    <a:pt x="1879037" y="417407"/>
                  </a:lnTo>
                  <a:lnTo>
                    <a:pt x="1825466" y="431023"/>
                  </a:lnTo>
                  <a:lnTo>
                    <a:pt x="1787454" y="439568"/>
                  </a:lnTo>
                  <a:lnTo>
                    <a:pt x="1747711" y="447663"/>
                  </a:lnTo>
                  <a:lnTo>
                    <a:pt x="1706334" y="455287"/>
                  </a:lnTo>
                  <a:lnTo>
                    <a:pt x="1663423" y="462423"/>
                  </a:lnTo>
                  <a:lnTo>
                    <a:pt x="1619080" y="469053"/>
                  </a:lnTo>
                  <a:lnTo>
                    <a:pt x="1573413" y="475161"/>
                  </a:lnTo>
                  <a:lnTo>
                    <a:pt x="1526532" y="480734"/>
                  </a:lnTo>
                  <a:lnTo>
                    <a:pt x="1478549" y="485755"/>
                  </a:lnTo>
                  <a:lnTo>
                    <a:pt x="1429581" y="490216"/>
                  </a:lnTo>
                  <a:lnTo>
                    <a:pt x="1379744" y="494103"/>
                  </a:lnTo>
                  <a:lnTo>
                    <a:pt x="1329160" y="497408"/>
                  </a:lnTo>
                  <a:lnTo>
                    <a:pt x="1277949" y="500123"/>
                  </a:lnTo>
                  <a:lnTo>
                    <a:pt x="1226237" y="502242"/>
                  </a:lnTo>
                  <a:lnTo>
                    <a:pt x="1174146" y="503759"/>
                  </a:lnTo>
                  <a:lnTo>
                    <a:pt x="1121803" y="504671"/>
                  </a:lnTo>
                  <a:lnTo>
                    <a:pt x="1069333" y="504975"/>
                  </a:lnTo>
                  <a:close/>
                </a:path>
              </a:pathLst>
            </a:custGeom>
            <a:solidFill>
              <a:srgbClr val="0090AE">
                <a:alpha val="49798"/>
              </a:srgbClr>
            </a:solidFill>
          </p:spPr>
          <p:txBody>
            <a:bodyPr wrap="square" lIns="0" tIns="0" rIns="0" bIns="0" rtlCol="0"/>
            <a:lstStyle/>
            <a:p>
              <a:endParaRPr/>
            </a:p>
          </p:txBody>
        </p:sp>
        <p:sp>
          <p:nvSpPr>
            <p:cNvPr id="26" name="object 26"/>
            <p:cNvSpPr/>
            <p:nvPr/>
          </p:nvSpPr>
          <p:spPr>
            <a:xfrm>
              <a:off x="8246304" y="5468123"/>
              <a:ext cx="2138680" cy="4114165"/>
            </a:xfrm>
            <a:custGeom>
              <a:avLst/>
              <a:gdLst/>
              <a:ahLst/>
              <a:cxnLst/>
              <a:rect l="l" t="t" r="r" b="b"/>
              <a:pathLst>
                <a:path w="2138679" h="4114165">
                  <a:moveTo>
                    <a:pt x="1069333" y="4113966"/>
                  </a:moveTo>
                  <a:lnTo>
                    <a:pt x="996175" y="4113386"/>
                  </a:lnTo>
                  <a:lnTo>
                    <a:pt x="924333" y="4111671"/>
                  </a:lnTo>
                  <a:lnTo>
                    <a:pt x="853964" y="4108859"/>
                  </a:lnTo>
                  <a:lnTo>
                    <a:pt x="785230" y="4104985"/>
                  </a:lnTo>
                  <a:lnTo>
                    <a:pt x="718290" y="4100087"/>
                  </a:lnTo>
                  <a:lnTo>
                    <a:pt x="653305" y="4094201"/>
                  </a:lnTo>
                  <a:lnTo>
                    <a:pt x="590433" y="4087365"/>
                  </a:lnTo>
                  <a:lnTo>
                    <a:pt x="529835" y="4079616"/>
                  </a:lnTo>
                  <a:lnTo>
                    <a:pt x="471671" y="4070989"/>
                  </a:lnTo>
                  <a:lnTo>
                    <a:pt x="416101" y="4061523"/>
                  </a:lnTo>
                  <a:lnTo>
                    <a:pt x="363285" y="4051254"/>
                  </a:lnTo>
                  <a:lnTo>
                    <a:pt x="313382" y="4040219"/>
                  </a:lnTo>
                  <a:lnTo>
                    <a:pt x="266552" y="4028455"/>
                  </a:lnTo>
                  <a:lnTo>
                    <a:pt x="222956" y="4015999"/>
                  </a:lnTo>
                  <a:lnTo>
                    <a:pt x="182753" y="4002887"/>
                  </a:lnTo>
                  <a:lnTo>
                    <a:pt x="146103" y="3989157"/>
                  </a:lnTo>
                  <a:lnTo>
                    <a:pt x="84101" y="3959989"/>
                  </a:lnTo>
                  <a:lnTo>
                    <a:pt x="38231" y="3928790"/>
                  </a:lnTo>
                  <a:lnTo>
                    <a:pt x="9771" y="3895854"/>
                  </a:lnTo>
                  <a:lnTo>
                    <a:pt x="0" y="3861478"/>
                  </a:lnTo>
                  <a:lnTo>
                    <a:pt x="0" y="252487"/>
                  </a:lnTo>
                  <a:lnTo>
                    <a:pt x="21710" y="201684"/>
                  </a:lnTo>
                  <a:lnTo>
                    <a:pt x="58984" y="169667"/>
                  </a:lnTo>
                  <a:lnTo>
                    <a:pt x="113015" y="139486"/>
                  </a:lnTo>
                  <a:lnTo>
                    <a:pt x="182533" y="111444"/>
                  </a:lnTo>
                  <a:lnTo>
                    <a:pt x="222703" y="98321"/>
                  </a:lnTo>
                  <a:lnTo>
                    <a:pt x="266268" y="85846"/>
                  </a:lnTo>
                  <a:lnTo>
                    <a:pt x="313069" y="74058"/>
                  </a:lnTo>
                  <a:lnTo>
                    <a:pt x="362948" y="62995"/>
                  </a:lnTo>
                  <a:lnTo>
                    <a:pt x="415747" y="52695"/>
                  </a:lnTo>
                  <a:lnTo>
                    <a:pt x="471305" y="43196"/>
                  </a:lnTo>
                  <a:lnTo>
                    <a:pt x="529465" y="34535"/>
                  </a:lnTo>
                  <a:lnTo>
                    <a:pt x="590067" y="26751"/>
                  </a:lnTo>
                  <a:lnTo>
                    <a:pt x="652953" y="19881"/>
                  </a:lnTo>
                  <a:lnTo>
                    <a:pt x="717964" y="13965"/>
                  </a:lnTo>
                  <a:lnTo>
                    <a:pt x="784941" y="9039"/>
                  </a:lnTo>
                  <a:lnTo>
                    <a:pt x="853725" y="5141"/>
                  </a:lnTo>
                  <a:lnTo>
                    <a:pt x="924157" y="2310"/>
                  </a:lnTo>
                  <a:lnTo>
                    <a:pt x="996080" y="584"/>
                  </a:lnTo>
                  <a:lnTo>
                    <a:pt x="1069333" y="0"/>
                  </a:lnTo>
                  <a:lnTo>
                    <a:pt x="1142590" y="583"/>
                  </a:lnTo>
                  <a:lnTo>
                    <a:pt x="1214524" y="2310"/>
                  </a:lnTo>
                  <a:lnTo>
                    <a:pt x="1284975" y="5141"/>
                  </a:lnTo>
                  <a:lnTo>
                    <a:pt x="1353783" y="9038"/>
                  </a:lnTo>
                  <a:lnTo>
                    <a:pt x="1420788" y="13965"/>
                  </a:lnTo>
                  <a:lnTo>
                    <a:pt x="1485830" y="19881"/>
                  </a:lnTo>
                  <a:lnTo>
                    <a:pt x="1548750" y="26751"/>
                  </a:lnTo>
                  <a:lnTo>
                    <a:pt x="1609386" y="34535"/>
                  </a:lnTo>
                  <a:lnTo>
                    <a:pt x="1667581" y="43196"/>
                  </a:lnTo>
                  <a:lnTo>
                    <a:pt x="1723172" y="52695"/>
                  </a:lnTo>
                  <a:lnTo>
                    <a:pt x="1776002" y="62995"/>
                  </a:lnTo>
                  <a:lnTo>
                    <a:pt x="1825909" y="74058"/>
                  </a:lnTo>
                  <a:lnTo>
                    <a:pt x="1872735" y="85846"/>
                  </a:lnTo>
                  <a:lnTo>
                    <a:pt x="1916318" y="98321"/>
                  </a:lnTo>
                  <a:lnTo>
                    <a:pt x="1956499" y="111444"/>
                  </a:lnTo>
                  <a:lnTo>
                    <a:pt x="1993119" y="125179"/>
                  </a:lnTo>
                  <a:lnTo>
                    <a:pt x="2055034" y="154328"/>
                  </a:lnTo>
                  <a:lnTo>
                    <a:pt x="2100782" y="185465"/>
                  </a:lnTo>
                  <a:lnTo>
                    <a:pt x="2129086" y="218286"/>
                  </a:lnTo>
                  <a:lnTo>
                    <a:pt x="2138666" y="252487"/>
                  </a:lnTo>
                  <a:lnTo>
                    <a:pt x="2138666" y="3861478"/>
                  </a:lnTo>
                  <a:lnTo>
                    <a:pt x="2116956" y="3912281"/>
                  </a:lnTo>
                  <a:lnTo>
                    <a:pt x="2079682" y="3944298"/>
                  </a:lnTo>
                  <a:lnTo>
                    <a:pt x="2025651" y="3974480"/>
                  </a:lnTo>
                  <a:lnTo>
                    <a:pt x="1956133" y="4002521"/>
                  </a:lnTo>
                  <a:lnTo>
                    <a:pt x="1915963" y="4015645"/>
                  </a:lnTo>
                  <a:lnTo>
                    <a:pt x="1872398" y="4028119"/>
                  </a:lnTo>
                  <a:lnTo>
                    <a:pt x="1825597" y="4039907"/>
                  </a:lnTo>
                  <a:lnTo>
                    <a:pt x="1775717" y="4050970"/>
                  </a:lnTo>
                  <a:lnTo>
                    <a:pt x="1722919" y="4061270"/>
                  </a:lnTo>
                  <a:lnTo>
                    <a:pt x="1667361" y="4070770"/>
                  </a:lnTo>
                  <a:lnTo>
                    <a:pt x="1609201" y="4079430"/>
                  </a:lnTo>
                  <a:lnTo>
                    <a:pt x="1548599" y="4087215"/>
                  </a:lnTo>
                  <a:lnTo>
                    <a:pt x="1485713" y="4094084"/>
                  </a:lnTo>
                  <a:lnTo>
                    <a:pt x="1420702" y="4100001"/>
                  </a:lnTo>
                  <a:lnTo>
                    <a:pt x="1353725" y="4104927"/>
                  </a:lnTo>
                  <a:lnTo>
                    <a:pt x="1284941" y="4108824"/>
                  </a:lnTo>
                  <a:lnTo>
                    <a:pt x="1214508" y="4111655"/>
                  </a:lnTo>
                  <a:lnTo>
                    <a:pt x="1142586" y="4113382"/>
                  </a:lnTo>
                  <a:lnTo>
                    <a:pt x="1069333" y="4113966"/>
                  </a:lnTo>
                  <a:close/>
                </a:path>
              </a:pathLst>
            </a:custGeom>
            <a:solidFill>
              <a:srgbClr val="ECE4D5"/>
            </a:solidFill>
          </p:spPr>
          <p:txBody>
            <a:bodyPr wrap="square" lIns="0" tIns="0" rIns="0" bIns="0" rtlCol="0"/>
            <a:lstStyle/>
            <a:p>
              <a:endParaRPr/>
            </a:p>
          </p:txBody>
        </p:sp>
        <p:sp>
          <p:nvSpPr>
            <p:cNvPr id="27" name="object 27"/>
            <p:cNvSpPr/>
            <p:nvPr/>
          </p:nvSpPr>
          <p:spPr>
            <a:xfrm>
              <a:off x="8246304" y="5468123"/>
              <a:ext cx="2138680" cy="505459"/>
            </a:xfrm>
            <a:custGeom>
              <a:avLst/>
              <a:gdLst/>
              <a:ahLst/>
              <a:cxnLst/>
              <a:rect l="l" t="t" r="r" b="b"/>
              <a:pathLst>
                <a:path w="2138679" h="505460">
                  <a:moveTo>
                    <a:pt x="1069333" y="504975"/>
                  </a:moveTo>
                  <a:lnTo>
                    <a:pt x="1016863" y="504671"/>
                  </a:lnTo>
                  <a:lnTo>
                    <a:pt x="964520" y="503759"/>
                  </a:lnTo>
                  <a:lnTo>
                    <a:pt x="912429" y="502242"/>
                  </a:lnTo>
                  <a:lnTo>
                    <a:pt x="860716" y="500123"/>
                  </a:lnTo>
                  <a:lnTo>
                    <a:pt x="809506" y="497408"/>
                  </a:lnTo>
                  <a:lnTo>
                    <a:pt x="758922" y="494103"/>
                  </a:lnTo>
                  <a:lnTo>
                    <a:pt x="709085" y="490216"/>
                  </a:lnTo>
                  <a:lnTo>
                    <a:pt x="660117" y="485755"/>
                  </a:lnTo>
                  <a:lnTo>
                    <a:pt x="612134" y="480734"/>
                  </a:lnTo>
                  <a:lnTo>
                    <a:pt x="565253" y="475161"/>
                  </a:lnTo>
                  <a:lnTo>
                    <a:pt x="519585" y="469053"/>
                  </a:lnTo>
                  <a:lnTo>
                    <a:pt x="475243" y="462423"/>
                  </a:lnTo>
                  <a:lnTo>
                    <a:pt x="432331" y="455287"/>
                  </a:lnTo>
                  <a:lnTo>
                    <a:pt x="390955" y="447663"/>
                  </a:lnTo>
                  <a:lnTo>
                    <a:pt x="351212" y="439568"/>
                  </a:lnTo>
                  <a:lnTo>
                    <a:pt x="313200" y="431023"/>
                  </a:lnTo>
                  <a:lnTo>
                    <a:pt x="259629" y="417407"/>
                  </a:lnTo>
                  <a:lnTo>
                    <a:pt x="210436" y="402894"/>
                  </a:lnTo>
                  <a:lnTo>
                    <a:pt x="165898" y="387566"/>
                  </a:lnTo>
                  <a:lnTo>
                    <a:pt x="126265" y="371509"/>
                  </a:lnTo>
                  <a:lnTo>
                    <a:pt x="91741" y="354807"/>
                  </a:lnTo>
                  <a:lnTo>
                    <a:pt x="53973" y="331690"/>
                  </a:lnTo>
                  <a:lnTo>
                    <a:pt x="20546" y="301745"/>
                  </a:lnTo>
                  <a:lnTo>
                    <a:pt x="0" y="260757"/>
                  </a:lnTo>
                  <a:lnTo>
                    <a:pt x="0" y="244218"/>
                  </a:lnTo>
                  <a:lnTo>
                    <a:pt x="15741" y="209323"/>
                  </a:lnTo>
                  <a:lnTo>
                    <a:pt x="46045" y="179194"/>
                  </a:lnTo>
                  <a:lnTo>
                    <a:pt x="81398" y="155864"/>
                  </a:lnTo>
                  <a:lnTo>
                    <a:pt x="126265" y="133465"/>
                  </a:lnTo>
                  <a:lnTo>
                    <a:pt x="165898" y="117408"/>
                  </a:lnTo>
                  <a:lnTo>
                    <a:pt x="210436" y="102080"/>
                  </a:lnTo>
                  <a:lnTo>
                    <a:pt x="259629" y="87568"/>
                  </a:lnTo>
                  <a:lnTo>
                    <a:pt x="313200" y="73951"/>
                  </a:lnTo>
                  <a:lnTo>
                    <a:pt x="351212" y="65406"/>
                  </a:lnTo>
                  <a:lnTo>
                    <a:pt x="390955" y="57312"/>
                  </a:lnTo>
                  <a:lnTo>
                    <a:pt x="432331" y="49687"/>
                  </a:lnTo>
                  <a:lnTo>
                    <a:pt x="475243" y="42551"/>
                  </a:lnTo>
                  <a:lnTo>
                    <a:pt x="519585" y="35921"/>
                  </a:lnTo>
                  <a:lnTo>
                    <a:pt x="565253" y="29813"/>
                  </a:lnTo>
                  <a:lnTo>
                    <a:pt x="612134" y="24241"/>
                  </a:lnTo>
                  <a:lnTo>
                    <a:pt x="660117" y="19219"/>
                  </a:lnTo>
                  <a:lnTo>
                    <a:pt x="709085" y="14759"/>
                  </a:lnTo>
                  <a:lnTo>
                    <a:pt x="758922" y="10872"/>
                  </a:lnTo>
                  <a:lnTo>
                    <a:pt x="809506" y="7566"/>
                  </a:lnTo>
                  <a:lnTo>
                    <a:pt x="860716" y="4851"/>
                  </a:lnTo>
                  <a:lnTo>
                    <a:pt x="912429" y="2732"/>
                  </a:lnTo>
                  <a:lnTo>
                    <a:pt x="964520" y="1215"/>
                  </a:lnTo>
                  <a:lnTo>
                    <a:pt x="1016863" y="303"/>
                  </a:lnTo>
                  <a:lnTo>
                    <a:pt x="1069333" y="0"/>
                  </a:lnTo>
                  <a:lnTo>
                    <a:pt x="1121803" y="303"/>
                  </a:lnTo>
                  <a:lnTo>
                    <a:pt x="1174146" y="1215"/>
                  </a:lnTo>
                  <a:lnTo>
                    <a:pt x="1226237" y="2732"/>
                  </a:lnTo>
                  <a:lnTo>
                    <a:pt x="1277949" y="4851"/>
                  </a:lnTo>
                  <a:lnTo>
                    <a:pt x="1329160" y="7566"/>
                  </a:lnTo>
                  <a:lnTo>
                    <a:pt x="1379744" y="10872"/>
                  </a:lnTo>
                  <a:lnTo>
                    <a:pt x="1429581" y="14759"/>
                  </a:lnTo>
                  <a:lnTo>
                    <a:pt x="1478549" y="19219"/>
                  </a:lnTo>
                  <a:lnTo>
                    <a:pt x="1526532" y="24241"/>
                  </a:lnTo>
                  <a:lnTo>
                    <a:pt x="1573413" y="29813"/>
                  </a:lnTo>
                  <a:lnTo>
                    <a:pt x="1619080" y="35921"/>
                  </a:lnTo>
                  <a:lnTo>
                    <a:pt x="1663423" y="42551"/>
                  </a:lnTo>
                  <a:lnTo>
                    <a:pt x="1706334" y="49687"/>
                  </a:lnTo>
                  <a:lnTo>
                    <a:pt x="1747711" y="57312"/>
                  </a:lnTo>
                  <a:lnTo>
                    <a:pt x="1787454" y="65406"/>
                  </a:lnTo>
                  <a:lnTo>
                    <a:pt x="1825466" y="73951"/>
                  </a:lnTo>
                  <a:lnTo>
                    <a:pt x="1879037" y="87568"/>
                  </a:lnTo>
                  <a:lnTo>
                    <a:pt x="1928230" y="102080"/>
                  </a:lnTo>
                  <a:lnTo>
                    <a:pt x="1972768" y="117408"/>
                  </a:lnTo>
                  <a:lnTo>
                    <a:pt x="2012401" y="133465"/>
                  </a:lnTo>
                  <a:lnTo>
                    <a:pt x="2046925" y="150167"/>
                  </a:lnTo>
                  <a:lnTo>
                    <a:pt x="2084693" y="173285"/>
                  </a:lnTo>
                  <a:lnTo>
                    <a:pt x="2118119" y="203229"/>
                  </a:lnTo>
                  <a:lnTo>
                    <a:pt x="2138666" y="244218"/>
                  </a:lnTo>
                  <a:lnTo>
                    <a:pt x="2138666" y="252487"/>
                  </a:lnTo>
                  <a:lnTo>
                    <a:pt x="2138666" y="260757"/>
                  </a:lnTo>
                  <a:lnTo>
                    <a:pt x="2122925" y="295651"/>
                  </a:lnTo>
                  <a:lnTo>
                    <a:pt x="2092621" y="325780"/>
                  </a:lnTo>
                  <a:lnTo>
                    <a:pt x="2057268" y="349110"/>
                  </a:lnTo>
                  <a:lnTo>
                    <a:pt x="2012401" y="371509"/>
                  </a:lnTo>
                  <a:lnTo>
                    <a:pt x="1972767" y="387566"/>
                  </a:lnTo>
                  <a:lnTo>
                    <a:pt x="1928230" y="402894"/>
                  </a:lnTo>
                  <a:lnTo>
                    <a:pt x="1879037" y="417407"/>
                  </a:lnTo>
                  <a:lnTo>
                    <a:pt x="1825466" y="431023"/>
                  </a:lnTo>
                  <a:lnTo>
                    <a:pt x="1787454" y="439568"/>
                  </a:lnTo>
                  <a:lnTo>
                    <a:pt x="1747711" y="447663"/>
                  </a:lnTo>
                  <a:lnTo>
                    <a:pt x="1706334" y="455287"/>
                  </a:lnTo>
                  <a:lnTo>
                    <a:pt x="1663423" y="462423"/>
                  </a:lnTo>
                  <a:lnTo>
                    <a:pt x="1619080" y="469053"/>
                  </a:lnTo>
                  <a:lnTo>
                    <a:pt x="1573413" y="475161"/>
                  </a:lnTo>
                  <a:lnTo>
                    <a:pt x="1526532" y="480734"/>
                  </a:lnTo>
                  <a:lnTo>
                    <a:pt x="1478549" y="485755"/>
                  </a:lnTo>
                  <a:lnTo>
                    <a:pt x="1429581" y="490216"/>
                  </a:lnTo>
                  <a:lnTo>
                    <a:pt x="1379744" y="494103"/>
                  </a:lnTo>
                  <a:lnTo>
                    <a:pt x="1329160" y="497408"/>
                  </a:lnTo>
                  <a:lnTo>
                    <a:pt x="1277949" y="500123"/>
                  </a:lnTo>
                  <a:lnTo>
                    <a:pt x="1226237" y="502242"/>
                  </a:lnTo>
                  <a:lnTo>
                    <a:pt x="1174146" y="503759"/>
                  </a:lnTo>
                  <a:lnTo>
                    <a:pt x="1121803" y="504671"/>
                  </a:lnTo>
                  <a:lnTo>
                    <a:pt x="1069333" y="504975"/>
                  </a:lnTo>
                  <a:close/>
                </a:path>
              </a:pathLst>
            </a:custGeom>
            <a:solidFill>
              <a:srgbClr val="0090AE">
                <a:alpha val="49798"/>
              </a:srgbClr>
            </a:solidFill>
          </p:spPr>
          <p:txBody>
            <a:bodyPr wrap="square" lIns="0" tIns="0" rIns="0" bIns="0" rtlCol="0"/>
            <a:lstStyle/>
            <a:p>
              <a:endParaRPr/>
            </a:p>
          </p:txBody>
        </p:sp>
        <p:sp>
          <p:nvSpPr>
            <p:cNvPr id="28" name="object 28"/>
            <p:cNvSpPr/>
            <p:nvPr/>
          </p:nvSpPr>
          <p:spPr>
            <a:xfrm>
              <a:off x="11384487" y="5468123"/>
              <a:ext cx="2138680" cy="4114165"/>
            </a:xfrm>
            <a:custGeom>
              <a:avLst/>
              <a:gdLst/>
              <a:ahLst/>
              <a:cxnLst/>
              <a:rect l="l" t="t" r="r" b="b"/>
              <a:pathLst>
                <a:path w="2138680" h="4114165">
                  <a:moveTo>
                    <a:pt x="1069333" y="4113966"/>
                  </a:moveTo>
                  <a:lnTo>
                    <a:pt x="996175" y="4113386"/>
                  </a:lnTo>
                  <a:lnTo>
                    <a:pt x="924333" y="4111671"/>
                  </a:lnTo>
                  <a:lnTo>
                    <a:pt x="853964" y="4108859"/>
                  </a:lnTo>
                  <a:lnTo>
                    <a:pt x="785230" y="4104985"/>
                  </a:lnTo>
                  <a:lnTo>
                    <a:pt x="718290" y="4100087"/>
                  </a:lnTo>
                  <a:lnTo>
                    <a:pt x="653305" y="4094201"/>
                  </a:lnTo>
                  <a:lnTo>
                    <a:pt x="590433" y="4087365"/>
                  </a:lnTo>
                  <a:lnTo>
                    <a:pt x="529835" y="4079616"/>
                  </a:lnTo>
                  <a:lnTo>
                    <a:pt x="471671" y="4070989"/>
                  </a:lnTo>
                  <a:lnTo>
                    <a:pt x="416101" y="4061523"/>
                  </a:lnTo>
                  <a:lnTo>
                    <a:pt x="363285" y="4051254"/>
                  </a:lnTo>
                  <a:lnTo>
                    <a:pt x="313382" y="4040219"/>
                  </a:lnTo>
                  <a:lnTo>
                    <a:pt x="266552" y="4028455"/>
                  </a:lnTo>
                  <a:lnTo>
                    <a:pt x="222956" y="4015999"/>
                  </a:lnTo>
                  <a:lnTo>
                    <a:pt x="182753" y="4002887"/>
                  </a:lnTo>
                  <a:lnTo>
                    <a:pt x="146103" y="3989157"/>
                  </a:lnTo>
                  <a:lnTo>
                    <a:pt x="84101" y="3959989"/>
                  </a:lnTo>
                  <a:lnTo>
                    <a:pt x="38231" y="3928790"/>
                  </a:lnTo>
                  <a:lnTo>
                    <a:pt x="9771" y="3895854"/>
                  </a:lnTo>
                  <a:lnTo>
                    <a:pt x="0" y="3861478"/>
                  </a:lnTo>
                  <a:lnTo>
                    <a:pt x="0" y="252487"/>
                  </a:lnTo>
                  <a:lnTo>
                    <a:pt x="21710" y="201684"/>
                  </a:lnTo>
                  <a:lnTo>
                    <a:pt x="58984" y="169667"/>
                  </a:lnTo>
                  <a:lnTo>
                    <a:pt x="113015" y="139486"/>
                  </a:lnTo>
                  <a:lnTo>
                    <a:pt x="182533" y="111444"/>
                  </a:lnTo>
                  <a:lnTo>
                    <a:pt x="222703" y="98321"/>
                  </a:lnTo>
                  <a:lnTo>
                    <a:pt x="266268" y="85846"/>
                  </a:lnTo>
                  <a:lnTo>
                    <a:pt x="313069" y="74058"/>
                  </a:lnTo>
                  <a:lnTo>
                    <a:pt x="362948" y="62995"/>
                  </a:lnTo>
                  <a:lnTo>
                    <a:pt x="415747" y="52695"/>
                  </a:lnTo>
                  <a:lnTo>
                    <a:pt x="471305" y="43196"/>
                  </a:lnTo>
                  <a:lnTo>
                    <a:pt x="529465" y="34535"/>
                  </a:lnTo>
                  <a:lnTo>
                    <a:pt x="590067" y="26751"/>
                  </a:lnTo>
                  <a:lnTo>
                    <a:pt x="652953" y="19881"/>
                  </a:lnTo>
                  <a:lnTo>
                    <a:pt x="717964" y="13965"/>
                  </a:lnTo>
                  <a:lnTo>
                    <a:pt x="784941" y="9039"/>
                  </a:lnTo>
                  <a:lnTo>
                    <a:pt x="853725" y="5141"/>
                  </a:lnTo>
                  <a:lnTo>
                    <a:pt x="924157" y="2310"/>
                  </a:lnTo>
                  <a:lnTo>
                    <a:pt x="996080" y="584"/>
                  </a:lnTo>
                  <a:lnTo>
                    <a:pt x="1069333" y="0"/>
                  </a:lnTo>
                  <a:lnTo>
                    <a:pt x="1142590" y="583"/>
                  </a:lnTo>
                  <a:lnTo>
                    <a:pt x="1214524" y="2310"/>
                  </a:lnTo>
                  <a:lnTo>
                    <a:pt x="1284975" y="5141"/>
                  </a:lnTo>
                  <a:lnTo>
                    <a:pt x="1353783" y="9038"/>
                  </a:lnTo>
                  <a:lnTo>
                    <a:pt x="1420788" y="13965"/>
                  </a:lnTo>
                  <a:lnTo>
                    <a:pt x="1485830" y="19881"/>
                  </a:lnTo>
                  <a:lnTo>
                    <a:pt x="1548750" y="26751"/>
                  </a:lnTo>
                  <a:lnTo>
                    <a:pt x="1609386" y="34535"/>
                  </a:lnTo>
                  <a:lnTo>
                    <a:pt x="1667581" y="43196"/>
                  </a:lnTo>
                  <a:lnTo>
                    <a:pt x="1723172" y="52695"/>
                  </a:lnTo>
                  <a:lnTo>
                    <a:pt x="1776002" y="62995"/>
                  </a:lnTo>
                  <a:lnTo>
                    <a:pt x="1825909" y="74058"/>
                  </a:lnTo>
                  <a:lnTo>
                    <a:pt x="1872735" y="85846"/>
                  </a:lnTo>
                  <a:lnTo>
                    <a:pt x="1916318" y="98321"/>
                  </a:lnTo>
                  <a:lnTo>
                    <a:pt x="1956499" y="111444"/>
                  </a:lnTo>
                  <a:lnTo>
                    <a:pt x="1993119" y="125179"/>
                  </a:lnTo>
                  <a:lnTo>
                    <a:pt x="2055034" y="154328"/>
                  </a:lnTo>
                  <a:lnTo>
                    <a:pt x="2100782" y="185465"/>
                  </a:lnTo>
                  <a:lnTo>
                    <a:pt x="2129086" y="218286"/>
                  </a:lnTo>
                  <a:lnTo>
                    <a:pt x="2138666" y="252487"/>
                  </a:lnTo>
                  <a:lnTo>
                    <a:pt x="2138666" y="3861478"/>
                  </a:lnTo>
                  <a:lnTo>
                    <a:pt x="2116956" y="3912281"/>
                  </a:lnTo>
                  <a:lnTo>
                    <a:pt x="2079682" y="3944298"/>
                  </a:lnTo>
                  <a:lnTo>
                    <a:pt x="2025651" y="3974480"/>
                  </a:lnTo>
                  <a:lnTo>
                    <a:pt x="1956133" y="4002521"/>
                  </a:lnTo>
                  <a:lnTo>
                    <a:pt x="1915963" y="4015645"/>
                  </a:lnTo>
                  <a:lnTo>
                    <a:pt x="1872398" y="4028119"/>
                  </a:lnTo>
                  <a:lnTo>
                    <a:pt x="1825597" y="4039907"/>
                  </a:lnTo>
                  <a:lnTo>
                    <a:pt x="1775717" y="4050970"/>
                  </a:lnTo>
                  <a:lnTo>
                    <a:pt x="1722919" y="4061270"/>
                  </a:lnTo>
                  <a:lnTo>
                    <a:pt x="1667361" y="4070770"/>
                  </a:lnTo>
                  <a:lnTo>
                    <a:pt x="1609201" y="4079430"/>
                  </a:lnTo>
                  <a:lnTo>
                    <a:pt x="1548599" y="4087215"/>
                  </a:lnTo>
                  <a:lnTo>
                    <a:pt x="1485713" y="4094084"/>
                  </a:lnTo>
                  <a:lnTo>
                    <a:pt x="1420702" y="4100001"/>
                  </a:lnTo>
                  <a:lnTo>
                    <a:pt x="1353725" y="4104927"/>
                  </a:lnTo>
                  <a:lnTo>
                    <a:pt x="1284941" y="4108824"/>
                  </a:lnTo>
                  <a:lnTo>
                    <a:pt x="1214508" y="4111655"/>
                  </a:lnTo>
                  <a:lnTo>
                    <a:pt x="1142586" y="4113382"/>
                  </a:lnTo>
                  <a:lnTo>
                    <a:pt x="1069333" y="4113966"/>
                  </a:lnTo>
                  <a:close/>
                </a:path>
              </a:pathLst>
            </a:custGeom>
            <a:solidFill>
              <a:srgbClr val="ECE4D5"/>
            </a:solidFill>
          </p:spPr>
          <p:txBody>
            <a:bodyPr wrap="square" lIns="0" tIns="0" rIns="0" bIns="0" rtlCol="0"/>
            <a:lstStyle/>
            <a:p>
              <a:endParaRPr/>
            </a:p>
          </p:txBody>
        </p:sp>
        <p:sp>
          <p:nvSpPr>
            <p:cNvPr id="29" name="object 29"/>
            <p:cNvSpPr/>
            <p:nvPr/>
          </p:nvSpPr>
          <p:spPr>
            <a:xfrm>
              <a:off x="11384487" y="5468123"/>
              <a:ext cx="2138680" cy="505459"/>
            </a:xfrm>
            <a:custGeom>
              <a:avLst/>
              <a:gdLst/>
              <a:ahLst/>
              <a:cxnLst/>
              <a:rect l="l" t="t" r="r" b="b"/>
              <a:pathLst>
                <a:path w="2138680" h="505460">
                  <a:moveTo>
                    <a:pt x="1069333" y="504975"/>
                  </a:moveTo>
                  <a:lnTo>
                    <a:pt x="1016863" y="504671"/>
                  </a:lnTo>
                  <a:lnTo>
                    <a:pt x="964520" y="503759"/>
                  </a:lnTo>
                  <a:lnTo>
                    <a:pt x="912429" y="502242"/>
                  </a:lnTo>
                  <a:lnTo>
                    <a:pt x="860716" y="500123"/>
                  </a:lnTo>
                  <a:lnTo>
                    <a:pt x="809506" y="497408"/>
                  </a:lnTo>
                  <a:lnTo>
                    <a:pt x="758922" y="494103"/>
                  </a:lnTo>
                  <a:lnTo>
                    <a:pt x="709085" y="490216"/>
                  </a:lnTo>
                  <a:lnTo>
                    <a:pt x="660117" y="485755"/>
                  </a:lnTo>
                  <a:lnTo>
                    <a:pt x="612134" y="480734"/>
                  </a:lnTo>
                  <a:lnTo>
                    <a:pt x="565253" y="475161"/>
                  </a:lnTo>
                  <a:lnTo>
                    <a:pt x="519585" y="469053"/>
                  </a:lnTo>
                  <a:lnTo>
                    <a:pt x="475243" y="462423"/>
                  </a:lnTo>
                  <a:lnTo>
                    <a:pt x="432331" y="455287"/>
                  </a:lnTo>
                  <a:lnTo>
                    <a:pt x="390955" y="447663"/>
                  </a:lnTo>
                  <a:lnTo>
                    <a:pt x="351212" y="439568"/>
                  </a:lnTo>
                  <a:lnTo>
                    <a:pt x="313200" y="431023"/>
                  </a:lnTo>
                  <a:lnTo>
                    <a:pt x="259629" y="417407"/>
                  </a:lnTo>
                  <a:lnTo>
                    <a:pt x="210436" y="402894"/>
                  </a:lnTo>
                  <a:lnTo>
                    <a:pt x="165898" y="387566"/>
                  </a:lnTo>
                  <a:lnTo>
                    <a:pt x="126265" y="371509"/>
                  </a:lnTo>
                  <a:lnTo>
                    <a:pt x="91741" y="354807"/>
                  </a:lnTo>
                  <a:lnTo>
                    <a:pt x="53973" y="331690"/>
                  </a:lnTo>
                  <a:lnTo>
                    <a:pt x="20546" y="301745"/>
                  </a:lnTo>
                  <a:lnTo>
                    <a:pt x="0" y="260757"/>
                  </a:lnTo>
                  <a:lnTo>
                    <a:pt x="0" y="244218"/>
                  </a:lnTo>
                  <a:lnTo>
                    <a:pt x="15741" y="209323"/>
                  </a:lnTo>
                  <a:lnTo>
                    <a:pt x="46045" y="179194"/>
                  </a:lnTo>
                  <a:lnTo>
                    <a:pt x="81398" y="155864"/>
                  </a:lnTo>
                  <a:lnTo>
                    <a:pt x="126265" y="133465"/>
                  </a:lnTo>
                  <a:lnTo>
                    <a:pt x="165898" y="117408"/>
                  </a:lnTo>
                  <a:lnTo>
                    <a:pt x="210436" y="102080"/>
                  </a:lnTo>
                  <a:lnTo>
                    <a:pt x="259629" y="87568"/>
                  </a:lnTo>
                  <a:lnTo>
                    <a:pt x="313200" y="73951"/>
                  </a:lnTo>
                  <a:lnTo>
                    <a:pt x="351212" y="65406"/>
                  </a:lnTo>
                  <a:lnTo>
                    <a:pt x="390955" y="57312"/>
                  </a:lnTo>
                  <a:lnTo>
                    <a:pt x="432331" y="49687"/>
                  </a:lnTo>
                  <a:lnTo>
                    <a:pt x="475243" y="42551"/>
                  </a:lnTo>
                  <a:lnTo>
                    <a:pt x="519585" y="35921"/>
                  </a:lnTo>
                  <a:lnTo>
                    <a:pt x="565253" y="29813"/>
                  </a:lnTo>
                  <a:lnTo>
                    <a:pt x="612134" y="24241"/>
                  </a:lnTo>
                  <a:lnTo>
                    <a:pt x="660117" y="19219"/>
                  </a:lnTo>
                  <a:lnTo>
                    <a:pt x="709085" y="14759"/>
                  </a:lnTo>
                  <a:lnTo>
                    <a:pt x="758922" y="10872"/>
                  </a:lnTo>
                  <a:lnTo>
                    <a:pt x="809506" y="7566"/>
                  </a:lnTo>
                  <a:lnTo>
                    <a:pt x="860716" y="4851"/>
                  </a:lnTo>
                  <a:lnTo>
                    <a:pt x="912429" y="2732"/>
                  </a:lnTo>
                  <a:lnTo>
                    <a:pt x="964520" y="1215"/>
                  </a:lnTo>
                  <a:lnTo>
                    <a:pt x="1016863" y="303"/>
                  </a:lnTo>
                  <a:lnTo>
                    <a:pt x="1069333" y="0"/>
                  </a:lnTo>
                  <a:lnTo>
                    <a:pt x="1121803" y="303"/>
                  </a:lnTo>
                  <a:lnTo>
                    <a:pt x="1174146" y="1215"/>
                  </a:lnTo>
                  <a:lnTo>
                    <a:pt x="1226237" y="2732"/>
                  </a:lnTo>
                  <a:lnTo>
                    <a:pt x="1277949" y="4851"/>
                  </a:lnTo>
                  <a:lnTo>
                    <a:pt x="1329160" y="7566"/>
                  </a:lnTo>
                  <a:lnTo>
                    <a:pt x="1379744" y="10872"/>
                  </a:lnTo>
                  <a:lnTo>
                    <a:pt x="1429581" y="14759"/>
                  </a:lnTo>
                  <a:lnTo>
                    <a:pt x="1478549" y="19219"/>
                  </a:lnTo>
                  <a:lnTo>
                    <a:pt x="1526532" y="24241"/>
                  </a:lnTo>
                  <a:lnTo>
                    <a:pt x="1573413" y="29813"/>
                  </a:lnTo>
                  <a:lnTo>
                    <a:pt x="1619080" y="35921"/>
                  </a:lnTo>
                  <a:lnTo>
                    <a:pt x="1663423" y="42551"/>
                  </a:lnTo>
                  <a:lnTo>
                    <a:pt x="1706334" y="49687"/>
                  </a:lnTo>
                  <a:lnTo>
                    <a:pt x="1747711" y="57312"/>
                  </a:lnTo>
                  <a:lnTo>
                    <a:pt x="1787454" y="65406"/>
                  </a:lnTo>
                  <a:lnTo>
                    <a:pt x="1825466" y="73951"/>
                  </a:lnTo>
                  <a:lnTo>
                    <a:pt x="1879037" y="87568"/>
                  </a:lnTo>
                  <a:lnTo>
                    <a:pt x="1928230" y="102080"/>
                  </a:lnTo>
                  <a:lnTo>
                    <a:pt x="1972768" y="117408"/>
                  </a:lnTo>
                  <a:lnTo>
                    <a:pt x="2012401" y="133465"/>
                  </a:lnTo>
                  <a:lnTo>
                    <a:pt x="2046925" y="150167"/>
                  </a:lnTo>
                  <a:lnTo>
                    <a:pt x="2084693" y="173285"/>
                  </a:lnTo>
                  <a:lnTo>
                    <a:pt x="2118119" y="203229"/>
                  </a:lnTo>
                  <a:lnTo>
                    <a:pt x="2138666" y="244218"/>
                  </a:lnTo>
                  <a:lnTo>
                    <a:pt x="2138666" y="252487"/>
                  </a:lnTo>
                  <a:lnTo>
                    <a:pt x="2138666" y="260757"/>
                  </a:lnTo>
                  <a:lnTo>
                    <a:pt x="2122925" y="295651"/>
                  </a:lnTo>
                  <a:lnTo>
                    <a:pt x="2092621" y="325780"/>
                  </a:lnTo>
                  <a:lnTo>
                    <a:pt x="2057268" y="349110"/>
                  </a:lnTo>
                  <a:lnTo>
                    <a:pt x="2012401" y="371509"/>
                  </a:lnTo>
                  <a:lnTo>
                    <a:pt x="1972767" y="387566"/>
                  </a:lnTo>
                  <a:lnTo>
                    <a:pt x="1928230" y="402894"/>
                  </a:lnTo>
                  <a:lnTo>
                    <a:pt x="1879037" y="417407"/>
                  </a:lnTo>
                  <a:lnTo>
                    <a:pt x="1825466" y="431023"/>
                  </a:lnTo>
                  <a:lnTo>
                    <a:pt x="1787454" y="439568"/>
                  </a:lnTo>
                  <a:lnTo>
                    <a:pt x="1747711" y="447663"/>
                  </a:lnTo>
                  <a:lnTo>
                    <a:pt x="1706334" y="455287"/>
                  </a:lnTo>
                  <a:lnTo>
                    <a:pt x="1663423" y="462423"/>
                  </a:lnTo>
                  <a:lnTo>
                    <a:pt x="1619080" y="469053"/>
                  </a:lnTo>
                  <a:lnTo>
                    <a:pt x="1573413" y="475161"/>
                  </a:lnTo>
                  <a:lnTo>
                    <a:pt x="1526532" y="480734"/>
                  </a:lnTo>
                  <a:lnTo>
                    <a:pt x="1478549" y="485755"/>
                  </a:lnTo>
                  <a:lnTo>
                    <a:pt x="1429581" y="490216"/>
                  </a:lnTo>
                  <a:lnTo>
                    <a:pt x="1379744" y="494103"/>
                  </a:lnTo>
                  <a:lnTo>
                    <a:pt x="1329160" y="497408"/>
                  </a:lnTo>
                  <a:lnTo>
                    <a:pt x="1277949" y="500123"/>
                  </a:lnTo>
                  <a:lnTo>
                    <a:pt x="1226237" y="502242"/>
                  </a:lnTo>
                  <a:lnTo>
                    <a:pt x="1174146" y="503759"/>
                  </a:lnTo>
                  <a:lnTo>
                    <a:pt x="1121803" y="504671"/>
                  </a:lnTo>
                  <a:lnTo>
                    <a:pt x="1069333" y="504975"/>
                  </a:lnTo>
                  <a:close/>
                </a:path>
              </a:pathLst>
            </a:custGeom>
            <a:solidFill>
              <a:srgbClr val="0090AE">
                <a:alpha val="49798"/>
              </a:srgbClr>
            </a:solidFill>
          </p:spPr>
          <p:txBody>
            <a:bodyPr wrap="square" lIns="0" tIns="0" rIns="0" bIns="0" rtlCol="0"/>
            <a:lstStyle/>
            <a:p>
              <a:endParaRPr/>
            </a:p>
          </p:txBody>
        </p:sp>
        <p:sp>
          <p:nvSpPr>
            <p:cNvPr id="30" name="object 30"/>
            <p:cNvSpPr/>
            <p:nvPr/>
          </p:nvSpPr>
          <p:spPr>
            <a:xfrm>
              <a:off x="14552747" y="5468123"/>
              <a:ext cx="2138680" cy="4114165"/>
            </a:xfrm>
            <a:custGeom>
              <a:avLst/>
              <a:gdLst/>
              <a:ahLst/>
              <a:cxnLst/>
              <a:rect l="l" t="t" r="r" b="b"/>
              <a:pathLst>
                <a:path w="2138680" h="4114165">
                  <a:moveTo>
                    <a:pt x="1069333" y="4113966"/>
                  </a:moveTo>
                  <a:lnTo>
                    <a:pt x="996175" y="4113386"/>
                  </a:lnTo>
                  <a:lnTo>
                    <a:pt x="924333" y="4111671"/>
                  </a:lnTo>
                  <a:lnTo>
                    <a:pt x="853964" y="4108859"/>
                  </a:lnTo>
                  <a:lnTo>
                    <a:pt x="785230" y="4104985"/>
                  </a:lnTo>
                  <a:lnTo>
                    <a:pt x="718290" y="4100087"/>
                  </a:lnTo>
                  <a:lnTo>
                    <a:pt x="653305" y="4094201"/>
                  </a:lnTo>
                  <a:lnTo>
                    <a:pt x="590433" y="4087365"/>
                  </a:lnTo>
                  <a:lnTo>
                    <a:pt x="529835" y="4079616"/>
                  </a:lnTo>
                  <a:lnTo>
                    <a:pt x="471671" y="4070989"/>
                  </a:lnTo>
                  <a:lnTo>
                    <a:pt x="416101" y="4061523"/>
                  </a:lnTo>
                  <a:lnTo>
                    <a:pt x="363285" y="4051254"/>
                  </a:lnTo>
                  <a:lnTo>
                    <a:pt x="313382" y="4040219"/>
                  </a:lnTo>
                  <a:lnTo>
                    <a:pt x="266552" y="4028455"/>
                  </a:lnTo>
                  <a:lnTo>
                    <a:pt x="222956" y="4015999"/>
                  </a:lnTo>
                  <a:lnTo>
                    <a:pt x="182753" y="4002887"/>
                  </a:lnTo>
                  <a:lnTo>
                    <a:pt x="146103" y="3989157"/>
                  </a:lnTo>
                  <a:lnTo>
                    <a:pt x="84101" y="3959989"/>
                  </a:lnTo>
                  <a:lnTo>
                    <a:pt x="38231" y="3928790"/>
                  </a:lnTo>
                  <a:lnTo>
                    <a:pt x="9771" y="3895854"/>
                  </a:lnTo>
                  <a:lnTo>
                    <a:pt x="0" y="3861478"/>
                  </a:lnTo>
                  <a:lnTo>
                    <a:pt x="0" y="252487"/>
                  </a:lnTo>
                  <a:lnTo>
                    <a:pt x="21710" y="201684"/>
                  </a:lnTo>
                  <a:lnTo>
                    <a:pt x="58984" y="169667"/>
                  </a:lnTo>
                  <a:lnTo>
                    <a:pt x="113015" y="139486"/>
                  </a:lnTo>
                  <a:lnTo>
                    <a:pt x="182533" y="111444"/>
                  </a:lnTo>
                  <a:lnTo>
                    <a:pt x="222703" y="98321"/>
                  </a:lnTo>
                  <a:lnTo>
                    <a:pt x="266268" y="85846"/>
                  </a:lnTo>
                  <a:lnTo>
                    <a:pt x="313069" y="74058"/>
                  </a:lnTo>
                  <a:lnTo>
                    <a:pt x="362948" y="62995"/>
                  </a:lnTo>
                  <a:lnTo>
                    <a:pt x="415747" y="52695"/>
                  </a:lnTo>
                  <a:lnTo>
                    <a:pt x="471305" y="43196"/>
                  </a:lnTo>
                  <a:lnTo>
                    <a:pt x="529465" y="34535"/>
                  </a:lnTo>
                  <a:lnTo>
                    <a:pt x="590067" y="26751"/>
                  </a:lnTo>
                  <a:lnTo>
                    <a:pt x="652953" y="19881"/>
                  </a:lnTo>
                  <a:lnTo>
                    <a:pt x="717964" y="13965"/>
                  </a:lnTo>
                  <a:lnTo>
                    <a:pt x="784941" y="9039"/>
                  </a:lnTo>
                  <a:lnTo>
                    <a:pt x="853725" y="5141"/>
                  </a:lnTo>
                  <a:lnTo>
                    <a:pt x="924157" y="2310"/>
                  </a:lnTo>
                  <a:lnTo>
                    <a:pt x="996080" y="584"/>
                  </a:lnTo>
                  <a:lnTo>
                    <a:pt x="1069333" y="0"/>
                  </a:lnTo>
                  <a:lnTo>
                    <a:pt x="1142590" y="583"/>
                  </a:lnTo>
                  <a:lnTo>
                    <a:pt x="1214524" y="2310"/>
                  </a:lnTo>
                  <a:lnTo>
                    <a:pt x="1284975" y="5141"/>
                  </a:lnTo>
                  <a:lnTo>
                    <a:pt x="1353783" y="9038"/>
                  </a:lnTo>
                  <a:lnTo>
                    <a:pt x="1420788" y="13965"/>
                  </a:lnTo>
                  <a:lnTo>
                    <a:pt x="1485830" y="19881"/>
                  </a:lnTo>
                  <a:lnTo>
                    <a:pt x="1548750" y="26751"/>
                  </a:lnTo>
                  <a:lnTo>
                    <a:pt x="1609386" y="34535"/>
                  </a:lnTo>
                  <a:lnTo>
                    <a:pt x="1667581" y="43196"/>
                  </a:lnTo>
                  <a:lnTo>
                    <a:pt x="1723172" y="52695"/>
                  </a:lnTo>
                  <a:lnTo>
                    <a:pt x="1776002" y="62995"/>
                  </a:lnTo>
                  <a:lnTo>
                    <a:pt x="1825909" y="74058"/>
                  </a:lnTo>
                  <a:lnTo>
                    <a:pt x="1872735" y="85846"/>
                  </a:lnTo>
                  <a:lnTo>
                    <a:pt x="1916318" y="98321"/>
                  </a:lnTo>
                  <a:lnTo>
                    <a:pt x="1956499" y="111444"/>
                  </a:lnTo>
                  <a:lnTo>
                    <a:pt x="1993119" y="125179"/>
                  </a:lnTo>
                  <a:lnTo>
                    <a:pt x="2055034" y="154328"/>
                  </a:lnTo>
                  <a:lnTo>
                    <a:pt x="2100782" y="185465"/>
                  </a:lnTo>
                  <a:lnTo>
                    <a:pt x="2129086" y="218286"/>
                  </a:lnTo>
                  <a:lnTo>
                    <a:pt x="2138666" y="252487"/>
                  </a:lnTo>
                  <a:lnTo>
                    <a:pt x="2138666" y="3861478"/>
                  </a:lnTo>
                  <a:lnTo>
                    <a:pt x="2116956" y="3912281"/>
                  </a:lnTo>
                  <a:lnTo>
                    <a:pt x="2079682" y="3944298"/>
                  </a:lnTo>
                  <a:lnTo>
                    <a:pt x="2025651" y="3974480"/>
                  </a:lnTo>
                  <a:lnTo>
                    <a:pt x="1956133" y="4002521"/>
                  </a:lnTo>
                  <a:lnTo>
                    <a:pt x="1915963" y="4015645"/>
                  </a:lnTo>
                  <a:lnTo>
                    <a:pt x="1872398" y="4028119"/>
                  </a:lnTo>
                  <a:lnTo>
                    <a:pt x="1825597" y="4039907"/>
                  </a:lnTo>
                  <a:lnTo>
                    <a:pt x="1775717" y="4050970"/>
                  </a:lnTo>
                  <a:lnTo>
                    <a:pt x="1722919" y="4061270"/>
                  </a:lnTo>
                  <a:lnTo>
                    <a:pt x="1667361" y="4070770"/>
                  </a:lnTo>
                  <a:lnTo>
                    <a:pt x="1609201" y="4079430"/>
                  </a:lnTo>
                  <a:lnTo>
                    <a:pt x="1548599" y="4087215"/>
                  </a:lnTo>
                  <a:lnTo>
                    <a:pt x="1485713" y="4094084"/>
                  </a:lnTo>
                  <a:lnTo>
                    <a:pt x="1420702" y="4100001"/>
                  </a:lnTo>
                  <a:lnTo>
                    <a:pt x="1353725" y="4104927"/>
                  </a:lnTo>
                  <a:lnTo>
                    <a:pt x="1284941" y="4108824"/>
                  </a:lnTo>
                  <a:lnTo>
                    <a:pt x="1214508" y="4111655"/>
                  </a:lnTo>
                  <a:lnTo>
                    <a:pt x="1142586" y="4113382"/>
                  </a:lnTo>
                  <a:lnTo>
                    <a:pt x="1069333" y="4113966"/>
                  </a:lnTo>
                  <a:close/>
                </a:path>
              </a:pathLst>
            </a:custGeom>
            <a:solidFill>
              <a:srgbClr val="ECE4D5"/>
            </a:solidFill>
          </p:spPr>
          <p:txBody>
            <a:bodyPr wrap="square" lIns="0" tIns="0" rIns="0" bIns="0" rtlCol="0"/>
            <a:lstStyle/>
            <a:p>
              <a:endParaRPr/>
            </a:p>
          </p:txBody>
        </p:sp>
        <p:sp>
          <p:nvSpPr>
            <p:cNvPr id="31" name="object 31"/>
            <p:cNvSpPr/>
            <p:nvPr/>
          </p:nvSpPr>
          <p:spPr>
            <a:xfrm>
              <a:off x="14552747" y="5468123"/>
              <a:ext cx="2138680" cy="505459"/>
            </a:xfrm>
            <a:custGeom>
              <a:avLst/>
              <a:gdLst/>
              <a:ahLst/>
              <a:cxnLst/>
              <a:rect l="l" t="t" r="r" b="b"/>
              <a:pathLst>
                <a:path w="2138680" h="505460">
                  <a:moveTo>
                    <a:pt x="1069333" y="504975"/>
                  </a:moveTo>
                  <a:lnTo>
                    <a:pt x="1016863" y="504671"/>
                  </a:lnTo>
                  <a:lnTo>
                    <a:pt x="964520" y="503759"/>
                  </a:lnTo>
                  <a:lnTo>
                    <a:pt x="912429" y="502242"/>
                  </a:lnTo>
                  <a:lnTo>
                    <a:pt x="860716" y="500123"/>
                  </a:lnTo>
                  <a:lnTo>
                    <a:pt x="809506" y="497408"/>
                  </a:lnTo>
                  <a:lnTo>
                    <a:pt x="758922" y="494103"/>
                  </a:lnTo>
                  <a:lnTo>
                    <a:pt x="709085" y="490216"/>
                  </a:lnTo>
                  <a:lnTo>
                    <a:pt x="660117" y="485755"/>
                  </a:lnTo>
                  <a:lnTo>
                    <a:pt x="612134" y="480734"/>
                  </a:lnTo>
                  <a:lnTo>
                    <a:pt x="565253" y="475161"/>
                  </a:lnTo>
                  <a:lnTo>
                    <a:pt x="519585" y="469053"/>
                  </a:lnTo>
                  <a:lnTo>
                    <a:pt x="475243" y="462423"/>
                  </a:lnTo>
                  <a:lnTo>
                    <a:pt x="432331" y="455287"/>
                  </a:lnTo>
                  <a:lnTo>
                    <a:pt x="390955" y="447663"/>
                  </a:lnTo>
                  <a:lnTo>
                    <a:pt x="351212" y="439568"/>
                  </a:lnTo>
                  <a:lnTo>
                    <a:pt x="313200" y="431023"/>
                  </a:lnTo>
                  <a:lnTo>
                    <a:pt x="259629" y="417407"/>
                  </a:lnTo>
                  <a:lnTo>
                    <a:pt x="210436" y="402894"/>
                  </a:lnTo>
                  <a:lnTo>
                    <a:pt x="165898" y="387566"/>
                  </a:lnTo>
                  <a:lnTo>
                    <a:pt x="126265" y="371509"/>
                  </a:lnTo>
                  <a:lnTo>
                    <a:pt x="91741" y="354807"/>
                  </a:lnTo>
                  <a:lnTo>
                    <a:pt x="53973" y="331690"/>
                  </a:lnTo>
                  <a:lnTo>
                    <a:pt x="20546" y="301745"/>
                  </a:lnTo>
                  <a:lnTo>
                    <a:pt x="0" y="260757"/>
                  </a:lnTo>
                  <a:lnTo>
                    <a:pt x="0" y="244218"/>
                  </a:lnTo>
                  <a:lnTo>
                    <a:pt x="15741" y="209323"/>
                  </a:lnTo>
                  <a:lnTo>
                    <a:pt x="46045" y="179194"/>
                  </a:lnTo>
                  <a:lnTo>
                    <a:pt x="81398" y="155864"/>
                  </a:lnTo>
                  <a:lnTo>
                    <a:pt x="126265" y="133465"/>
                  </a:lnTo>
                  <a:lnTo>
                    <a:pt x="165898" y="117408"/>
                  </a:lnTo>
                  <a:lnTo>
                    <a:pt x="210436" y="102080"/>
                  </a:lnTo>
                  <a:lnTo>
                    <a:pt x="259629" y="87568"/>
                  </a:lnTo>
                  <a:lnTo>
                    <a:pt x="313200" y="73951"/>
                  </a:lnTo>
                  <a:lnTo>
                    <a:pt x="351212" y="65406"/>
                  </a:lnTo>
                  <a:lnTo>
                    <a:pt x="390955" y="57312"/>
                  </a:lnTo>
                  <a:lnTo>
                    <a:pt x="432331" y="49687"/>
                  </a:lnTo>
                  <a:lnTo>
                    <a:pt x="475243" y="42551"/>
                  </a:lnTo>
                  <a:lnTo>
                    <a:pt x="519585" y="35921"/>
                  </a:lnTo>
                  <a:lnTo>
                    <a:pt x="565253" y="29813"/>
                  </a:lnTo>
                  <a:lnTo>
                    <a:pt x="612134" y="24241"/>
                  </a:lnTo>
                  <a:lnTo>
                    <a:pt x="660117" y="19219"/>
                  </a:lnTo>
                  <a:lnTo>
                    <a:pt x="709085" y="14759"/>
                  </a:lnTo>
                  <a:lnTo>
                    <a:pt x="758922" y="10872"/>
                  </a:lnTo>
                  <a:lnTo>
                    <a:pt x="809506" y="7566"/>
                  </a:lnTo>
                  <a:lnTo>
                    <a:pt x="860716" y="4851"/>
                  </a:lnTo>
                  <a:lnTo>
                    <a:pt x="912429" y="2732"/>
                  </a:lnTo>
                  <a:lnTo>
                    <a:pt x="964520" y="1215"/>
                  </a:lnTo>
                  <a:lnTo>
                    <a:pt x="1016863" y="303"/>
                  </a:lnTo>
                  <a:lnTo>
                    <a:pt x="1069333" y="0"/>
                  </a:lnTo>
                  <a:lnTo>
                    <a:pt x="1121803" y="303"/>
                  </a:lnTo>
                  <a:lnTo>
                    <a:pt x="1174146" y="1215"/>
                  </a:lnTo>
                  <a:lnTo>
                    <a:pt x="1226237" y="2732"/>
                  </a:lnTo>
                  <a:lnTo>
                    <a:pt x="1277949" y="4851"/>
                  </a:lnTo>
                  <a:lnTo>
                    <a:pt x="1329160" y="7566"/>
                  </a:lnTo>
                  <a:lnTo>
                    <a:pt x="1379744" y="10872"/>
                  </a:lnTo>
                  <a:lnTo>
                    <a:pt x="1429581" y="14759"/>
                  </a:lnTo>
                  <a:lnTo>
                    <a:pt x="1478549" y="19219"/>
                  </a:lnTo>
                  <a:lnTo>
                    <a:pt x="1526532" y="24241"/>
                  </a:lnTo>
                  <a:lnTo>
                    <a:pt x="1573413" y="29813"/>
                  </a:lnTo>
                  <a:lnTo>
                    <a:pt x="1619080" y="35921"/>
                  </a:lnTo>
                  <a:lnTo>
                    <a:pt x="1663423" y="42551"/>
                  </a:lnTo>
                  <a:lnTo>
                    <a:pt x="1706334" y="49687"/>
                  </a:lnTo>
                  <a:lnTo>
                    <a:pt x="1747711" y="57312"/>
                  </a:lnTo>
                  <a:lnTo>
                    <a:pt x="1787454" y="65406"/>
                  </a:lnTo>
                  <a:lnTo>
                    <a:pt x="1825466" y="73951"/>
                  </a:lnTo>
                  <a:lnTo>
                    <a:pt x="1879037" y="87568"/>
                  </a:lnTo>
                  <a:lnTo>
                    <a:pt x="1928230" y="102080"/>
                  </a:lnTo>
                  <a:lnTo>
                    <a:pt x="1972768" y="117408"/>
                  </a:lnTo>
                  <a:lnTo>
                    <a:pt x="2012401" y="133465"/>
                  </a:lnTo>
                  <a:lnTo>
                    <a:pt x="2046925" y="150167"/>
                  </a:lnTo>
                  <a:lnTo>
                    <a:pt x="2084693" y="173285"/>
                  </a:lnTo>
                  <a:lnTo>
                    <a:pt x="2118119" y="203229"/>
                  </a:lnTo>
                  <a:lnTo>
                    <a:pt x="2138666" y="244218"/>
                  </a:lnTo>
                  <a:lnTo>
                    <a:pt x="2138666" y="252487"/>
                  </a:lnTo>
                  <a:lnTo>
                    <a:pt x="2138666" y="260757"/>
                  </a:lnTo>
                  <a:lnTo>
                    <a:pt x="2122925" y="295651"/>
                  </a:lnTo>
                  <a:lnTo>
                    <a:pt x="2092621" y="325780"/>
                  </a:lnTo>
                  <a:lnTo>
                    <a:pt x="2057268" y="349110"/>
                  </a:lnTo>
                  <a:lnTo>
                    <a:pt x="2012401" y="371509"/>
                  </a:lnTo>
                  <a:lnTo>
                    <a:pt x="1972767" y="387566"/>
                  </a:lnTo>
                  <a:lnTo>
                    <a:pt x="1928230" y="402894"/>
                  </a:lnTo>
                  <a:lnTo>
                    <a:pt x="1879037" y="417407"/>
                  </a:lnTo>
                  <a:lnTo>
                    <a:pt x="1825466" y="431023"/>
                  </a:lnTo>
                  <a:lnTo>
                    <a:pt x="1787454" y="439568"/>
                  </a:lnTo>
                  <a:lnTo>
                    <a:pt x="1747711" y="447663"/>
                  </a:lnTo>
                  <a:lnTo>
                    <a:pt x="1706334" y="455287"/>
                  </a:lnTo>
                  <a:lnTo>
                    <a:pt x="1663423" y="462423"/>
                  </a:lnTo>
                  <a:lnTo>
                    <a:pt x="1619080" y="469053"/>
                  </a:lnTo>
                  <a:lnTo>
                    <a:pt x="1573413" y="475161"/>
                  </a:lnTo>
                  <a:lnTo>
                    <a:pt x="1526532" y="480734"/>
                  </a:lnTo>
                  <a:lnTo>
                    <a:pt x="1478549" y="485755"/>
                  </a:lnTo>
                  <a:lnTo>
                    <a:pt x="1429581" y="490216"/>
                  </a:lnTo>
                  <a:lnTo>
                    <a:pt x="1379744" y="494103"/>
                  </a:lnTo>
                  <a:lnTo>
                    <a:pt x="1329160" y="497408"/>
                  </a:lnTo>
                  <a:lnTo>
                    <a:pt x="1277949" y="500123"/>
                  </a:lnTo>
                  <a:lnTo>
                    <a:pt x="1226237" y="502242"/>
                  </a:lnTo>
                  <a:lnTo>
                    <a:pt x="1174146" y="503759"/>
                  </a:lnTo>
                  <a:lnTo>
                    <a:pt x="1121803" y="504671"/>
                  </a:lnTo>
                  <a:lnTo>
                    <a:pt x="1069333" y="504975"/>
                  </a:lnTo>
                  <a:close/>
                </a:path>
              </a:pathLst>
            </a:custGeom>
            <a:solidFill>
              <a:srgbClr val="0090AE">
                <a:alpha val="49798"/>
              </a:srgbClr>
            </a:solidFill>
          </p:spPr>
          <p:txBody>
            <a:bodyPr wrap="square" lIns="0" tIns="0" rIns="0" bIns="0" rtlCol="0"/>
            <a:lstStyle/>
            <a:p>
              <a:endParaRPr/>
            </a:p>
          </p:txBody>
        </p:sp>
        <p:sp>
          <p:nvSpPr>
            <p:cNvPr id="32" name="object 32"/>
            <p:cNvSpPr/>
            <p:nvPr/>
          </p:nvSpPr>
          <p:spPr>
            <a:xfrm>
              <a:off x="1749387" y="6281876"/>
              <a:ext cx="15190469" cy="984885"/>
            </a:xfrm>
            <a:custGeom>
              <a:avLst/>
              <a:gdLst/>
              <a:ahLst/>
              <a:cxnLst/>
              <a:rect l="l" t="t" r="r" b="b"/>
              <a:pathLst>
                <a:path w="15190469" h="984884">
                  <a:moveTo>
                    <a:pt x="2688336" y="485775"/>
                  </a:moveTo>
                  <a:lnTo>
                    <a:pt x="2685961" y="437756"/>
                  </a:lnTo>
                  <a:lnTo>
                    <a:pt x="2678912" y="390563"/>
                  </a:lnTo>
                  <a:lnTo>
                    <a:pt x="2667330" y="344500"/>
                  </a:lnTo>
                  <a:lnTo>
                    <a:pt x="2651353" y="299872"/>
                  </a:lnTo>
                  <a:lnTo>
                    <a:pt x="2631109" y="257022"/>
                  </a:lnTo>
                  <a:lnTo>
                    <a:pt x="2606713" y="216268"/>
                  </a:lnTo>
                  <a:lnTo>
                    <a:pt x="2578328" y="177914"/>
                  </a:lnTo>
                  <a:lnTo>
                    <a:pt x="2546058" y="142278"/>
                  </a:lnTo>
                  <a:lnTo>
                    <a:pt x="2510421" y="110007"/>
                  </a:lnTo>
                  <a:lnTo>
                    <a:pt x="2472067" y="81622"/>
                  </a:lnTo>
                  <a:lnTo>
                    <a:pt x="2431300" y="57226"/>
                  </a:lnTo>
                  <a:lnTo>
                    <a:pt x="2388451" y="36982"/>
                  </a:lnTo>
                  <a:lnTo>
                    <a:pt x="2343835" y="20993"/>
                  </a:lnTo>
                  <a:lnTo>
                    <a:pt x="2297773" y="9423"/>
                  </a:lnTo>
                  <a:lnTo>
                    <a:pt x="2250567" y="2374"/>
                  </a:lnTo>
                  <a:lnTo>
                    <a:pt x="2202561" y="0"/>
                  </a:lnTo>
                  <a:lnTo>
                    <a:pt x="485775" y="0"/>
                  </a:lnTo>
                  <a:lnTo>
                    <a:pt x="437756" y="2374"/>
                  </a:lnTo>
                  <a:lnTo>
                    <a:pt x="390563" y="9423"/>
                  </a:lnTo>
                  <a:lnTo>
                    <a:pt x="344487" y="20993"/>
                  </a:lnTo>
                  <a:lnTo>
                    <a:pt x="299872" y="36982"/>
                  </a:lnTo>
                  <a:lnTo>
                    <a:pt x="257022" y="57226"/>
                  </a:lnTo>
                  <a:lnTo>
                    <a:pt x="216268" y="81622"/>
                  </a:lnTo>
                  <a:lnTo>
                    <a:pt x="177914" y="110007"/>
                  </a:lnTo>
                  <a:lnTo>
                    <a:pt x="142278" y="142278"/>
                  </a:lnTo>
                  <a:lnTo>
                    <a:pt x="110007" y="177914"/>
                  </a:lnTo>
                  <a:lnTo>
                    <a:pt x="81610" y="216268"/>
                  </a:lnTo>
                  <a:lnTo>
                    <a:pt x="57226" y="257022"/>
                  </a:lnTo>
                  <a:lnTo>
                    <a:pt x="36982" y="299872"/>
                  </a:lnTo>
                  <a:lnTo>
                    <a:pt x="20993" y="344500"/>
                  </a:lnTo>
                  <a:lnTo>
                    <a:pt x="9423" y="390563"/>
                  </a:lnTo>
                  <a:lnTo>
                    <a:pt x="2374" y="437756"/>
                  </a:lnTo>
                  <a:lnTo>
                    <a:pt x="0" y="485775"/>
                  </a:lnTo>
                  <a:lnTo>
                    <a:pt x="0" y="498779"/>
                  </a:lnTo>
                  <a:lnTo>
                    <a:pt x="2374" y="546785"/>
                  </a:lnTo>
                  <a:lnTo>
                    <a:pt x="9423" y="593991"/>
                  </a:lnTo>
                  <a:lnTo>
                    <a:pt x="20993" y="640054"/>
                  </a:lnTo>
                  <a:lnTo>
                    <a:pt x="36982" y="684669"/>
                  </a:lnTo>
                  <a:lnTo>
                    <a:pt x="57226" y="727519"/>
                  </a:lnTo>
                  <a:lnTo>
                    <a:pt x="81610" y="768286"/>
                  </a:lnTo>
                  <a:lnTo>
                    <a:pt x="110007" y="806640"/>
                  </a:lnTo>
                  <a:lnTo>
                    <a:pt x="142278" y="842264"/>
                  </a:lnTo>
                  <a:lnTo>
                    <a:pt x="177914" y="874534"/>
                  </a:lnTo>
                  <a:lnTo>
                    <a:pt x="216268" y="902931"/>
                  </a:lnTo>
                  <a:lnTo>
                    <a:pt x="257022" y="927315"/>
                  </a:lnTo>
                  <a:lnTo>
                    <a:pt x="299872" y="947572"/>
                  </a:lnTo>
                  <a:lnTo>
                    <a:pt x="344487" y="963549"/>
                  </a:lnTo>
                  <a:lnTo>
                    <a:pt x="390563" y="975131"/>
                  </a:lnTo>
                  <a:lnTo>
                    <a:pt x="437756" y="982167"/>
                  </a:lnTo>
                  <a:lnTo>
                    <a:pt x="485775" y="984554"/>
                  </a:lnTo>
                  <a:lnTo>
                    <a:pt x="2202561" y="984554"/>
                  </a:lnTo>
                  <a:lnTo>
                    <a:pt x="2250567" y="982167"/>
                  </a:lnTo>
                  <a:lnTo>
                    <a:pt x="2297773" y="975131"/>
                  </a:lnTo>
                  <a:lnTo>
                    <a:pt x="2343835" y="963549"/>
                  </a:lnTo>
                  <a:lnTo>
                    <a:pt x="2388451" y="947572"/>
                  </a:lnTo>
                  <a:lnTo>
                    <a:pt x="2431300" y="927315"/>
                  </a:lnTo>
                  <a:lnTo>
                    <a:pt x="2472067" y="902931"/>
                  </a:lnTo>
                  <a:lnTo>
                    <a:pt x="2510421" y="874534"/>
                  </a:lnTo>
                  <a:lnTo>
                    <a:pt x="2546058" y="842264"/>
                  </a:lnTo>
                  <a:lnTo>
                    <a:pt x="2578328" y="806640"/>
                  </a:lnTo>
                  <a:lnTo>
                    <a:pt x="2606713" y="768286"/>
                  </a:lnTo>
                  <a:lnTo>
                    <a:pt x="2631109" y="727519"/>
                  </a:lnTo>
                  <a:lnTo>
                    <a:pt x="2651353" y="684669"/>
                  </a:lnTo>
                  <a:lnTo>
                    <a:pt x="2667330" y="640054"/>
                  </a:lnTo>
                  <a:lnTo>
                    <a:pt x="2678912" y="593991"/>
                  </a:lnTo>
                  <a:lnTo>
                    <a:pt x="2685961" y="546785"/>
                  </a:lnTo>
                  <a:lnTo>
                    <a:pt x="2688336" y="498779"/>
                  </a:lnTo>
                  <a:lnTo>
                    <a:pt x="2688336" y="485775"/>
                  </a:lnTo>
                  <a:close/>
                </a:path>
                <a:path w="15190469" h="984884">
                  <a:moveTo>
                    <a:pt x="5727331" y="485775"/>
                  </a:moveTo>
                  <a:lnTo>
                    <a:pt x="5724957" y="437756"/>
                  </a:lnTo>
                  <a:lnTo>
                    <a:pt x="5717908" y="390563"/>
                  </a:lnTo>
                  <a:lnTo>
                    <a:pt x="5706338" y="344500"/>
                  </a:lnTo>
                  <a:lnTo>
                    <a:pt x="5690349" y="299872"/>
                  </a:lnTo>
                  <a:lnTo>
                    <a:pt x="5670105" y="257022"/>
                  </a:lnTo>
                  <a:lnTo>
                    <a:pt x="5645721" y="216268"/>
                  </a:lnTo>
                  <a:lnTo>
                    <a:pt x="5617324" y="177914"/>
                  </a:lnTo>
                  <a:lnTo>
                    <a:pt x="5585053" y="142278"/>
                  </a:lnTo>
                  <a:lnTo>
                    <a:pt x="5549417" y="110007"/>
                  </a:lnTo>
                  <a:lnTo>
                    <a:pt x="5511063" y="81622"/>
                  </a:lnTo>
                  <a:lnTo>
                    <a:pt x="5470309" y="57226"/>
                  </a:lnTo>
                  <a:lnTo>
                    <a:pt x="5427459" y="36982"/>
                  </a:lnTo>
                  <a:lnTo>
                    <a:pt x="5382844" y="20993"/>
                  </a:lnTo>
                  <a:lnTo>
                    <a:pt x="5336768" y="9423"/>
                  </a:lnTo>
                  <a:lnTo>
                    <a:pt x="5289575" y="2374"/>
                  </a:lnTo>
                  <a:lnTo>
                    <a:pt x="5241556" y="0"/>
                  </a:lnTo>
                  <a:lnTo>
                    <a:pt x="3524770" y="0"/>
                  </a:lnTo>
                  <a:lnTo>
                    <a:pt x="3476764" y="2374"/>
                  </a:lnTo>
                  <a:lnTo>
                    <a:pt x="3429558" y="9423"/>
                  </a:lnTo>
                  <a:lnTo>
                    <a:pt x="3383496" y="20993"/>
                  </a:lnTo>
                  <a:lnTo>
                    <a:pt x="3338880" y="36982"/>
                  </a:lnTo>
                  <a:lnTo>
                    <a:pt x="3296031" y="57226"/>
                  </a:lnTo>
                  <a:lnTo>
                    <a:pt x="3255264" y="81622"/>
                  </a:lnTo>
                  <a:lnTo>
                    <a:pt x="3216910" y="110007"/>
                  </a:lnTo>
                  <a:lnTo>
                    <a:pt x="3181273" y="142278"/>
                  </a:lnTo>
                  <a:lnTo>
                    <a:pt x="3149003" y="177914"/>
                  </a:lnTo>
                  <a:lnTo>
                    <a:pt x="3120618" y="216268"/>
                  </a:lnTo>
                  <a:lnTo>
                    <a:pt x="3096222" y="257022"/>
                  </a:lnTo>
                  <a:lnTo>
                    <a:pt x="3075978" y="299872"/>
                  </a:lnTo>
                  <a:lnTo>
                    <a:pt x="3060001" y="344500"/>
                  </a:lnTo>
                  <a:lnTo>
                    <a:pt x="3048419" y="390563"/>
                  </a:lnTo>
                  <a:lnTo>
                    <a:pt x="3041370" y="437756"/>
                  </a:lnTo>
                  <a:lnTo>
                    <a:pt x="3038995" y="485775"/>
                  </a:lnTo>
                  <a:lnTo>
                    <a:pt x="3038995" y="498779"/>
                  </a:lnTo>
                  <a:lnTo>
                    <a:pt x="3041370" y="546785"/>
                  </a:lnTo>
                  <a:lnTo>
                    <a:pt x="3048419" y="593991"/>
                  </a:lnTo>
                  <a:lnTo>
                    <a:pt x="3060001" y="640054"/>
                  </a:lnTo>
                  <a:lnTo>
                    <a:pt x="3075978" y="684669"/>
                  </a:lnTo>
                  <a:lnTo>
                    <a:pt x="3096222" y="727519"/>
                  </a:lnTo>
                  <a:lnTo>
                    <a:pt x="3120618" y="768286"/>
                  </a:lnTo>
                  <a:lnTo>
                    <a:pt x="3149003" y="806640"/>
                  </a:lnTo>
                  <a:lnTo>
                    <a:pt x="3181273" y="842264"/>
                  </a:lnTo>
                  <a:lnTo>
                    <a:pt x="3216910" y="874534"/>
                  </a:lnTo>
                  <a:lnTo>
                    <a:pt x="3255264" y="902931"/>
                  </a:lnTo>
                  <a:lnTo>
                    <a:pt x="3296031" y="927315"/>
                  </a:lnTo>
                  <a:lnTo>
                    <a:pt x="3338880" y="947572"/>
                  </a:lnTo>
                  <a:lnTo>
                    <a:pt x="3383496" y="963549"/>
                  </a:lnTo>
                  <a:lnTo>
                    <a:pt x="3429558" y="975131"/>
                  </a:lnTo>
                  <a:lnTo>
                    <a:pt x="3476764" y="982167"/>
                  </a:lnTo>
                  <a:lnTo>
                    <a:pt x="3524770" y="984554"/>
                  </a:lnTo>
                  <a:lnTo>
                    <a:pt x="5241556" y="984554"/>
                  </a:lnTo>
                  <a:lnTo>
                    <a:pt x="5289575" y="982167"/>
                  </a:lnTo>
                  <a:lnTo>
                    <a:pt x="5336768" y="975131"/>
                  </a:lnTo>
                  <a:lnTo>
                    <a:pt x="5382844" y="963549"/>
                  </a:lnTo>
                  <a:lnTo>
                    <a:pt x="5427459" y="947572"/>
                  </a:lnTo>
                  <a:lnTo>
                    <a:pt x="5470309" y="927315"/>
                  </a:lnTo>
                  <a:lnTo>
                    <a:pt x="5511063" y="902931"/>
                  </a:lnTo>
                  <a:lnTo>
                    <a:pt x="5549417" y="874534"/>
                  </a:lnTo>
                  <a:lnTo>
                    <a:pt x="5585053" y="842264"/>
                  </a:lnTo>
                  <a:lnTo>
                    <a:pt x="5617324" y="806640"/>
                  </a:lnTo>
                  <a:lnTo>
                    <a:pt x="5645721" y="768286"/>
                  </a:lnTo>
                  <a:lnTo>
                    <a:pt x="5670105" y="727519"/>
                  </a:lnTo>
                  <a:lnTo>
                    <a:pt x="5690349" y="684669"/>
                  </a:lnTo>
                  <a:lnTo>
                    <a:pt x="5706338" y="640054"/>
                  </a:lnTo>
                  <a:lnTo>
                    <a:pt x="5717908" y="593991"/>
                  </a:lnTo>
                  <a:lnTo>
                    <a:pt x="5724957" y="546785"/>
                  </a:lnTo>
                  <a:lnTo>
                    <a:pt x="5727331" y="498779"/>
                  </a:lnTo>
                  <a:lnTo>
                    <a:pt x="5727331" y="485775"/>
                  </a:lnTo>
                  <a:close/>
                </a:path>
                <a:path w="15190469" h="984884">
                  <a:moveTo>
                    <a:pt x="8880310" y="485775"/>
                  </a:moveTo>
                  <a:lnTo>
                    <a:pt x="8877935" y="437756"/>
                  </a:lnTo>
                  <a:lnTo>
                    <a:pt x="8870899" y="390563"/>
                  </a:lnTo>
                  <a:lnTo>
                    <a:pt x="8859317" y="344500"/>
                  </a:lnTo>
                  <a:lnTo>
                    <a:pt x="8843340" y="299872"/>
                  </a:lnTo>
                  <a:lnTo>
                    <a:pt x="8823084" y="257022"/>
                  </a:lnTo>
                  <a:lnTo>
                    <a:pt x="8798700" y="216268"/>
                  </a:lnTo>
                  <a:lnTo>
                    <a:pt x="8770302" y="177914"/>
                  </a:lnTo>
                  <a:lnTo>
                    <a:pt x="8738032" y="142278"/>
                  </a:lnTo>
                  <a:lnTo>
                    <a:pt x="8702408" y="110007"/>
                  </a:lnTo>
                  <a:lnTo>
                    <a:pt x="8664054" y="81622"/>
                  </a:lnTo>
                  <a:lnTo>
                    <a:pt x="8623287" y="57226"/>
                  </a:lnTo>
                  <a:lnTo>
                    <a:pt x="8580437" y="36982"/>
                  </a:lnTo>
                  <a:lnTo>
                    <a:pt x="8535822" y="20993"/>
                  </a:lnTo>
                  <a:lnTo>
                    <a:pt x="8489759" y="9423"/>
                  </a:lnTo>
                  <a:lnTo>
                    <a:pt x="8442554" y="2374"/>
                  </a:lnTo>
                  <a:lnTo>
                    <a:pt x="8394535" y="0"/>
                  </a:lnTo>
                  <a:lnTo>
                    <a:pt x="6677761" y="0"/>
                  </a:lnTo>
                  <a:lnTo>
                    <a:pt x="6629743" y="2374"/>
                  </a:lnTo>
                  <a:lnTo>
                    <a:pt x="6582550" y="9423"/>
                  </a:lnTo>
                  <a:lnTo>
                    <a:pt x="6536474" y="20993"/>
                  </a:lnTo>
                  <a:lnTo>
                    <a:pt x="6491859" y="36982"/>
                  </a:lnTo>
                  <a:lnTo>
                    <a:pt x="6449009" y="57226"/>
                  </a:lnTo>
                  <a:lnTo>
                    <a:pt x="6408242" y="81622"/>
                  </a:lnTo>
                  <a:lnTo>
                    <a:pt x="6369888" y="110007"/>
                  </a:lnTo>
                  <a:lnTo>
                    <a:pt x="6334265" y="142278"/>
                  </a:lnTo>
                  <a:lnTo>
                    <a:pt x="6301994" y="177914"/>
                  </a:lnTo>
                  <a:lnTo>
                    <a:pt x="6273597" y="216268"/>
                  </a:lnTo>
                  <a:lnTo>
                    <a:pt x="6249213" y="257022"/>
                  </a:lnTo>
                  <a:lnTo>
                    <a:pt x="6228956" y="299872"/>
                  </a:lnTo>
                  <a:lnTo>
                    <a:pt x="6212979" y="344500"/>
                  </a:lnTo>
                  <a:lnTo>
                    <a:pt x="6201397" y="390563"/>
                  </a:lnTo>
                  <a:lnTo>
                    <a:pt x="6194361" y="437756"/>
                  </a:lnTo>
                  <a:lnTo>
                    <a:pt x="6191986" y="485775"/>
                  </a:lnTo>
                  <a:lnTo>
                    <a:pt x="6191986" y="498779"/>
                  </a:lnTo>
                  <a:lnTo>
                    <a:pt x="6194361" y="546785"/>
                  </a:lnTo>
                  <a:lnTo>
                    <a:pt x="6201397" y="593991"/>
                  </a:lnTo>
                  <a:lnTo>
                    <a:pt x="6212979" y="640054"/>
                  </a:lnTo>
                  <a:lnTo>
                    <a:pt x="6228956" y="684669"/>
                  </a:lnTo>
                  <a:lnTo>
                    <a:pt x="6249213" y="727519"/>
                  </a:lnTo>
                  <a:lnTo>
                    <a:pt x="6273597" y="768286"/>
                  </a:lnTo>
                  <a:lnTo>
                    <a:pt x="6301994" y="806640"/>
                  </a:lnTo>
                  <a:lnTo>
                    <a:pt x="6334265" y="842264"/>
                  </a:lnTo>
                  <a:lnTo>
                    <a:pt x="6369888" y="874534"/>
                  </a:lnTo>
                  <a:lnTo>
                    <a:pt x="6408242" y="902931"/>
                  </a:lnTo>
                  <a:lnTo>
                    <a:pt x="6449009" y="927315"/>
                  </a:lnTo>
                  <a:lnTo>
                    <a:pt x="6491859" y="947572"/>
                  </a:lnTo>
                  <a:lnTo>
                    <a:pt x="6536474" y="963549"/>
                  </a:lnTo>
                  <a:lnTo>
                    <a:pt x="6582550" y="975131"/>
                  </a:lnTo>
                  <a:lnTo>
                    <a:pt x="6629743" y="982167"/>
                  </a:lnTo>
                  <a:lnTo>
                    <a:pt x="6677761" y="984554"/>
                  </a:lnTo>
                  <a:lnTo>
                    <a:pt x="8394535" y="984554"/>
                  </a:lnTo>
                  <a:lnTo>
                    <a:pt x="8442554" y="982167"/>
                  </a:lnTo>
                  <a:lnTo>
                    <a:pt x="8489759" y="975131"/>
                  </a:lnTo>
                  <a:lnTo>
                    <a:pt x="8535822" y="963549"/>
                  </a:lnTo>
                  <a:lnTo>
                    <a:pt x="8580437" y="947572"/>
                  </a:lnTo>
                  <a:lnTo>
                    <a:pt x="8623287" y="927315"/>
                  </a:lnTo>
                  <a:lnTo>
                    <a:pt x="8664054" y="902931"/>
                  </a:lnTo>
                  <a:lnTo>
                    <a:pt x="8702408" y="874534"/>
                  </a:lnTo>
                  <a:lnTo>
                    <a:pt x="8738032" y="842264"/>
                  </a:lnTo>
                  <a:lnTo>
                    <a:pt x="8770302" y="806640"/>
                  </a:lnTo>
                  <a:lnTo>
                    <a:pt x="8798700" y="768286"/>
                  </a:lnTo>
                  <a:lnTo>
                    <a:pt x="8823084" y="727519"/>
                  </a:lnTo>
                  <a:lnTo>
                    <a:pt x="8843340" y="684669"/>
                  </a:lnTo>
                  <a:lnTo>
                    <a:pt x="8859317" y="640054"/>
                  </a:lnTo>
                  <a:lnTo>
                    <a:pt x="8870899" y="593991"/>
                  </a:lnTo>
                  <a:lnTo>
                    <a:pt x="8877935" y="546785"/>
                  </a:lnTo>
                  <a:lnTo>
                    <a:pt x="8880310" y="498779"/>
                  </a:lnTo>
                  <a:lnTo>
                    <a:pt x="8880310" y="485775"/>
                  </a:lnTo>
                  <a:close/>
                </a:path>
                <a:path w="15190469" h="984884">
                  <a:moveTo>
                    <a:pt x="12035371" y="485775"/>
                  </a:moveTo>
                  <a:lnTo>
                    <a:pt x="12032996" y="437756"/>
                  </a:lnTo>
                  <a:lnTo>
                    <a:pt x="12025960" y="390563"/>
                  </a:lnTo>
                  <a:lnTo>
                    <a:pt x="12014378" y="344500"/>
                  </a:lnTo>
                  <a:lnTo>
                    <a:pt x="11998401" y="299872"/>
                  </a:lnTo>
                  <a:lnTo>
                    <a:pt x="11978145" y="257022"/>
                  </a:lnTo>
                  <a:lnTo>
                    <a:pt x="11953761" y="216268"/>
                  </a:lnTo>
                  <a:lnTo>
                    <a:pt x="11925364" y="177914"/>
                  </a:lnTo>
                  <a:lnTo>
                    <a:pt x="11893093" y="142278"/>
                  </a:lnTo>
                  <a:lnTo>
                    <a:pt x="11857469" y="110007"/>
                  </a:lnTo>
                  <a:lnTo>
                    <a:pt x="11819115" y="81622"/>
                  </a:lnTo>
                  <a:lnTo>
                    <a:pt x="11778348" y="57226"/>
                  </a:lnTo>
                  <a:lnTo>
                    <a:pt x="11735499" y="36982"/>
                  </a:lnTo>
                  <a:lnTo>
                    <a:pt x="11690883" y="20993"/>
                  </a:lnTo>
                  <a:lnTo>
                    <a:pt x="11644821" y="9423"/>
                  </a:lnTo>
                  <a:lnTo>
                    <a:pt x="11597615" y="2374"/>
                  </a:lnTo>
                  <a:lnTo>
                    <a:pt x="11549609" y="0"/>
                  </a:lnTo>
                  <a:lnTo>
                    <a:pt x="9832823" y="0"/>
                  </a:lnTo>
                  <a:lnTo>
                    <a:pt x="9784804" y="2374"/>
                  </a:lnTo>
                  <a:lnTo>
                    <a:pt x="9737611" y="9423"/>
                  </a:lnTo>
                  <a:lnTo>
                    <a:pt x="9691535" y="20993"/>
                  </a:lnTo>
                  <a:lnTo>
                    <a:pt x="9646920" y="36982"/>
                  </a:lnTo>
                  <a:lnTo>
                    <a:pt x="9604070" y="57226"/>
                  </a:lnTo>
                  <a:lnTo>
                    <a:pt x="9563303" y="81622"/>
                  </a:lnTo>
                  <a:lnTo>
                    <a:pt x="9524949" y="110007"/>
                  </a:lnTo>
                  <a:lnTo>
                    <a:pt x="9489326" y="142278"/>
                  </a:lnTo>
                  <a:lnTo>
                    <a:pt x="9457055" y="177914"/>
                  </a:lnTo>
                  <a:lnTo>
                    <a:pt x="9428658" y="216268"/>
                  </a:lnTo>
                  <a:lnTo>
                    <a:pt x="9404274" y="257022"/>
                  </a:lnTo>
                  <a:lnTo>
                    <a:pt x="9384017" y="299872"/>
                  </a:lnTo>
                  <a:lnTo>
                    <a:pt x="9368041" y="344500"/>
                  </a:lnTo>
                  <a:lnTo>
                    <a:pt x="9356458" y="390563"/>
                  </a:lnTo>
                  <a:lnTo>
                    <a:pt x="9349422" y="437756"/>
                  </a:lnTo>
                  <a:lnTo>
                    <a:pt x="9347048" y="485775"/>
                  </a:lnTo>
                  <a:lnTo>
                    <a:pt x="9347048" y="498779"/>
                  </a:lnTo>
                  <a:lnTo>
                    <a:pt x="9349422" y="546785"/>
                  </a:lnTo>
                  <a:lnTo>
                    <a:pt x="9356458" y="593991"/>
                  </a:lnTo>
                  <a:lnTo>
                    <a:pt x="9368041" y="640054"/>
                  </a:lnTo>
                  <a:lnTo>
                    <a:pt x="9384017" y="684669"/>
                  </a:lnTo>
                  <a:lnTo>
                    <a:pt x="9404274" y="727519"/>
                  </a:lnTo>
                  <a:lnTo>
                    <a:pt x="9428658" y="768286"/>
                  </a:lnTo>
                  <a:lnTo>
                    <a:pt x="9457055" y="806640"/>
                  </a:lnTo>
                  <a:lnTo>
                    <a:pt x="9489326" y="842264"/>
                  </a:lnTo>
                  <a:lnTo>
                    <a:pt x="9524949" y="874534"/>
                  </a:lnTo>
                  <a:lnTo>
                    <a:pt x="9563303" y="902931"/>
                  </a:lnTo>
                  <a:lnTo>
                    <a:pt x="9604070" y="927315"/>
                  </a:lnTo>
                  <a:lnTo>
                    <a:pt x="9646920" y="947572"/>
                  </a:lnTo>
                  <a:lnTo>
                    <a:pt x="9691535" y="963549"/>
                  </a:lnTo>
                  <a:lnTo>
                    <a:pt x="9737611" y="975131"/>
                  </a:lnTo>
                  <a:lnTo>
                    <a:pt x="9784804" y="982167"/>
                  </a:lnTo>
                  <a:lnTo>
                    <a:pt x="9832823" y="984554"/>
                  </a:lnTo>
                  <a:lnTo>
                    <a:pt x="11549609" y="984554"/>
                  </a:lnTo>
                  <a:lnTo>
                    <a:pt x="11597615" y="982167"/>
                  </a:lnTo>
                  <a:lnTo>
                    <a:pt x="11644821" y="975131"/>
                  </a:lnTo>
                  <a:lnTo>
                    <a:pt x="11690883" y="963549"/>
                  </a:lnTo>
                  <a:lnTo>
                    <a:pt x="11735499" y="947572"/>
                  </a:lnTo>
                  <a:lnTo>
                    <a:pt x="11778348" y="927315"/>
                  </a:lnTo>
                  <a:lnTo>
                    <a:pt x="11819115" y="902931"/>
                  </a:lnTo>
                  <a:lnTo>
                    <a:pt x="11857469" y="874534"/>
                  </a:lnTo>
                  <a:lnTo>
                    <a:pt x="11893093" y="842264"/>
                  </a:lnTo>
                  <a:lnTo>
                    <a:pt x="11925364" y="806640"/>
                  </a:lnTo>
                  <a:lnTo>
                    <a:pt x="11953761" y="768286"/>
                  </a:lnTo>
                  <a:lnTo>
                    <a:pt x="11978145" y="727519"/>
                  </a:lnTo>
                  <a:lnTo>
                    <a:pt x="11998401" y="684669"/>
                  </a:lnTo>
                  <a:lnTo>
                    <a:pt x="12014378" y="640054"/>
                  </a:lnTo>
                  <a:lnTo>
                    <a:pt x="12025960" y="593991"/>
                  </a:lnTo>
                  <a:lnTo>
                    <a:pt x="12032996" y="546785"/>
                  </a:lnTo>
                  <a:lnTo>
                    <a:pt x="12035371" y="498779"/>
                  </a:lnTo>
                  <a:lnTo>
                    <a:pt x="12035371" y="485775"/>
                  </a:lnTo>
                  <a:close/>
                </a:path>
                <a:path w="15190469" h="984884">
                  <a:moveTo>
                    <a:pt x="15190432" y="485775"/>
                  </a:moveTo>
                  <a:lnTo>
                    <a:pt x="15188057" y="437756"/>
                  </a:lnTo>
                  <a:lnTo>
                    <a:pt x="15181009" y="390563"/>
                  </a:lnTo>
                  <a:lnTo>
                    <a:pt x="15169439" y="344500"/>
                  </a:lnTo>
                  <a:lnTo>
                    <a:pt x="15153462" y="299872"/>
                  </a:lnTo>
                  <a:lnTo>
                    <a:pt x="15133206" y="257022"/>
                  </a:lnTo>
                  <a:lnTo>
                    <a:pt x="15108822" y="216268"/>
                  </a:lnTo>
                  <a:lnTo>
                    <a:pt x="15080425" y="177914"/>
                  </a:lnTo>
                  <a:lnTo>
                    <a:pt x="15048154" y="142278"/>
                  </a:lnTo>
                  <a:lnTo>
                    <a:pt x="15012531" y="110007"/>
                  </a:lnTo>
                  <a:lnTo>
                    <a:pt x="14974164" y="81622"/>
                  </a:lnTo>
                  <a:lnTo>
                    <a:pt x="14933410" y="57226"/>
                  </a:lnTo>
                  <a:lnTo>
                    <a:pt x="14890560" y="36982"/>
                  </a:lnTo>
                  <a:lnTo>
                    <a:pt x="14845945" y="20993"/>
                  </a:lnTo>
                  <a:lnTo>
                    <a:pt x="14799869" y="9423"/>
                  </a:lnTo>
                  <a:lnTo>
                    <a:pt x="14752676" y="2374"/>
                  </a:lnTo>
                  <a:lnTo>
                    <a:pt x="14704657" y="0"/>
                  </a:lnTo>
                  <a:lnTo>
                    <a:pt x="12987871" y="0"/>
                  </a:lnTo>
                  <a:lnTo>
                    <a:pt x="12939865" y="2374"/>
                  </a:lnTo>
                  <a:lnTo>
                    <a:pt x="12892659" y="9423"/>
                  </a:lnTo>
                  <a:lnTo>
                    <a:pt x="12846596" y="20993"/>
                  </a:lnTo>
                  <a:lnTo>
                    <a:pt x="12801981" y="36982"/>
                  </a:lnTo>
                  <a:lnTo>
                    <a:pt x="12759131" y="57226"/>
                  </a:lnTo>
                  <a:lnTo>
                    <a:pt x="12718364" y="81622"/>
                  </a:lnTo>
                  <a:lnTo>
                    <a:pt x="12680010" y="110007"/>
                  </a:lnTo>
                  <a:lnTo>
                    <a:pt x="12644374" y="142278"/>
                  </a:lnTo>
                  <a:lnTo>
                    <a:pt x="12612116" y="177914"/>
                  </a:lnTo>
                  <a:lnTo>
                    <a:pt x="12583719" y="216268"/>
                  </a:lnTo>
                  <a:lnTo>
                    <a:pt x="12559322" y="257022"/>
                  </a:lnTo>
                  <a:lnTo>
                    <a:pt x="12539078" y="299872"/>
                  </a:lnTo>
                  <a:lnTo>
                    <a:pt x="12523102" y="344500"/>
                  </a:lnTo>
                  <a:lnTo>
                    <a:pt x="12511519" y="390563"/>
                  </a:lnTo>
                  <a:lnTo>
                    <a:pt x="12504484" y="437756"/>
                  </a:lnTo>
                  <a:lnTo>
                    <a:pt x="12502096" y="485775"/>
                  </a:lnTo>
                  <a:lnTo>
                    <a:pt x="12502096" y="498779"/>
                  </a:lnTo>
                  <a:lnTo>
                    <a:pt x="12504484" y="546785"/>
                  </a:lnTo>
                  <a:lnTo>
                    <a:pt x="12511519" y="593991"/>
                  </a:lnTo>
                  <a:lnTo>
                    <a:pt x="12523102" y="640054"/>
                  </a:lnTo>
                  <a:lnTo>
                    <a:pt x="12539078" y="684669"/>
                  </a:lnTo>
                  <a:lnTo>
                    <a:pt x="12559322" y="727519"/>
                  </a:lnTo>
                  <a:lnTo>
                    <a:pt x="12583719" y="768286"/>
                  </a:lnTo>
                  <a:lnTo>
                    <a:pt x="12612116" y="806640"/>
                  </a:lnTo>
                  <a:lnTo>
                    <a:pt x="12644374" y="842264"/>
                  </a:lnTo>
                  <a:lnTo>
                    <a:pt x="12680010" y="874534"/>
                  </a:lnTo>
                  <a:lnTo>
                    <a:pt x="12718364" y="902931"/>
                  </a:lnTo>
                  <a:lnTo>
                    <a:pt x="12759131" y="927315"/>
                  </a:lnTo>
                  <a:lnTo>
                    <a:pt x="12801981" y="947572"/>
                  </a:lnTo>
                  <a:lnTo>
                    <a:pt x="12846596" y="963549"/>
                  </a:lnTo>
                  <a:lnTo>
                    <a:pt x="12892659" y="975131"/>
                  </a:lnTo>
                  <a:lnTo>
                    <a:pt x="12939865" y="982167"/>
                  </a:lnTo>
                  <a:lnTo>
                    <a:pt x="12987871" y="984554"/>
                  </a:lnTo>
                  <a:lnTo>
                    <a:pt x="14704657" y="984554"/>
                  </a:lnTo>
                  <a:lnTo>
                    <a:pt x="14752676" y="982167"/>
                  </a:lnTo>
                  <a:lnTo>
                    <a:pt x="14799869" y="975131"/>
                  </a:lnTo>
                  <a:lnTo>
                    <a:pt x="14845945" y="963549"/>
                  </a:lnTo>
                  <a:lnTo>
                    <a:pt x="14890560" y="947572"/>
                  </a:lnTo>
                  <a:lnTo>
                    <a:pt x="14933410" y="927315"/>
                  </a:lnTo>
                  <a:lnTo>
                    <a:pt x="14974164" y="902931"/>
                  </a:lnTo>
                  <a:lnTo>
                    <a:pt x="15012531" y="874534"/>
                  </a:lnTo>
                  <a:lnTo>
                    <a:pt x="15048154" y="842264"/>
                  </a:lnTo>
                  <a:lnTo>
                    <a:pt x="15080425" y="806640"/>
                  </a:lnTo>
                  <a:lnTo>
                    <a:pt x="15108822" y="768286"/>
                  </a:lnTo>
                  <a:lnTo>
                    <a:pt x="15133206" y="727519"/>
                  </a:lnTo>
                  <a:lnTo>
                    <a:pt x="15153462" y="684669"/>
                  </a:lnTo>
                  <a:lnTo>
                    <a:pt x="15169439" y="640054"/>
                  </a:lnTo>
                  <a:lnTo>
                    <a:pt x="15181009" y="593991"/>
                  </a:lnTo>
                  <a:lnTo>
                    <a:pt x="15188057" y="546785"/>
                  </a:lnTo>
                  <a:lnTo>
                    <a:pt x="15190432" y="498779"/>
                  </a:lnTo>
                  <a:lnTo>
                    <a:pt x="15190432" y="485775"/>
                  </a:lnTo>
                  <a:close/>
                </a:path>
              </a:pathLst>
            </a:custGeom>
            <a:solidFill>
              <a:srgbClr val="E3112B"/>
            </a:solidFill>
          </p:spPr>
          <p:txBody>
            <a:bodyPr wrap="square" lIns="0" tIns="0" rIns="0" bIns="0" rtlCol="0"/>
            <a:lstStyle/>
            <a:p>
              <a:endParaRPr/>
            </a:p>
          </p:txBody>
        </p:sp>
      </p:grpSp>
      <p:sp>
        <p:nvSpPr>
          <p:cNvPr id="33" name="object 33"/>
          <p:cNvSpPr txBox="1"/>
          <p:nvPr/>
        </p:nvSpPr>
        <p:spPr>
          <a:xfrm>
            <a:off x="688967" y="5628229"/>
            <a:ext cx="358775" cy="3366770"/>
          </a:xfrm>
          <a:prstGeom prst="rect">
            <a:avLst/>
          </a:prstGeom>
        </p:spPr>
        <p:txBody>
          <a:bodyPr vert="vert270" wrap="square" lIns="0" tIns="0" rIns="0" bIns="0" rtlCol="0">
            <a:spAutoFit/>
          </a:bodyPr>
          <a:lstStyle/>
          <a:p>
            <a:pPr marL="12700">
              <a:lnSpc>
                <a:spcPts val="2410"/>
              </a:lnSpc>
            </a:pPr>
            <a:r>
              <a:rPr sz="2100" b="1" spc="-10" dirty="0">
                <a:solidFill>
                  <a:srgbClr val="E3112B"/>
                </a:solidFill>
                <a:latin typeface="Arial"/>
                <a:cs typeface="Arial"/>
              </a:rPr>
              <a:t>PILARES</a:t>
            </a:r>
            <a:r>
              <a:rPr sz="2100" b="1" spc="-95" dirty="0">
                <a:solidFill>
                  <a:srgbClr val="E3112B"/>
                </a:solidFill>
                <a:latin typeface="Arial"/>
                <a:cs typeface="Arial"/>
              </a:rPr>
              <a:t> </a:t>
            </a:r>
            <a:r>
              <a:rPr sz="2100" b="1" spc="-10" dirty="0">
                <a:solidFill>
                  <a:srgbClr val="E3112B"/>
                </a:solidFill>
                <a:latin typeface="Arial"/>
                <a:cs typeface="Arial"/>
              </a:rPr>
              <a:t>ESTRATÉGICOS</a:t>
            </a:r>
            <a:endParaRPr sz="2100">
              <a:latin typeface="Arial"/>
              <a:cs typeface="Arial"/>
            </a:endParaRPr>
          </a:p>
        </p:txBody>
      </p:sp>
      <p:sp>
        <p:nvSpPr>
          <p:cNvPr id="34" name="object 34"/>
          <p:cNvSpPr txBox="1"/>
          <p:nvPr/>
        </p:nvSpPr>
        <p:spPr>
          <a:xfrm>
            <a:off x="5605835" y="6409019"/>
            <a:ext cx="1053465" cy="659765"/>
          </a:xfrm>
          <a:prstGeom prst="rect">
            <a:avLst/>
          </a:prstGeom>
        </p:spPr>
        <p:txBody>
          <a:bodyPr vert="horz" wrap="square" lIns="0" tIns="27305" rIns="0" bIns="0" rtlCol="0">
            <a:spAutoFit/>
          </a:bodyPr>
          <a:lstStyle/>
          <a:p>
            <a:pPr marL="12700" marR="5080" indent="240665">
              <a:lnSpc>
                <a:spcPts val="2480"/>
              </a:lnSpc>
              <a:spcBef>
                <a:spcPts val="215"/>
              </a:spcBef>
            </a:pPr>
            <a:r>
              <a:rPr sz="2100" b="1" spc="75" dirty="0">
                <a:solidFill>
                  <a:srgbClr val="FFFFFF"/>
                </a:solidFill>
                <a:latin typeface="Arial"/>
                <a:cs typeface="Arial"/>
              </a:rPr>
              <a:t>Ser </a:t>
            </a:r>
            <a:r>
              <a:rPr sz="2100" b="1" spc="-10" dirty="0">
                <a:solidFill>
                  <a:srgbClr val="FFFFFF"/>
                </a:solidFill>
                <a:latin typeface="Arial"/>
                <a:cs typeface="Arial"/>
              </a:rPr>
              <a:t>simples</a:t>
            </a:r>
            <a:endParaRPr sz="2100">
              <a:latin typeface="Arial"/>
              <a:cs typeface="Arial"/>
            </a:endParaRPr>
          </a:p>
        </p:txBody>
      </p:sp>
      <p:sp>
        <p:nvSpPr>
          <p:cNvPr id="35" name="object 35"/>
          <p:cNvSpPr txBox="1"/>
          <p:nvPr/>
        </p:nvSpPr>
        <p:spPr>
          <a:xfrm>
            <a:off x="8467983" y="6409019"/>
            <a:ext cx="1768475" cy="659765"/>
          </a:xfrm>
          <a:prstGeom prst="rect">
            <a:avLst/>
          </a:prstGeom>
        </p:spPr>
        <p:txBody>
          <a:bodyPr vert="horz" wrap="square" lIns="0" tIns="27305" rIns="0" bIns="0" rtlCol="0">
            <a:spAutoFit/>
          </a:bodyPr>
          <a:lstStyle/>
          <a:p>
            <a:pPr marL="12700" marR="5080" indent="635000">
              <a:lnSpc>
                <a:spcPts val="2480"/>
              </a:lnSpc>
              <a:spcBef>
                <a:spcPts val="215"/>
              </a:spcBef>
            </a:pPr>
            <a:r>
              <a:rPr sz="2100" b="1" spc="75" dirty="0">
                <a:solidFill>
                  <a:srgbClr val="FFFFFF"/>
                </a:solidFill>
                <a:latin typeface="Arial"/>
                <a:cs typeface="Arial"/>
              </a:rPr>
              <a:t>Ser </a:t>
            </a:r>
            <a:r>
              <a:rPr sz="2100" b="1" spc="95" dirty="0">
                <a:solidFill>
                  <a:srgbClr val="FFFFFF"/>
                </a:solidFill>
                <a:latin typeface="Arial"/>
                <a:cs typeface="Arial"/>
              </a:rPr>
              <a:t>innovadores</a:t>
            </a:r>
            <a:endParaRPr sz="2100">
              <a:latin typeface="Arial"/>
              <a:cs typeface="Arial"/>
            </a:endParaRPr>
          </a:p>
        </p:txBody>
      </p:sp>
      <p:sp>
        <p:nvSpPr>
          <p:cNvPr id="36" name="object 36"/>
          <p:cNvSpPr txBox="1"/>
          <p:nvPr/>
        </p:nvSpPr>
        <p:spPr>
          <a:xfrm>
            <a:off x="11564418" y="6409019"/>
            <a:ext cx="1785620" cy="659765"/>
          </a:xfrm>
          <a:prstGeom prst="rect">
            <a:avLst/>
          </a:prstGeom>
        </p:spPr>
        <p:txBody>
          <a:bodyPr vert="horz" wrap="square" lIns="0" tIns="27305" rIns="0" bIns="0" rtlCol="0">
            <a:spAutoFit/>
          </a:bodyPr>
          <a:lstStyle/>
          <a:p>
            <a:pPr marL="127635" marR="5080" indent="-115570">
              <a:lnSpc>
                <a:spcPts val="2480"/>
              </a:lnSpc>
              <a:spcBef>
                <a:spcPts val="215"/>
              </a:spcBef>
            </a:pPr>
            <a:r>
              <a:rPr sz="2100" b="1" spc="100" dirty="0">
                <a:solidFill>
                  <a:srgbClr val="FFFFFF"/>
                </a:solidFill>
                <a:latin typeface="Arial"/>
                <a:cs typeface="Arial"/>
              </a:rPr>
              <a:t>Ser</a:t>
            </a:r>
            <a:r>
              <a:rPr sz="2100" b="1" spc="-5" dirty="0">
                <a:solidFill>
                  <a:srgbClr val="FFFFFF"/>
                </a:solidFill>
                <a:latin typeface="Arial"/>
                <a:cs typeface="Arial"/>
              </a:rPr>
              <a:t> </a:t>
            </a:r>
            <a:r>
              <a:rPr sz="2100" b="1" spc="35" dirty="0">
                <a:solidFill>
                  <a:srgbClr val="FFFFFF"/>
                </a:solidFill>
                <a:latin typeface="Arial"/>
                <a:cs typeface="Arial"/>
              </a:rPr>
              <a:t>efectivos </a:t>
            </a:r>
            <a:r>
              <a:rPr sz="2100" b="1" spc="150" dirty="0">
                <a:solidFill>
                  <a:srgbClr val="FFFFFF"/>
                </a:solidFill>
                <a:latin typeface="Arial"/>
                <a:cs typeface="Arial"/>
              </a:rPr>
              <a:t>y</a:t>
            </a:r>
            <a:r>
              <a:rPr sz="2100" b="1" spc="-15" dirty="0">
                <a:solidFill>
                  <a:srgbClr val="FFFFFF"/>
                </a:solidFill>
                <a:latin typeface="Arial"/>
                <a:cs typeface="Arial"/>
              </a:rPr>
              <a:t> </a:t>
            </a:r>
            <a:r>
              <a:rPr sz="2100" b="1" spc="-10" dirty="0">
                <a:solidFill>
                  <a:srgbClr val="FFFFFF"/>
                </a:solidFill>
                <a:latin typeface="Arial"/>
                <a:cs typeface="Arial"/>
              </a:rPr>
              <a:t>eficientes</a:t>
            </a:r>
            <a:endParaRPr sz="2100">
              <a:latin typeface="Arial"/>
              <a:cs typeface="Arial"/>
            </a:endParaRPr>
          </a:p>
        </p:txBody>
      </p:sp>
      <p:sp>
        <p:nvSpPr>
          <p:cNvPr id="37" name="object 37"/>
          <p:cNvSpPr txBox="1"/>
          <p:nvPr/>
        </p:nvSpPr>
        <p:spPr>
          <a:xfrm>
            <a:off x="14850237" y="6409019"/>
            <a:ext cx="1489710" cy="659765"/>
          </a:xfrm>
          <a:prstGeom prst="rect">
            <a:avLst/>
          </a:prstGeom>
        </p:spPr>
        <p:txBody>
          <a:bodyPr vert="horz" wrap="square" lIns="0" tIns="27305" rIns="0" bIns="0" rtlCol="0">
            <a:spAutoFit/>
          </a:bodyPr>
          <a:lstStyle/>
          <a:p>
            <a:pPr marL="12700" marR="5080" indent="495300">
              <a:lnSpc>
                <a:spcPts val="2480"/>
              </a:lnSpc>
              <a:spcBef>
                <a:spcPts val="215"/>
              </a:spcBef>
            </a:pPr>
            <a:r>
              <a:rPr sz="2100" b="1" spc="75" dirty="0">
                <a:solidFill>
                  <a:srgbClr val="FFFFFF"/>
                </a:solidFill>
                <a:latin typeface="Arial"/>
                <a:cs typeface="Arial"/>
              </a:rPr>
              <a:t>Ser </a:t>
            </a:r>
            <a:r>
              <a:rPr sz="2100" b="1" spc="-10" dirty="0">
                <a:solidFill>
                  <a:srgbClr val="FFFFFF"/>
                </a:solidFill>
                <a:latin typeface="Arial"/>
                <a:cs typeface="Arial"/>
              </a:rPr>
              <a:t>específicos</a:t>
            </a:r>
            <a:endParaRPr sz="2100">
              <a:latin typeface="Arial"/>
              <a:cs typeface="Arial"/>
            </a:endParaRPr>
          </a:p>
        </p:txBody>
      </p:sp>
      <p:sp>
        <p:nvSpPr>
          <p:cNvPr id="38" name="object 38"/>
          <p:cNvSpPr txBox="1"/>
          <p:nvPr/>
        </p:nvSpPr>
        <p:spPr>
          <a:xfrm>
            <a:off x="2508685" y="6409019"/>
            <a:ext cx="1170305" cy="659765"/>
          </a:xfrm>
          <a:prstGeom prst="rect">
            <a:avLst/>
          </a:prstGeom>
        </p:spPr>
        <p:txBody>
          <a:bodyPr vert="horz" wrap="square" lIns="0" tIns="27305" rIns="0" bIns="0" rtlCol="0">
            <a:spAutoFit/>
          </a:bodyPr>
          <a:lstStyle/>
          <a:p>
            <a:pPr marL="12700" marR="5080" indent="299085">
              <a:lnSpc>
                <a:spcPts val="2480"/>
              </a:lnSpc>
              <a:spcBef>
                <a:spcPts val="215"/>
              </a:spcBef>
            </a:pPr>
            <a:r>
              <a:rPr sz="2100" b="1" spc="75" dirty="0">
                <a:solidFill>
                  <a:srgbClr val="FFFFFF"/>
                </a:solidFill>
                <a:latin typeface="Arial"/>
                <a:cs typeface="Arial"/>
              </a:rPr>
              <a:t>Ser </a:t>
            </a:r>
            <a:r>
              <a:rPr sz="2100" b="1" spc="65" dirty="0">
                <a:solidFill>
                  <a:srgbClr val="FFFFFF"/>
                </a:solidFill>
                <a:latin typeface="Arial"/>
                <a:cs typeface="Arial"/>
              </a:rPr>
              <a:t>audaces</a:t>
            </a:r>
            <a:endParaRPr sz="2100">
              <a:latin typeface="Arial"/>
              <a:cs typeface="Arial"/>
            </a:endParaRPr>
          </a:p>
        </p:txBody>
      </p:sp>
      <p:sp>
        <p:nvSpPr>
          <p:cNvPr id="39" name="object 39"/>
          <p:cNvSpPr txBox="1"/>
          <p:nvPr/>
        </p:nvSpPr>
        <p:spPr>
          <a:xfrm>
            <a:off x="2166811" y="7816703"/>
            <a:ext cx="1781810" cy="746125"/>
          </a:xfrm>
          <a:prstGeom prst="rect">
            <a:avLst/>
          </a:prstGeom>
        </p:spPr>
        <p:txBody>
          <a:bodyPr vert="horz" wrap="square" lIns="0" tIns="24765" rIns="0" bIns="0" rtlCol="0">
            <a:spAutoFit/>
          </a:bodyPr>
          <a:lstStyle/>
          <a:p>
            <a:pPr marL="12065" marR="5080" algn="ctr">
              <a:lnSpc>
                <a:spcPts val="1880"/>
              </a:lnSpc>
              <a:spcBef>
                <a:spcPts val="195"/>
              </a:spcBef>
            </a:pPr>
            <a:r>
              <a:rPr sz="1600" b="1" dirty="0">
                <a:solidFill>
                  <a:srgbClr val="737373"/>
                </a:solidFill>
                <a:latin typeface="Roboto"/>
                <a:cs typeface="Roboto"/>
              </a:rPr>
              <a:t>Decisiones</a:t>
            </a:r>
            <a:r>
              <a:rPr sz="1600" b="1" spc="-65" dirty="0">
                <a:solidFill>
                  <a:srgbClr val="737373"/>
                </a:solidFill>
                <a:latin typeface="Roboto"/>
                <a:cs typeface="Roboto"/>
              </a:rPr>
              <a:t> </a:t>
            </a:r>
            <a:r>
              <a:rPr sz="1600" b="1" spc="-10" dirty="0">
                <a:solidFill>
                  <a:srgbClr val="737373"/>
                </a:solidFill>
                <a:latin typeface="Roboto"/>
                <a:cs typeface="Roboto"/>
              </a:rPr>
              <a:t>nuevas, </a:t>
            </a:r>
            <a:r>
              <a:rPr sz="1600" b="1" dirty="0">
                <a:solidFill>
                  <a:srgbClr val="737373"/>
                </a:solidFill>
                <a:latin typeface="Roboto"/>
                <a:cs typeface="Roboto"/>
              </a:rPr>
              <a:t>trabajar</a:t>
            </a:r>
            <a:r>
              <a:rPr sz="1600" b="1" spc="-70" dirty="0">
                <a:solidFill>
                  <a:srgbClr val="737373"/>
                </a:solidFill>
                <a:latin typeface="Roboto"/>
                <a:cs typeface="Roboto"/>
              </a:rPr>
              <a:t> </a:t>
            </a:r>
            <a:r>
              <a:rPr sz="1600" b="1" spc="-10" dirty="0">
                <a:solidFill>
                  <a:srgbClr val="737373"/>
                </a:solidFill>
                <a:latin typeface="Roboto"/>
                <a:cs typeface="Roboto"/>
              </a:rPr>
              <a:t>juntos, </a:t>
            </a:r>
            <a:r>
              <a:rPr sz="1600" b="1" dirty="0">
                <a:solidFill>
                  <a:srgbClr val="737373"/>
                </a:solidFill>
                <a:latin typeface="Roboto"/>
                <a:cs typeface="Roboto"/>
              </a:rPr>
              <a:t>tolerar</a:t>
            </a:r>
            <a:r>
              <a:rPr sz="1600" b="1" spc="-5" dirty="0">
                <a:solidFill>
                  <a:srgbClr val="737373"/>
                </a:solidFill>
                <a:latin typeface="Roboto"/>
                <a:cs typeface="Roboto"/>
              </a:rPr>
              <a:t> </a:t>
            </a:r>
            <a:r>
              <a:rPr sz="1600" b="1" dirty="0">
                <a:solidFill>
                  <a:srgbClr val="737373"/>
                </a:solidFill>
                <a:latin typeface="Roboto"/>
                <a:cs typeface="Roboto"/>
              </a:rPr>
              <a:t>el</a:t>
            </a:r>
            <a:r>
              <a:rPr sz="1600" b="1" spc="-5" dirty="0">
                <a:solidFill>
                  <a:srgbClr val="737373"/>
                </a:solidFill>
                <a:latin typeface="Roboto"/>
                <a:cs typeface="Roboto"/>
              </a:rPr>
              <a:t> </a:t>
            </a:r>
            <a:r>
              <a:rPr sz="1600" b="1" spc="-10" dirty="0">
                <a:solidFill>
                  <a:srgbClr val="737373"/>
                </a:solidFill>
                <a:latin typeface="Roboto"/>
                <a:cs typeface="Roboto"/>
              </a:rPr>
              <a:t>cambio</a:t>
            </a:r>
            <a:endParaRPr sz="1600">
              <a:latin typeface="Roboto"/>
              <a:cs typeface="Roboto"/>
            </a:endParaRPr>
          </a:p>
        </p:txBody>
      </p:sp>
      <p:sp>
        <p:nvSpPr>
          <p:cNvPr id="40" name="object 40"/>
          <p:cNvSpPr txBox="1"/>
          <p:nvPr/>
        </p:nvSpPr>
        <p:spPr>
          <a:xfrm>
            <a:off x="5221998" y="7819876"/>
            <a:ext cx="1744980" cy="692150"/>
          </a:xfrm>
          <a:prstGeom prst="rect">
            <a:avLst/>
          </a:prstGeom>
        </p:spPr>
        <p:txBody>
          <a:bodyPr vert="horz" wrap="square" lIns="0" tIns="27305" rIns="0" bIns="0" rtlCol="0">
            <a:spAutoFit/>
          </a:bodyPr>
          <a:lstStyle/>
          <a:p>
            <a:pPr marL="12065" marR="5080" algn="ctr">
              <a:lnSpc>
                <a:spcPts val="1730"/>
              </a:lnSpc>
              <a:spcBef>
                <a:spcPts val="215"/>
              </a:spcBef>
            </a:pPr>
            <a:r>
              <a:rPr sz="1500" b="1" dirty="0">
                <a:solidFill>
                  <a:srgbClr val="737373"/>
                </a:solidFill>
                <a:latin typeface="Roboto"/>
                <a:cs typeface="Roboto"/>
              </a:rPr>
              <a:t>Facilitar</a:t>
            </a:r>
            <a:r>
              <a:rPr sz="1500" b="1" spc="-25" dirty="0">
                <a:solidFill>
                  <a:srgbClr val="737373"/>
                </a:solidFill>
                <a:latin typeface="Roboto"/>
                <a:cs typeface="Roboto"/>
              </a:rPr>
              <a:t> </a:t>
            </a:r>
            <a:r>
              <a:rPr sz="1500" b="1" dirty="0">
                <a:solidFill>
                  <a:srgbClr val="737373"/>
                </a:solidFill>
                <a:latin typeface="Roboto"/>
                <a:cs typeface="Roboto"/>
              </a:rPr>
              <a:t>al</a:t>
            </a:r>
            <a:r>
              <a:rPr sz="1500" b="1" spc="-20" dirty="0">
                <a:solidFill>
                  <a:srgbClr val="737373"/>
                </a:solidFill>
                <a:latin typeface="Roboto"/>
                <a:cs typeface="Roboto"/>
              </a:rPr>
              <a:t> </a:t>
            </a:r>
            <a:r>
              <a:rPr sz="1500" b="1" dirty="0">
                <a:solidFill>
                  <a:srgbClr val="737373"/>
                </a:solidFill>
                <a:latin typeface="Roboto"/>
                <a:cs typeface="Roboto"/>
              </a:rPr>
              <a:t>viajero</a:t>
            </a:r>
            <a:r>
              <a:rPr sz="1500" b="1" spc="-25" dirty="0">
                <a:solidFill>
                  <a:srgbClr val="737373"/>
                </a:solidFill>
                <a:latin typeface="Roboto"/>
                <a:cs typeface="Roboto"/>
              </a:rPr>
              <a:t> la </a:t>
            </a:r>
            <a:r>
              <a:rPr sz="1500" b="1" dirty="0">
                <a:solidFill>
                  <a:srgbClr val="737373"/>
                </a:solidFill>
                <a:latin typeface="Roboto"/>
                <a:cs typeface="Roboto"/>
              </a:rPr>
              <a:t>comprensión</a:t>
            </a:r>
            <a:r>
              <a:rPr sz="1500" b="1" spc="-10" dirty="0">
                <a:solidFill>
                  <a:srgbClr val="737373"/>
                </a:solidFill>
                <a:latin typeface="Roboto"/>
                <a:cs typeface="Roboto"/>
              </a:rPr>
              <a:t> </a:t>
            </a:r>
            <a:r>
              <a:rPr sz="1500" b="1" dirty="0">
                <a:solidFill>
                  <a:srgbClr val="737373"/>
                </a:solidFill>
                <a:latin typeface="Roboto"/>
                <a:cs typeface="Roboto"/>
              </a:rPr>
              <a:t>y</a:t>
            </a:r>
            <a:r>
              <a:rPr sz="1500" b="1" spc="-10" dirty="0">
                <a:solidFill>
                  <a:srgbClr val="737373"/>
                </a:solidFill>
                <a:latin typeface="Roboto"/>
                <a:cs typeface="Roboto"/>
              </a:rPr>
              <a:t> </a:t>
            </a:r>
            <a:r>
              <a:rPr sz="1500" b="1" spc="-25" dirty="0">
                <a:solidFill>
                  <a:srgbClr val="737373"/>
                </a:solidFill>
                <a:latin typeface="Roboto"/>
                <a:cs typeface="Roboto"/>
              </a:rPr>
              <a:t>su </a:t>
            </a:r>
            <a:r>
              <a:rPr sz="1500" b="1" dirty="0">
                <a:solidFill>
                  <a:srgbClr val="737373"/>
                </a:solidFill>
                <a:latin typeface="Roboto"/>
                <a:cs typeface="Roboto"/>
              </a:rPr>
              <a:t>viaje</a:t>
            </a:r>
            <a:r>
              <a:rPr sz="1500" b="1" spc="-20" dirty="0">
                <a:solidFill>
                  <a:srgbClr val="737373"/>
                </a:solidFill>
                <a:latin typeface="Roboto"/>
                <a:cs typeface="Roboto"/>
              </a:rPr>
              <a:t> </a:t>
            </a:r>
            <a:r>
              <a:rPr sz="1500" b="1" dirty="0">
                <a:solidFill>
                  <a:srgbClr val="737373"/>
                </a:solidFill>
                <a:latin typeface="Roboto"/>
                <a:cs typeface="Roboto"/>
              </a:rPr>
              <a:t>a</a:t>
            </a:r>
            <a:r>
              <a:rPr sz="1500" b="1" spc="-20" dirty="0">
                <a:solidFill>
                  <a:srgbClr val="737373"/>
                </a:solidFill>
                <a:latin typeface="Roboto"/>
                <a:cs typeface="Roboto"/>
              </a:rPr>
              <a:t> </a:t>
            </a:r>
            <a:r>
              <a:rPr sz="1500" b="1" spc="-10" dirty="0">
                <a:solidFill>
                  <a:srgbClr val="737373"/>
                </a:solidFill>
                <a:latin typeface="Roboto"/>
                <a:cs typeface="Roboto"/>
              </a:rPr>
              <a:t>Chile</a:t>
            </a:r>
            <a:endParaRPr sz="1500">
              <a:latin typeface="Roboto"/>
              <a:cs typeface="Roboto"/>
            </a:endParaRPr>
          </a:p>
        </p:txBody>
      </p:sp>
      <p:sp>
        <p:nvSpPr>
          <p:cNvPr id="41" name="object 41"/>
          <p:cNvSpPr txBox="1"/>
          <p:nvPr/>
        </p:nvSpPr>
        <p:spPr>
          <a:xfrm>
            <a:off x="8464436" y="7819876"/>
            <a:ext cx="1642745" cy="911225"/>
          </a:xfrm>
          <a:prstGeom prst="rect">
            <a:avLst/>
          </a:prstGeom>
        </p:spPr>
        <p:txBody>
          <a:bodyPr vert="horz" wrap="square" lIns="0" tIns="27305" rIns="0" bIns="0" rtlCol="0">
            <a:spAutoFit/>
          </a:bodyPr>
          <a:lstStyle/>
          <a:p>
            <a:pPr marL="12700" marR="5080" algn="ctr">
              <a:lnSpc>
                <a:spcPts val="1730"/>
              </a:lnSpc>
              <a:spcBef>
                <a:spcPts val="215"/>
              </a:spcBef>
            </a:pPr>
            <a:r>
              <a:rPr sz="1500" b="1" dirty="0">
                <a:solidFill>
                  <a:srgbClr val="737373"/>
                </a:solidFill>
                <a:latin typeface="Roboto"/>
                <a:cs typeface="Roboto"/>
              </a:rPr>
              <a:t>Hacer</a:t>
            </a:r>
            <a:r>
              <a:rPr sz="1500" b="1" spc="5" dirty="0">
                <a:solidFill>
                  <a:srgbClr val="737373"/>
                </a:solidFill>
                <a:latin typeface="Roboto"/>
                <a:cs typeface="Roboto"/>
              </a:rPr>
              <a:t> </a:t>
            </a:r>
            <a:r>
              <a:rPr sz="1500" b="1" dirty="0">
                <a:solidFill>
                  <a:srgbClr val="737373"/>
                </a:solidFill>
                <a:latin typeface="Roboto"/>
                <a:cs typeface="Roboto"/>
              </a:rPr>
              <a:t>las</a:t>
            </a:r>
            <a:r>
              <a:rPr sz="1500" b="1" spc="5" dirty="0">
                <a:solidFill>
                  <a:srgbClr val="737373"/>
                </a:solidFill>
                <a:latin typeface="Roboto"/>
                <a:cs typeface="Roboto"/>
              </a:rPr>
              <a:t> </a:t>
            </a:r>
            <a:r>
              <a:rPr sz="1500" b="1" dirty="0">
                <a:solidFill>
                  <a:srgbClr val="737373"/>
                </a:solidFill>
                <a:latin typeface="Roboto"/>
                <a:cs typeface="Roboto"/>
              </a:rPr>
              <a:t>cosas</a:t>
            </a:r>
            <a:r>
              <a:rPr sz="1500" b="1" spc="5" dirty="0">
                <a:solidFill>
                  <a:srgbClr val="737373"/>
                </a:solidFill>
                <a:latin typeface="Roboto"/>
                <a:cs typeface="Roboto"/>
              </a:rPr>
              <a:t> </a:t>
            </a:r>
            <a:r>
              <a:rPr sz="1500" b="1" spc="-25" dirty="0">
                <a:solidFill>
                  <a:srgbClr val="737373"/>
                </a:solidFill>
                <a:latin typeface="Roboto"/>
                <a:cs typeface="Roboto"/>
              </a:rPr>
              <a:t>de </a:t>
            </a:r>
            <a:r>
              <a:rPr sz="1500" b="1" dirty="0">
                <a:solidFill>
                  <a:srgbClr val="737373"/>
                </a:solidFill>
                <a:latin typeface="Roboto"/>
                <a:cs typeface="Roboto"/>
              </a:rPr>
              <a:t>forma diferente </a:t>
            </a:r>
            <a:r>
              <a:rPr sz="1500" b="1" spc="-50" dirty="0">
                <a:solidFill>
                  <a:srgbClr val="737373"/>
                </a:solidFill>
                <a:latin typeface="Roboto"/>
                <a:cs typeface="Roboto"/>
              </a:rPr>
              <a:t>y </a:t>
            </a:r>
            <a:r>
              <a:rPr sz="1500" b="1" spc="-10" dirty="0">
                <a:solidFill>
                  <a:srgbClr val="737373"/>
                </a:solidFill>
                <a:latin typeface="Roboto"/>
                <a:cs typeface="Roboto"/>
              </a:rPr>
              <a:t>aprovechar tendencias</a:t>
            </a:r>
            <a:endParaRPr sz="1500">
              <a:latin typeface="Roboto"/>
              <a:cs typeface="Roboto"/>
            </a:endParaRPr>
          </a:p>
        </p:txBody>
      </p:sp>
      <p:sp>
        <p:nvSpPr>
          <p:cNvPr id="42" name="object 42"/>
          <p:cNvSpPr txBox="1"/>
          <p:nvPr/>
        </p:nvSpPr>
        <p:spPr>
          <a:xfrm>
            <a:off x="11555786" y="7819876"/>
            <a:ext cx="1818005" cy="473075"/>
          </a:xfrm>
          <a:prstGeom prst="rect">
            <a:avLst/>
          </a:prstGeom>
        </p:spPr>
        <p:txBody>
          <a:bodyPr vert="horz" wrap="square" lIns="0" tIns="27305" rIns="0" bIns="0" rtlCol="0">
            <a:spAutoFit/>
          </a:bodyPr>
          <a:lstStyle/>
          <a:p>
            <a:pPr marL="68580" marR="5080" indent="-56515">
              <a:lnSpc>
                <a:spcPts val="1730"/>
              </a:lnSpc>
              <a:spcBef>
                <a:spcPts val="215"/>
              </a:spcBef>
            </a:pPr>
            <a:r>
              <a:rPr sz="1500" b="1" dirty="0">
                <a:solidFill>
                  <a:srgbClr val="737373"/>
                </a:solidFill>
                <a:latin typeface="Roboto"/>
                <a:cs typeface="Roboto"/>
              </a:rPr>
              <a:t>Optimizar </a:t>
            </a:r>
            <a:r>
              <a:rPr sz="1500" b="1" spc="-10" dirty="0">
                <a:solidFill>
                  <a:srgbClr val="737373"/>
                </a:solidFill>
                <a:latin typeface="Roboto"/>
                <a:cs typeface="Roboto"/>
              </a:rPr>
              <a:t>resultados </a:t>
            </a:r>
            <a:r>
              <a:rPr sz="1500" b="1" dirty="0">
                <a:solidFill>
                  <a:srgbClr val="737373"/>
                </a:solidFill>
                <a:latin typeface="Roboto"/>
                <a:cs typeface="Roboto"/>
              </a:rPr>
              <a:t>con pocos </a:t>
            </a:r>
            <a:r>
              <a:rPr sz="1500" b="1" spc="-10" dirty="0">
                <a:solidFill>
                  <a:srgbClr val="737373"/>
                </a:solidFill>
                <a:latin typeface="Roboto"/>
                <a:cs typeface="Roboto"/>
              </a:rPr>
              <a:t>recursos</a:t>
            </a:r>
            <a:endParaRPr sz="1500">
              <a:latin typeface="Roboto"/>
              <a:cs typeface="Roboto"/>
            </a:endParaRPr>
          </a:p>
        </p:txBody>
      </p:sp>
      <p:sp>
        <p:nvSpPr>
          <p:cNvPr id="43" name="object 43"/>
          <p:cNvSpPr txBox="1"/>
          <p:nvPr/>
        </p:nvSpPr>
        <p:spPr>
          <a:xfrm>
            <a:off x="14710835" y="7819876"/>
            <a:ext cx="1753870" cy="911225"/>
          </a:xfrm>
          <a:prstGeom prst="rect">
            <a:avLst/>
          </a:prstGeom>
        </p:spPr>
        <p:txBody>
          <a:bodyPr vert="horz" wrap="square" lIns="0" tIns="27305" rIns="0" bIns="0" rtlCol="0">
            <a:spAutoFit/>
          </a:bodyPr>
          <a:lstStyle/>
          <a:p>
            <a:pPr marL="12700" marR="5080" indent="-635" algn="ctr">
              <a:lnSpc>
                <a:spcPts val="1730"/>
              </a:lnSpc>
              <a:spcBef>
                <a:spcPts val="215"/>
              </a:spcBef>
            </a:pPr>
            <a:r>
              <a:rPr sz="1500" b="1" spc="-10" dirty="0">
                <a:solidFill>
                  <a:srgbClr val="737373"/>
                </a:solidFill>
                <a:latin typeface="Roboto"/>
                <a:cs typeface="Roboto"/>
              </a:rPr>
              <a:t>Personalizar </a:t>
            </a:r>
            <a:r>
              <a:rPr sz="1500" b="1" dirty="0">
                <a:solidFill>
                  <a:srgbClr val="737373"/>
                </a:solidFill>
                <a:latin typeface="Roboto"/>
                <a:cs typeface="Roboto"/>
              </a:rPr>
              <a:t>mensajes</a:t>
            </a:r>
            <a:r>
              <a:rPr sz="1500" b="1" spc="-10" dirty="0">
                <a:solidFill>
                  <a:srgbClr val="737373"/>
                </a:solidFill>
                <a:latin typeface="Roboto"/>
                <a:cs typeface="Roboto"/>
              </a:rPr>
              <a:t> concretos </a:t>
            </a:r>
            <a:r>
              <a:rPr sz="1500" b="1" dirty="0">
                <a:solidFill>
                  <a:srgbClr val="737373"/>
                </a:solidFill>
                <a:latin typeface="Roboto"/>
                <a:cs typeface="Roboto"/>
              </a:rPr>
              <a:t>para </a:t>
            </a:r>
            <a:r>
              <a:rPr sz="1500" b="1" spc="-10" dirty="0">
                <a:solidFill>
                  <a:srgbClr val="737373"/>
                </a:solidFill>
                <a:latin typeface="Roboto"/>
                <a:cs typeface="Roboto"/>
              </a:rPr>
              <a:t>nuestros viajeros</a:t>
            </a:r>
            <a:endParaRPr sz="1500">
              <a:latin typeface="Roboto"/>
              <a:cs typeface="Roboto"/>
            </a:endParaRPr>
          </a:p>
        </p:txBody>
      </p:sp>
      <p:pic>
        <p:nvPicPr>
          <p:cNvPr id="44" name="object 44"/>
          <p:cNvPicPr/>
          <p:nvPr/>
        </p:nvPicPr>
        <p:blipFill>
          <a:blip r:embed="rId2" cstate="print"/>
          <a:stretch>
            <a:fillRect/>
          </a:stretch>
        </p:blipFill>
        <p:spPr>
          <a:xfrm>
            <a:off x="17316450" y="237496"/>
            <a:ext cx="742949" cy="819149"/>
          </a:xfrm>
          <a:prstGeom prst="rect">
            <a:avLst/>
          </a:prstGeom>
        </p:spPr>
      </p:pic>
      <p:sp>
        <p:nvSpPr>
          <p:cNvPr id="45" name="object 45"/>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46" name="object 46"/>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17</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16550"/>
            <a:ext cx="18288000" cy="10270490"/>
          </a:xfrm>
          <a:custGeom>
            <a:avLst/>
            <a:gdLst/>
            <a:ahLst/>
            <a:cxnLst/>
            <a:rect l="l" t="t" r="r" b="b"/>
            <a:pathLst>
              <a:path w="18288000" h="10270490">
                <a:moveTo>
                  <a:pt x="0" y="0"/>
                </a:moveTo>
                <a:lnTo>
                  <a:pt x="18287999" y="0"/>
                </a:lnTo>
                <a:lnTo>
                  <a:pt x="18287999" y="10270449"/>
                </a:lnTo>
                <a:lnTo>
                  <a:pt x="0" y="10270449"/>
                </a:lnTo>
                <a:lnTo>
                  <a:pt x="0" y="0"/>
                </a:lnTo>
                <a:close/>
              </a:path>
            </a:pathLst>
          </a:custGeom>
          <a:solidFill>
            <a:srgbClr val="F5A316"/>
          </a:solidFill>
        </p:spPr>
        <p:txBody>
          <a:bodyPr wrap="square" lIns="0" tIns="0" rIns="0" bIns="0" rtlCol="0"/>
          <a:lstStyle/>
          <a:p>
            <a:endParaRPr/>
          </a:p>
        </p:txBody>
      </p:sp>
      <p:sp>
        <p:nvSpPr>
          <p:cNvPr id="3" name="object 3"/>
          <p:cNvSpPr/>
          <p:nvPr/>
        </p:nvSpPr>
        <p:spPr>
          <a:xfrm>
            <a:off x="201329" y="181840"/>
            <a:ext cx="17897475" cy="9886950"/>
          </a:xfrm>
          <a:custGeom>
            <a:avLst/>
            <a:gdLst/>
            <a:ahLst/>
            <a:cxnLst/>
            <a:rect l="l" t="t" r="r" b="b"/>
            <a:pathLst>
              <a:path w="17897475" h="9886950">
                <a:moveTo>
                  <a:pt x="0" y="0"/>
                </a:moveTo>
                <a:lnTo>
                  <a:pt x="17897461" y="0"/>
                </a:lnTo>
                <a:lnTo>
                  <a:pt x="17897461" y="9886950"/>
                </a:lnTo>
                <a:lnTo>
                  <a:pt x="0" y="9886950"/>
                </a:lnTo>
                <a:lnTo>
                  <a:pt x="0" y="0"/>
                </a:lnTo>
              </a:path>
            </a:pathLst>
          </a:custGeom>
          <a:ln w="38110">
            <a:solidFill>
              <a:srgbClr val="FFFFFF"/>
            </a:solidFill>
          </a:ln>
        </p:spPr>
        <p:txBody>
          <a:bodyPr wrap="square" lIns="0" tIns="0" rIns="0" bIns="0" rtlCol="0"/>
          <a:lstStyle/>
          <a:p>
            <a:endParaRPr/>
          </a:p>
        </p:txBody>
      </p:sp>
      <p:sp>
        <p:nvSpPr>
          <p:cNvPr id="4" name="object 4"/>
          <p:cNvSpPr txBox="1">
            <a:spLocks noGrp="1"/>
          </p:cNvSpPr>
          <p:nvPr>
            <p:ph type="title"/>
          </p:nvPr>
        </p:nvSpPr>
        <p:spPr>
          <a:xfrm>
            <a:off x="4524362" y="4305147"/>
            <a:ext cx="9239250" cy="868044"/>
          </a:xfrm>
          <a:prstGeom prst="rect">
            <a:avLst/>
          </a:prstGeom>
        </p:spPr>
        <p:txBody>
          <a:bodyPr vert="horz" wrap="square" lIns="0" tIns="15875" rIns="0" bIns="0" rtlCol="0">
            <a:spAutoFit/>
          </a:bodyPr>
          <a:lstStyle/>
          <a:p>
            <a:pPr marL="12700">
              <a:lnSpc>
                <a:spcPct val="100000"/>
              </a:lnSpc>
              <a:spcBef>
                <a:spcPts val="125"/>
              </a:spcBef>
            </a:pPr>
            <a:r>
              <a:rPr sz="5500" b="1" spc="-85" dirty="0">
                <a:latin typeface="Arial"/>
                <a:cs typeface="Arial"/>
              </a:rPr>
              <a:t>¿Cómo</a:t>
            </a:r>
            <a:r>
              <a:rPr sz="5500" b="1" spc="-220" dirty="0">
                <a:latin typeface="Arial"/>
                <a:cs typeface="Arial"/>
              </a:rPr>
              <a:t> </a:t>
            </a:r>
            <a:r>
              <a:rPr sz="5500" b="1" spc="60" dirty="0">
                <a:latin typeface="Arial"/>
                <a:cs typeface="Arial"/>
              </a:rPr>
              <a:t>recuperar</a:t>
            </a:r>
            <a:r>
              <a:rPr sz="5500" b="1" spc="-220" dirty="0">
                <a:latin typeface="Arial"/>
                <a:cs typeface="Arial"/>
              </a:rPr>
              <a:t> </a:t>
            </a:r>
            <a:r>
              <a:rPr sz="5500" b="1" spc="-60" dirty="0">
                <a:latin typeface="Arial"/>
                <a:cs typeface="Arial"/>
              </a:rPr>
              <a:t>volumen?</a:t>
            </a:r>
            <a:endParaRPr sz="5500">
              <a:latin typeface="Arial"/>
              <a:cs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8715793"/>
            <a:ext cx="17954625" cy="1059815"/>
          </a:xfrm>
          <a:custGeom>
            <a:avLst/>
            <a:gdLst/>
            <a:ahLst/>
            <a:cxnLst/>
            <a:rect l="l" t="t" r="r" b="b"/>
            <a:pathLst>
              <a:path w="17954625" h="1059815">
                <a:moveTo>
                  <a:pt x="0" y="1059579"/>
                </a:moveTo>
                <a:lnTo>
                  <a:pt x="17954029" y="1059579"/>
                </a:lnTo>
                <a:lnTo>
                  <a:pt x="17954029" y="0"/>
                </a:lnTo>
                <a:lnTo>
                  <a:pt x="0" y="0"/>
                </a:lnTo>
                <a:lnTo>
                  <a:pt x="0" y="1059579"/>
                </a:lnTo>
                <a:close/>
              </a:path>
            </a:pathLst>
          </a:custGeom>
          <a:solidFill>
            <a:srgbClr val="EFEBE2">
              <a:alpha val="55690"/>
            </a:srgbClr>
          </a:solidFill>
        </p:spPr>
        <p:txBody>
          <a:bodyPr wrap="square" lIns="0" tIns="0" rIns="0" bIns="0" rtlCol="0"/>
          <a:lstStyle/>
          <a:p>
            <a:endParaRPr/>
          </a:p>
        </p:txBody>
      </p:sp>
      <p:sp>
        <p:nvSpPr>
          <p:cNvPr id="3" name="object 3"/>
          <p:cNvSpPr/>
          <p:nvPr/>
        </p:nvSpPr>
        <p:spPr>
          <a:xfrm>
            <a:off x="166956" y="1113694"/>
            <a:ext cx="17954625" cy="4516120"/>
          </a:xfrm>
          <a:custGeom>
            <a:avLst/>
            <a:gdLst/>
            <a:ahLst/>
            <a:cxnLst/>
            <a:rect l="l" t="t" r="r" b="b"/>
            <a:pathLst>
              <a:path w="17954625" h="4516120">
                <a:moveTo>
                  <a:pt x="0" y="4515999"/>
                </a:moveTo>
                <a:lnTo>
                  <a:pt x="17954029" y="4515999"/>
                </a:lnTo>
                <a:lnTo>
                  <a:pt x="17954029" y="0"/>
                </a:lnTo>
                <a:lnTo>
                  <a:pt x="0" y="0"/>
                </a:lnTo>
                <a:lnTo>
                  <a:pt x="0" y="4515999"/>
                </a:lnTo>
                <a:close/>
              </a:path>
            </a:pathLst>
          </a:custGeom>
          <a:solidFill>
            <a:srgbClr val="EFEBE2">
              <a:alpha val="55690"/>
            </a:srgbClr>
          </a:solidFill>
        </p:spPr>
        <p:txBody>
          <a:bodyPr wrap="square" lIns="0" tIns="0" rIns="0" bIns="0" rtlCol="0"/>
          <a:lstStyle/>
          <a:p>
            <a:endParaRPr/>
          </a:p>
        </p:txBody>
      </p:sp>
      <p:grpSp>
        <p:nvGrpSpPr>
          <p:cNvPr id="4" name="object 4"/>
          <p:cNvGrpSpPr/>
          <p:nvPr/>
        </p:nvGrpSpPr>
        <p:grpSpPr>
          <a:xfrm>
            <a:off x="166956" y="171494"/>
            <a:ext cx="17954625" cy="1394460"/>
            <a:chOff x="166956" y="171494"/>
            <a:chExt cx="17954625" cy="1394460"/>
          </a:xfrm>
        </p:grpSpPr>
        <p:sp>
          <p:nvSpPr>
            <p:cNvPr id="5" name="object 5"/>
            <p:cNvSpPr/>
            <p:nvPr/>
          </p:nvSpPr>
          <p:spPr>
            <a:xfrm>
              <a:off x="166956" y="171494"/>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6" name="object 6"/>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grpSp>
      <p:sp>
        <p:nvSpPr>
          <p:cNvPr id="7" name="object 7"/>
          <p:cNvSpPr/>
          <p:nvPr/>
        </p:nvSpPr>
        <p:spPr>
          <a:xfrm>
            <a:off x="3612788" y="2388700"/>
            <a:ext cx="1374775" cy="1374775"/>
          </a:xfrm>
          <a:custGeom>
            <a:avLst/>
            <a:gdLst/>
            <a:ahLst/>
            <a:cxnLst/>
            <a:rect l="l" t="t" r="r" b="b"/>
            <a:pathLst>
              <a:path w="1374775" h="1374775">
                <a:moveTo>
                  <a:pt x="687164" y="1374285"/>
                </a:moveTo>
                <a:lnTo>
                  <a:pt x="640096" y="1372701"/>
                </a:lnTo>
                <a:lnTo>
                  <a:pt x="593901" y="1368013"/>
                </a:lnTo>
                <a:lnTo>
                  <a:pt x="548659" y="1360326"/>
                </a:lnTo>
                <a:lnTo>
                  <a:pt x="504473" y="1349740"/>
                </a:lnTo>
                <a:lnTo>
                  <a:pt x="461444" y="1336360"/>
                </a:lnTo>
                <a:lnTo>
                  <a:pt x="419675" y="1320287"/>
                </a:lnTo>
                <a:lnTo>
                  <a:pt x="379269" y="1301623"/>
                </a:lnTo>
                <a:lnTo>
                  <a:pt x="340328" y="1280471"/>
                </a:lnTo>
                <a:lnTo>
                  <a:pt x="302954" y="1256933"/>
                </a:lnTo>
                <a:lnTo>
                  <a:pt x="267250" y="1231111"/>
                </a:lnTo>
                <a:lnTo>
                  <a:pt x="233317" y="1203108"/>
                </a:lnTo>
                <a:lnTo>
                  <a:pt x="201259" y="1173026"/>
                </a:lnTo>
                <a:lnTo>
                  <a:pt x="171177" y="1140968"/>
                </a:lnTo>
                <a:lnTo>
                  <a:pt x="143174" y="1107035"/>
                </a:lnTo>
                <a:lnTo>
                  <a:pt x="117353" y="1071331"/>
                </a:lnTo>
                <a:lnTo>
                  <a:pt x="93814" y="1033957"/>
                </a:lnTo>
                <a:lnTo>
                  <a:pt x="72662" y="995016"/>
                </a:lnTo>
                <a:lnTo>
                  <a:pt x="53998" y="954610"/>
                </a:lnTo>
                <a:lnTo>
                  <a:pt x="37925" y="912841"/>
                </a:lnTo>
                <a:lnTo>
                  <a:pt x="24545" y="869813"/>
                </a:lnTo>
                <a:lnTo>
                  <a:pt x="13960" y="825626"/>
                </a:lnTo>
                <a:lnTo>
                  <a:pt x="6272" y="780384"/>
                </a:lnTo>
                <a:lnTo>
                  <a:pt x="1585" y="734189"/>
                </a:lnTo>
                <a:lnTo>
                  <a:pt x="0" y="687137"/>
                </a:lnTo>
                <a:lnTo>
                  <a:pt x="1585" y="640097"/>
                </a:lnTo>
                <a:lnTo>
                  <a:pt x="6272" y="593901"/>
                </a:lnTo>
                <a:lnTo>
                  <a:pt x="13960" y="548659"/>
                </a:lnTo>
                <a:lnTo>
                  <a:pt x="24545" y="504473"/>
                </a:lnTo>
                <a:lnTo>
                  <a:pt x="37925" y="461444"/>
                </a:lnTo>
                <a:lnTo>
                  <a:pt x="53998" y="419676"/>
                </a:lnTo>
                <a:lnTo>
                  <a:pt x="72662" y="379270"/>
                </a:lnTo>
                <a:lnTo>
                  <a:pt x="93814" y="340328"/>
                </a:lnTo>
                <a:lnTo>
                  <a:pt x="117353" y="302954"/>
                </a:lnTo>
                <a:lnTo>
                  <a:pt x="143174" y="267250"/>
                </a:lnTo>
                <a:lnTo>
                  <a:pt x="171177" y="233317"/>
                </a:lnTo>
                <a:lnTo>
                  <a:pt x="201259" y="201259"/>
                </a:lnTo>
                <a:lnTo>
                  <a:pt x="233317" y="171177"/>
                </a:lnTo>
                <a:lnTo>
                  <a:pt x="267250" y="143174"/>
                </a:lnTo>
                <a:lnTo>
                  <a:pt x="302954" y="117353"/>
                </a:lnTo>
                <a:lnTo>
                  <a:pt x="340328" y="93815"/>
                </a:lnTo>
                <a:lnTo>
                  <a:pt x="379269" y="72663"/>
                </a:lnTo>
                <a:lnTo>
                  <a:pt x="419675" y="53999"/>
                </a:lnTo>
                <a:lnTo>
                  <a:pt x="461444" y="37925"/>
                </a:lnTo>
                <a:lnTo>
                  <a:pt x="504473" y="24545"/>
                </a:lnTo>
                <a:lnTo>
                  <a:pt x="548659" y="13960"/>
                </a:lnTo>
                <a:lnTo>
                  <a:pt x="593901" y="6272"/>
                </a:lnTo>
                <a:lnTo>
                  <a:pt x="640096" y="1585"/>
                </a:lnTo>
                <a:lnTo>
                  <a:pt x="687142" y="0"/>
                </a:lnTo>
                <a:lnTo>
                  <a:pt x="734189" y="1585"/>
                </a:lnTo>
                <a:lnTo>
                  <a:pt x="780384" y="6272"/>
                </a:lnTo>
                <a:lnTo>
                  <a:pt x="825626" y="13960"/>
                </a:lnTo>
                <a:lnTo>
                  <a:pt x="869812" y="24545"/>
                </a:lnTo>
                <a:lnTo>
                  <a:pt x="912841" y="37925"/>
                </a:lnTo>
                <a:lnTo>
                  <a:pt x="954610" y="53999"/>
                </a:lnTo>
                <a:lnTo>
                  <a:pt x="995016" y="72663"/>
                </a:lnTo>
                <a:lnTo>
                  <a:pt x="1033957" y="93815"/>
                </a:lnTo>
                <a:lnTo>
                  <a:pt x="1071331" y="117353"/>
                </a:lnTo>
                <a:lnTo>
                  <a:pt x="1107035" y="143174"/>
                </a:lnTo>
                <a:lnTo>
                  <a:pt x="1140968" y="171177"/>
                </a:lnTo>
                <a:lnTo>
                  <a:pt x="1173026" y="201259"/>
                </a:lnTo>
                <a:lnTo>
                  <a:pt x="1203108" y="233317"/>
                </a:lnTo>
                <a:lnTo>
                  <a:pt x="1231111" y="267250"/>
                </a:lnTo>
                <a:lnTo>
                  <a:pt x="1256932" y="302954"/>
                </a:lnTo>
                <a:lnTo>
                  <a:pt x="1280470" y="340328"/>
                </a:lnTo>
                <a:lnTo>
                  <a:pt x="1301623" y="379270"/>
                </a:lnTo>
                <a:lnTo>
                  <a:pt x="1320287" y="419676"/>
                </a:lnTo>
                <a:lnTo>
                  <a:pt x="1336360" y="461444"/>
                </a:lnTo>
                <a:lnTo>
                  <a:pt x="1349740" y="504473"/>
                </a:lnTo>
                <a:lnTo>
                  <a:pt x="1360325" y="548659"/>
                </a:lnTo>
                <a:lnTo>
                  <a:pt x="1368013" y="593901"/>
                </a:lnTo>
                <a:lnTo>
                  <a:pt x="1372700" y="640097"/>
                </a:lnTo>
                <a:lnTo>
                  <a:pt x="1374285" y="687143"/>
                </a:lnTo>
                <a:lnTo>
                  <a:pt x="1372700" y="734189"/>
                </a:lnTo>
                <a:lnTo>
                  <a:pt x="1368013" y="780384"/>
                </a:lnTo>
                <a:lnTo>
                  <a:pt x="1360325" y="825626"/>
                </a:lnTo>
                <a:lnTo>
                  <a:pt x="1349740" y="869813"/>
                </a:lnTo>
                <a:lnTo>
                  <a:pt x="1336360" y="912841"/>
                </a:lnTo>
                <a:lnTo>
                  <a:pt x="1320287" y="954610"/>
                </a:lnTo>
                <a:lnTo>
                  <a:pt x="1301623" y="995016"/>
                </a:lnTo>
                <a:lnTo>
                  <a:pt x="1280470" y="1033957"/>
                </a:lnTo>
                <a:lnTo>
                  <a:pt x="1256932" y="1071331"/>
                </a:lnTo>
                <a:lnTo>
                  <a:pt x="1231111" y="1107035"/>
                </a:lnTo>
                <a:lnTo>
                  <a:pt x="1203108" y="1140968"/>
                </a:lnTo>
                <a:lnTo>
                  <a:pt x="1173026" y="1173026"/>
                </a:lnTo>
                <a:lnTo>
                  <a:pt x="1140968" y="1203108"/>
                </a:lnTo>
                <a:lnTo>
                  <a:pt x="1107035" y="1231111"/>
                </a:lnTo>
                <a:lnTo>
                  <a:pt x="1071331" y="1256933"/>
                </a:lnTo>
                <a:lnTo>
                  <a:pt x="1033957" y="1280471"/>
                </a:lnTo>
                <a:lnTo>
                  <a:pt x="995016" y="1301623"/>
                </a:lnTo>
                <a:lnTo>
                  <a:pt x="954610" y="1320287"/>
                </a:lnTo>
                <a:lnTo>
                  <a:pt x="912841" y="1336360"/>
                </a:lnTo>
                <a:lnTo>
                  <a:pt x="869812" y="1349740"/>
                </a:lnTo>
                <a:lnTo>
                  <a:pt x="825626" y="1360326"/>
                </a:lnTo>
                <a:lnTo>
                  <a:pt x="780384" y="1368013"/>
                </a:lnTo>
                <a:lnTo>
                  <a:pt x="734189" y="1372701"/>
                </a:lnTo>
                <a:lnTo>
                  <a:pt x="687164" y="1374285"/>
                </a:lnTo>
                <a:close/>
              </a:path>
            </a:pathLst>
          </a:custGeom>
          <a:solidFill>
            <a:srgbClr val="21408B"/>
          </a:solidFill>
        </p:spPr>
        <p:txBody>
          <a:bodyPr wrap="square" lIns="0" tIns="0" rIns="0" bIns="0" rtlCol="0"/>
          <a:lstStyle/>
          <a:p>
            <a:endParaRPr/>
          </a:p>
        </p:txBody>
      </p:sp>
      <p:pic>
        <p:nvPicPr>
          <p:cNvPr id="8" name="object 8"/>
          <p:cNvPicPr/>
          <p:nvPr/>
        </p:nvPicPr>
        <p:blipFill>
          <a:blip r:embed="rId2" cstate="print"/>
          <a:stretch>
            <a:fillRect/>
          </a:stretch>
        </p:blipFill>
        <p:spPr>
          <a:xfrm>
            <a:off x="2841282" y="6057136"/>
            <a:ext cx="2315748" cy="2269879"/>
          </a:xfrm>
          <a:prstGeom prst="rect">
            <a:avLst/>
          </a:prstGeom>
        </p:spPr>
      </p:pic>
      <p:sp>
        <p:nvSpPr>
          <p:cNvPr id="9" name="object 9"/>
          <p:cNvSpPr txBox="1"/>
          <p:nvPr/>
        </p:nvSpPr>
        <p:spPr>
          <a:xfrm>
            <a:off x="637985" y="384150"/>
            <a:ext cx="5284470"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2.</a:t>
            </a:r>
            <a:r>
              <a:rPr sz="3000" spc="-85" dirty="0">
                <a:solidFill>
                  <a:srgbClr val="FFFFFF"/>
                </a:solidFill>
                <a:latin typeface="Roboto"/>
                <a:cs typeface="Roboto"/>
              </a:rPr>
              <a:t> </a:t>
            </a:r>
            <a:r>
              <a:rPr sz="3000" dirty="0">
                <a:solidFill>
                  <a:srgbClr val="FFFFFF"/>
                </a:solidFill>
                <a:latin typeface="Roboto"/>
                <a:cs typeface="Roboto"/>
              </a:rPr>
              <a:t>¿Cómo</a:t>
            </a:r>
            <a:r>
              <a:rPr sz="3000" spc="-75" dirty="0">
                <a:solidFill>
                  <a:srgbClr val="FFFFFF"/>
                </a:solidFill>
                <a:latin typeface="Roboto"/>
                <a:cs typeface="Roboto"/>
              </a:rPr>
              <a:t> </a:t>
            </a:r>
            <a:r>
              <a:rPr sz="3000" spc="-10" dirty="0">
                <a:solidFill>
                  <a:srgbClr val="FFFFFF"/>
                </a:solidFill>
                <a:latin typeface="Roboto"/>
                <a:cs typeface="Roboto"/>
              </a:rPr>
              <a:t>recuperar</a:t>
            </a:r>
            <a:r>
              <a:rPr sz="3000" spc="-75" dirty="0">
                <a:solidFill>
                  <a:srgbClr val="FFFFFF"/>
                </a:solidFill>
                <a:latin typeface="Roboto"/>
                <a:cs typeface="Roboto"/>
              </a:rPr>
              <a:t> </a:t>
            </a:r>
            <a:r>
              <a:rPr sz="3000" spc="-10" dirty="0">
                <a:solidFill>
                  <a:srgbClr val="FFFFFF"/>
                </a:solidFill>
                <a:latin typeface="Roboto"/>
                <a:cs typeface="Roboto"/>
              </a:rPr>
              <a:t>volumen?</a:t>
            </a:r>
            <a:endParaRPr sz="3000">
              <a:latin typeface="Roboto"/>
              <a:cs typeface="Roboto"/>
            </a:endParaRPr>
          </a:p>
        </p:txBody>
      </p:sp>
      <p:pic>
        <p:nvPicPr>
          <p:cNvPr id="10" name="object 10"/>
          <p:cNvPicPr/>
          <p:nvPr/>
        </p:nvPicPr>
        <p:blipFill>
          <a:blip r:embed="rId3" cstate="print"/>
          <a:stretch>
            <a:fillRect/>
          </a:stretch>
        </p:blipFill>
        <p:spPr>
          <a:xfrm>
            <a:off x="2010088" y="4558522"/>
            <a:ext cx="114300" cy="114299"/>
          </a:xfrm>
          <a:prstGeom prst="rect">
            <a:avLst/>
          </a:prstGeom>
        </p:spPr>
      </p:pic>
      <p:sp>
        <p:nvSpPr>
          <p:cNvPr id="11" name="object 11"/>
          <p:cNvSpPr txBox="1"/>
          <p:nvPr/>
        </p:nvSpPr>
        <p:spPr>
          <a:xfrm>
            <a:off x="2374816" y="4260491"/>
            <a:ext cx="4225925" cy="1092200"/>
          </a:xfrm>
          <a:prstGeom prst="rect">
            <a:avLst/>
          </a:prstGeom>
        </p:spPr>
        <p:txBody>
          <a:bodyPr vert="horz" wrap="square" lIns="0" tIns="88265" rIns="0" bIns="0" rtlCol="0">
            <a:spAutoFit/>
          </a:bodyPr>
          <a:lstStyle/>
          <a:p>
            <a:pPr marL="125730">
              <a:lnSpc>
                <a:spcPct val="100000"/>
              </a:lnSpc>
              <a:spcBef>
                <a:spcPts val="695"/>
              </a:spcBef>
            </a:pPr>
            <a:r>
              <a:rPr sz="3000" dirty="0">
                <a:solidFill>
                  <a:srgbClr val="737373"/>
                </a:solidFill>
                <a:latin typeface="Roboto"/>
                <a:cs typeface="Roboto"/>
              </a:rPr>
              <a:t>Conceptos</a:t>
            </a:r>
            <a:r>
              <a:rPr sz="3000" spc="-75" dirty="0">
                <a:solidFill>
                  <a:srgbClr val="737373"/>
                </a:solidFill>
                <a:latin typeface="Roboto"/>
                <a:cs typeface="Roboto"/>
              </a:rPr>
              <a:t> </a:t>
            </a:r>
            <a:r>
              <a:rPr sz="3000" dirty="0">
                <a:solidFill>
                  <a:srgbClr val="737373"/>
                </a:solidFill>
                <a:latin typeface="Roboto"/>
                <a:cs typeface="Roboto"/>
              </a:rPr>
              <a:t>de</a:t>
            </a:r>
            <a:r>
              <a:rPr sz="3000" spc="-70" dirty="0">
                <a:solidFill>
                  <a:srgbClr val="737373"/>
                </a:solidFill>
                <a:latin typeface="Roboto"/>
                <a:cs typeface="Roboto"/>
              </a:rPr>
              <a:t> </a:t>
            </a:r>
            <a:r>
              <a:rPr sz="3000" b="1" spc="-10" dirty="0">
                <a:solidFill>
                  <a:srgbClr val="737373"/>
                </a:solidFill>
                <a:latin typeface="Roboto"/>
                <a:cs typeface="Roboto"/>
              </a:rPr>
              <a:t>branding</a:t>
            </a:r>
            <a:endParaRPr sz="3000">
              <a:latin typeface="Roboto"/>
              <a:cs typeface="Roboto"/>
            </a:endParaRPr>
          </a:p>
          <a:p>
            <a:pPr marL="12700">
              <a:lnSpc>
                <a:spcPct val="100000"/>
              </a:lnSpc>
              <a:spcBef>
                <a:spcPts val="600"/>
              </a:spcBef>
            </a:pPr>
            <a:r>
              <a:rPr sz="3000" spc="-10" dirty="0">
                <a:solidFill>
                  <a:srgbClr val="737373"/>
                </a:solidFill>
                <a:latin typeface="Roboto"/>
                <a:cs typeface="Roboto"/>
              </a:rPr>
              <a:t>estratégico</a:t>
            </a:r>
            <a:r>
              <a:rPr sz="3000" spc="-70" dirty="0">
                <a:solidFill>
                  <a:srgbClr val="737373"/>
                </a:solidFill>
                <a:latin typeface="Roboto"/>
                <a:cs typeface="Roboto"/>
              </a:rPr>
              <a:t> </a:t>
            </a:r>
            <a:r>
              <a:rPr sz="3000" dirty="0">
                <a:solidFill>
                  <a:srgbClr val="737373"/>
                </a:solidFill>
                <a:latin typeface="Roboto"/>
                <a:cs typeface="Roboto"/>
              </a:rPr>
              <a:t>a</a:t>
            </a:r>
            <a:r>
              <a:rPr sz="3000" spc="-70" dirty="0">
                <a:solidFill>
                  <a:srgbClr val="737373"/>
                </a:solidFill>
                <a:latin typeface="Roboto"/>
                <a:cs typeface="Roboto"/>
              </a:rPr>
              <a:t> </a:t>
            </a:r>
            <a:r>
              <a:rPr sz="3000" dirty="0">
                <a:solidFill>
                  <a:srgbClr val="737373"/>
                </a:solidFill>
                <a:latin typeface="Roboto"/>
                <a:cs typeface="Roboto"/>
              </a:rPr>
              <a:t>largo</a:t>
            </a:r>
            <a:r>
              <a:rPr sz="3000" spc="-70" dirty="0">
                <a:solidFill>
                  <a:srgbClr val="737373"/>
                </a:solidFill>
                <a:latin typeface="Roboto"/>
                <a:cs typeface="Roboto"/>
              </a:rPr>
              <a:t> </a:t>
            </a:r>
            <a:r>
              <a:rPr sz="3000" spc="-10" dirty="0">
                <a:solidFill>
                  <a:srgbClr val="737373"/>
                </a:solidFill>
                <a:latin typeface="Roboto"/>
                <a:cs typeface="Roboto"/>
              </a:rPr>
              <a:t>plazo</a:t>
            </a:r>
            <a:endParaRPr sz="3000">
              <a:latin typeface="Roboto"/>
              <a:cs typeface="Roboto"/>
            </a:endParaRPr>
          </a:p>
        </p:txBody>
      </p:sp>
      <p:sp>
        <p:nvSpPr>
          <p:cNvPr id="12" name="object 12"/>
          <p:cNvSpPr txBox="1">
            <a:spLocks noGrp="1"/>
          </p:cNvSpPr>
          <p:nvPr>
            <p:ph type="title"/>
          </p:nvPr>
        </p:nvSpPr>
        <p:spPr>
          <a:xfrm>
            <a:off x="3993769" y="2735002"/>
            <a:ext cx="10668635" cy="643890"/>
          </a:xfrm>
          <a:prstGeom prst="rect">
            <a:avLst/>
          </a:prstGeom>
        </p:spPr>
        <p:txBody>
          <a:bodyPr vert="horz" wrap="square" lIns="0" tIns="13335" rIns="0" bIns="0" rtlCol="0">
            <a:spAutoFit/>
          </a:bodyPr>
          <a:lstStyle/>
          <a:p>
            <a:pPr marL="12700">
              <a:lnSpc>
                <a:spcPct val="100000"/>
              </a:lnSpc>
              <a:spcBef>
                <a:spcPts val="105"/>
              </a:spcBef>
              <a:tabLst>
                <a:tab pos="1307465" algn="l"/>
              </a:tabLst>
            </a:pPr>
            <a:r>
              <a:rPr sz="4050" b="1" spc="-25" dirty="0">
                <a:latin typeface="Arial"/>
                <a:cs typeface="Arial"/>
              </a:rPr>
              <a:t>01</a:t>
            </a:r>
            <a:r>
              <a:rPr sz="4050" b="1" dirty="0">
                <a:latin typeface="Arial"/>
                <a:cs typeface="Arial"/>
              </a:rPr>
              <a:t>	</a:t>
            </a:r>
            <a:r>
              <a:rPr sz="4050" spc="-10" dirty="0">
                <a:solidFill>
                  <a:srgbClr val="E3112B"/>
                </a:solidFill>
              </a:rPr>
              <a:t>Desarrollo</a:t>
            </a:r>
            <a:r>
              <a:rPr sz="4050" spc="-110" dirty="0">
                <a:solidFill>
                  <a:srgbClr val="E3112B"/>
                </a:solidFill>
              </a:rPr>
              <a:t> </a:t>
            </a:r>
            <a:r>
              <a:rPr sz="4050" dirty="0">
                <a:solidFill>
                  <a:srgbClr val="E3112B"/>
                </a:solidFill>
              </a:rPr>
              <a:t>del</a:t>
            </a:r>
            <a:r>
              <a:rPr sz="4050" spc="-110" dirty="0">
                <a:solidFill>
                  <a:srgbClr val="E3112B"/>
                </a:solidFill>
              </a:rPr>
              <a:t> </a:t>
            </a:r>
            <a:r>
              <a:rPr sz="4050" b="1" dirty="0">
                <a:solidFill>
                  <a:srgbClr val="E3112B"/>
                </a:solidFill>
                <a:latin typeface="Roboto"/>
                <a:cs typeface="Roboto"/>
              </a:rPr>
              <a:t>branding</a:t>
            </a:r>
            <a:r>
              <a:rPr sz="4050" b="1" spc="-110" dirty="0">
                <a:solidFill>
                  <a:srgbClr val="E3112B"/>
                </a:solidFill>
                <a:latin typeface="Roboto"/>
                <a:cs typeface="Roboto"/>
              </a:rPr>
              <a:t> </a:t>
            </a:r>
            <a:r>
              <a:rPr sz="4050" b="1" dirty="0">
                <a:solidFill>
                  <a:srgbClr val="E3112B"/>
                </a:solidFill>
                <a:latin typeface="Roboto"/>
                <a:cs typeface="Roboto"/>
              </a:rPr>
              <a:t>turístico</a:t>
            </a:r>
            <a:r>
              <a:rPr sz="4050" b="1" spc="-110" dirty="0">
                <a:solidFill>
                  <a:srgbClr val="E3112B"/>
                </a:solidFill>
                <a:latin typeface="Roboto"/>
                <a:cs typeface="Roboto"/>
              </a:rPr>
              <a:t> </a:t>
            </a:r>
            <a:r>
              <a:rPr sz="4050" dirty="0">
                <a:solidFill>
                  <a:srgbClr val="E3112B"/>
                </a:solidFill>
              </a:rPr>
              <a:t>de</a:t>
            </a:r>
            <a:r>
              <a:rPr sz="4050" spc="-110" dirty="0">
                <a:solidFill>
                  <a:srgbClr val="E3112B"/>
                </a:solidFill>
              </a:rPr>
              <a:t> </a:t>
            </a:r>
            <a:r>
              <a:rPr sz="4050" spc="-10" dirty="0">
                <a:solidFill>
                  <a:srgbClr val="E3112B"/>
                </a:solidFill>
              </a:rPr>
              <a:t>Chile</a:t>
            </a:r>
            <a:endParaRPr sz="4050">
              <a:latin typeface="Roboto"/>
              <a:cs typeface="Roboto"/>
            </a:endParaRPr>
          </a:p>
        </p:txBody>
      </p:sp>
      <p:pic>
        <p:nvPicPr>
          <p:cNvPr id="13" name="object 13"/>
          <p:cNvPicPr/>
          <p:nvPr/>
        </p:nvPicPr>
        <p:blipFill>
          <a:blip r:embed="rId4" cstate="print"/>
          <a:stretch>
            <a:fillRect/>
          </a:stretch>
        </p:blipFill>
        <p:spPr>
          <a:xfrm>
            <a:off x="11086579" y="4587795"/>
            <a:ext cx="123825" cy="123824"/>
          </a:xfrm>
          <a:prstGeom prst="rect">
            <a:avLst/>
          </a:prstGeom>
        </p:spPr>
      </p:pic>
      <p:sp>
        <p:nvSpPr>
          <p:cNvPr id="14" name="object 14"/>
          <p:cNvSpPr txBox="1"/>
          <p:nvPr/>
        </p:nvSpPr>
        <p:spPr>
          <a:xfrm>
            <a:off x="11672466" y="4368117"/>
            <a:ext cx="2717165" cy="491490"/>
          </a:xfrm>
          <a:prstGeom prst="rect">
            <a:avLst/>
          </a:prstGeom>
        </p:spPr>
        <p:txBody>
          <a:bodyPr vert="horz" wrap="square" lIns="0" tIns="13335" rIns="0" bIns="0" rtlCol="0">
            <a:spAutoFit/>
          </a:bodyPr>
          <a:lstStyle/>
          <a:p>
            <a:pPr marL="12700">
              <a:lnSpc>
                <a:spcPct val="100000"/>
              </a:lnSpc>
              <a:spcBef>
                <a:spcPts val="105"/>
              </a:spcBef>
            </a:pPr>
            <a:r>
              <a:rPr sz="3050" dirty="0">
                <a:solidFill>
                  <a:srgbClr val="737373"/>
                </a:solidFill>
                <a:latin typeface="Roboto"/>
                <a:cs typeface="Roboto"/>
              </a:rPr>
              <a:t>Definir</a:t>
            </a:r>
            <a:r>
              <a:rPr sz="3050" spc="-190" dirty="0">
                <a:solidFill>
                  <a:srgbClr val="737373"/>
                </a:solidFill>
                <a:latin typeface="Roboto"/>
                <a:cs typeface="Roboto"/>
              </a:rPr>
              <a:t> </a:t>
            </a:r>
            <a:r>
              <a:rPr sz="3050" b="1" spc="-10" dirty="0">
                <a:solidFill>
                  <a:srgbClr val="737373"/>
                </a:solidFill>
                <a:latin typeface="Roboto"/>
                <a:cs typeface="Roboto"/>
              </a:rPr>
              <a:t>baseline</a:t>
            </a:r>
            <a:endParaRPr sz="3050">
              <a:latin typeface="Roboto"/>
              <a:cs typeface="Roboto"/>
            </a:endParaRPr>
          </a:p>
        </p:txBody>
      </p:sp>
      <p:grpSp>
        <p:nvGrpSpPr>
          <p:cNvPr id="15" name="object 15"/>
          <p:cNvGrpSpPr/>
          <p:nvPr/>
        </p:nvGrpSpPr>
        <p:grpSpPr>
          <a:xfrm>
            <a:off x="11223824" y="6424821"/>
            <a:ext cx="2659380" cy="1943100"/>
            <a:chOff x="11223824" y="6424821"/>
            <a:chExt cx="2659380" cy="1943100"/>
          </a:xfrm>
        </p:grpSpPr>
        <p:pic>
          <p:nvPicPr>
            <p:cNvPr id="16" name="object 16"/>
            <p:cNvPicPr/>
            <p:nvPr/>
          </p:nvPicPr>
          <p:blipFill>
            <a:blip r:embed="rId5" cstate="print"/>
            <a:stretch>
              <a:fillRect/>
            </a:stretch>
          </p:blipFill>
          <p:spPr>
            <a:xfrm>
              <a:off x="11223824" y="6424821"/>
              <a:ext cx="2659103" cy="1943100"/>
            </a:xfrm>
            <a:prstGeom prst="rect">
              <a:avLst/>
            </a:prstGeom>
          </p:spPr>
        </p:pic>
        <p:sp>
          <p:nvSpPr>
            <p:cNvPr id="17" name="object 17"/>
            <p:cNvSpPr/>
            <p:nvPr/>
          </p:nvSpPr>
          <p:spPr>
            <a:xfrm>
              <a:off x="11466974" y="6899614"/>
              <a:ext cx="2085975" cy="662305"/>
            </a:xfrm>
            <a:custGeom>
              <a:avLst/>
              <a:gdLst/>
              <a:ahLst/>
              <a:cxnLst/>
              <a:rect l="l" t="t" r="r" b="b"/>
              <a:pathLst>
                <a:path w="2085975" h="662304">
                  <a:moveTo>
                    <a:pt x="1887816" y="0"/>
                  </a:moveTo>
                  <a:lnTo>
                    <a:pt x="1951285" y="41818"/>
                  </a:lnTo>
                  <a:lnTo>
                    <a:pt x="1985016" y="71320"/>
                  </a:lnTo>
                  <a:lnTo>
                    <a:pt x="2014429" y="103218"/>
                  </a:lnTo>
                  <a:lnTo>
                    <a:pt x="2039209" y="137284"/>
                  </a:lnTo>
                  <a:lnTo>
                    <a:pt x="2059035" y="173293"/>
                  </a:lnTo>
                  <a:lnTo>
                    <a:pt x="2073590" y="211018"/>
                  </a:lnTo>
                  <a:lnTo>
                    <a:pt x="2082557" y="250232"/>
                  </a:lnTo>
                  <a:lnTo>
                    <a:pt x="2085616" y="290708"/>
                  </a:lnTo>
                  <a:lnTo>
                    <a:pt x="2082557" y="331184"/>
                  </a:lnTo>
                  <a:lnTo>
                    <a:pt x="2073590" y="370398"/>
                  </a:lnTo>
                  <a:lnTo>
                    <a:pt x="2059035" y="408123"/>
                  </a:lnTo>
                  <a:lnTo>
                    <a:pt x="2039209" y="444132"/>
                  </a:lnTo>
                  <a:lnTo>
                    <a:pt x="2014429" y="478199"/>
                  </a:lnTo>
                  <a:lnTo>
                    <a:pt x="1985016" y="510096"/>
                  </a:lnTo>
                  <a:lnTo>
                    <a:pt x="1951285" y="539599"/>
                  </a:lnTo>
                  <a:lnTo>
                    <a:pt x="1913556" y="566479"/>
                  </a:lnTo>
                  <a:lnTo>
                    <a:pt x="1872147" y="590510"/>
                  </a:lnTo>
                  <a:lnTo>
                    <a:pt x="1827375" y="611466"/>
                  </a:lnTo>
                  <a:lnTo>
                    <a:pt x="1779559" y="629120"/>
                  </a:lnTo>
                  <a:lnTo>
                    <a:pt x="1729016" y="643245"/>
                  </a:lnTo>
                  <a:lnTo>
                    <a:pt x="1676066" y="653615"/>
                  </a:lnTo>
                  <a:lnTo>
                    <a:pt x="1621025" y="660003"/>
                  </a:lnTo>
                  <a:lnTo>
                    <a:pt x="1564212" y="662183"/>
                  </a:lnTo>
                  <a:lnTo>
                    <a:pt x="521404" y="662183"/>
                  </a:lnTo>
                  <a:lnTo>
                    <a:pt x="464591" y="660003"/>
                  </a:lnTo>
                  <a:lnTo>
                    <a:pt x="409550" y="653615"/>
                  </a:lnTo>
                  <a:lnTo>
                    <a:pt x="356600" y="643245"/>
                  </a:lnTo>
                  <a:lnTo>
                    <a:pt x="306057" y="629120"/>
                  </a:lnTo>
                  <a:lnTo>
                    <a:pt x="258241" y="611466"/>
                  </a:lnTo>
                  <a:lnTo>
                    <a:pt x="213469" y="590510"/>
                  </a:lnTo>
                  <a:lnTo>
                    <a:pt x="172060" y="566479"/>
                  </a:lnTo>
                  <a:lnTo>
                    <a:pt x="134331" y="539599"/>
                  </a:lnTo>
                  <a:lnTo>
                    <a:pt x="100600" y="510096"/>
                  </a:lnTo>
                  <a:lnTo>
                    <a:pt x="71186" y="478199"/>
                  </a:lnTo>
                  <a:lnTo>
                    <a:pt x="46407" y="444132"/>
                  </a:lnTo>
                  <a:lnTo>
                    <a:pt x="26581" y="408123"/>
                  </a:lnTo>
                  <a:lnTo>
                    <a:pt x="12026" y="370398"/>
                  </a:lnTo>
                  <a:lnTo>
                    <a:pt x="3059" y="331184"/>
                  </a:lnTo>
                  <a:lnTo>
                    <a:pt x="0" y="290708"/>
                  </a:lnTo>
                </a:path>
              </a:pathLst>
            </a:custGeom>
            <a:ln w="76582">
              <a:solidFill>
                <a:srgbClr val="E3112B"/>
              </a:solidFill>
            </a:ln>
          </p:spPr>
          <p:txBody>
            <a:bodyPr wrap="square" lIns="0" tIns="0" rIns="0" bIns="0" rtlCol="0"/>
            <a:lstStyle/>
            <a:p>
              <a:endParaRPr/>
            </a:p>
          </p:txBody>
        </p:sp>
      </p:grpSp>
      <p:grpSp>
        <p:nvGrpSpPr>
          <p:cNvPr id="18" name="object 18"/>
          <p:cNvGrpSpPr/>
          <p:nvPr/>
        </p:nvGrpSpPr>
        <p:grpSpPr>
          <a:xfrm>
            <a:off x="14520977" y="6424821"/>
            <a:ext cx="2661285" cy="1943100"/>
            <a:chOff x="14520977" y="6424821"/>
            <a:chExt cx="2661285" cy="1943100"/>
          </a:xfrm>
        </p:grpSpPr>
        <p:pic>
          <p:nvPicPr>
            <p:cNvPr id="19" name="object 19"/>
            <p:cNvPicPr/>
            <p:nvPr/>
          </p:nvPicPr>
          <p:blipFill>
            <a:blip r:embed="rId6" cstate="print"/>
            <a:stretch>
              <a:fillRect/>
            </a:stretch>
          </p:blipFill>
          <p:spPr>
            <a:xfrm>
              <a:off x="14520977" y="6424821"/>
              <a:ext cx="2660967" cy="1943100"/>
            </a:xfrm>
            <a:prstGeom prst="rect">
              <a:avLst/>
            </a:prstGeom>
          </p:spPr>
        </p:pic>
        <p:sp>
          <p:nvSpPr>
            <p:cNvPr id="20" name="object 20"/>
            <p:cNvSpPr/>
            <p:nvPr/>
          </p:nvSpPr>
          <p:spPr>
            <a:xfrm>
              <a:off x="14787678" y="6616944"/>
              <a:ext cx="1676400" cy="741045"/>
            </a:xfrm>
            <a:custGeom>
              <a:avLst/>
              <a:gdLst/>
              <a:ahLst/>
              <a:cxnLst/>
              <a:rect l="l" t="t" r="r" b="b"/>
              <a:pathLst>
                <a:path w="1676400" h="741045">
                  <a:moveTo>
                    <a:pt x="1676065" y="732202"/>
                  </a:moveTo>
                  <a:lnTo>
                    <a:pt x="1621025" y="738590"/>
                  </a:lnTo>
                  <a:lnTo>
                    <a:pt x="1564212" y="740770"/>
                  </a:lnTo>
                  <a:lnTo>
                    <a:pt x="521404" y="740770"/>
                  </a:lnTo>
                  <a:lnTo>
                    <a:pt x="464591" y="738590"/>
                  </a:lnTo>
                  <a:lnTo>
                    <a:pt x="409550" y="732202"/>
                  </a:lnTo>
                  <a:lnTo>
                    <a:pt x="356600" y="721831"/>
                  </a:lnTo>
                  <a:lnTo>
                    <a:pt x="306057" y="707706"/>
                  </a:lnTo>
                  <a:lnTo>
                    <a:pt x="258241" y="690052"/>
                  </a:lnTo>
                  <a:lnTo>
                    <a:pt x="213469" y="669096"/>
                  </a:lnTo>
                  <a:lnTo>
                    <a:pt x="172060" y="645065"/>
                  </a:lnTo>
                  <a:lnTo>
                    <a:pt x="134331" y="618185"/>
                  </a:lnTo>
                  <a:lnTo>
                    <a:pt x="100600" y="588683"/>
                  </a:lnTo>
                  <a:lnTo>
                    <a:pt x="71186" y="556785"/>
                  </a:lnTo>
                  <a:lnTo>
                    <a:pt x="46407" y="522718"/>
                  </a:lnTo>
                  <a:lnTo>
                    <a:pt x="26581" y="486709"/>
                  </a:lnTo>
                  <a:lnTo>
                    <a:pt x="12026" y="448985"/>
                  </a:lnTo>
                  <a:lnTo>
                    <a:pt x="3059" y="409771"/>
                  </a:lnTo>
                  <a:lnTo>
                    <a:pt x="0" y="369295"/>
                  </a:lnTo>
                  <a:lnTo>
                    <a:pt x="3059" y="328818"/>
                  </a:lnTo>
                  <a:lnTo>
                    <a:pt x="12026" y="289604"/>
                  </a:lnTo>
                  <a:lnTo>
                    <a:pt x="26581" y="251880"/>
                  </a:lnTo>
                  <a:lnTo>
                    <a:pt x="46407" y="215871"/>
                  </a:lnTo>
                  <a:lnTo>
                    <a:pt x="71186" y="181804"/>
                  </a:lnTo>
                  <a:lnTo>
                    <a:pt x="100600" y="149906"/>
                  </a:lnTo>
                  <a:lnTo>
                    <a:pt x="134331" y="120404"/>
                  </a:lnTo>
                  <a:lnTo>
                    <a:pt x="172060" y="93524"/>
                  </a:lnTo>
                  <a:lnTo>
                    <a:pt x="213469" y="69493"/>
                  </a:lnTo>
                  <a:lnTo>
                    <a:pt x="258241" y="48537"/>
                  </a:lnTo>
                  <a:lnTo>
                    <a:pt x="306057" y="30883"/>
                  </a:lnTo>
                  <a:lnTo>
                    <a:pt x="356600" y="16758"/>
                  </a:lnTo>
                  <a:lnTo>
                    <a:pt x="409550" y="6388"/>
                  </a:lnTo>
                  <a:lnTo>
                    <a:pt x="464590" y="0"/>
                  </a:lnTo>
                </a:path>
              </a:pathLst>
            </a:custGeom>
            <a:ln w="76546">
              <a:solidFill>
                <a:srgbClr val="E3112B"/>
              </a:solidFill>
            </a:ln>
          </p:spPr>
          <p:txBody>
            <a:bodyPr wrap="square" lIns="0" tIns="0" rIns="0" bIns="0" rtlCol="0"/>
            <a:lstStyle/>
            <a:p>
              <a:endParaRPr/>
            </a:p>
          </p:txBody>
        </p:sp>
      </p:grpSp>
      <p:grpSp>
        <p:nvGrpSpPr>
          <p:cNvPr id="21" name="object 21"/>
          <p:cNvGrpSpPr/>
          <p:nvPr/>
        </p:nvGrpSpPr>
        <p:grpSpPr>
          <a:xfrm>
            <a:off x="8290328" y="6463543"/>
            <a:ext cx="2399030" cy="1851025"/>
            <a:chOff x="8290328" y="6463543"/>
            <a:chExt cx="2399030" cy="1851025"/>
          </a:xfrm>
        </p:grpSpPr>
        <p:pic>
          <p:nvPicPr>
            <p:cNvPr id="22" name="object 22"/>
            <p:cNvPicPr/>
            <p:nvPr/>
          </p:nvPicPr>
          <p:blipFill>
            <a:blip r:embed="rId7" cstate="print"/>
            <a:stretch>
              <a:fillRect/>
            </a:stretch>
          </p:blipFill>
          <p:spPr>
            <a:xfrm>
              <a:off x="8290328" y="6463543"/>
              <a:ext cx="2398917" cy="1828799"/>
            </a:xfrm>
            <a:prstGeom prst="rect">
              <a:avLst/>
            </a:prstGeom>
          </p:spPr>
        </p:pic>
        <p:sp>
          <p:nvSpPr>
            <p:cNvPr id="23" name="object 23"/>
            <p:cNvSpPr/>
            <p:nvPr/>
          </p:nvSpPr>
          <p:spPr>
            <a:xfrm>
              <a:off x="8412796" y="7628658"/>
              <a:ext cx="2014855" cy="647700"/>
            </a:xfrm>
            <a:custGeom>
              <a:avLst/>
              <a:gdLst/>
              <a:ahLst/>
              <a:cxnLst/>
              <a:rect l="l" t="t" r="r" b="b"/>
              <a:pathLst>
                <a:path w="2014854" h="647700">
                  <a:moveTo>
                    <a:pt x="2014429" y="463260"/>
                  </a:moveTo>
                  <a:lnTo>
                    <a:pt x="1985016" y="495158"/>
                  </a:lnTo>
                  <a:lnTo>
                    <a:pt x="1951285" y="524660"/>
                  </a:lnTo>
                  <a:lnTo>
                    <a:pt x="1913556" y="551540"/>
                  </a:lnTo>
                  <a:lnTo>
                    <a:pt x="1872147" y="575572"/>
                  </a:lnTo>
                  <a:lnTo>
                    <a:pt x="1827375" y="596528"/>
                  </a:lnTo>
                  <a:lnTo>
                    <a:pt x="1779559" y="614182"/>
                  </a:lnTo>
                  <a:lnTo>
                    <a:pt x="1729016" y="628307"/>
                  </a:lnTo>
                  <a:lnTo>
                    <a:pt x="1676066" y="638677"/>
                  </a:lnTo>
                  <a:lnTo>
                    <a:pt x="1621025" y="645065"/>
                  </a:lnTo>
                  <a:lnTo>
                    <a:pt x="1564212" y="647245"/>
                  </a:lnTo>
                  <a:lnTo>
                    <a:pt x="521404" y="647245"/>
                  </a:lnTo>
                  <a:lnTo>
                    <a:pt x="464591" y="645065"/>
                  </a:lnTo>
                  <a:lnTo>
                    <a:pt x="409550" y="638677"/>
                  </a:lnTo>
                  <a:lnTo>
                    <a:pt x="356600" y="628307"/>
                  </a:lnTo>
                  <a:lnTo>
                    <a:pt x="306057" y="614182"/>
                  </a:lnTo>
                  <a:lnTo>
                    <a:pt x="258241" y="596528"/>
                  </a:lnTo>
                  <a:lnTo>
                    <a:pt x="213469" y="575572"/>
                  </a:lnTo>
                  <a:lnTo>
                    <a:pt x="172060" y="551540"/>
                  </a:lnTo>
                  <a:lnTo>
                    <a:pt x="134331" y="524660"/>
                  </a:lnTo>
                  <a:lnTo>
                    <a:pt x="100600" y="495158"/>
                  </a:lnTo>
                  <a:lnTo>
                    <a:pt x="71186" y="463260"/>
                  </a:lnTo>
                  <a:lnTo>
                    <a:pt x="46407" y="429194"/>
                  </a:lnTo>
                  <a:lnTo>
                    <a:pt x="26581" y="393185"/>
                  </a:lnTo>
                  <a:lnTo>
                    <a:pt x="12026" y="355460"/>
                  </a:lnTo>
                  <a:lnTo>
                    <a:pt x="3059" y="316246"/>
                  </a:lnTo>
                  <a:lnTo>
                    <a:pt x="0" y="275770"/>
                  </a:lnTo>
                  <a:lnTo>
                    <a:pt x="3059" y="235294"/>
                  </a:lnTo>
                  <a:lnTo>
                    <a:pt x="12026" y="196080"/>
                  </a:lnTo>
                  <a:lnTo>
                    <a:pt x="26581" y="158355"/>
                  </a:lnTo>
                  <a:lnTo>
                    <a:pt x="46407" y="122346"/>
                  </a:lnTo>
                  <a:lnTo>
                    <a:pt x="71186" y="88279"/>
                  </a:lnTo>
                  <a:lnTo>
                    <a:pt x="100600" y="56382"/>
                  </a:lnTo>
                  <a:lnTo>
                    <a:pt x="134331" y="26879"/>
                  </a:lnTo>
                  <a:lnTo>
                    <a:pt x="172059" y="0"/>
                  </a:lnTo>
                </a:path>
              </a:pathLst>
            </a:custGeom>
            <a:ln w="76581">
              <a:solidFill>
                <a:srgbClr val="E3112B"/>
              </a:solidFill>
            </a:ln>
          </p:spPr>
          <p:txBody>
            <a:bodyPr wrap="square" lIns="0" tIns="0" rIns="0" bIns="0" rtlCol="0"/>
            <a:lstStyle/>
            <a:p>
              <a:endParaRPr/>
            </a:p>
          </p:txBody>
        </p:sp>
      </p:grpSp>
      <p:sp>
        <p:nvSpPr>
          <p:cNvPr id="24" name="object 24"/>
          <p:cNvSpPr txBox="1"/>
          <p:nvPr/>
        </p:nvSpPr>
        <p:spPr>
          <a:xfrm>
            <a:off x="12085382" y="5864916"/>
            <a:ext cx="1050290" cy="325120"/>
          </a:xfrm>
          <a:prstGeom prst="rect">
            <a:avLst/>
          </a:prstGeom>
        </p:spPr>
        <p:txBody>
          <a:bodyPr vert="horz" wrap="square" lIns="0" tIns="14604" rIns="0" bIns="0" rtlCol="0">
            <a:spAutoFit/>
          </a:bodyPr>
          <a:lstStyle/>
          <a:p>
            <a:pPr marL="12700">
              <a:lnSpc>
                <a:spcPct val="100000"/>
              </a:lnSpc>
              <a:spcBef>
                <a:spcPts val="114"/>
              </a:spcBef>
            </a:pPr>
            <a:r>
              <a:rPr sz="1950" spc="-10" dirty="0">
                <a:solidFill>
                  <a:srgbClr val="737373"/>
                </a:solidFill>
                <a:latin typeface="Roboto"/>
                <a:cs typeface="Roboto"/>
              </a:rPr>
              <a:t>Ejemplos</a:t>
            </a:r>
            <a:endParaRPr sz="1950">
              <a:latin typeface="Roboto"/>
              <a:cs typeface="Roboto"/>
            </a:endParaRPr>
          </a:p>
        </p:txBody>
      </p:sp>
      <p:pic>
        <p:nvPicPr>
          <p:cNvPr id="25" name="object 25"/>
          <p:cNvPicPr/>
          <p:nvPr/>
        </p:nvPicPr>
        <p:blipFill>
          <a:blip r:embed="rId8" cstate="print"/>
          <a:stretch>
            <a:fillRect/>
          </a:stretch>
        </p:blipFill>
        <p:spPr>
          <a:xfrm>
            <a:off x="17316450" y="237491"/>
            <a:ext cx="742949" cy="819149"/>
          </a:xfrm>
          <a:prstGeom prst="rect">
            <a:avLst/>
          </a:prstGeom>
        </p:spPr>
      </p:pic>
      <p:sp>
        <p:nvSpPr>
          <p:cNvPr id="26" name="object 26"/>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27" name="object 27"/>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19</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4"/>
            <a:ext cx="17954625" cy="4516120"/>
          </a:xfrm>
          <a:custGeom>
            <a:avLst/>
            <a:gdLst/>
            <a:ahLst/>
            <a:cxnLst/>
            <a:rect l="l" t="t" r="r" b="b"/>
            <a:pathLst>
              <a:path w="17954625" h="4516120">
                <a:moveTo>
                  <a:pt x="0" y="4516002"/>
                </a:moveTo>
                <a:lnTo>
                  <a:pt x="17954029" y="4516002"/>
                </a:lnTo>
                <a:lnTo>
                  <a:pt x="17954029" y="0"/>
                </a:lnTo>
                <a:lnTo>
                  <a:pt x="0" y="0"/>
                </a:lnTo>
                <a:lnTo>
                  <a:pt x="0" y="4516002"/>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6"/>
            <a:ext cx="17954625" cy="1394460"/>
            <a:chOff x="166956" y="171496"/>
            <a:chExt cx="17954625" cy="1394460"/>
          </a:xfrm>
        </p:grpSpPr>
        <p:sp>
          <p:nvSpPr>
            <p:cNvPr id="4" name="object 4"/>
            <p:cNvSpPr/>
            <p:nvPr/>
          </p:nvSpPr>
          <p:spPr>
            <a:xfrm>
              <a:off x="166956" y="171496"/>
              <a:ext cx="17954625" cy="13335"/>
            </a:xfrm>
            <a:custGeom>
              <a:avLst/>
              <a:gdLst/>
              <a:ahLst/>
              <a:cxnLst/>
              <a:rect l="l" t="t" r="r" b="b"/>
              <a:pathLst>
                <a:path w="17954625" h="13335">
                  <a:moveTo>
                    <a:pt x="0" y="13336"/>
                  </a:moveTo>
                  <a:lnTo>
                    <a:pt x="17954029" y="13336"/>
                  </a:lnTo>
                  <a:lnTo>
                    <a:pt x="17954029" y="0"/>
                  </a:lnTo>
                  <a:lnTo>
                    <a:pt x="0" y="0"/>
                  </a:lnTo>
                  <a:lnTo>
                    <a:pt x="0" y="13336"/>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grpSp>
      <p:sp>
        <p:nvSpPr>
          <p:cNvPr id="6" name="object 6"/>
          <p:cNvSpPr/>
          <p:nvPr/>
        </p:nvSpPr>
        <p:spPr>
          <a:xfrm>
            <a:off x="3612788" y="2388701"/>
            <a:ext cx="1374775" cy="1374775"/>
          </a:xfrm>
          <a:custGeom>
            <a:avLst/>
            <a:gdLst/>
            <a:ahLst/>
            <a:cxnLst/>
            <a:rect l="l" t="t" r="r" b="b"/>
            <a:pathLst>
              <a:path w="1374775" h="1374775">
                <a:moveTo>
                  <a:pt x="687148" y="1374286"/>
                </a:moveTo>
                <a:lnTo>
                  <a:pt x="640096" y="1372701"/>
                </a:lnTo>
                <a:lnTo>
                  <a:pt x="593901" y="1368013"/>
                </a:lnTo>
                <a:lnTo>
                  <a:pt x="548659" y="1360326"/>
                </a:lnTo>
                <a:lnTo>
                  <a:pt x="504473" y="1349740"/>
                </a:lnTo>
                <a:lnTo>
                  <a:pt x="461444" y="1336360"/>
                </a:lnTo>
                <a:lnTo>
                  <a:pt x="419675" y="1320287"/>
                </a:lnTo>
                <a:lnTo>
                  <a:pt x="379269" y="1301623"/>
                </a:lnTo>
                <a:lnTo>
                  <a:pt x="340328" y="1280471"/>
                </a:lnTo>
                <a:lnTo>
                  <a:pt x="302954" y="1256933"/>
                </a:lnTo>
                <a:lnTo>
                  <a:pt x="267250" y="1231111"/>
                </a:lnTo>
                <a:lnTo>
                  <a:pt x="233317" y="1203108"/>
                </a:lnTo>
                <a:lnTo>
                  <a:pt x="201259" y="1173026"/>
                </a:lnTo>
                <a:lnTo>
                  <a:pt x="171177" y="1140968"/>
                </a:lnTo>
                <a:lnTo>
                  <a:pt x="143174" y="1107035"/>
                </a:lnTo>
                <a:lnTo>
                  <a:pt x="117353" y="1071331"/>
                </a:lnTo>
                <a:lnTo>
                  <a:pt x="93814" y="1033957"/>
                </a:lnTo>
                <a:lnTo>
                  <a:pt x="72662" y="995016"/>
                </a:lnTo>
                <a:lnTo>
                  <a:pt x="53998" y="954610"/>
                </a:lnTo>
                <a:lnTo>
                  <a:pt x="37925" y="912841"/>
                </a:lnTo>
                <a:lnTo>
                  <a:pt x="24545" y="869813"/>
                </a:lnTo>
                <a:lnTo>
                  <a:pt x="13960" y="825626"/>
                </a:lnTo>
                <a:lnTo>
                  <a:pt x="6272" y="780384"/>
                </a:lnTo>
                <a:lnTo>
                  <a:pt x="1585" y="734189"/>
                </a:lnTo>
                <a:lnTo>
                  <a:pt x="0" y="687137"/>
                </a:lnTo>
                <a:lnTo>
                  <a:pt x="1585" y="640097"/>
                </a:lnTo>
                <a:lnTo>
                  <a:pt x="6272" y="593901"/>
                </a:lnTo>
                <a:lnTo>
                  <a:pt x="13960" y="548659"/>
                </a:lnTo>
                <a:lnTo>
                  <a:pt x="24545" y="504473"/>
                </a:lnTo>
                <a:lnTo>
                  <a:pt x="37925" y="461444"/>
                </a:lnTo>
                <a:lnTo>
                  <a:pt x="53998" y="419676"/>
                </a:lnTo>
                <a:lnTo>
                  <a:pt x="72662" y="379270"/>
                </a:lnTo>
                <a:lnTo>
                  <a:pt x="93814" y="340328"/>
                </a:lnTo>
                <a:lnTo>
                  <a:pt x="117353" y="302954"/>
                </a:lnTo>
                <a:lnTo>
                  <a:pt x="143174" y="267250"/>
                </a:lnTo>
                <a:lnTo>
                  <a:pt x="171177" y="233317"/>
                </a:lnTo>
                <a:lnTo>
                  <a:pt x="201259" y="201259"/>
                </a:lnTo>
                <a:lnTo>
                  <a:pt x="233317" y="171177"/>
                </a:lnTo>
                <a:lnTo>
                  <a:pt x="267250" y="143174"/>
                </a:lnTo>
                <a:lnTo>
                  <a:pt x="302954" y="117353"/>
                </a:lnTo>
                <a:lnTo>
                  <a:pt x="340328" y="93815"/>
                </a:lnTo>
                <a:lnTo>
                  <a:pt x="379269" y="72663"/>
                </a:lnTo>
                <a:lnTo>
                  <a:pt x="419675" y="53999"/>
                </a:lnTo>
                <a:lnTo>
                  <a:pt x="461444" y="37925"/>
                </a:lnTo>
                <a:lnTo>
                  <a:pt x="504473" y="24545"/>
                </a:lnTo>
                <a:lnTo>
                  <a:pt x="548659" y="13960"/>
                </a:lnTo>
                <a:lnTo>
                  <a:pt x="593901" y="6272"/>
                </a:lnTo>
                <a:lnTo>
                  <a:pt x="640096" y="1585"/>
                </a:lnTo>
                <a:lnTo>
                  <a:pt x="687142" y="0"/>
                </a:lnTo>
                <a:lnTo>
                  <a:pt x="734189" y="1585"/>
                </a:lnTo>
                <a:lnTo>
                  <a:pt x="780384" y="6272"/>
                </a:lnTo>
                <a:lnTo>
                  <a:pt x="825626" y="13960"/>
                </a:lnTo>
                <a:lnTo>
                  <a:pt x="869812" y="24545"/>
                </a:lnTo>
                <a:lnTo>
                  <a:pt x="912841" y="37925"/>
                </a:lnTo>
                <a:lnTo>
                  <a:pt x="954610" y="53999"/>
                </a:lnTo>
                <a:lnTo>
                  <a:pt x="995016" y="72663"/>
                </a:lnTo>
                <a:lnTo>
                  <a:pt x="1033957" y="93815"/>
                </a:lnTo>
                <a:lnTo>
                  <a:pt x="1071331" y="117353"/>
                </a:lnTo>
                <a:lnTo>
                  <a:pt x="1107035" y="143174"/>
                </a:lnTo>
                <a:lnTo>
                  <a:pt x="1140968" y="171177"/>
                </a:lnTo>
                <a:lnTo>
                  <a:pt x="1173026" y="201259"/>
                </a:lnTo>
                <a:lnTo>
                  <a:pt x="1203108" y="233317"/>
                </a:lnTo>
                <a:lnTo>
                  <a:pt x="1231111" y="267250"/>
                </a:lnTo>
                <a:lnTo>
                  <a:pt x="1256932" y="302954"/>
                </a:lnTo>
                <a:lnTo>
                  <a:pt x="1280470" y="340328"/>
                </a:lnTo>
                <a:lnTo>
                  <a:pt x="1301623" y="379270"/>
                </a:lnTo>
                <a:lnTo>
                  <a:pt x="1320287" y="419676"/>
                </a:lnTo>
                <a:lnTo>
                  <a:pt x="1336360" y="461444"/>
                </a:lnTo>
                <a:lnTo>
                  <a:pt x="1349740" y="504473"/>
                </a:lnTo>
                <a:lnTo>
                  <a:pt x="1360325" y="548659"/>
                </a:lnTo>
                <a:lnTo>
                  <a:pt x="1368013" y="593901"/>
                </a:lnTo>
                <a:lnTo>
                  <a:pt x="1372700" y="640097"/>
                </a:lnTo>
                <a:lnTo>
                  <a:pt x="1374285" y="687143"/>
                </a:lnTo>
                <a:lnTo>
                  <a:pt x="1372700" y="734189"/>
                </a:lnTo>
                <a:lnTo>
                  <a:pt x="1368013" y="780384"/>
                </a:lnTo>
                <a:lnTo>
                  <a:pt x="1360325" y="825626"/>
                </a:lnTo>
                <a:lnTo>
                  <a:pt x="1349740" y="869813"/>
                </a:lnTo>
                <a:lnTo>
                  <a:pt x="1336360" y="912841"/>
                </a:lnTo>
                <a:lnTo>
                  <a:pt x="1320287" y="954610"/>
                </a:lnTo>
                <a:lnTo>
                  <a:pt x="1301623" y="995016"/>
                </a:lnTo>
                <a:lnTo>
                  <a:pt x="1280470" y="1033957"/>
                </a:lnTo>
                <a:lnTo>
                  <a:pt x="1256932" y="1071331"/>
                </a:lnTo>
                <a:lnTo>
                  <a:pt x="1231111" y="1107035"/>
                </a:lnTo>
                <a:lnTo>
                  <a:pt x="1203108" y="1140968"/>
                </a:lnTo>
                <a:lnTo>
                  <a:pt x="1173026" y="1173026"/>
                </a:lnTo>
                <a:lnTo>
                  <a:pt x="1140968" y="1203108"/>
                </a:lnTo>
                <a:lnTo>
                  <a:pt x="1107035" y="1231111"/>
                </a:lnTo>
                <a:lnTo>
                  <a:pt x="1071331" y="1256933"/>
                </a:lnTo>
                <a:lnTo>
                  <a:pt x="1033957" y="1280471"/>
                </a:lnTo>
                <a:lnTo>
                  <a:pt x="995016" y="1301623"/>
                </a:lnTo>
                <a:lnTo>
                  <a:pt x="954610" y="1320287"/>
                </a:lnTo>
                <a:lnTo>
                  <a:pt x="912841" y="1336360"/>
                </a:lnTo>
                <a:lnTo>
                  <a:pt x="869812" y="1349740"/>
                </a:lnTo>
                <a:lnTo>
                  <a:pt x="825626" y="1360326"/>
                </a:lnTo>
                <a:lnTo>
                  <a:pt x="780384" y="1368013"/>
                </a:lnTo>
                <a:lnTo>
                  <a:pt x="734189" y="1372701"/>
                </a:lnTo>
                <a:lnTo>
                  <a:pt x="687148" y="1374286"/>
                </a:lnTo>
                <a:close/>
              </a:path>
            </a:pathLst>
          </a:custGeom>
          <a:solidFill>
            <a:srgbClr val="21408B"/>
          </a:solidFill>
        </p:spPr>
        <p:txBody>
          <a:bodyPr wrap="square" lIns="0" tIns="0" rIns="0" bIns="0" rtlCol="0"/>
          <a:lstStyle/>
          <a:p>
            <a:endParaRPr/>
          </a:p>
        </p:txBody>
      </p:sp>
      <p:sp>
        <p:nvSpPr>
          <p:cNvPr id="7" name="object 7"/>
          <p:cNvSpPr/>
          <p:nvPr/>
        </p:nvSpPr>
        <p:spPr>
          <a:xfrm>
            <a:off x="1071227" y="6498085"/>
            <a:ext cx="589915" cy="2625725"/>
          </a:xfrm>
          <a:custGeom>
            <a:avLst/>
            <a:gdLst/>
            <a:ahLst/>
            <a:cxnLst/>
            <a:rect l="l" t="t" r="r" b="b"/>
            <a:pathLst>
              <a:path w="589914" h="2625725">
                <a:moveTo>
                  <a:pt x="589467" y="0"/>
                </a:moveTo>
                <a:lnTo>
                  <a:pt x="589467" y="2625097"/>
                </a:lnTo>
                <a:lnTo>
                  <a:pt x="0" y="2625097"/>
                </a:lnTo>
                <a:lnTo>
                  <a:pt x="0" y="0"/>
                </a:lnTo>
                <a:lnTo>
                  <a:pt x="589467" y="0"/>
                </a:lnTo>
                <a:close/>
              </a:path>
            </a:pathLst>
          </a:custGeom>
          <a:solidFill>
            <a:srgbClr val="E3112B"/>
          </a:solidFill>
        </p:spPr>
        <p:txBody>
          <a:bodyPr wrap="square" lIns="0" tIns="0" rIns="0" bIns="0" rtlCol="0"/>
          <a:lstStyle/>
          <a:p>
            <a:endParaRPr/>
          </a:p>
        </p:txBody>
      </p:sp>
      <p:sp>
        <p:nvSpPr>
          <p:cNvPr id="8" name="object 8"/>
          <p:cNvSpPr/>
          <p:nvPr/>
        </p:nvSpPr>
        <p:spPr>
          <a:xfrm>
            <a:off x="4540986" y="6499780"/>
            <a:ext cx="4095115" cy="1014094"/>
          </a:xfrm>
          <a:custGeom>
            <a:avLst/>
            <a:gdLst/>
            <a:ahLst/>
            <a:cxnLst/>
            <a:rect l="l" t="t" r="r" b="b"/>
            <a:pathLst>
              <a:path w="4095115" h="1014095">
                <a:moveTo>
                  <a:pt x="4094837" y="1013884"/>
                </a:moveTo>
                <a:lnTo>
                  <a:pt x="0" y="1013884"/>
                </a:lnTo>
                <a:lnTo>
                  <a:pt x="0" y="0"/>
                </a:lnTo>
                <a:lnTo>
                  <a:pt x="4094837" y="0"/>
                </a:lnTo>
                <a:lnTo>
                  <a:pt x="4094837" y="1013884"/>
                </a:lnTo>
                <a:close/>
              </a:path>
            </a:pathLst>
          </a:custGeom>
          <a:solidFill>
            <a:srgbClr val="0090AE">
              <a:alpha val="65879"/>
            </a:srgbClr>
          </a:solidFill>
        </p:spPr>
        <p:txBody>
          <a:bodyPr wrap="square" lIns="0" tIns="0" rIns="0" bIns="0" rtlCol="0"/>
          <a:lstStyle/>
          <a:p>
            <a:endParaRPr/>
          </a:p>
        </p:txBody>
      </p:sp>
      <p:sp>
        <p:nvSpPr>
          <p:cNvPr id="9" name="object 9"/>
          <p:cNvSpPr/>
          <p:nvPr/>
        </p:nvSpPr>
        <p:spPr>
          <a:xfrm>
            <a:off x="4540986" y="8109428"/>
            <a:ext cx="4095115" cy="1014094"/>
          </a:xfrm>
          <a:custGeom>
            <a:avLst/>
            <a:gdLst/>
            <a:ahLst/>
            <a:cxnLst/>
            <a:rect l="l" t="t" r="r" b="b"/>
            <a:pathLst>
              <a:path w="4095115" h="1014095">
                <a:moveTo>
                  <a:pt x="4094837" y="1013884"/>
                </a:moveTo>
                <a:lnTo>
                  <a:pt x="0" y="1013884"/>
                </a:lnTo>
                <a:lnTo>
                  <a:pt x="0" y="0"/>
                </a:lnTo>
                <a:lnTo>
                  <a:pt x="4094837" y="0"/>
                </a:lnTo>
                <a:lnTo>
                  <a:pt x="4094837" y="1013884"/>
                </a:lnTo>
                <a:close/>
              </a:path>
            </a:pathLst>
          </a:custGeom>
          <a:solidFill>
            <a:srgbClr val="0090AE">
              <a:alpha val="65879"/>
            </a:srgbClr>
          </a:solidFill>
        </p:spPr>
        <p:txBody>
          <a:bodyPr wrap="square" lIns="0" tIns="0" rIns="0" bIns="0" rtlCol="0"/>
          <a:lstStyle/>
          <a:p>
            <a:endParaRPr/>
          </a:p>
        </p:txBody>
      </p:sp>
      <p:sp>
        <p:nvSpPr>
          <p:cNvPr id="10" name="object 10"/>
          <p:cNvSpPr/>
          <p:nvPr/>
        </p:nvSpPr>
        <p:spPr>
          <a:xfrm>
            <a:off x="4540947" y="6499701"/>
            <a:ext cx="701675" cy="1012190"/>
          </a:xfrm>
          <a:custGeom>
            <a:avLst/>
            <a:gdLst/>
            <a:ahLst/>
            <a:cxnLst/>
            <a:rect l="l" t="t" r="r" b="b"/>
            <a:pathLst>
              <a:path w="701675" h="1012190">
                <a:moveTo>
                  <a:pt x="701473" y="505752"/>
                </a:moveTo>
                <a:lnTo>
                  <a:pt x="701473" y="505965"/>
                </a:lnTo>
                <a:lnTo>
                  <a:pt x="0" y="1011702"/>
                </a:lnTo>
                <a:lnTo>
                  <a:pt x="11" y="0"/>
                </a:lnTo>
                <a:lnTo>
                  <a:pt x="701473" y="505752"/>
                </a:lnTo>
                <a:close/>
              </a:path>
            </a:pathLst>
          </a:custGeom>
          <a:solidFill>
            <a:srgbClr val="21408B">
              <a:alpha val="66668"/>
            </a:srgbClr>
          </a:solidFill>
        </p:spPr>
        <p:txBody>
          <a:bodyPr wrap="square" lIns="0" tIns="0" rIns="0" bIns="0" rtlCol="0"/>
          <a:lstStyle/>
          <a:p>
            <a:endParaRPr/>
          </a:p>
        </p:txBody>
      </p:sp>
      <p:sp>
        <p:nvSpPr>
          <p:cNvPr id="11" name="object 11"/>
          <p:cNvSpPr/>
          <p:nvPr/>
        </p:nvSpPr>
        <p:spPr>
          <a:xfrm>
            <a:off x="4540947" y="8111489"/>
            <a:ext cx="701675" cy="1012190"/>
          </a:xfrm>
          <a:custGeom>
            <a:avLst/>
            <a:gdLst/>
            <a:ahLst/>
            <a:cxnLst/>
            <a:rect l="l" t="t" r="r" b="b"/>
            <a:pathLst>
              <a:path w="701675" h="1012190">
                <a:moveTo>
                  <a:pt x="701473" y="505752"/>
                </a:moveTo>
                <a:lnTo>
                  <a:pt x="701473" y="505965"/>
                </a:lnTo>
                <a:lnTo>
                  <a:pt x="0" y="1011702"/>
                </a:lnTo>
                <a:lnTo>
                  <a:pt x="11" y="0"/>
                </a:lnTo>
                <a:lnTo>
                  <a:pt x="701473" y="505752"/>
                </a:lnTo>
                <a:close/>
              </a:path>
            </a:pathLst>
          </a:custGeom>
          <a:solidFill>
            <a:srgbClr val="21408B">
              <a:alpha val="66668"/>
            </a:srgbClr>
          </a:solidFill>
        </p:spPr>
        <p:txBody>
          <a:bodyPr wrap="square" lIns="0" tIns="0" rIns="0" bIns="0" rtlCol="0"/>
          <a:lstStyle/>
          <a:p>
            <a:endParaRPr/>
          </a:p>
        </p:txBody>
      </p:sp>
      <p:sp>
        <p:nvSpPr>
          <p:cNvPr id="12" name="object 12"/>
          <p:cNvSpPr txBox="1"/>
          <p:nvPr/>
        </p:nvSpPr>
        <p:spPr>
          <a:xfrm>
            <a:off x="2267995" y="5977237"/>
            <a:ext cx="1660525" cy="324485"/>
          </a:xfrm>
          <a:prstGeom prst="rect">
            <a:avLst/>
          </a:prstGeom>
        </p:spPr>
        <p:txBody>
          <a:bodyPr vert="horz" wrap="square" lIns="0" tIns="13970" rIns="0" bIns="0" rtlCol="0">
            <a:spAutoFit/>
          </a:bodyPr>
          <a:lstStyle/>
          <a:p>
            <a:pPr marL="12700">
              <a:lnSpc>
                <a:spcPct val="100000"/>
              </a:lnSpc>
              <a:spcBef>
                <a:spcPts val="110"/>
              </a:spcBef>
            </a:pPr>
            <a:r>
              <a:rPr sz="1950" dirty="0">
                <a:solidFill>
                  <a:srgbClr val="737373"/>
                </a:solidFill>
                <a:latin typeface="Roboto"/>
                <a:cs typeface="Roboto"/>
              </a:rPr>
              <a:t>Nombre</a:t>
            </a:r>
            <a:r>
              <a:rPr sz="1950" spc="-45" dirty="0">
                <a:solidFill>
                  <a:srgbClr val="737373"/>
                </a:solidFill>
                <a:latin typeface="Roboto"/>
                <a:cs typeface="Roboto"/>
              </a:rPr>
              <a:t> </a:t>
            </a:r>
            <a:r>
              <a:rPr sz="1950" spc="-10" dirty="0">
                <a:solidFill>
                  <a:srgbClr val="737373"/>
                </a:solidFill>
                <a:latin typeface="Roboto"/>
                <a:cs typeface="Roboto"/>
              </a:rPr>
              <a:t>actual</a:t>
            </a:r>
            <a:endParaRPr sz="1950">
              <a:latin typeface="Roboto"/>
              <a:cs typeface="Roboto"/>
            </a:endParaRPr>
          </a:p>
        </p:txBody>
      </p:sp>
      <p:sp>
        <p:nvSpPr>
          <p:cNvPr id="13" name="object 13"/>
          <p:cNvSpPr txBox="1"/>
          <p:nvPr/>
        </p:nvSpPr>
        <p:spPr>
          <a:xfrm>
            <a:off x="1656214" y="6499780"/>
            <a:ext cx="2884805" cy="1014094"/>
          </a:xfrm>
          <a:prstGeom prst="rect">
            <a:avLst/>
          </a:prstGeom>
          <a:solidFill>
            <a:srgbClr val="0090AE"/>
          </a:solidFill>
        </p:spPr>
        <p:txBody>
          <a:bodyPr vert="horz" wrap="square" lIns="0" tIns="5715" rIns="0" bIns="0" rtlCol="0">
            <a:spAutoFit/>
          </a:bodyPr>
          <a:lstStyle/>
          <a:p>
            <a:pPr>
              <a:lnSpc>
                <a:spcPct val="100000"/>
              </a:lnSpc>
              <a:spcBef>
                <a:spcPts val="45"/>
              </a:spcBef>
            </a:pPr>
            <a:endParaRPr sz="1550">
              <a:latin typeface="Times New Roman"/>
              <a:cs typeface="Times New Roman"/>
            </a:endParaRPr>
          </a:p>
          <a:p>
            <a:pPr marL="668655" marR="432434" indent="-312420">
              <a:lnSpc>
                <a:spcPct val="114300"/>
              </a:lnSpc>
            </a:pPr>
            <a:r>
              <a:rPr sz="1750" dirty="0">
                <a:solidFill>
                  <a:srgbClr val="FFFFFF"/>
                </a:solidFill>
                <a:latin typeface="Roboto"/>
                <a:cs typeface="Roboto"/>
              </a:rPr>
              <a:t>CENTRO,</a:t>
            </a:r>
            <a:r>
              <a:rPr sz="1750" spc="-70" dirty="0">
                <a:solidFill>
                  <a:srgbClr val="FFFFFF"/>
                </a:solidFill>
                <a:latin typeface="Roboto"/>
                <a:cs typeface="Roboto"/>
              </a:rPr>
              <a:t> </a:t>
            </a:r>
            <a:r>
              <a:rPr sz="1750" spc="-10" dirty="0">
                <a:solidFill>
                  <a:srgbClr val="FFFFFF"/>
                </a:solidFill>
                <a:latin typeface="Roboto"/>
                <a:cs typeface="Roboto"/>
              </a:rPr>
              <a:t>SANTIAGO, </a:t>
            </a:r>
            <a:r>
              <a:rPr sz="1750" dirty="0">
                <a:solidFill>
                  <a:srgbClr val="FFFFFF"/>
                </a:solidFill>
                <a:latin typeface="Roboto"/>
                <a:cs typeface="Roboto"/>
              </a:rPr>
              <a:t>Y</a:t>
            </a:r>
            <a:r>
              <a:rPr sz="1750" spc="-15" dirty="0">
                <a:solidFill>
                  <a:srgbClr val="FFFFFF"/>
                </a:solidFill>
                <a:latin typeface="Roboto"/>
                <a:cs typeface="Roboto"/>
              </a:rPr>
              <a:t> </a:t>
            </a:r>
            <a:r>
              <a:rPr sz="1750" spc="-10" dirty="0">
                <a:solidFill>
                  <a:srgbClr val="FFFFFF"/>
                </a:solidFill>
                <a:latin typeface="Roboto"/>
                <a:cs typeface="Roboto"/>
              </a:rPr>
              <a:t>VALPARAÍSO</a:t>
            </a:r>
            <a:endParaRPr sz="1750">
              <a:latin typeface="Roboto"/>
              <a:cs typeface="Roboto"/>
            </a:endParaRPr>
          </a:p>
        </p:txBody>
      </p:sp>
      <p:sp>
        <p:nvSpPr>
          <p:cNvPr id="14" name="object 14"/>
          <p:cNvSpPr txBox="1"/>
          <p:nvPr/>
        </p:nvSpPr>
        <p:spPr>
          <a:xfrm>
            <a:off x="1656214" y="8109428"/>
            <a:ext cx="2884805" cy="1014094"/>
          </a:xfrm>
          <a:prstGeom prst="rect">
            <a:avLst/>
          </a:prstGeom>
          <a:solidFill>
            <a:srgbClr val="0090AE"/>
          </a:solidFill>
        </p:spPr>
        <p:txBody>
          <a:bodyPr vert="horz" wrap="square" lIns="0" tIns="209550" rIns="0" bIns="0" rtlCol="0">
            <a:spAutoFit/>
          </a:bodyPr>
          <a:lstStyle/>
          <a:p>
            <a:pPr marL="768985" marR="788670" indent="48260">
              <a:lnSpc>
                <a:spcPct val="114300"/>
              </a:lnSpc>
              <a:spcBef>
                <a:spcPts val="1650"/>
              </a:spcBef>
            </a:pPr>
            <a:r>
              <a:rPr sz="1750" spc="-30" dirty="0">
                <a:solidFill>
                  <a:srgbClr val="FFFFFF"/>
                </a:solidFill>
                <a:latin typeface="Roboto"/>
                <a:cs typeface="Roboto"/>
              </a:rPr>
              <a:t>SUR,</a:t>
            </a:r>
            <a:r>
              <a:rPr sz="1750" spc="-80" dirty="0">
                <a:solidFill>
                  <a:srgbClr val="FFFFFF"/>
                </a:solidFill>
                <a:latin typeface="Roboto"/>
                <a:cs typeface="Roboto"/>
              </a:rPr>
              <a:t> </a:t>
            </a:r>
            <a:r>
              <a:rPr sz="1750" spc="-20" dirty="0">
                <a:solidFill>
                  <a:srgbClr val="FFFFFF"/>
                </a:solidFill>
                <a:latin typeface="Roboto"/>
                <a:cs typeface="Roboto"/>
              </a:rPr>
              <a:t>LAGOS </a:t>
            </a:r>
            <a:r>
              <a:rPr sz="1750" dirty="0">
                <a:solidFill>
                  <a:srgbClr val="FFFFFF"/>
                </a:solidFill>
                <a:latin typeface="Roboto"/>
                <a:cs typeface="Roboto"/>
              </a:rPr>
              <a:t>Y</a:t>
            </a:r>
            <a:r>
              <a:rPr sz="1750" spc="-15" dirty="0">
                <a:solidFill>
                  <a:srgbClr val="FFFFFF"/>
                </a:solidFill>
                <a:latin typeface="Roboto"/>
                <a:cs typeface="Roboto"/>
              </a:rPr>
              <a:t> </a:t>
            </a:r>
            <a:r>
              <a:rPr sz="1750" spc="-10" dirty="0">
                <a:solidFill>
                  <a:srgbClr val="FFFFFF"/>
                </a:solidFill>
                <a:latin typeface="Roboto"/>
                <a:cs typeface="Roboto"/>
              </a:rPr>
              <a:t>VOLCANES</a:t>
            </a:r>
            <a:endParaRPr sz="1750">
              <a:latin typeface="Roboto"/>
              <a:cs typeface="Roboto"/>
            </a:endParaRPr>
          </a:p>
        </p:txBody>
      </p:sp>
      <p:sp>
        <p:nvSpPr>
          <p:cNvPr id="15" name="object 15"/>
          <p:cNvSpPr txBox="1"/>
          <p:nvPr/>
        </p:nvSpPr>
        <p:spPr>
          <a:xfrm>
            <a:off x="4540986" y="6499780"/>
            <a:ext cx="4095115" cy="1014094"/>
          </a:xfrm>
          <a:prstGeom prst="rect">
            <a:avLst/>
          </a:prstGeom>
        </p:spPr>
        <p:txBody>
          <a:bodyPr vert="horz" wrap="square" lIns="0" tIns="149860" rIns="0" bIns="0" rtlCol="0">
            <a:spAutoFit/>
          </a:bodyPr>
          <a:lstStyle/>
          <a:p>
            <a:pPr marL="1254760" marR="515620" indent="-208279">
              <a:lnSpc>
                <a:spcPct val="117900"/>
              </a:lnSpc>
              <a:spcBef>
                <a:spcPts val="1180"/>
              </a:spcBef>
            </a:pPr>
            <a:r>
              <a:rPr sz="1750" dirty="0">
                <a:solidFill>
                  <a:srgbClr val="FFFFFF"/>
                </a:solidFill>
                <a:latin typeface="Roboto"/>
                <a:cs typeface="Roboto"/>
              </a:rPr>
              <a:t>SANTIAGO, </a:t>
            </a:r>
            <a:r>
              <a:rPr sz="1750" spc="-10" dirty="0">
                <a:solidFill>
                  <a:srgbClr val="FFFFFF"/>
                </a:solidFill>
                <a:latin typeface="Roboto"/>
                <a:cs typeface="Roboto"/>
              </a:rPr>
              <a:t>VALPARAÍSO </a:t>
            </a:r>
            <a:r>
              <a:rPr sz="1750" dirty="0">
                <a:solidFill>
                  <a:srgbClr val="FFFFFF"/>
                </a:solidFill>
                <a:latin typeface="Roboto"/>
                <a:cs typeface="Roboto"/>
              </a:rPr>
              <a:t>&amp;</a:t>
            </a:r>
            <a:r>
              <a:rPr sz="1750" spc="-25" dirty="0">
                <a:solidFill>
                  <a:srgbClr val="FFFFFF"/>
                </a:solidFill>
                <a:latin typeface="Roboto"/>
                <a:cs typeface="Roboto"/>
              </a:rPr>
              <a:t> </a:t>
            </a:r>
            <a:r>
              <a:rPr sz="1750" b="1" u="heavy" dirty="0">
                <a:solidFill>
                  <a:srgbClr val="FFFFFF"/>
                </a:solidFill>
                <a:uFill>
                  <a:solidFill>
                    <a:srgbClr val="FFFFFF"/>
                  </a:solidFill>
                </a:uFill>
                <a:latin typeface="Roboto"/>
                <a:cs typeface="Roboto"/>
              </a:rPr>
              <a:t>WINE</a:t>
            </a:r>
            <a:r>
              <a:rPr sz="1750" b="1" u="heavy" spc="-20" dirty="0">
                <a:solidFill>
                  <a:srgbClr val="FFFFFF"/>
                </a:solidFill>
                <a:uFill>
                  <a:solidFill>
                    <a:srgbClr val="FFFFFF"/>
                  </a:solidFill>
                </a:uFill>
                <a:latin typeface="Roboto"/>
                <a:cs typeface="Roboto"/>
              </a:rPr>
              <a:t> </a:t>
            </a:r>
            <a:r>
              <a:rPr sz="1750" b="1" u="heavy" spc="-10" dirty="0">
                <a:solidFill>
                  <a:srgbClr val="FFFFFF"/>
                </a:solidFill>
                <a:uFill>
                  <a:solidFill>
                    <a:srgbClr val="FFFFFF"/>
                  </a:solidFill>
                </a:uFill>
                <a:latin typeface="Roboto"/>
                <a:cs typeface="Roboto"/>
              </a:rPr>
              <a:t>EXPERIENCE</a:t>
            </a:r>
            <a:endParaRPr sz="1750">
              <a:latin typeface="Roboto"/>
              <a:cs typeface="Roboto"/>
            </a:endParaRPr>
          </a:p>
        </p:txBody>
      </p:sp>
      <p:sp>
        <p:nvSpPr>
          <p:cNvPr id="16" name="object 16"/>
          <p:cNvSpPr txBox="1"/>
          <p:nvPr/>
        </p:nvSpPr>
        <p:spPr>
          <a:xfrm>
            <a:off x="4540986" y="8109428"/>
            <a:ext cx="4095115" cy="1014094"/>
          </a:xfrm>
          <a:prstGeom prst="rect">
            <a:avLst/>
          </a:prstGeom>
        </p:spPr>
        <p:txBody>
          <a:bodyPr vert="horz" wrap="square" lIns="0" tIns="199390" rIns="0" bIns="0" rtlCol="0">
            <a:spAutoFit/>
          </a:bodyPr>
          <a:lstStyle/>
          <a:p>
            <a:pPr marL="1646555" marR="876935" indent="-295275">
              <a:lnSpc>
                <a:spcPct val="117900"/>
              </a:lnSpc>
              <a:spcBef>
                <a:spcPts val="1570"/>
              </a:spcBef>
            </a:pPr>
            <a:r>
              <a:rPr sz="1750" b="1" u="heavy" spc="-10" dirty="0">
                <a:solidFill>
                  <a:srgbClr val="FFFFFF"/>
                </a:solidFill>
                <a:uFill>
                  <a:solidFill>
                    <a:srgbClr val="FFFFFF"/>
                  </a:solidFill>
                </a:uFill>
                <a:latin typeface="Roboto"/>
                <a:cs typeface="Roboto"/>
              </a:rPr>
              <a:t>BOSQUES</a:t>
            </a:r>
            <a:r>
              <a:rPr sz="1750" spc="-10" dirty="0">
                <a:solidFill>
                  <a:srgbClr val="FFFFFF"/>
                </a:solidFill>
                <a:latin typeface="Roboto"/>
                <a:cs typeface="Roboto"/>
              </a:rPr>
              <a:t>,</a:t>
            </a:r>
            <a:r>
              <a:rPr sz="1750" spc="-50" dirty="0">
                <a:solidFill>
                  <a:srgbClr val="FFFFFF"/>
                </a:solidFill>
                <a:latin typeface="Roboto"/>
                <a:cs typeface="Roboto"/>
              </a:rPr>
              <a:t> </a:t>
            </a:r>
            <a:r>
              <a:rPr sz="1750" spc="-10" dirty="0">
                <a:solidFill>
                  <a:srgbClr val="FFFFFF"/>
                </a:solidFill>
                <a:latin typeface="Roboto"/>
                <a:cs typeface="Roboto"/>
              </a:rPr>
              <a:t>LAGOS, </a:t>
            </a:r>
            <a:r>
              <a:rPr sz="1750" dirty="0">
                <a:solidFill>
                  <a:srgbClr val="FFFFFF"/>
                </a:solidFill>
                <a:latin typeface="Roboto"/>
                <a:cs typeface="Roboto"/>
              </a:rPr>
              <a:t>Y</a:t>
            </a:r>
            <a:r>
              <a:rPr sz="1750" spc="-15" dirty="0">
                <a:solidFill>
                  <a:srgbClr val="FFFFFF"/>
                </a:solidFill>
                <a:latin typeface="Roboto"/>
                <a:cs typeface="Roboto"/>
              </a:rPr>
              <a:t> </a:t>
            </a:r>
            <a:r>
              <a:rPr sz="1750" spc="-10" dirty="0">
                <a:solidFill>
                  <a:srgbClr val="FFFFFF"/>
                </a:solidFill>
                <a:latin typeface="Roboto"/>
                <a:cs typeface="Roboto"/>
              </a:rPr>
              <a:t>VOLCANES</a:t>
            </a:r>
            <a:endParaRPr sz="1750">
              <a:latin typeface="Roboto"/>
              <a:cs typeface="Roboto"/>
            </a:endParaRPr>
          </a:p>
        </p:txBody>
      </p:sp>
      <p:sp>
        <p:nvSpPr>
          <p:cNvPr id="17" name="object 17"/>
          <p:cNvSpPr txBox="1"/>
          <p:nvPr/>
        </p:nvSpPr>
        <p:spPr>
          <a:xfrm>
            <a:off x="5535155" y="5977237"/>
            <a:ext cx="2106930" cy="324485"/>
          </a:xfrm>
          <a:prstGeom prst="rect">
            <a:avLst/>
          </a:prstGeom>
        </p:spPr>
        <p:txBody>
          <a:bodyPr vert="horz" wrap="square" lIns="0" tIns="13970" rIns="0" bIns="0" rtlCol="0">
            <a:spAutoFit/>
          </a:bodyPr>
          <a:lstStyle/>
          <a:p>
            <a:pPr marL="12700">
              <a:lnSpc>
                <a:spcPct val="100000"/>
              </a:lnSpc>
              <a:spcBef>
                <a:spcPts val="110"/>
              </a:spcBef>
            </a:pPr>
            <a:r>
              <a:rPr sz="1950" dirty="0">
                <a:solidFill>
                  <a:srgbClr val="737373"/>
                </a:solidFill>
                <a:latin typeface="Roboto"/>
                <a:cs typeface="Roboto"/>
              </a:rPr>
              <a:t>Nombre</a:t>
            </a:r>
            <a:r>
              <a:rPr sz="1950" spc="-45" dirty="0">
                <a:solidFill>
                  <a:srgbClr val="737373"/>
                </a:solidFill>
                <a:latin typeface="Roboto"/>
                <a:cs typeface="Roboto"/>
              </a:rPr>
              <a:t> </a:t>
            </a:r>
            <a:r>
              <a:rPr sz="1950" spc="-10" dirty="0">
                <a:solidFill>
                  <a:srgbClr val="737373"/>
                </a:solidFill>
                <a:latin typeface="Roboto"/>
                <a:cs typeface="Roboto"/>
              </a:rPr>
              <a:t>propuesto</a:t>
            </a:r>
            <a:endParaRPr sz="1950">
              <a:latin typeface="Roboto"/>
              <a:cs typeface="Roboto"/>
            </a:endParaRPr>
          </a:p>
        </p:txBody>
      </p:sp>
      <p:sp>
        <p:nvSpPr>
          <p:cNvPr id="18" name="object 18"/>
          <p:cNvSpPr txBox="1"/>
          <p:nvPr/>
        </p:nvSpPr>
        <p:spPr>
          <a:xfrm>
            <a:off x="1173846" y="7222561"/>
            <a:ext cx="368300" cy="1284605"/>
          </a:xfrm>
          <a:prstGeom prst="rect">
            <a:avLst/>
          </a:prstGeom>
        </p:spPr>
        <p:txBody>
          <a:bodyPr vert="vert270" wrap="square" lIns="0" tIns="0" rIns="0" bIns="0" rtlCol="0">
            <a:spAutoFit/>
          </a:bodyPr>
          <a:lstStyle/>
          <a:p>
            <a:pPr marL="12700">
              <a:lnSpc>
                <a:spcPts val="2470"/>
              </a:lnSpc>
            </a:pPr>
            <a:r>
              <a:rPr sz="2150" b="1" spc="35" dirty="0">
                <a:solidFill>
                  <a:srgbClr val="FFFFFF"/>
                </a:solidFill>
                <a:latin typeface="Arial"/>
                <a:cs typeface="Arial"/>
              </a:rPr>
              <a:t>DESTINO</a:t>
            </a:r>
            <a:endParaRPr sz="2150">
              <a:latin typeface="Arial"/>
              <a:cs typeface="Arial"/>
            </a:endParaRPr>
          </a:p>
        </p:txBody>
      </p:sp>
      <p:sp>
        <p:nvSpPr>
          <p:cNvPr id="19" name="object 19"/>
          <p:cNvSpPr/>
          <p:nvPr/>
        </p:nvSpPr>
        <p:spPr>
          <a:xfrm>
            <a:off x="9698821" y="6498085"/>
            <a:ext cx="589915" cy="2625725"/>
          </a:xfrm>
          <a:custGeom>
            <a:avLst/>
            <a:gdLst/>
            <a:ahLst/>
            <a:cxnLst/>
            <a:rect l="l" t="t" r="r" b="b"/>
            <a:pathLst>
              <a:path w="589915" h="2625725">
                <a:moveTo>
                  <a:pt x="589467" y="0"/>
                </a:moveTo>
                <a:lnTo>
                  <a:pt x="589467" y="2625097"/>
                </a:lnTo>
                <a:lnTo>
                  <a:pt x="0" y="2625097"/>
                </a:lnTo>
                <a:lnTo>
                  <a:pt x="0" y="0"/>
                </a:lnTo>
                <a:lnTo>
                  <a:pt x="589467" y="0"/>
                </a:lnTo>
                <a:close/>
              </a:path>
            </a:pathLst>
          </a:custGeom>
          <a:solidFill>
            <a:srgbClr val="E3112B"/>
          </a:solidFill>
        </p:spPr>
        <p:txBody>
          <a:bodyPr wrap="square" lIns="0" tIns="0" rIns="0" bIns="0" rtlCol="0"/>
          <a:lstStyle/>
          <a:p>
            <a:endParaRPr/>
          </a:p>
        </p:txBody>
      </p:sp>
      <p:grpSp>
        <p:nvGrpSpPr>
          <p:cNvPr id="20" name="object 20"/>
          <p:cNvGrpSpPr/>
          <p:nvPr/>
        </p:nvGrpSpPr>
        <p:grpSpPr>
          <a:xfrm>
            <a:off x="13168540" y="6499702"/>
            <a:ext cx="4095115" cy="1014094"/>
            <a:chOff x="13168540" y="6499702"/>
            <a:chExt cx="4095115" cy="1014094"/>
          </a:xfrm>
        </p:grpSpPr>
        <p:sp>
          <p:nvSpPr>
            <p:cNvPr id="21" name="object 21"/>
            <p:cNvSpPr/>
            <p:nvPr/>
          </p:nvSpPr>
          <p:spPr>
            <a:xfrm>
              <a:off x="13168579" y="6499780"/>
              <a:ext cx="4095115" cy="1014094"/>
            </a:xfrm>
            <a:custGeom>
              <a:avLst/>
              <a:gdLst/>
              <a:ahLst/>
              <a:cxnLst/>
              <a:rect l="l" t="t" r="r" b="b"/>
              <a:pathLst>
                <a:path w="4095115" h="1014095">
                  <a:moveTo>
                    <a:pt x="4094837" y="1013884"/>
                  </a:moveTo>
                  <a:lnTo>
                    <a:pt x="0" y="1013884"/>
                  </a:lnTo>
                  <a:lnTo>
                    <a:pt x="0" y="0"/>
                  </a:lnTo>
                  <a:lnTo>
                    <a:pt x="4094837" y="0"/>
                  </a:lnTo>
                  <a:lnTo>
                    <a:pt x="4094837" y="1013884"/>
                  </a:lnTo>
                  <a:close/>
                </a:path>
              </a:pathLst>
            </a:custGeom>
            <a:solidFill>
              <a:srgbClr val="0090AE">
                <a:alpha val="64709"/>
              </a:srgbClr>
            </a:solidFill>
          </p:spPr>
          <p:txBody>
            <a:bodyPr wrap="square" lIns="0" tIns="0" rIns="0" bIns="0" rtlCol="0"/>
            <a:lstStyle/>
            <a:p>
              <a:endParaRPr/>
            </a:p>
          </p:txBody>
        </p:sp>
        <p:sp>
          <p:nvSpPr>
            <p:cNvPr id="22" name="object 22"/>
            <p:cNvSpPr/>
            <p:nvPr/>
          </p:nvSpPr>
          <p:spPr>
            <a:xfrm>
              <a:off x="13168540" y="6499702"/>
              <a:ext cx="701675" cy="1012190"/>
            </a:xfrm>
            <a:custGeom>
              <a:avLst/>
              <a:gdLst/>
              <a:ahLst/>
              <a:cxnLst/>
              <a:rect l="l" t="t" r="r" b="b"/>
              <a:pathLst>
                <a:path w="701675" h="1012190">
                  <a:moveTo>
                    <a:pt x="701473" y="505752"/>
                  </a:moveTo>
                  <a:lnTo>
                    <a:pt x="701473" y="505965"/>
                  </a:lnTo>
                  <a:lnTo>
                    <a:pt x="0" y="1011702"/>
                  </a:lnTo>
                  <a:lnTo>
                    <a:pt x="11" y="0"/>
                  </a:lnTo>
                  <a:lnTo>
                    <a:pt x="701473" y="505752"/>
                  </a:lnTo>
                  <a:close/>
                </a:path>
              </a:pathLst>
            </a:custGeom>
            <a:solidFill>
              <a:srgbClr val="21408B">
                <a:alpha val="66668"/>
              </a:srgbClr>
            </a:solidFill>
          </p:spPr>
          <p:txBody>
            <a:bodyPr wrap="square" lIns="0" tIns="0" rIns="0" bIns="0" rtlCol="0"/>
            <a:lstStyle/>
            <a:p>
              <a:endParaRPr/>
            </a:p>
          </p:txBody>
        </p:sp>
      </p:grpSp>
      <p:grpSp>
        <p:nvGrpSpPr>
          <p:cNvPr id="23" name="object 23"/>
          <p:cNvGrpSpPr/>
          <p:nvPr/>
        </p:nvGrpSpPr>
        <p:grpSpPr>
          <a:xfrm>
            <a:off x="13168540" y="8109428"/>
            <a:ext cx="4095115" cy="1014094"/>
            <a:chOff x="13168540" y="8109428"/>
            <a:chExt cx="4095115" cy="1014094"/>
          </a:xfrm>
        </p:grpSpPr>
        <p:sp>
          <p:nvSpPr>
            <p:cNvPr id="24" name="object 24"/>
            <p:cNvSpPr/>
            <p:nvPr/>
          </p:nvSpPr>
          <p:spPr>
            <a:xfrm>
              <a:off x="13168579" y="8109428"/>
              <a:ext cx="4095115" cy="1014094"/>
            </a:xfrm>
            <a:custGeom>
              <a:avLst/>
              <a:gdLst/>
              <a:ahLst/>
              <a:cxnLst/>
              <a:rect l="l" t="t" r="r" b="b"/>
              <a:pathLst>
                <a:path w="4095115" h="1014095">
                  <a:moveTo>
                    <a:pt x="4094837" y="1013884"/>
                  </a:moveTo>
                  <a:lnTo>
                    <a:pt x="0" y="1013884"/>
                  </a:lnTo>
                  <a:lnTo>
                    <a:pt x="0" y="0"/>
                  </a:lnTo>
                  <a:lnTo>
                    <a:pt x="4094837" y="0"/>
                  </a:lnTo>
                  <a:lnTo>
                    <a:pt x="4094837" y="1013884"/>
                  </a:lnTo>
                  <a:close/>
                </a:path>
              </a:pathLst>
            </a:custGeom>
            <a:solidFill>
              <a:srgbClr val="0090AE">
                <a:alpha val="64709"/>
              </a:srgbClr>
            </a:solidFill>
          </p:spPr>
          <p:txBody>
            <a:bodyPr wrap="square" lIns="0" tIns="0" rIns="0" bIns="0" rtlCol="0"/>
            <a:lstStyle/>
            <a:p>
              <a:endParaRPr/>
            </a:p>
          </p:txBody>
        </p:sp>
        <p:sp>
          <p:nvSpPr>
            <p:cNvPr id="25" name="object 25"/>
            <p:cNvSpPr/>
            <p:nvPr/>
          </p:nvSpPr>
          <p:spPr>
            <a:xfrm>
              <a:off x="13168540" y="8111489"/>
              <a:ext cx="701675" cy="1012190"/>
            </a:xfrm>
            <a:custGeom>
              <a:avLst/>
              <a:gdLst/>
              <a:ahLst/>
              <a:cxnLst/>
              <a:rect l="l" t="t" r="r" b="b"/>
              <a:pathLst>
                <a:path w="701675" h="1012190">
                  <a:moveTo>
                    <a:pt x="701473" y="505752"/>
                  </a:moveTo>
                  <a:lnTo>
                    <a:pt x="701473" y="505965"/>
                  </a:lnTo>
                  <a:lnTo>
                    <a:pt x="0" y="1011702"/>
                  </a:lnTo>
                  <a:lnTo>
                    <a:pt x="11" y="0"/>
                  </a:lnTo>
                  <a:lnTo>
                    <a:pt x="701473" y="505752"/>
                  </a:lnTo>
                  <a:close/>
                </a:path>
              </a:pathLst>
            </a:custGeom>
            <a:solidFill>
              <a:srgbClr val="21408B">
                <a:alpha val="66668"/>
              </a:srgbClr>
            </a:solidFill>
          </p:spPr>
          <p:txBody>
            <a:bodyPr wrap="square" lIns="0" tIns="0" rIns="0" bIns="0" rtlCol="0"/>
            <a:lstStyle/>
            <a:p>
              <a:endParaRPr/>
            </a:p>
          </p:txBody>
        </p:sp>
      </p:grpSp>
      <p:sp>
        <p:nvSpPr>
          <p:cNvPr id="26" name="object 26"/>
          <p:cNvSpPr txBox="1"/>
          <p:nvPr/>
        </p:nvSpPr>
        <p:spPr>
          <a:xfrm>
            <a:off x="10895588" y="5977237"/>
            <a:ext cx="1660525" cy="324485"/>
          </a:xfrm>
          <a:prstGeom prst="rect">
            <a:avLst/>
          </a:prstGeom>
        </p:spPr>
        <p:txBody>
          <a:bodyPr vert="horz" wrap="square" lIns="0" tIns="13970" rIns="0" bIns="0" rtlCol="0">
            <a:spAutoFit/>
          </a:bodyPr>
          <a:lstStyle/>
          <a:p>
            <a:pPr marL="12700">
              <a:lnSpc>
                <a:spcPct val="100000"/>
              </a:lnSpc>
              <a:spcBef>
                <a:spcPts val="110"/>
              </a:spcBef>
            </a:pPr>
            <a:r>
              <a:rPr sz="1950" dirty="0">
                <a:solidFill>
                  <a:srgbClr val="737373"/>
                </a:solidFill>
                <a:latin typeface="Roboto"/>
                <a:cs typeface="Roboto"/>
              </a:rPr>
              <a:t>Nombre</a:t>
            </a:r>
            <a:r>
              <a:rPr sz="1950" spc="-45" dirty="0">
                <a:solidFill>
                  <a:srgbClr val="737373"/>
                </a:solidFill>
                <a:latin typeface="Roboto"/>
                <a:cs typeface="Roboto"/>
              </a:rPr>
              <a:t> </a:t>
            </a:r>
            <a:r>
              <a:rPr sz="1950" spc="-10" dirty="0">
                <a:solidFill>
                  <a:srgbClr val="737373"/>
                </a:solidFill>
                <a:latin typeface="Roboto"/>
                <a:cs typeface="Roboto"/>
              </a:rPr>
              <a:t>actual</a:t>
            </a:r>
            <a:endParaRPr sz="1950">
              <a:latin typeface="Roboto"/>
              <a:cs typeface="Roboto"/>
            </a:endParaRPr>
          </a:p>
        </p:txBody>
      </p:sp>
      <p:sp>
        <p:nvSpPr>
          <p:cNvPr id="27" name="object 27"/>
          <p:cNvSpPr txBox="1"/>
          <p:nvPr/>
        </p:nvSpPr>
        <p:spPr>
          <a:xfrm>
            <a:off x="10283807" y="6499780"/>
            <a:ext cx="2884805" cy="1014094"/>
          </a:xfrm>
          <a:prstGeom prst="rect">
            <a:avLst/>
          </a:prstGeom>
          <a:solidFill>
            <a:srgbClr val="0090AE"/>
          </a:solidFill>
        </p:spPr>
        <p:txBody>
          <a:bodyPr vert="horz" wrap="square" lIns="0" tIns="1270" rIns="0" bIns="0" rtlCol="0">
            <a:spAutoFit/>
          </a:bodyPr>
          <a:lstStyle/>
          <a:p>
            <a:pPr>
              <a:lnSpc>
                <a:spcPct val="100000"/>
              </a:lnSpc>
              <a:spcBef>
                <a:spcPts val="10"/>
              </a:spcBef>
            </a:pPr>
            <a:endParaRPr sz="2700">
              <a:latin typeface="Times New Roman"/>
              <a:cs typeface="Times New Roman"/>
            </a:endParaRPr>
          </a:p>
          <a:p>
            <a:pPr marL="715645">
              <a:lnSpc>
                <a:spcPct val="100000"/>
              </a:lnSpc>
            </a:pPr>
            <a:r>
              <a:rPr sz="1800" spc="-10" dirty="0">
                <a:solidFill>
                  <a:srgbClr val="FFFFFF"/>
                </a:solidFill>
                <a:latin typeface="Roboto"/>
                <a:cs typeface="Roboto"/>
              </a:rPr>
              <a:t>NATURALEZA</a:t>
            </a:r>
            <a:endParaRPr sz="1800">
              <a:latin typeface="Roboto"/>
              <a:cs typeface="Roboto"/>
            </a:endParaRPr>
          </a:p>
        </p:txBody>
      </p:sp>
      <p:sp>
        <p:nvSpPr>
          <p:cNvPr id="28" name="object 28"/>
          <p:cNvSpPr txBox="1"/>
          <p:nvPr/>
        </p:nvSpPr>
        <p:spPr>
          <a:xfrm>
            <a:off x="10283807" y="8109428"/>
            <a:ext cx="2884805" cy="1014094"/>
          </a:xfrm>
          <a:prstGeom prst="rect">
            <a:avLst/>
          </a:prstGeom>
          <a:solidFill>
            <a:srgbClr val="0090AE"/>
          </a:solidFill>
        </p:spPr>
        <p:txBody>
          <a:bodyPr vert="horz" wrap="square" lIns="0" tIns="2540" rIns="0" bIns="0" rtlCol="0">
            <a:spAutoFit/>
          </a:bodyPr>
          <a:lstStyle/>
          <a:p>
            <a:pPr>
              <a:lnSpc>
                <a:spcPct val="100000"/>
              </a:lnSpc>
              <a:spcBef>
                <a:spcPts val="20"/>
              </a:spcBef>
            </a:pPr>
            <a:endParaRPr sz="2550">
              <a:latin typeface="Times New Roman"/>
              <a:cs typeface="Times New Roman"/>
            </a:endParaRPr>
          </a:p>
          <a:p>
            <a:pPr marL="930910">
              <a:lnSpc>
                <a:spcPct val="100000"/>
              </a:lnSpc>
            </a:pPr>
            <a:r>
              <a:rPr sz="1800" spc="-10" dirty="0">
                <a:solidFill>
                  <a:srgbClr val="FFFFFF"/>
                </a:solidFill>
                <a:latin typeface="Roboto"/>
                <a:cs typeface="Roboto"/>
              </a:rPr>
              <a:t>CULTURA</a:t>
            </a:r>
            <a:endParaRPr sz="1800">
              <a:latin typeface="Roboto"/>
              <a:cs typeface="Roboto"/>
            </a:endParaRPr>
          </a:p>
        </p:txBody>
      </p:sp>
      <p:sp>
        <p:nvSpPr>
          <p:cNvPr id="29" name="object 29"/>
          <p:cNvSpPr txBox="1"/>
          <p:nvPr/>
        </p:nvSpPr>
        <p:spPr>
          <a:xfrm>
            <a:off x="13168579" y="6499780"/>
            <a:ext cx="4095115" cy="1014094"/>
          </a:xfrm>
          <a:prstGeom prst="rect">
            <a:avLst/>
          </a:prstGeom>
        </p:spPr>
        <p:txBody>
          <a:bodyPr vert="horz" wrap="square" lIns="0" tIns="184785" rIns="0" bIns="0" rtlCol="0">
            <a:spAutoFit/>
          </a:bodyPr>
          <a:lstStyle/>
          <a:p>
            <a:pPr marL="541655" algn="ctr">
              <a:lnSpc>
                <a:spcPct val="100000"/>
              </a:lnSpc>
              <a:spcBef>
                <a:spcPts val="1455"/>
              </a:spcBef>
            </a:pPr>
            <a:r>
              <a:rPr sz="1800" spc="-20" dirty="0">
                <a:solidFill>
                  <a:srgbClr val="FFFFFF"/>
                </a:solidFill>
                <a:latin typeface="Roboto"/>
                <a:cs typeface="Roboto"/>
              </a:rPr>
              <a:t>NATURALEZA</a:t>
            </a:r>
            <a:r>
              <a:rPr sz="1800" spc="-35" dirty="0">
                <a:solidFill>
                  <a:srgbClr val="FFFFFF"/>
                </a:solidFill>
                <a:latin typeface="Roboto"/>
                <a:cs typeface="Roboto"/>
              </a:rPr>
              <a:t> </a:t>
            </a:r>
            <a:r>
              <a:rPr sz="1800" spc="-50" dirty="0">
                <a:solidFill>
                  <a:srgbClr val="FFFFFF"/>
                </a:solidFill>
                <a:latin typeface="Roboto"/>
                <a:cs typeface="Roboto"/>
              </a:rPr>
              <a:t>Y</a:t>
            </a:r>
            <a:endParaRPr sz="1800">
              <a:latin typeface="Roboto"/>
              <a:cs typeface="Roboto"/>
            </a:endParaRPr>
          </a:p>
          <a:p>
            <a:pPr marL="541655" algn="ctr">
              <a:lnSpc>
                <a:spcPct val="100000"/>
              </a:lnSpc>
              <a:spcBef>
                <a:spcPts val="315"/>
              </a:spcBef>
            </a:pPr>
            <a:r>
              <a:rPr sz="1800" b="1" u="heavy" spc="-20" dirty="0">
                <a:solidFill>
                  <a:srgbClr val="FFFFFF"/>
                </a:solidFill>
                <a:uFill>
                  <a:solidFill>
                    <a:srgbClr val="FFFFFF"/>
                  </a:solidFill>
                </a:uFill>
                <a:latin typeface="Roboto"/>
                <a:cs typeface="Roboto"/>
              </a:rPr>
              <a:t>PARQUES</a:t>
            </a:r>
            <a:r>
              <a:rPr sz="1800" b="1" u="heavy" spc="-45" dirty="0">
                <a:solidFill>
                  <a:srgbClr val="FFFFFF"/>
                </a:solidFill>
                <a:uFill>
                  <a:solidFill>
                    <a:srgbClr val="FFFFFF"/>
                  </a:solidFill>
                </a:uFill>
                <a:latin typeface="Roboto"/>
                <a:cs typeface="Roboto"/>
              </a:rPr>
              <a:t> </a:t>
            </a:r>
            <a:r>
              <a:rPr sz="1800" b="1" u="heavy" spc="-10" dirty="0">
                <a:solidFill>
                  <a:srgbClr val="FFFFFF"/>
                </a:solidFill>
                <a:uFill>
                  <a:solidFill>
                    <a:srgbClr val="FFFFFF"/>
                  </a:solidFill>
                </a:uFill>
                <a:latin typeface="Roboto"/>
                <a:cs typeface="Roboto"/>
              </a:rPr>
              <a:t>NACIONALES</a:t>
            </a:r>
            <a:endParaRPr sz="1800">
              <a:latin typeface="Roboto"/>
              <a:cs typeface="Roboto"/>
            </a:endParaRPr>
          </a:p>
        </p:txBody>
      </p:sp>
      <p:sp>
        <p:nvSpPr>
          <p:cNvPr id="30" name="object 30"/>
          <p:cNvSpPr txBox="1"/>
          <p:nvPr/>
        </p:nvSpPr>
        <p:spPr>
          <a:xfrm>
            <a:off x="13168579" y="8109428"/>
            <a:ext cx="4095115" cy="1014094"/>
          </a:xfrm>
          <a:prstGeom prst="rect">
            <a:avLst/>
          </a:prstGeom>
        </p:spPr>
        <p:txBody>
          <a:bodyPr vert="horz" wrap="square" lIns="0" tIns="200660" rIns="0" bIns="0" rtlCol="0">
            <a:spAutoFit/>
          </a:bodyPr>
          <a:lstStyle/>
          <a:p>
            <a:pPr marL="694690" marR="145415" indent="375285">
              <a:lnSpc>
                <a:spcPct val="114599"/>
              </a:lnSpc>
              <a:spcBef>
                <a:spcPts val="1580"/>
              </a:spcBef>
            </a:pPr>
            <a:r>
              <a:rPr sz="1800" spc="-10" dirty="0">
                <a:solidFill>
                  <a:srgbClr val="FFFFFF"/>
                </a:solidFill>
                <a:latin typeface="Roboto"/>
                <a:cs typeface="Roboto"/>
              </a:rPr>
              <a:t>CULTURA,</a:t>
            </a:r>
            <a:r>
              <a:rPr sz="1800" spc="-95" dirty="0">
                <a:solidFill>
                  <a:srgbClr val="FFFFFF"/>
                </a:solidFill>
                <a:latin typeface="Roboto"/>
                <a:cs typeface="Roboto"/>
              </a:rPr>
              <a:t> </a:t>
            </a:r>
            <a:r>
              <a:rPr sz="1800" b="1" u="heavy" spc="-10" dirty="0">
                <a:solidFill>
                  <a:srgbClr val="FFFFFF"/>
                </a:solidFill>
                <a:uFill>
                  <a:solidFill>
                    <a:srgbClr val="FFFFFF"/>
                  </a:solidFill>
                </a:uFill>
                <a:latin typeface="Roboto"/>
                <a:cs typeface="Roboto"/>
              </a:rPr>
              <a:t>PATRIMONIO</a:t>
            </a:r>
            <a:r>
              <a:rPr sz="1800" b="1" spc="-10" dirty="0">
                <a:solidFill>
                  <a:srgbClr val="FFFFFF"/>
                </a:solidFill>
                <a:latin typeface="Roboto"/>
                <a:cs typeface="Roboto"/>
              </a:rPr>
              <a:t> </a:t>
            </a:r>
            <a:r>
              <a:rPr sz="1800" b="1" u="heavy" dirty="0">
                <a:solidFill>
                  <a:srgbClr val="FFFFFF"/>
                </a:solidFill>
                <a:uFill>
                  <a:solidFill>
                    <a:srgbClr val="FFFFFF"/>
                  </a:solidFill>
                </a:uFill>
                <a:latin typeface="Roboto"/>
                <a:cs typeface="Roboto"/>
              </a:rPr>
              <a:t>UNESCO</a:t>
            </a:r>
            <a:r>
              <a:rPr sz="1800" b="1" u="heavy" spc="-65" dirty="0">
                <a:solidFill>
                  <a:srgbClr val="FFFFFF"/>
                </a:solidFill>
                <a:uFill>
                  <a:solidFill>
                    <a:srgbClr val="FFFFFF"/>
                  </a:solidFill>
                </a:uFill>
                <a:latin typeface="Roboto"/>
                <a:cs typeface="Roboto"/>
              </a:rPr>
              <a:t> </a:t>
            </a:r>
            <a:r>
              <a:rPr sz="1800" b="1" u="heavy" dirty="0">
                <a:solidFill>
                  <a:srgbClr val="FFFFFF"/>
                </a:solidFill>
                <a:uFill>
                  <a:solidFill>
                    <a:srgbClr val="FFFFFF"/>
                  </a:solidFill>
                </a:uFill>
                <a:latin typeface="Roboto"/>
                <a:cs typeface="Roboto"/>
              </a:rPr>
              <a:t>Y</a:t>
            </a:r>
            <a:r>
              <a:rPr sz="1800" b="1" u="heavy" spc="-65" dirty="0">
                <a:solidFill>
                  <a:srgbClr val="FFFFFF"/>
                </a:solidFill>
                <a:uFill>
                  <a:solidFill>
                    <a:srgbClr val="FFFFFF"/>
                  </a:solidFill>
                </a:uFill>
                <a:latin typeface="Roboto"/>
                <a:cs typeface="Roboto"/>
              </a:rPr>
              <a:t> </a:t>
            </a:r>
            <a:r>
              <a:rPr sz="1800" b="1" u="heavy" dirty="0">
                <a:solidFill>
                  <a:srgbClr val="FFFFFF"/>
                </a:solidFill>
                <a:uFill>
                  <a:solidFill>
                    <a:srgbClr val="FFFFFF"/>
                  </a:solidFill>
                </a:uFill>
                <a:latin typeface="Roboto"/>
                <a:cs typeface="Roboto"/>
              </a:rPr>
              <a:t>TURISMO</a:t>
            </a:r>
            <a:r>
              <a:rPr sz="1800" b="1" u="heavy" spc="-65" dirty="0">
                <a:solidFill>
                  <a:srgbClr val="FFFFFF"/>
                </a:solidFill>
                <a:uFill>
                  <a:solidFill>
                    <a:srgbClr val="FFFFFF"/>
                  </a:solidFill>
                </a:uFill>
                <a:latin typeface="Roboto"/>
                <a:cs typeface="Roboto"/>
              </a:rPr>
              <a:t> </a:t>
            </a:r>
            <a:r>
              <a:rPr sz="1800" b="1" u="heavy" spc="-10" dirty="0">
                <a:solidFill>
                  <a:srgbClr val="FFFFFF"/>
                </a:solidFill>
                <a:uFill>
                  <a:solidFill>
                    <a:srgbClr val="FFFFFF"/>
                  </a:solidFill>
                </a:uFill>
                <a:latin typeface="Roboto"/>
                <a:cs typeface="Roboto"/>
              </a:rPr>
              <a:t>INDIGENA</a:t>
            </a:r>
            <a:endParaRPr sz="1800">
              <a:latin typeface="Roboto"/>
              <a:cs typeface="Roboto"/>
            </a:endParaRPr>
          </a:p>
        </p:txBody>
      </p:sp>
      <p:sp>
        <p:nvSpPr>
          <p:cNvPr id="31" name="object 31"/>
          <p:cNvSpPr txBox="1"/>
          <p:nvPr/>
        </p:nvSpPr>
        <p:spPr>
          <a:xfrm>
            <a:off x="14162747" y="5977237"/>
            <a:ext cx="2106930" cy="324485"/>
          </a:xfrm>
          <a:prstGeom prst="rect">
            <a:avLst/>
          </a:prstGeom>
        </p:spPr>
        <p:txBody>
          <a:bodyPr vert="horz" wrap="square" lIns="0" tIns="13970" rIns="0" bIns="0" rtlCol="0">
            <a:spAutoFit/>
          </a:bodyPr>
          <a:lstStyle/>
          <a:p>
            <a:pPr marL="12700">
              <a:lnSpc>
                <a:spcPct val="100000"/>
              </a:lnSpc>
              <a:spcBef>
                <a:spcPts val="110"/>
              </a:spcBef>
            </a:pPr>
            <a:r>
              <a:rPr sz="1950" dirty="0">
                <a:solidFill>
                  <a:srgbClr val="737373"/>
                </a:solidFill>
                <a:latin typeface="Roboto"/>
                <a:cs typeface="Roboto"/>
              </a:rPr>
              <a:t>Nombre</a:t>
            </a:r>
            <a:r>
              <a:rPr sz="1950" spc="-45" dirty="0">
                <a:solidFill>
                  <a:srgbClr val="737373"/>
                </a:solidFill>
                <a:latin typeface="Roboto"/>
                <a:cs typeface="Roboto"/>
              </a:rPr>
              <a:t> </a:t>
            </a:r>
            <a:r>
              <a:rPr sz="1950" spc="-10" dirty="0">
                <a:solidFill>
                  <a:srgbClr val="737373"/>
                </a:solidFill>
                <a:latin typeface="Roboto"/>
                <a:cs typeface="Roboto"/>
              </a:rPr>
              <a:t>propuesto</a:t>
            </a:r>
            <a:endParaRPr sz="1950">
              <a:latin typeface="Roboto"/>
              <a:cs typeface="Roboto"/>
            </a:endParaRPr>
          </a:p>
        </p:txBody>
      </p:sp>
      <p:sp>
        <p:nvSpPr>
          <p:cNvPr id="32" name="object 32"/>
          <p:cNvSpPr txBox="1"/>
          <p:nvPr/>
        </p:nvSpPr>
        <p:spPr>
          <a:xfrm>
            <a:off x="9830062" y="6976032"/>
            <a:ext cx="368300" cy="1915160"/>
          </a:xfrm>
          <a:prstGeom prst="rect">
            <a:avLst/>
          </a:prstGeom>
        </p:spPr>
        <p:txBody>
          <a:bodyPr vert="vert270" wrap="square" lIns="0" tIns="0" rIns="0" bIns="0" rtlCol="0">
            <a:spAutoFit/>
          </a:bodyPr>
          <a:lstStyle/>
          <a:p>
            <a:pPr marL="12700">
              <a:lnSpc>
                <a:spcPts val="2470"/>
              </a:lnSpc>
            </a:pPr>
            <a:r>
              <a:rPr sz="2150" b="1" spc="-10" dirty="0">
                <a:solidFill>
                  <a:srgbClr val="FFFFFF"/>
                </a:solidFill>
                <a:latin typeface="Arial"/>
                <a:cs typeface="Arial"/>
              </a:rPr>
              <a:t>EXPERIENCIA</a:t>
            </a:r>
            <a:endParaRPr sz="2150">
              <a:latin typeface="Arial"/>
              <a:cs typeface="Arial"/>
            </a:endParaRPr>
          </a:p>
        </p:txBody>
      </p:sp>
      <p:sp>
        <p:nvSpPr>
          <p:cNvPr id="33" name="object 33"/>
          <p:cNvSpPr txBox="1"/>
          <p:nvPr/>
        </p:nvSpPr>
        <p:spPr>
          <a:xfrm>
            <a:off x="637985" y="384148"/>
            <a:ext cx="5284470"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2.</a:t>
            </a:r>
            <a:r>
              <a:rPr sz="3000" spc="-85" dirty="0">
                <a:solidFill>
                  <a:srgbClr val="FFFFFF"/>
                </a:solidFill>
                <a:latin typeface="Roboto"/>
                <a:cs typeface="Roboto"/>
              </a:rPr>
              <a:t> </a:t>
            </a:r>
            <a:r>
              <a:rPr sz="3000" dirty="0">
                <a:solidFill>
                  <a:srgbClr val="FFFFFF"/>
                </a:solidFill>
                <a:latin typeface="Roboto"/>
                <a:cs typeface="Roboto"/>
              </a:rPr>
              <a:t>¿Cómo</a:t>
            </a:r>
            <a:r>
              <a:rPr sz="3000" spc="-75" dirty="0">
                <a:solidFill>
                  <a:srgbClr val="FFFFFF"/>
                </a:solidFill>
                <a:latin typeface="Roboto"/>
                <a:cs typeface="Roboto"/>
              </a:rPr>
              <a:t> </a:t>
            </a:r>
            <a:r>
              <a:rPr sz="3000" spc="-10" dirty="0">
                <a:solidFill>
                  <a:srgbClr val="FFFFFF"/>
                </a:solidFill>
                <a:latin typeface="Roboto"/>
                <a:cs typeface="Roboto"/>
              </a:rPr>
              <a:t>recuperar</a:t>
            </a:r>
            <a:r>
              <a:rPr sz="3000" spc="-75" dirty="0">
                <a:solidFill>
                  <a:srgbClr val="FFFFFF"/>
                </a:solidFill>
                <a:latin typeface="Roboto"/>
                <a:cs typeface="Roboto"/>
              </a:rPr>
              <a:t> </a:t>
            </a:r>
            <a:r>
              <a:rPr sz="3000" spc="-10" dirty="0">
                <a:solidFill>
                  <a:srgbClr val="FFFFFF"/>
                </a:solidFill>
                <a:latin typeface="Roboto"/>
                <a:cs typeface="Roboto"/>
              </a:rPr>
              <a:t>volumen?</a:t>
            </a:r>
            <a:endParaRPr sz="3000">
              <a:latin typeface="Roboto"/>
              <a:cs typeface="Roboto"/>
            </a:endParaRPr>
          </a:p>
        </p:txBody>
      </p:sp>
      <p:sp>
        <p:nvSpPr>
          <p:cNvPr id="34" name="object 34"/>
          <p:cNvSpPr txBox="1">
            <a:spLocks noGrp="1"/>
          </p:cNvSpPr>
          <p:nvPr>
            <p:ph type="title"/>
          </p:nvPr>
        </p:nvSpPr>
        <p:spPr>
          <a:xfrm>
            <a:off x="3993769" y="2735001"/>
            <a:ext cx="10668635" cy="643890"/>
          </a:xfrm>
          <a:prstGeom prst="rect">
            <a:avLst/>
          </a:prstGeom>
        </p:spPr>
        <p:txBody>
          <a:bodyPr vert="horz" wrap="square" lIns="0" tIns="13335" rIns="0" bIns="0" rtlCol="0">
            <a:spAutoFit/>
          </a:bodyPr>
          <a:lstStyle/>
          <a:p>
            <a:pPr marL="12700">
              <a:lnSpc>
                <a:spcPct val="100000"/>
              </a:lnSpc>
              <a:spcBef>
                <a:spcPts val="105"/>
              </a:spcBef>
              <a:tabLst>
                <a:tab pos="1307465" algn="l"/>
              </a:tabLst>
            </a:pPr>
            <a:r>
              <a:rPr sz="4050" b="1" spc="-25" dirty="0">
                <a:latin typeface="Arial"/>
                <a:cs typeface="Arial"/>
              </a:rPr>
              <a:t>01</a:t>
            </a:r>
            <a:r>
              <a:rPr sz="4050" b="1" dirty="0">
                <a:latin typeface="Arial"/>
                <a:cs typeface="Arial"/>
              </a:rPr>
              <a:t>	</a:t>
            </a:r>
            <a:r>
              <a:rPr sz="4050" spc="-10" dirty="0">
                <a:solidFill>
                  <a:srgbClr val="E3112B"/>
                </a:solidFill>
              </a:rPr>
              <a:t>Desarrollo</a:t>
            </a:r>
            <a:r>
              <a:rPr sz="4050" spc="-110" dirty="0">
                <a:solidFill>
                  <a:srgbClr val="E3112B"/>
                </a:solidFill>
              </a:rPr>
              <a:t> </a:t>
            </a:r>
            <a:r>
              <a:rPr sz="4050" dirty="0">
                <a:solidFill>
                  <a:srgbClr val="E3112B"/>
                </a:solidFill>
              </a:rPr>
              <a:t>del</a:t>
            </a:r>
            <a:r>
              <a:rPr sz="4050" spc="-110" dirty="0">
                <a:solidFill>
                  <a:srgbClr val="E3112B"/>
                </a:solidFill>
              </a:rPr>
              <a:t> </a:t>
            </a:r>
            <a:r>
              <a:rPr sz="4050" b="1" dirty="0">
                <a:solidFill>
                  <a:srgbClr val="E3112B"/>
                </a:solidFill>
                <a:latin typeface="Roboto"/>
                <a:cs typeface="Roboto"/>
              </a:rPr>
              <a:t>branding</a:t>
            </a:r>
            <a:r>
              <a:rPr sz="4050" b="1" spc="-110" dirty="0">
                <a:solidFill>
                  <a:srgbClr val="E3112B"/>
                </a:solidFill>
                <a:latin typeface="Roboto"/>
                <a:cs typeface="Roboto"/>
              </a:rPr>
              <a:t> </a:t>
            </a:r>
            <a:r>
              <a:rPr sz="4050" b="1" dirty="0">
                <a:solidFill>
                  <a:srgbClr val="E3112B"/>
                </a:solidFill>
                <a:latin typeface="Roboto"/>
                <a:cs typeface="Roboto"/>
              </a:rPr>
              <a:t>turístico</a:t>
            </a:r>
            <a:r>
              <a:rPr sz="4050" b="1" spc="-110" dirty="0">
                <a:solidFill>
                  <a:srgbClr val="E3112B"/>
                </a:solidFill>
                <a:latin typeface="Roboto"/>
                <a:cs typeface="Roboto"/>
              </a:rPr>
              <a:t> </a:t>
            </a:r>
            <a:r>
              <a:rPr sz="4050" dirty="0">
                <a:solidFill>
                  <a:srgbClr val="E3112B"/>
                </a:solidFill>
              </a:rPr>
              <a:t>de</a:t>
            </a:r>
            <a:r>
              <a:rPr sz="4050" spc="-110" dirty="0">
                <a:solidFill>
                  <a:srgbClr val="E3112B"/>
                </a:solidFill>
              </a:rPr>
              <a:t> </a:t>
            </a:r>
            <a:r>
              <a:rPr sz="4050" spc="-10" dirty="0">
                <a:solidFill>
                  <a:srgbClr val="E3112B"/>
                </a:solidFill>
              </a:rPr>
              <a:t>Chile</a:t>
            </a:r>
            <a:endParaRPr sz="4050">
              <a:latin typeface="Roboto"/>
              <a:cs typeface="Roboto"/>
            </a:endParaRPr>
          </a:p>
        </p:txBody>
      </p:sp>
      <p:pic>
        <p:nvPicPr>
          <p:cNvPr id="35" name="object 35"/>
          <p:cNvPicPr/>
          <p:nvPr/>
        </p:nvPicPr>
        <p:blipFill>
          <a:blip r:embed="rId2" cstate="print"/>
          <a:stretch>
            <a:fillRect/>
          </a:stretch>
        </p:blipFill>
        <p:spPr>
          <a:xfrm>
            <a:off x="1614702" y="4575385"/>
            <a:ext cx="142874" cy="142874"/>
          </a:xfrm>
          <a:prstGeom prst="rect">
            <a:avLst/>
          </a:prstGeom>
        </p:spPr>
      </p:pic>
      <p:sp>
        <p:nvSpPr>
          <p:cNvPr id="36" name="object 36"/>
          <p:cNvSpPr txBox="1"/>
          <p:nvPr/>
        </p:nvSpPr>
        <p:spPr>
          <a:xfrm>
            <a:off x="1940884" y="4320750"/>
            <a:ext cx="15125700" cy="567690"/>
          </a:xfrm>
          <a:prstGeom prst="rect">
            <a:avLst/>
          </a:prstGeom>
        </p:spPr>
        <p:txBody>
          <a:bodyPr vert="horz" wrap="square" lIns="0" tIns="13335" rIns="0" bIns="0" rtlCol="0">
            <a:spAutoFit/>
          </a:bodyPr>
          <a:lstStyle/>
          <a:p>
            <a:pPr marL="12700">
              <a:lnSpc>
                <a:spcPct val="100000"/>
              </a:lnSpc>
              <a:spcBef>
                <a:spcPts val="105"/>
              </a:spcBef>
            </a:pPr>
            <a:r>
              <a:rPr sz="3550" spc="-25" dirty="0">
                <a:solidFill>
                  <a:srgbClr val="737373"/>
                </a:solidFill>
                <a:latin typeface="Roboto"/>
                <a:cs typeface="Roboto"/>
              </a:rPr>
              <a:t>Simplificar</a:t>
            </a:r>
            <a:r>
              <a:rPr sz="3550" spc="-135" dirty="0">
                <a:solidFill>
                  <a:srgbClr val="737373"/>
                </a:solidFill>
                <a:latin typeface="Roboto"/>
                <a:cs typeface="Roboto"/>
              </a:rPr>
              <a:t> </a:t>
            </a:r>
            <a:r>
              <a:rPr sz="3550" dirty="0">
                <a:solidFill>
                  <a:srgbClr val="737373"/>
                </a:solidFill>
                <a:latin typeface="Roboto"/>
                <a:cs typeface="Roboto"/>
              </a:rPr>
              <a:t>y</a:t>
            </a:r>
            <a:r>
              <a:rPr sz="3550" spc="-130" dirty="0">
                <a:solidFill>
                  <a:srgbClr val="737373"/>
                </a:solidFill>
                <a:latin typeface="Roboto"/>
                <a:cs typeface="Roboto"/>
              </a:rPr>
              <a:t> </a:t>
            </a:r>
            <a:r>
              <a:rPr sz="3550" spc="-20" dirty="0">
                <a:solidFill>
                  <a:srgbClr val="737373"/>
                </a:solidFill>
                <a:latin typeface="Roboto"/>
                <a:cs typeface="Roboto"/>
              </a:rPr>
              <a:t>facilitar</a:t>
            </a:r>
            <a:r>
              <a:rPr sz="3550" spc="-130" dirty="0">
                <a:solidFill>
                  <a:srgbClr val="737373"/>
                </a:solidFill>
                <a:latin typeface="Roboto"/>
                <a:cs typeface="Roboto"/>
              </a:rPr>
              <a:t> </a:t>
            </a:r>
            <a:r>
              <a:rPr sz="3550" dirty="0">
                <a:solidFill>
                  <a:srgbClr val="737373"/>
                </a:solidFill>
                <a:latin typeface="Roboto"/>
                <a:cs typeface="Roboto"/>
              </a:rPr>
              <a:t>nombres</a:t>
            </a:r>
            <a:r>
              <a:rPr sz="3550" spc="-130" dirty="0">
                <a:solidFill>
                  <a:srgbClr val="737373"/>
                </a:solidFill>
                <a:latin typeface="Roboto"/>
                <a:cs typeface="Roboto"/>
              </a:rPr>
              <a:t> </a:t>
            </a:r>
            <a:r>
              <a:rPr sz="3550" dirty="0">
                <a:solidFill>
                  <a:srgbClr val="737373"/>
                </a:solidFill>
                <a:latin typeface="Roboto"/>
                <a:cs typeface="Roboto"/>
              </a:rPr>
              <a:t>de</a:t>
            </a:r>
            <a:r>
              <a:rPr sz="3550" spc="-130" dirty="0">
                <a:solidFill>
                  <a:srgbClr val="737373"/>
                </a:solidFill>
                <a:latin typeface="Roboto"/>
                <a:cs typeface="Roboto"/>
              </a:rPr>
              <a:t> </a:t>
            </a:r>
            <a:r>
              <a:rPr sz="3550" spc="-20" dirty="0">
                <a:solidFill>
                  <a:srgbClr val="737373"/>
                </a:solidFill>
                <a:latin typeface="Roboto"/>
                <a:cs typeface="Roboto"/>
              </a:rPr>
              <a:t>destinos</a:t>
            </a:r>
            <a:r>
              <a:rPr sz="3550" spc="-130" dirty="0">
                <a:solidFill>
                  <a:srgbClr val="737373"/>
                </a:solidFill>
                <a:latin typeface="Roboto"/>
                <a:cs typeface="Roboto"/>
              </a:rPr>
              <a:t> </a:t>
            </a:r>
            <a:r>
              <a:rPr sz="3550" dirty="0">
                <a:solidFill>
                  <a:srgbClr val="737373"/>
                </a:solidFill>
                <a:latin typeface="Roboto"/>
                <a:cs typeface="Roboto"/>
              </a:rPr>
              <a:t>y</a:t>
            </a:r>
            <a:r>
              <a:rPr sz="3550" spc="-130" dirty="0">
                <a:solidFill>
                  <a:srgbClr val="737373"/>
                </a:solidFill>
                <a:latin typeface="Roboto"/>
                <a:cs typeface="Roboto"/>
              </a:rPr>
              <a:t> </a:t>
            </a:r>
            <a:r>
              <a:rPr sz="3550" spc="-20" dirty="0">
                <a:solidFill>
                  <a:srgbClr val="737373"/>
                </a:solidFill>
                <a:latin typeface="Roboto"/>
                <a:cs typeface="Roboto"/>
              </a:rPr>
              <a:t>experiencias</a:t>
            </a:r>
            <a:r>
              <a:rPr sz="3550" spc="-135" dirty="0">
                <a:solidFill>
                  <a:srgbClr val="737373"/>
                </a:solidFill>
                <a:latin typeface="Roboto"/>
                <a:cs typeface="Roboto"/>
              </a:rPr>
              <a:t> </a:t>
            </a:r>
            <a:r>
              <a:rPr sz="3550" spc="-10" dirty="0">
                <a:solidFill>
                  <a:srgbClr val="737373"/>
                </a:solidFill>
                <a:latin typeface="Roboto"/>
                <a:cs typeface="Roboto"/>
              </a:rPr>
              <a:t>(autoexplicativos)</a:t>
            </a:r>
            <a:endParaRPr sz="3550">
              <a:latin typeface="Roboto"/>
              <a:cs typeface="Roboto"/>
            </a:endParaRPr>
          </a:p>
        </p:txBody>
      </p:sp>
      <p:pic>
        <p:nvPicPr>
          <p:cNvPr id="37" name="object 37"/>
          <p:cNvPicPr/>
          <p:nvPr/>
        </p:nvPicPr>
        <p:blipFill>
          <a:blip r:embed="rId3" cstate="print"/>
          <a:stretch>
            <a:fillRect/>
          </a:stretch>
        </p:blipFill>
        <p:spPr>
          <a:xfrm>
            <a:off x="17316450" y="237491"/>
            <a:ext cx="742949" cy="819149"/>
          </a:xfrm>
          <a:prstGeom prst="rect">
            <a:avLst/>
          </a:prstGeom>
        </p:spPr>
      </p:pic>
      <p:sp>
        <p:nvSpPr>
          <p:cNvPr id="38" name="object 38"/>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39" name="object 39"/>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20</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1"/>
            <a:ext cx="17954625" cy="2088514"/>
          </a:xfrm>
          <a:custGeom>
            <a:avLst/>
            <a:gdLst/>
            <a:ahLst/>
            <a:cxnLst/>
            <a:rect l="l" t="t" r="r" b="b"/>
            <a:pathLst>
              <a:path w="17954625" h="2088514">
                <a:moveTo>
                  <a:pt x="0" y="2088262"/>
                </a:moveTo>
                <a:lnTo>
                  <a:pt x="17954029" y="2088262"/>
                </a:lnTo>
                <a:lnTo>
                  <a:pt x="17954029" y="0"/>
                </a:lnTo>
                <a:lnTo>
                  <a:pt x="0" y="0"/>
                </a:lnTo>
                <a:lnTo>
                  <a:pt x="0" y="2088262"/>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4"/>
            <a:ext cx="17954625" cy="2768600"/>
            <a:chOff x="166956" y="171494"/>
            <a:chExt cx="17954625" cy="2768600"/>
          </a:xfrm>
        </p:grpSpPr>
        <p:sp>
          <p:nvSpPr>
            <p:cNvPr id="4" name="object 4"/>
            <p:cNvSpPr/>
            <p:nvPr/>
          </p:nvSpPr>
          <p:spPr>
            <a:xfrm>
              <a:off x="166956" y="171494"/>
              <a:ext cx="17954625" cy="13335"/>
            </a:xfrm>
            <a:custGeom>
              <a:avLst/>
              <a:gdLst/>
              <a:ahLst/>
              <a:cxnLst/>
              <a:rect l="l" t="t" r="r" b="b"/>
              <a:pathLst>
                <a:path w="17954625" h="13335">
                  <a:moveTo>
                    <a:pt x="0" y="13334"/>
                  </a:moveTo>
                  <a:lnTo>
                    <a:pt x="17954029" y="13334"/>
                  </a:lnTo>
                  <a:lnTo>
                    <a:pt x="17954029" y="0"/>
                  </a:lnTo>
                  <a:lnTo>
                    <a:pt x="0" y="0"/>
                  </a:lnTo>
                  <a:lnTo>
                    <a:pt x="0" y="13334"/>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sp>
          <p:nvSpPr>
            <p:cNvPr id="6" name="object 6"/>
            <p:cNvSpPr/>
            <p:nvPr/>
          </p:nvSpPr>
          <p:spPr>
            <a:xfrm>
              <a:off x="2337195" y="1565704"/>
              <a:ext cx="1374775" cy="1374775"/>
            </a:xfrm>
            <a:custGeom>
              <a:avLst/>
              <a:gdLst/>
              <a:ahLst/>
              <a:cxnLst/>
              <a:rect l="l" t="t" r="r" b="b"/>
              <a:pathLst>
                <a:path w="1374775" h="1374775">
                  <a:moveTo>
                    <a:pt x="687149" y="1374286"/>
                  </a:moveTo>
                  <a:lnTo>
                    <a:pt x="640096" y="1372701"/>
                  </a:lnTo>
                  <a:lnTo>
                    <a:pt x="593901" y="1368013"/>
                  </a:lnTo>
                  <a:lnTo>
                    <a:pt x="548659" y="1360326"/>
                  </a:lnTo>
                  <a:lnTo>
                    <a:pt x="504473" y="1349740"/>
                  </a:lnTo>
                  <a:lnTo>
                    <a:pt x="461444" y="1336360"/>
                  </a:lnTo>
                  <a:lnTo>
                    <a:pt x="419675" y="1320287"/>
                  </a:lnTo>
                  <a:lnTo>
                    <a:pt x="379269" y="1301623"/>
                  </a:lnTo>
                  <a:lnTo>
                    <a:pt x="340328" y="1280471"/>
                  </a:lnTo>
                  <a:lnTo>
                    <a:pt x="302954" y="1256933"/>
                  </a:lnTo>
                  <a:lnTo>
                    <a:pt x="267250" y="1231111"/>
                  </a:lnTo>
                  <a:lnTo>
                    <a:pt x="233317" y="1203108"/>
                  </a:lnTo>
                  <a:lnTo>
                    <a:pt x="201259" y="1173026"/>
                  </a:lnTo>
                  <a:lnTo>
                    <a:pt x="171177" y="1140968"/>
                  </a:lnTo>
                  <a:lnTo>
                    <a:pt x="143174" y="1107035"/>
                  </a:lnTo>
                  <a:lnTo>
                    <a:pt x="117353" y="1071331"/>
                  </a:lnTo>
                  <a:lnTo>
                    <a:pt x="93814" y="1033957"/>
                  </a:lnTo>
                  <a:lnTo>
                    <a:pt x="72662" y="995016"/>
                  </a:lnTo>
                  <a:lnTo>
                    <a:pt x="53998" y="954610"/>
                  </a:lnTo>
                  <a:lnTo>
                    <a:pt x="37925" y="912841"/>
                  </a:lnTo>
                  <a:lnTo>
                    <a:pt x="24545" y="869813"/>
                  </a:lnTo>
                  <a:lnTo>
                    <a:pt x="13960" y="825626"/>
                  </a:lnTo>
                  <a:lnTo>
                    <a:pt x="6272" y="780384"/>
                  </a:lnTo>
                  <a:lnTo>
                    <a:pt x="1584" y="734189"/>
                  </a:lnTo>
                  <a:lnTo>
                    <a:pt x="0" y="687135"/>
                  </a:lnTo>
                  <a:lnTo>
                    <a:pt x="1584" y="640097"/>
                  </a:lnTo>
                  <a:lnTo>
                    <a:pt x="6272" y="593901"/>
                  </a:lnTo>
                  <a:lnTo>
                    <a:pt x="13960" y="548659"/>
                  </a:lnTo>
                  <a:lnTo>
                    <a:pt x="24545" y="504473"/>
                  </a:lnTo>
                  <a:lnTo>
                    <a:pt x="37925" y="461444"/>
                  </a:lnTo>
                  <a:lnTo>
                    <a:pt x="53998" y="419676"/>
                  </a:lnTo>
                  <a:lnTo>
                    <a:pt x="72662" y="379270"/>
                  </a:lnTo>
                  <a:lnTo>
                    <a:pt x="93814" y="340328"/>
                  </a:lnTo>
                  <a:lnTo>
                    <a:pt x="117353" y="302954"/>
                  </a:lnTo>
                  <a:lnTo>
                    <a:pt x="143174" y="267250"/>
                  </a:lnTo>
                  <a:lnTo>
                    <a:pt x="171177" y="233317"/>
                  </a:lnTo>
                  <a:lnTo>
                    <a:pt x="201259" y="201259"/>
                  </a:lnTo>
                  <a:lnTo>
                    <a:pt x="233317" y="171177"/>
                  </a:lnTo>
                  <a:lnTo>
                    <a:pt x="267250" y="143174"/>
                  </a:lnTo>
                  <a:lnTo>
                    <a:pt x="302954" y="117353"/>
                  </a:lnTo>
                  <a:lnTo>
                    <a:pt x="340328" y="93815"/>
                  </a:lnTo>
                  <a:lnTo>
                    <a:pt x="379269" y="72663"/>
                  </a:lnTo>
                  <a:lnTo>
                    <a:pt x="419675" y="53999"/>
                  </a:lnTo>
                  <a:lnTo>
                    <a:pt x="461444" y="37925"/>
                  </a:lnTo>
                  <a:lnTo>
                    <a:pt x="504473" y="24545"/>
                  </a:lnTo>
                  <a:lnTo>
                    <a:pt x="548659" y="13960"/>
                  </a:lnTo>
                  <a:lnTo>
                    <a:pt x="593901" y="6272"/>
                  </a:lnTo>
                  <a:lnTo>
                    <a:pt x="640096" y="1585"/>
                  </a:lnTo>
                  <a:lnTo>
                    <a:pt x="687142" y="0"/>
                  </a:lnTo>
                  <a:lnTo>
                    <a:pt x="734188" y="1585"/>
                  </a:lnTo>
                  <a:lnTo>
                    <a:pt x="780384" y="6272"/>
                  </a:lnTo>
                  <a:lnTo>
                    <a:pt x="825626" y="13960"/>
                  </a:lnTo>
                  <a:lnTo>
                    <a:pt x="869812" y="24545"/>
                  </a:lnTo>
                  <a:lnTo>
                    <a:pt x="912841" y="37925"/>
                  </a:lnTo>
                  <a:lnTo>
                    <a:pt x="954610" y="53999"/>
                  </a:lnTo>
                  <a:lnTo>
                    <a:pt x="995016" y="72663"/>
                  </a:lnTo>
                  <a:lnTo>
                    <a:pt x="1033957" y="93815"/>
                  </a:lnTo>
                  <a:lnTo>
                    <a:pt x="1071331" y="117353"/>
                  </a:lnTo>
                  <a:lnTo>
                    <a:pt x="1107035" y="143174"/>
                  </a:lnTo>
                  <a:lnTo>
                    <a:pt x="1140968" y="171177"/>
                  </a:lnTo>
                  <a:lnTo>
                    <a:pt x="1173026" y="201259"/>
                  </a:lnTo>
                  <a:lnTo>
                    <a:pt x="1203108" y="233317"/>
                  </a:lnTo>
                  <a:lnTo>
                    <a:pt x="1231111" y="267250"/>
                  </a:lnTo>
                  <a:lnTo>
                    <a:pt x="1256933" y="302954"/>
                  </a:lnTo>
                  <a:lnTo>
                    <a:pt x="1280471" y="340328"/>
                  </a:lnTo>
                  <a:lnTo>
                    <a:pt x="1301623" y="379270"/>
                  </a:lnTo>
                  <a:lnTo>
                    <a:pt x="1320287" y="419676"/>
                  </a:lnTo>
                  <a:lnTo>
                    <a:pt x="1336360" y="461444"/>
                  </a:lnTo>
                  <a:lnTo>
                    <a:pt x="1349740" y="504473"/>
                  </a:lnTo>
                  <a:lnTo>
                    <a:pt x="1360325" y="548659"/>
                  </a:lnTo>
                  <a:lnTo>
                    <a:pt x="1368013" y="593901"/>
                  </a:lnTo>
                  <a:lnTo>
                    <a:pt x="1372701" y="640097"/>
                  </a:lnTo>
                  <a:lnTo>
                    <a:pt x="1374285" y="687143"/>
                  </a:lnTo>
                  <a:lnTo>
                    <a:pt x="1372701" y="734189"/>
                  </a:lnTo>
                  <a:lnTo>
                    <a:pt x="1368013" y="780384"/>
                  </a:lnTo>
                  <a:lnTo>
                    <a:pt x="1360325" y="825626"/>
                  </a:lnTo>
                  <a:lnTo>
                    <a:pt x="1349740" y="869813"/>
                  </a:lnTo>
                  <a:lnTo>
                    <a:pt x="1336360" y="912841"/>
                  </a:lnTo>
                  <a:lnTo>
                    <a:pt x="1320287" y="954610"/>
                  </a:lnTo>
                  <a:lnTo>
                    <a:pt x="1301623" y="995016"/>
                  </a:lnTo>
                  <a:lnTo>
                    <a:pt x="1280471" y="1033957"/>
                  </a:lnTo>
                  <a:lnTo>
                    <a:pt x="1256933" y="1071331"/>
                  </a:lnTo>
                  <a:lnTo>
                    <a:pt x="1231111" y="1107035"/>
                  </a:lnTo>
                  <a:lnTo>
                    <a:pt x="1203108" y="1140968"/>
                  </a:lnTo>
                  <a:lnTo>
                    <a:pt x="1173026" y="1173026"/>
                  </a:lnTo>
                  <a:lnTo>
                    <a:pt x="1140968" y="1203108"/>
                  </a:lnTo>
                  <a:lnTo>
                    <a:pt x="1107035" y="1231111"/>
                  </a:lnTo>
                  <a:lnTo>
                    <a:pt x="1071331" y="1256933"/>
                  </a:lnTo>
                  <a:lnTo>
                    <a:pt x="1033957" y="1280471"/>
                  </a:lnTo>
                  <a:lnTo>
                    <a:pt x="995016" y="1301623"/>
                  </a:lnTo>
                  <a:lnTo>
                    <a:pt x="954610" y="1320287"/>
                  </a:lnTo>
                  <a:lnTo>
                    <a:pt x="912841" y="1336360"/>
                  </a:lnTo>
                  <a:lnTo>
                    <a:pt x="869812" y="1349740"/>
                  </a:lnTo>
                  <a:lnTo>
                    <a:pt x="825626" y="1360326"/>
                  </a:lnTo>
                  <a:lnTo>
                    <a:pt x="780384" y="1368013"/>
                  </a:lnTo>
                  <a:lnTo>
                    <a:pt x="734188" y="1372701"/>
                  </a:lnTo>
                  <a:lnTo>
                    <a:pt x="687149" y="1374286"/>
                  </a:lnTo>
                  <a:close/>
                </a:path>
              </a:pathLst>
            </a:custGeom>
            <a:solidFill>
              <a:srgbClr val="21408B"/>
            </a:solidFill>
          </p:spPr>
          <p:txBody>
            <a:bodyPr wrap="square" lIns="0" tIns="0" rIns="0" bIns="0" rtlCol="0"/>
            <a:lstStyle/>
            <a:p>
              <a:endParaRPr/>
            </a:p>
          </p:txBody>
        </p:sp>
      </p:grpSp>
      <p:sp>
        <p:nvSpPr>
          <p:cNvPr id="7" name="object 7"/>
          <p:cNvSpPr txBox="1">
            <a:spLocks noGrp="1"/>
          </p:cNvSpPr>
          <p:nvPr>
            <p:ph type="title"/>
          </p:nvPr>
        </p:nvSpPr>
        <p:spPr>
          <a:prstGeom prst="rect">
            <a:avLst/>
          </a:prstGeom>
        </p:spPr>
        <p:txBody>
          <a:bodyPr vert="horz" wrap="square" lIns="0" tIns="12700" rIns="0" bIns="0" rtlCol="0">
            <a:spAutoFit/>
          </a:bodyPr>
          <a:lstStyle/>
          <a:p>
            <a:pPr marL="483234">
              <a:lnSpc>
                <a:spcPct val="100000"/>
              </a:lnSpc>
              <a:spcBef>
                <a:spcPts val="100"/>
              </a:spcBef>
            </a:pPr>
            <a:r>
              <a:rPr dirty="0"/>
              <a:t>02.</a:t>
            </a:r>
            <a:r>
              <a:rPr spc="-85" dirty="0"/>
              <a:t> </a:t>
            </a:r>
            <a:r>
              <a:rPr dirty="0"/>
              <a:t>¿Cómo</a:t>
            </a:r>
            <a:r>
              <a:rPr spc="-75" dirty="0"/>
              <a:t> </a:t>
            </a:r>
            <a:r>
              <a:rPr spc="-10" dirty="0"/>
              <a:t>recuperar</a:t>
            </a:r>
            <a:r>
              <a:rPr spc="-75" dirty="0"/>
              <a:t> </a:t>
            </a:r>
            <a:r>
              <a:rPr spc="-10" dirty="0"/>
              <a:t>volumen?</a:t>
            </a:r>
          </a:p>
        </p:txBody>
      </p:sp>
      <p:sp>
        <p:nvSpPr>
          <p:cNvPr id="8" name="object 8"/>
          <p:cNvSpPr txBox="1"/>
          <p:nvPr/>
        </p:nvSpPr>
        <p:spPr>
          <a:xfrm>
            <a:off x="2643365" y="1912004"/>
            <a:ext cx="13594715" cy="643890"/>
          </a:xfrm>
          <a:prstGeom prst="rect">
            <a:avLst/>
          </a:prstGeom>
        </p:spPr>
        <p:txBody>
          <a:bodyPr vert="horz" wrap="square" lIns="0" tIns="13335" rIns="0" bIns="0" rtlCol="0">
            <a:spAutoFit/>
          </a:bodyPr>
          <a:lstStyle/>
          <a:p>
            <a:pPr>
              <a:lnSpc>
                <a:spcPct val="100000"/>
              </a:lnSpc>
              <a:spcBef>
                <a:spcPts val="105"/>
              </a:spcBef>
              <a:tabLst>
                <a:tab pos="1382395" algn="l"/>
              </a:tabLst>
            </a:pPr>
            <a:r>
              <a:rPr sz="4050" b="1" spc="700" dirty="0">
                <a:solidFill>
                  <a:srgbClr val="FFFFFF"/>
                </a:solidFill>
                <a:latin typeface="Arial"/>
                <a:cs typeface="Arial"/>
              </a:rPr>
              <a:t>02</a:t>
            </a:r>
            <a:r>
              <a:rPr sz="4050" b="1" dirty="0">
                <a:solidFill>
                  <a:srgbClr val="FFFFFF"/>
                </a:solidFill>
                <a:latin typeface="Arial"/>
                <a:cs typeface="Arial"/>
              </a:rPr>
              <a:t>	</a:t>
            </a:r>
            <a:r>
              <a:rPr sz="4050" spc="-30" dirty="0">
                <a:solidFill>
                  <a:srgbClr val="E3112B"/>
                </a:solidFill>
                <a:latin typeface="Roboto"/>
                <a:cs typeface="Roboto"/>
              </a:rPr>
              <a:t>Estrategia</a:t>
            </a:r>
            <a:r>
              <a:rPr sz="4050" spc="-175" dirty="0">
                <a:solidFill>
                  <a:srgbClr val="E3112B"/>
                </a:solidFill>
                <a:latin typeface="Roboto"/>
                <a:cs typeface="Roboto"/>
              </a:rPr>
              <a:t> </a:t>
            </a:r>
            <a:r>
              <a:rPr sz="4050" spc="-25" dirty="0">
                <a:solidFill>
                  <a:srgbClr val="E3112B"/>
                </a:solidFill>
                <a:latin typeface="Roboto"/>
                <a:cs typeface="Roboto"/>
              </a:rPr>
              <a:t>comercialización,</a:t>
            </a:r>
            <a:r>
              <a:rPr sz="4050" spc="-170" dirty="0">
                <a:solidFill>
                  <a:srgbClr val="E3112B"/>
                </a:solidFill>
                <a:latin typeface="Roboto"/>
                <a:cs typeface="Roboto"/>
              </a:rPr>
              <a:t> </a:t>
            </a:r>
            <a:r>
              <a:rPr sz="4050" spc="-10" dirty="0">
                <a:solidFill>
                  <a:srgbClr val="E3112B"/>
                </a:solidFill>
                <a:latin typeface="Roboto"/>
                <a:cs typeface="Roboto"/>
              </a:rPr>
              <a:t>promoción,</a:t>
            </a:r>
            <a:r>
              <a:rPr sz="4050" spc="-175" dirty="0">
                <a:solidFill>
                  <a:srgbClr val="E3112B"/>
                </a:solidFill>
                <a:latin typeface="Roboto"/>
                <a:cs typeface="Roboto"/>
              </a:rPr>
              <a:t> </a:t>
            </a:r>
            <a:r>
              <a:rPr sz="4050" spc="-10" dirty="0">
                <a:solidFill>
                  <a:srgbClr val="E3112B"/>
                </a:solidFill>
                <a:latin typeface="Roboto"/>
                <a:cs typeface="Roboto"/>
              </a:rPr>
              <a:t>capacitación</a:t>
            </a:r>
            <a:endParaRPr sz="4050">
              <a:latin typeface="Roboto"/>
              <a:cs typeface="Roboto"/>
            </a:endParaRPr>
          </a:p>
        </p:txBody>
      </p:sp>
      <p:sp>
        <p:nvSpPr>
          <p:cNvPr id="9" name="object 9"/>
          <p:cNvSpPr/>
          <p:nvPr/>
        </p:nvSpPr>
        <p:spPr>
          <a:xfrm>
            <a:off x="0" y="3397219"/>
            <a:ext cx="18288000" cy="697865"/>
          </a:xfrm>
          <a:custGeom>
            <a:avLst/>
            <a:gdLst/>
            <a:ahLst/>
            <a:cxnLst/>
            <a:rect l="l" t="t" r="r" b="b"/>
            <a:pathLst>
              <a:path w="18288000" h="697864">
                <a:moveTo>
                  <a:pt x="18287999" y="697463"/>
                </a:moveTo>
                <a:lnTo>
                  <a:pt x="0" y="697463"/>
                </a:lnTo>
                <a:lnTo>
                  <a:pt x="0" y="0"/>
                </a:lnTo>
                <a:lnTo>
                  <a:pt x="18287999" y="0"/>
                </a:lnTo>
                <a:lnTo>
                  <a:pt x="18287999" y="697463"/>
                </a:lnTo>
                <a:close/>
              </a:path>
            </a:pathLst>
          </a:custGeom>
          <a:solidFill>
            <a:srgbClr val="E3112B"/>
          </a:solidFill>
        </p:spPr>
        <p:txBody>
          <a:bodyPr wrap="square" lIns="0" tIns="0" rIns="0" bIns="0" rtlCol="0"/>
          <a:lstStyle/>
          <a:p>
            <a:endParaRPr/>
          </a:p>
        </p:txBody>
      </p:sp>
      <p:grpSp>
        <p:nvGrpSpPr>
          <p:cNvPr id="10" name="object 10"/>
          <p:cNvGrpSpPr/>
          <p:nvPr/>
        </p:nvGrpSpPr>
        <p:grpSpPr>
          <a:xfrm>
            <a:off x="0" y="7773596"/>
            <a:ext cx="18285460" cy="1267460"/>
            <a:chOff x="0" y="7773596"/>
            <a:chExt cx="18285460" cy="1267460"/>
          </a:xfrm>
        </p:grpSpPr>
        <p:sp>
          <p:nvSpPr>
            <p:cNvPr id="11" name="object 11"/>
            <p:cNvSpPr/>
            <p:nvPr/>
          </p:nvSpPr>
          <p:spPr>
            <a:xfrm>
              <a:off x="0" y="7799173"/>
              <a:ext cx="3519804" cy="1217930"/>
            </a:xfrm>
            <a:custGeom>
              <a:avLst/>
              <a:gdLst/>
              <a:ahLst/>
              <a:cxnLst/>
              <a:rect l="l" t="t" r="r" b="b"/>
              <a:pathLst>
                <a:path w="3519804" h="1217929">
                  <a:moveTo>
                    <a:pt x="0" y="0"/>
                  </a:moveTo>
                  <a:lnTo>
                    <a:pt x="3519594" y="0"/>
                  </a:lnTo>
                  <a:lnTo>
                    <a:pt x="3519594" y="1217890"/>
                  </a:lnTo>
                  <a:lnTo>
                    <a:pt x="0" y="1217890"/>
                  </a:lnTo>
                  <a:lnTo>
                    <a:pt x="0" y="0"/>
                  </a:lnTo>
                  <a:close/>
                </a:path>
              </a:pathLst>
            </a:custGeom>
            <a:solidFill>
              <a:srgbClr val="0090AE"/>
            </a:solidFill>
          </p:spPr>
          <p:txBody>
            <a:bodyPr wrap="square" lIns="0" tIns="0" rIns="0" bIns="0" rtlCol="0"/>
            <a:lstStyle/>
            <a:p>
              <a:endParaRPr/>
            </a:p>
          </p:txBody>
        </p:sp>
        <p:sp>
          <p:nvSpPr>
            <p:cNvPr id="12" name="object 12"/>
            <p:cNvSpPr/>
            <p:nvPr/>
          </p:nvSpPr>
          <p:spPr>
            <a:xfrm>
              <a:off x="9050749" y="7799274"/>
              <a:ext cx="9234805" cy="1217930"/>
            </a:xfrm>
            <a:custGeom>
              <a:avLst/>
              <a:gdLst/>
              <a:ahLst/>
              <a:cxnLst/>
              <a:rect l="l" t="t" r="r" b="b"/>
              <a:pathLst>
                <a:path w="9234805" h="1217929">
                  <a:moveTo>
                    <a:pt x="0" y="0"/>
                  </a:moveTo>
                  <a:lnTo>
                    <a:pt x="9234205" y="0"/>
                  </a:lnTo>
                  <a:lnTo>
                    <a:pt x="9234205" y="1217890"/>
                  </a:lnTo>
                  <a:lnTo>
                    <a:pt x="0" y="1217890"/>
                  </a:lnTo>
                  <a:lnTo>
                    <a:pt x="0" y="0"/>
                  </a:lnTo>
                  <a:close/>
                </a:path>
              </a:pathLst>
            </a:custGeom>
            <a:solidFill>
              <a:srgbClr val="ECE4D5">
                <a:alpha val="34899"/>
              </a:srgbClr>
            </a:solidFill>
          </p:spPr>
          <p:txBody>
            <a:bodyPr wrap="square" lIns="0" tIns="0" rIns="0" bIns="0" rtlCol="0"/>
            <a:lstStyle/>
            <a:p>
              <a:endParaRPr/>
            </a:p>
          </p:txBody>
        </p:sp>
        <p:sp>
          <p:nvSpPr>
            <p:cNvPr id="13" name="object 13"/>
            <p:cNvSpPr/>
            <p:nvPr/>
          </p:nvSpPr>
          <p:spPr>
            <a:xfrm>
              <a:off x="3495087" y="7799274"/>
              <a:ext cx="5554345" cy="1217930"/>
            </a:xfrm>
            <a:custGeom>
              <a:avLst/>
              <a:gdLst/>
              <a:ahLst/>
              <a:cxnLst/>
              <a:rect l="l" t="t" r="r" b="b"/>
              <a:pathLst>
                <a:path w="5554345" h="1217929">
                  <a:moveTo>
                    <a:pt x="0" y="0"/>
                  </a:moveTo>
                  <a:lnTo>
                    <a:pt x="5553769" y="0"/>
                  </a:lnTo>
                  <a:lnTo>
                    <a:pt x="5553769" y="1217890"/>
                  </a:lnTo>
                  <a:lnTo>
                    <a:pt x="0" y="1217890"/>
                  </a:lnTo>
                  <a:lnTo>
                    <a:pt x="0" y="0"/>
                  </a:lnTo>
                  <a:close/>
                </a:path>
              </a:pathLst>
            </a:custGeom>
            <a:solidFill>
              <a:srgbClr val="0090AE">
                <a:alpha val="64709"/>
              </a:srgbClr>
            </a:solidFill>
          </p:spPr>
          <p:txBody>
            <a:bodyPr wrap="square" lIns="0" tIns="0" rIns="0" bIns="0" rtlCol="0"/>
            <a:lstStyle/>
            <a:p>
              <a:endParaRPr/>
            </a:p>
          </p:txBody>
        </p:sp>
        <p:sp>
          <p:nvSpPr>
            <p:cNvPr id="14" name="object 14"/>
            <p:cNvSpPr/>
            <p:nvPr/>
          </p:nvSpPr>
          <p:spPr>
            <a:xfrm>
              <a:off x="8943777" y="7799275"/>
              <a:ext cx="3215005" cy="1217930"/>
            </a:xfrm>
            <a:custGeom>
              <a:avLst/>
              <a:gdLst/>
              <a:ahLst/>
              <a:cxnLst/>
              <a:rect l="l" t="t" r="r" b="b"/>
              <a:pathLst>
                <a:path w="3215004" h="1217929">
                  <a:moveTo>
                    <a:pt x="2306255" y="1217789"/>
                  </a:moveTo>
                  <a:lnTo>
                    <a:pt x="0" y="1217789"/>
                  </a:lnTo>
                  <a:lnTo>
                    <a:pt x="0" y="0"/>
                  </a:lnTo>
                  <a:lnTo>
                    <a:pt x="2306255" y="0"/>
                  </a:lnTo>
                  <a:lnTo>
                    <a:pt x="3214538" y="608894"/>
                  </a:lnTo>
                  <a:lnTo>
                    <a:pt x="2306255" y="1217789"/>
                  </a:lnTo>
                  <a:close/>
                </a:path>
              </a:pathLst>
            </a:custGeom>
            <a:solidFill>
              <a:srgbClr val="21408B"/>
            </a:solidFill>
          </p:spPr>
          <p:txBody>
            <a:bodyPr wrap="square" lIns="0" tIns="0" rIns="0" bIns="0" rtlCol="0"/>
            <a:lstStyle/>
            <a:p>
              <a:endParaRPr/>
            </a:p>
          </p:txBody>
        </p:sp>
        <p:pic>
          <p:nvPicPr>
            <p:cNvPr id="15" name="object 15"/>
            <p:cNvPicPr/>
            <p:nvPr/>
          </p:nvPicPr>
          <p:blipFill>
            <a:blip r:embed="rId2" cstate="print"/>
            <a:stretch>
              <a:fillRect/>
            </a:stretch>
          </p:blipFill>
          <p:spPr>
            <a:xfrm>
              <a:off x="12382582" y="7773596"/>
              <a:ext cx="1267110" cy="1267110"/>
            </a:xfrm>
            <a:prstGeom prst="rect">
              <a:avLst/>
            </a:prstGeom>
          </p:spPr>
        </p:pic>
        <p:sp>
          <p:nvSpPr>
            <p:cNvPr id="16" name="object 16"/>
            <p:cNvSpPr/>
            <p:nvPr/>
          </p:nvSpPr>
          <p:spPr>
            <a:xfrm>
              <a:off x="12494900" y="7872554"/>
              <a:ext cx="1058545" cy="1058545"/>
            </a:xfrm>
            <a:custGeom>
              <a:avLst/>
              <a:gdLst/>
              <a:ahLst/>
              <a:cxnLst/>
              <a:rect l="l" t="t" r="r" b="b"/>
              <a:pathLst>
                <a:path w="1058545" h="1058545">
                  <a:moveTo>
                    <a:pt x="528983" y="1057968"/>
                  </a:moveTo>
                  <a:lnTo>
                    <a:pt x="480834" y="1055806"/>
                  </a:lnTo>
                  <a:lnTo>
                    <a:pt x="433897" y="1049445"/>
                  </a:lnTo>
                  <a:lnTo>
                    <a:pt x="388358" y="1039072"/>
                  </a:lnTo>
                  <a:lnTo>
                    <a:pt x="344403" y="1024873"/>
                  </a:lnTo>
                  <a:lnTo>
                    <a:pt x="302220" y="1007036"/>
                  </a:lnTo>
                  <a:lnTo>
                    <a:pt x="261994" y="985746"/>
                  </a:lnTo>
                  <a:lnTo>
                    <a:pt x="223914" y="961191"/>
                  </a:lnTo>
                  <a:lnTo>
                    <a:pt x="188165" y="933557"/>
                  </a:lnTo>
                  <a:lnTo>
                    <a:pt x="154935" y="903032"/>
                  </a:lnTo>
                  <a:lnTo>
                    <a:pt x="124409" y="869801"/>
                  </a:lnTo>
                  <a:lnTo>
                    <a:pt x="96776" y="834053"/>
                  </a:lnTo>
                  <a:lnTo>
                    <a:pt x="72221" y="795972"/>
                  </a:lnTo>
                  <a:lnTo>
                    <a:pt x="50931" y="755747"/>
                  </a:lnTo>
                  <a:lnTo>
                    <a:pt x="33093" y="713563"/>
                  </a:lnTo>
                  <a:lnTo>
                    <a:pt x="18894" y="669609"/>
                  </a:lnTo>
                  <a:lnTo>
                    <a:pt x="8521" y="624069"/>
                  </a:lnTo>
                  <a:lnTo>
                    <a:pt x="2160" y="577132"/>
                  </a:lnTo>
                  <a:lnTo>
                    <a:pt x="0" y="528964"/>
                  </a:lnTo>
                  <a:lnTo>
                    <a:pt x="2160" y="480835"/>
                  </a:lnTo>
                  <a:lnTo>
                    <a:pt x="8521" y="433898"/>
                  </a:lnTo>
                  <a:lnTo>
                    <a:pt x="18894" y="388359"/>
                  </a:lnTo>
                  <a:lnTo>
                    <a:pt x="33093" y="344404"/>
                  </a:lnTo>
                  <a:lnTo>
                    <a:pt x="50931" y="302221"/>
                  </a:lnTo>
                  <a:lnTo>
                    <a:pt x="72221" y="261995"/>
                  </a:lnTo>
                  <a:lnTo>
                    <a:pt x="96776" y="223915"/>
                  </a:lnTo>
                  <a:lnTo>
                    <a:pt x="124409" y="188166"/>
                  </a:lnTo>
                  <a:lnTo>
                    <a:pt x="154935" y="154935"/>
                  </a:lnTo>
                  <a:lnTo>
                    <a:pt x="188165" y="124410"/>
                  </a:lnTo>
                  <a:lnTo>
                    <a:pt x="223914" y="96776"/>
                  </a:lnTo>
                  <a:lnTo>
                    <a:pt x="261994" y="72221"/>
                  </a:lnTo>
                  <a:lnTo>
                    <a:pt x="302220" y="50932"/>
                  </a:lnTo>
                  <a:lnTo>
                    <a:pt x="344403" y="33094"/>
                  </a:lnTo>
                  <a:lnTo>
                    <a:pt x="388358" y="18895"/>
                  </a:lnTo>
                  <a:lnTo>
                    <a:pt x="433897" y="8522"/>
                  </a:lnTo>
                  <a:lnTo>
                    <a:pt x="480834" y="2161"/>
                  </a:lnTo>
                  <a:lnTo>
                    <a:pt x="528983" y="0"/>
                  </a:lnTo>
                  <a:lnTo>
                    <a:pt x="577131" y="2161"/>
                  </a:lnTo>
                  <a:lnTo>
                    <a:pt x="624068" y="8522"/>
                  </a:lnTo>
                  <a:lnTo>
                    <a:pt x="669608" y="18895"/>
                  </a:lnTo>
                  <a:lnTo>
                    <a:pt x="713562" y="33094"/>
                  </a:lnTo>
                  <a:lnTo>
                    <a:pt x="755746" y="50932"/>
                  </a:lnTo>
                  <a:lnTo>
                    <a:pt x="795971" y="72221"/>
                  </a:lnTo>
                  <a:lnTo>
                    <a:pt x="834052" y="96776"/>
                  </a:lnTo>
                  <a:lnTo>
                    <a:pt x="869800" y="124410"/>
                  </a:lnTo>
                  <a:lnTo>
                    <a:pt x="903031" y="154935"/>
                  </a:lnTo>
                  <a:lnTo>
                    <a:pt x="933556" y="188166"/>
                  </a:lnTo>
                  <a:lnTo>
                    <a:pt x="961190" y="223915"/>
                  </a:lnTo>
                  <a:lnTo>
                    <a:pt x="985745" y="261995"/>
                  </a:lnTo>
                  <a:lnTo>
                    <a:pt x="1007035" y="302221"/>
                  </a:lnTo>
                  <a:lnTo>
                    <a:pt x="1024872" y="344404"/>
                  </a:lnTo>
                  <a:lnTo>
                    <a:pt x="1039071" y="388359"/>
                  </a:lnTo>
                  <a:lnTo>
                    <a:pt x="1049444" y="433898"/>
                  </a:lnTo>
                  <a:lnTo>
                    <a:pt x="1055805" y="480835"/>
                  </a:lnTo>
                  <a:lnTo>
                    <a:pt x="1057965" y="528984"/>
                  </a:lnTo>
                  <a:lnTo>
                    <a:pt x="1055805" y="577132"/>
                  </a:lnTo>
                  <a:lnTo>
                    <a:pt x="1049444" y="624069"/>
                  </a:lnTo>
                  <a:lnTo>
                    <a:pt x="1039071" y="669609"/>
                  </a:lnTo>
                  <a:lnTo>
                    <a:pt x="1024872" y="713563"/>
                  </a:lnTo>
                  <a:lnTo>
                    <a:pt x="1007035" y="755747"/>
                  </a:lnTo>
                  <a:lnTo>
                    <a:pt x="985745" y="795972"/>
                  </a:lnTo>
                  <a:lnTo>
                    <a:pt x="961190" y="834053"/>
                  </a:lnTo>
                  <a:lnTo>
                    <a:pt x="933556" y="869801"/>
                  </a:lnTo>
                  <a:lnTo>
                    <a:pt x="903031" y="903032"/>
                  </a:lnTo>
                  <a:lnTo>
                    <a:pt x="869800" y="933557"/>
                  </a:lnTo>
                  <a:lnTo>
                    <a:pt x="834052" y="961191"/>
                  </a:lnTo>
                  <a:lnTo>
                    <a:pt x="795971" y="985746"/>
                  </a:lnTo>
                  <a:lnTo>
                    <a:pt x="755746" y="1007036"/>
                  </a:lnTo>
                  <a:lnTo>
                    <a:pt x="713562" y="1024873"/>
                  </a:lnTo>
                  <a:lnTo>
                    <a:pt x="669608" y="1039072"/>
                  </a:lnTo>
                  <a:lnTo>
                    <a:pt x="624068" y="1049445"/>
                  </a:lnTo>
                  <a:lnTo>
                    <a:pt x="577131" y="1055806"/>
                  </a:lnTo>
                  <a:lnTo>
                    <a:pt x="528983" y="1057968"/>
                  </a:lnTo>
                  <a:close/>
                </a:path>
              </a:pathLst>
            </a:custGeom>
            <a:solidFill>
              <a:srgbClr val="FFFFFF"/>
            </a:solidFill>
          </p:spPr>
          <p:txBody>
            <a:bodyPr wrap="square" lIns="0" tIns="0" rIns="0" bIns="0" rtlCol="0"/>
            <a:lstStyle/>
            <a:p>
              <a:endParaRPr/>
            </a:p>
          </p:txBody>
        </p:sp>
        <p:sp>
          <p:nvSpPr>
            <p:cNvPr id="17" name="object 17"/>
            <p:cNvSpPr/>
            <p:nvPr/>
          </p:nvSpPr>
          <p:spPr>
            <a:xfrm>
              <a:off x="12711467" y="8090871"/>
              <a:ext cx="628015" cy="448945"/>
            </a:xfrm>
            <a:custGeom>
              <a:avLst/>
              <a:gdLst/>
              <a:ahLst/>
              <a:cxnLst/>
              <a:rect l="l" t="t" r="r" b="b"/>
              <a:pathLst>
                <a:path w="628014" h="448945">
                  <a:moveTo>
                    <a:pt x="558176" y="448437"/>
                  </a:moveTo>
                  <a:lnTo>
                    <a:pt x="69772" y="448437"/>
                  </a:lnTo>
                  <a:lnTo>
                    <a:pt x="42614" y="443015"/>
                  </a:lnTo>
                  <a:lnTo>
                    <a:pt x="20436" y="428230"/>
                  </a:lnTo>
                  <a:lnTo>
                    <a:pt x="5483" y="406300"/>
                  </a:lnTo>
                  <a:lnTo>
                    <a:pt x="0" y="379447"/>
                  </a:lnTo>
                  <a:lnTo>
                    <a:pt x="0" y="68990"/>
                  </a:lnTo>
                  <a:lnTo>
                    <a:pt x="5483" y="42137"/>
                  </a:lnTo>
                  <a:lnTo>
                    <a:pt x="20436" y="20207"/>
                  </a:lnTo>
                  <a:lnTo>
                    <a:pt x="42614" y="5421"/>
                  </a:lnTo>
                  <a:lnTo>
                    <a:pt x="69772" y="0"/>
                  </a:lnTo>
                  <a:lnTo>
                    <a:pt x="558176" y="0"/>
                  </a:lnTo>
                  <a:lnTo>
                    <a:pt x="585333" y="5421"/>
                  </a:lnTo>
                  <a:lnTo>
                    <a:pt x="607511" y="20207"/>
                  </a:lnTo>
                  <a:lnTo>
                    <a:pt x="622465" y="42137"/>
                  </a:lnTo>
                  <a:lnTo>
                    <a:pt x="627948" y="68990"/>
                  </a:lnTo>
                  <a:lnTo>
                    <a:pt x="627948" y="379447"/>
                  </a:lnTo>
                  <a:lnTo>
                    <a:pt x="622465" y="406300"/>
                  </a:lnTo>
                  <a:lnTo>
                    <a:pt x="607511" y="428230"/>
                  </a:lnTo>
                  <a:lnTo>
                    <a:pt x="585333" y="443015"/>
                  </a:lnTo>
                  <a:lnTo>
                    <a:pt x="558176" y="448437"/>
                  </a:lnTo>
                  <a:close/>
                </a:path>
              </a:pathLst>
            </a:custGeom>
            <a:solidFill>
              <a:srgbClr val="74AADA"/>
            </a:solidFill>
          </p:spPr>
          <p:txBody>
            <a:bodyPr wrap="square" lIns="0" tIns="0" rIns="0" bIns="0" rtlCol="0"/>
            <a:lstStyle/>
            <a:p>
              <a:endParaRPr/>
            </a:p>
          </p:txBody>
        </p:sp>
        <p:sp>
          <p:nvSpPr>
            <p:cNvPr id="18" name="object 18"/>
            <p:cNvSpPr/>
            <p:nvPr/>
          </p:nvSpPr>
          <p:spPr>
            <a:xfrm>
              <a:off x="12711467" y="8228852"/>
              <a:ext cx="628015" cy="172720"/>
            </a:xfrm>
            <a:custGeom>
              <a:avLst/>
              <a:gdLst/>
              <a:ahLst/>
              <a:cxnLst/>
              <a:rect l="l" t="t" r="r" b="b"/>
              <a:pathLst>
                <a:path w="628014" h="172720">
                  <a:moveTo>
                    <a:pt x="627948" y="172476"/>
                  </a:moveTo>
                  <a:lnTo>
                    <a:pt x="0" y="172476"/>
                  </a:lnTo>
                  <a:lnTo>
                    <a:pt x="0" y="0"/>
                  </a:lnTo>
                  <a:lnTo>
                    <a:pt x="627948" y="0"/>
                  </a:lnTo>
                  <a:lnTo>
                    <a:pt x="627948" y="172476"/>
                  </a:lnTo>
                  <a:close/>
                </a:path>
              </a:pathLst>
            </a:custGeom>
            <a:solidFill>
              <a:srgbClr val="EDEDED"/>
            </a:solidFill>
          </p:spPr>
          <p:txBody>
            <a:bodyPr wrap="square" lIns="0" tIns="0" rIns="0" bIns="0" rtlCol="0"/>
            <a:lstStyle/>
            <a:p>
              <a:endParaRPr/>
            </a:p>
          </p:txBody>
        </p:sp>
        <p:pic>
          <p:nvPicPr>
            <p:cNvPr id="19" name="object 19"/>
            <p:cNvPicPr/>
            <p:nvPr/>
          </p:nvPicPr>
          <p:blipFill>
            <a:blip r:embed="rId3" cstate="print"/>
            <a:stretch>
              <a:fillRect/>
            </a:stretch>
          </p:blipFill>
          <p:spPr>
            <a:xfrm>
              <a:off x="12938226" y="8228852"/>
              <a:ext cx="174430" cy="172476"/>
            </a:xfrm>
            <a:prstGeom prst="rect">
              <a:avLst/>
            </a:prstGeom>
          </p:spPr>
        </p:pic>
      </p:grpSp>
      <p:grpSp>
        <p:nvGrpSpPr>
          <p:cNvPr id="20" name="object 20"/>
          <p:cNvGrpSpPr/>
          <p:nvPr/>
        </p:nvGrpSpPr>
        <p:grpSpPr>
          <a:xfrm>
            <a:off x="0" y="5991784"/>
            <a:ext cx="18285460" cy="1269365"/>
            <a:chOff x="0" y="5991784"/>
            <a:chExt cx="18285460" cy="1269365"/>
          </a:xfrm>
        </p:grpSpPr>
        <p:sp>
          <p:nvSpPr>
            <p:cNvPr id="21" name="object 21"/>
            <p:cNvSpPr/>
            <p:nvPr/>
          </p:nvSpPr>
          <p:spPr>
            <a:xfrm>
              <a:off x="0" y="6043141"/>
              <a:ext cx="3519804" cy="1217930"/>
            </a:xfrm>
            <a:custGeom>
              <a:avLst/>
              <a:gdLst/>
              <a:ahLst/>
              <a:cxnLst/>
              <a:rect l="l" t="t" r="r" b="b"/>
              <a:pathLst>
                <a:path w="3519804" h="1217929">
                  <a:moveTo>
                    <a:pt x="0" y="0"/>
                  </a:moveTo>
                  <a:lnTo>
                    <a:pt x="3519594" y="0"/>
                  </a:lnTo>
                  <a:lnTo>
                    <a:pt x="3519594" y="1217890"/>
                  </a:lnTo>
                  <a:lnTo>
                    <a:pt x="0" y="1217890"/>
                  </a:lnTo>
                  <a:lnTo>
                    <a:pt x="0" y="0"/>
                  </a:lnTo>
                  <a:close/>
                </a:path>
              </a:pathLst>
            </a:custGeom>
            <a:solidFill>
              <a:srgbClr val="0090AE"/>
            </a:solidFill>
          </p:spPr>
          <p:txBody>
            <a:bodyPr wrap="square" lIns="0" tIns="0" rIns="0" bIns="0" rtlCol="0"/>
            <a:lstStyle/>
            <a:p>
              <a:endParaRPr/>
            </a:p>
          </p:txBody>
        </p:sp>
        <p:sp>
          <p:nvSpPr>
            <p:cNvPr id="22" name="object 22"/>
            <p:cNvSpPr/>
            <p:nvPr/>
          </p:nvSpPr>
          <p:spPr>
            <a:xfrm>
              <a:off x="9050749" y="6043141"/>
              <a:ext cx="9234805" cy="1217930"/>
            </a:xfrm>
            <a:custGeom>
              <a:avLst/>
              <a:gdLst/>
              <a:ahLst/>
              <a:cxnLst/>
              <a:rect l="l" t="t" r="r" b="b"/>
              <a:pathLst>
                <a:path w="9234805" h="1217929">
                  <a:moveTo>
                    <a:pt x="0" y="0"/>
                  </a:moveTo>
                  <a:lnTo>
                    <a:pt x="9234205" y="0"/>
                  </a:lnTo>
                  <a:lnTo>
                    <a:pt x="9234205" y="1217890"/>
                  </a:lnTo>
                  <a:lnTo>
                    <a:pt x="0" y="1217890"/>
                  </a:lnTo>
                  <a:lnTo>
                    <a:pt x="0" y="0"/>
                  </a:lnTo>
                  <a:close/>
                </a:path>
              </a:pathLst>
            </a:custGeom>
            <a:solidFill>
              <a:srgbClr val="ECE4D5">
                <a:alpha val="34899"/>
              </a:srgbClr>
            </a:solidFill>
          </p:spPr>
          <p:txBody>
            <a:bodyPr wrap="square" lIns="0" tIns="0" rIns="0" bIns="0" rtlCol="0"/>
            <a:lstStyle/>
            <a:p>
              <a:endParaRPr/>
            </a:p>
          </p:txBody>
        </p:sp>
        <p:sp>
          <p:nvSpPr>
            <p:cNvPr id="23" name="object 23"/>
            <p:cNvSpPr/>
            <p:nvPr/>
          </p:nvSpPr>
          <p:spPr>
            <a:xfrm>
              <a:off x="3495087" y="6043141"/>
              <a:ext cx="5554345" cy="1217930"/>
            </a:xfrm>
            <a:custGeom>
              <a:avLst/>
              <a:gdLst/>
              <a:ahLst/>
              <a:cxnLst/>
              <a:rect l="l" t="t" r="r" b="b"/>
              <a:pathLst>
                <a:path w="5554345" h="1217929">
                  <a:moveTo>
                    <a:pt x="0" y="0"/>
                  </a:moveTo>
                  <a:lnTo>
                    <a:pt x="5553769" y="0"/>
                  </a:lnTo>
                  <a:lnTo>
                    <a:pt x="5553769" y="1217890"/>
                  </a:lnTo>
                  <a:lnTo>
                    <a:pt x="0" y="1217890"/>
                  </a:lnTo>
                  <a:lnTo>
                    <a:pt x="0" y="0"/>
                  </a:lnTo>
                  <a:close/>
                </a:path>
              </a:pathLst>
            </a:custGeom>
            <a:solidFill>
              <a:srgbClr val="0090AE">
                <a:alpha val="64709"/>
              </a:srgbClr>
            </a:solidFill>
          </p:spPr>
          <p:txBody>
            <a:bodyPr wrap="square" lIns="0" tIns="0" rIns="0" bIns="0" rtlCol="0"/>
            <a:lstStyle/>
            <a:p>
              <a:endParaRPr/>
            </a:p>
          </p:txBody>
        </p:sp>
        <p:pic>
          <p:nvPicPr>
            <p:cNvPr id="24" name="object 24"/>
            <p:cNvPicPr/>
            <p:nvPr/>
          </p:nvPicPr>
          <p:blipFill>
            <a:blip r:embed="rId4" cstate="print"/>
            <a:stretch>
              <a:fillRect/>
            </a:stretch>
          </p:blipFill>
          <p:spPr>
            <a:xfrm>
              <a:off x="11077831" y="5991784"/>
              <a:ext cx="1267110" cy="1267110"/>
            </a:xfrm>
            <a:prstGeom prst="rect">
              <a:avLst/>
            </a:prstGeom>
          </p:spPr>
        </p:pic>
        <p:sp>
          <p:nvSpPr>
            <p:cNvPr id="25" name="object 25"/>
            <p:cNvSpPr/>
            <p:nvPr/>
          </p:nvSpPr>
          <p:spPr>
            <a:xfrm>
              <a:off x="11190150" y="6090746"/>
              <a:ext cx="1058545" cy="1058545"/>
            </a:xfrm>
            <a:custGeom>
              <a:avLst/>
              <a:gdLst/>
              <a:ahLst/>
              <a:cxnLst/>
              <a:rect l="l" t="t" r="r" b="b"/>
              <a:pathLst>
                <a:path w="1058545" h="1058545">
                  <a:moveTo>
                    <a:pt x="528987" y="1057968"/>
                  </a:moveTo>
                  <a:lnTo>
                    <a:pt x="480835" y="1055806"/>
                  </a:lnTo>
                  <a:lnTo>
                    <a:pt x="433897" y="1049445"/>
                  </a:lnTo>
                  <a:lnTo>
                    <a:pt x="388358" y="1039072"/>
                  </a:lnTo>
                  <a:lnTo>
                    <a:pt x="344403" y="1024873"/>
                  </a:lnTo>
                  <a:lnTo>
                    <a:pt x="302220" y="1007036"/>
                  </a:lnTo>
                  <a:lnTo>
                    <a:pt x="261995" y="985746"/>
                  </a:lnTo>
                  <a:lnTo>
                    <a:pt x="223914" y="961191"/>
                  </a:lnTo>
                  <a:lnTo>
                    <a:pt x="188165" y="933557"/>
                  </a:lnTo>
                  <a:lnTo>
                    <a:pt x="154935" y="903032"/>
                  </a:lnTo>
                  <a:lnTo>
                    <a:pt x="124409" y="869801"/>
                  </a:lnTo>
                  <a:lnTo>
                    <a:pt x="96775" y="834052"/>
                  </a:lnTo>
                  <a:lnTo>
                    <a:pt x="72220" y="795972"/>
                  </a:lnTo>
                  <a:lnTo>
                    <a:pt x="50931" y="755747"/>
                  </a:lnTo>
                  <a:lnTo>
                    <a:pt x="33093" y="713563"/>
                  </a:lnTo>
                  <a:lnTo>
                    <a:pt x="18894" y="669608"/>
                  </a:lnTo>
                  <a:lnTo>
                    <a:pt x="8521" y="624069"/>
                  </a:lnTo>
                  <a:lnTo>
                    <a:pt x="2160" y="577132"/>
                  </a:lnTo>
                  <a:lnTo>
                    <a:pt x="0" y="528961"/>
                  </a:lnTo>
                  <a:lnTo>
                    <a:pt x="2160" y="480835"/>
                  </a:lnTo>
                  <a:lnTo>
                    <a:pt x="8521" y="433898"/>
                  </a:lnTo>
                  <a:lnTo>
                    <a:pt x="18894" y="388359"/>
                  </a:lnTo>
                  <a:lnTo>
                    <a:pt x="33093" y="344404"/>
                  </a:lnTo>
                  <a:lnTo>
                    <a:pt x="50931" y="302221"/>
                  </a:lnTo>
                  <a:lnTo>
                    <a:pt x="72220" y="261995"/>
                  </a:lnTo>
                  <a:lnTo>
                    <a:pt x="96775" y="223915"/>
                  </a:lnTo>
                  <a:lnTo>
                    <a:pt x="124409" y="188166"/>
                  </a:lnTo>
                  <a:lnTo>
                    <a:pt x="154935" y="154935"/>
                  </a:lnTo>
                  <a:lnTo>
                    <a:pt x="188165" y="124410"/>
                  </a:lnTo>
                  <a:lnTo>
                    <a:pt x="223914" y="96776"/>
                  </a:lnTo>
                  <a:lnTo>
                    <a:pt x="261995" y="72221"/>
                  </a:lnTo>
                  <a:lnTo>
                    <a:pt x="302220" y="50932"/>
                  </a:lnTo>
                  <a:lnTo>
                    <a:pt x="344403" y="33094"/>
                  </a:lnTo>
                  <a:lnTo>
                    <a:pt x="388358" y="18895"/>
                  </a:lnTo>
                  <a:lnTo>
                    <a:pt x="433897" y="8522"/>
                  </a:lnTo>
                  <a:lnTo>
                    <a:pt x="480835" y="2161"/>
                  </a:lnTo>
                  <a:lnTo>
                    <a:pt x="528983" y="0"/>
                  </a:lnTo>
                  <a:lnTo>
                    <a:pt x="577131" y="2161"/>
                  </a:lnTo>
                  <a:lnTo>
                    <a:pt x="624069" y="8522"/>
                  </a:lnTo>
                  <a:lnTo>
                    <a:pt x="669608" y="18895"/>
                  </a:lnTo>
                  <a:lnTo>
                    <a:pt x="713563" y="33094"/>
                  </a:lnTo>
                  <a:lnTo>
                    <a:pt x="755746" y="50932"/>
                  </a:lnTo>
                  <a:lnTo>
                    <a:pt x="795972" y="72221"/>
                  </a:lnTo>
                  <a:lnTo>
                    <a:pt x="834052" y="96776"/>
                  </a:lnTo>
                  <a:lnTo>
                    <a:pt x="869801" y="124410"/>
                  </a:lnTo>
                  <a:lnTo>
                    <a:pt x="903031" y="154935"/>
                  </a:lnTo>
                  <a:lnTo>
                    <a:pt x="933557" y="188166"/>
                  </a:lnTo>
                  <a:lnTo>
                    <a:pt x="961190" y="223915"/>
                  </a:lnTo>
                  <a:lnTo>
                    <a:pt x="985745" y="261995"/>
                  </a:lnTo>
                  <a:lnTo>
                    <a:pt x="1007035" y="302221"/>
                  </a:lnTo>
                  <a:lnTo>
                    <a:pt x="1024873" y="344404"/>
                  </a:lnTo>
                  <a:lnTo>
                    <a:pt x="1039071" y="388359"/>
                  </a:lnTo>
                  <a:lnTo>
                    <a:pt x="1049445" y="433898"/>
                  </a:lnTo>
                  <a:lnTo>
                    <a:pt x="1055805" y="480835"/>
                  </a:lnTo>
                  <a:lnTo>
                    <a:pt x="1057965" y="528984"/>
                  </a:lnTo>
                  <a:lnTo>
                    <a:pt x="1055805" y="577132"/>
                  </a:lnTo>
                  <a:lnTo>
                    <a:pt x="1049445" y="624069"/>
                  </a:lnTo>
                  <a:lnTo>
                    <a:pt x="1039071" y="669608"/>
                  </a:lnTo>
                  <a:lnTo>
                    <a:pt x="1024873" y="713563"/>
                  </a:lnTo>
                  <a:lnTo>
                    <a:pt x="1007035" y="755747"/>
                  </a:lnTo>
                  <a:lnTo>
                    <a:pt x="985745" y="795972"/>
                  </a:lnTo>
                  <a:lnTo>
                    <a:pt x="961190" y="834052"/>
                  </a:lnTo>
                  <a:lnTo>
                    <a:pt x="933557" y="869801"/>
                  </a:lnTo>
                  <a:lnTo>
                    <a:pt x="903031" y="903032"/>
                  </a:lnTo>
                  <a:lnTo>
                    <a:pt x="869801" y="933557"/>
                  </a:lnTo>
                  <a:lnTo>
                    <a:pt x="834052" y="961191"/>
                  </a:lnTo>
                  <a:lnTo>
                    <a:pt x="795972" y="985746"/>
                  </a:lnTo>
                  <a:lnTo>
                    <a:pt x="755746" y="1007036"/>
                  </a:lnTo>
                  <a:lnTo>
                    <a:pt x="713563" y="1024873"/>
                  </a:lnTo>
                  <a:lnTo>
                    <a:pt x="669608" y="1039072"/>
                  </a:lnTo>
                  <a:lnTo>
                    <a:pt x="624069" y="1049445"/>
                  </a:lnTo>
                  <a:lnTo>
                    <a:pt x="577131" y="1055806"/>
                  </a:lnTo>
                  <a:lnTo>
                    <a:pt x="528987" y="1057968"/>
                  </a:lnTo>
                  <a:close/>
                </a:path>
              </a:pathLst>
            </a:custGeom>
            <a:solidFill>
              <a:srgbClr val="FFFFFF"/>
            </a:solidFill>
          </p:spPr>
          <p:txBody>
            <a:bodyPr wrap="square" lIns="0" tIns="0" rIns="0" bIns="0" rtlCol="0"/>
            <a:lstStyle/>
            <a:p>
              <a:endParaRPr/>
            </a:p>
          </p:txBody>
        </p:sp>
        <p:sp>
          <p:nvSpPr>
            <p:cNvPr id="26" name="object 26"/>
            <p:cNvSpPr/>
            <p:nvPr/>
          </p:nvSpPr>
          <p:spPr>
            <a:xfrm>
              <a:off x="11406716" y="6309056"/>
              <a:ext cx="628015" cy="448945"/>
            </a:xfrm>
            <a:custGeom>
              <a:avLst/>
              <a:gdLst/>
              <a:ahLst/>
              <a:cxnLst/>
              <a:rect l="l" t="t" r="r" b="b"/>
              <a:pathLst>
                <a:path w="628015" h="448945">
                  <a:moveTo>
                    <a:pt x="558176" y="448437"/>
                  </a:moveTo>
                  <a:lnTo>
                    <a:pt x="69772" y="448437"/>
                  </a:lnTo>
                  <a:lnTo>
                    <a:pt x="42614" y="443015"/>
                  </a:lnTo>
                  <a:lnTo>
                    <a:pt x="20436" y="428230"/>
                  </a:lnTo>
                  <a:lnTo>
                    <a:pt x="5483" y="406300"/>
                  </a:lnTo>
                  <a:lnTo>
                    <a:pt x="0" y="379447"/>
                  </a:lnTo>
                  <a:lnTo>
                    <a:pt x="0" y="68990"/>
                  </a:lnTo>
                  <a:lnTo>
                    <a:pt x="5483" y="42137"/>
                  </a:lnTo>
                  <a:lnTo>
                    <a:pt x="20436" y="20207"/>
                  </a:lnTo>
                  <a:lnTo>
                    <a:pt x="42614" y="5421"/>
                  </a:lnTo>
                  <a:lnTo>
                    <a:pt x="69772" y="0"/>
                  </a:lnTo>
                  <a:lnTo>
                    <a:pt x="558176" y="0"/>
                  </a:lnTo>
                  <a:lnTo>
                    <a:pt x="585333" y="5421"/>
                  </a:lnTo>
                  <a:lnTo>
                    <a:pt x="607511" y="20207"/>
                  </a:lnTo>
                  <a:lnTo>
                    <a:pt x="622465" y="42137"/>
                  </a:lnTo>
                  <a:lnTo>
                    <a:pt x="627948" y="68990"/>
                  </a:lnTo>
                  <a:lnTo>
                    <a:pt x="627948" y="379447"/>
                  </a:lnTo>
                  <a:lnTo>
                    <a:pt x="622465" y="406300"/>
                  </a:lnTo>
                  <a:lnTo>
                    <a:pt x="607511" y="428230"/>
                  </a:lnTo>
                  <a:lnTo>
                    <a:pt x="585333" y="443015"/>
                  </a:lnTo>
                  <a:lnTo>
                    <a:pt x="558176" y="448437"/>
                  </a:lnTo>
                  <a:close/>
                </a:path>
              </a:pathLst>
            </a:custGeom>
            <a:solidFill>
              <a:srgbClr val="74AADA"/>
            </a:solidFill>
          </p:spPr>
          <p:txBody>
            <a:bodyPr wrap="square" lIns="0" tIns="0" rIns="0" bIns="0" rtlCol="0"/>
            <a:lstStyle/>
            <a:p>
              <a:endParaRPr/>
            </a:p>
          </p:txBody>
        </p:sp>
        <p:sp>
          <p:nvSpPr>
            <p:cNvPr id="27" name="object 27"/>
            <p:cNvSpPr/>
            <p:nvPr/>
          </p:nvSpPr>
          <p:spPr>
            <a:xfrm>
              <a:off x="11406716" y="6447037"/>
              <a:ext cx="628015" cy="172720"/>
            </a:xfrm>
            <a:custGeom>
              <a:avLst/>
              <a:gdLst/>
              <a:ahLst/>
              <a:cxnLst/>
              <a:rect l="l" t="t" r="r" b="b"/>
              <a:pathLst>
                <a:path w="628015" h="172720">
                  <a:moveTo>
                    <a:pt x="627948" y="172476"/>
                  </a:moveTo>
                  <a:lnTo>
                    <a:pt x="0" y="172476"/>
                  </a:lnTo>
                  <a:lnTo>
                    <a:pt x="0" y="0"/>
                  </a:lnTo>
                  <a:lnTo>
                    <a:pt x="627948" y="0"/>
                  </a:lnTo>
                  <a:lnTo>
                    <a:pt x="627948" y="172476"/>
                  </a:lnTo>
                  <a:close/>
                </a:path>
              </a:pathLst>
            </a:custGeom>
            <a:solidFill>
              <a:srgbClr val="EDEDED"/>
            </a:solidFill>
          </p:spPr>
          <p:txBody>
            <a:bodyPr wrap="square" lIns="0" tIns="0" rIns="0" bIns="0" rtlCol="0"/>
            <a:lstStyle/>
            <a:p>
              <a:endParaRPr/>
            </a:p>
          </p:txBody>
        </p:sp>
        <p:pic>
          <p:nvPicPr>
            <p:cNvPr id="28" name="object 28"/>
            <p:cNvPicPr/>
            <p:nvPr/>
          </p:nvPicPr>
          <p:blipFill>
            <a:blip r:embed="rId5" cstate="print"/>
            <a:stretch>
              <a:fillRect/>
            </a:stretch>
          </p:blipFill>
          <p:spPr>
            <a:xfrm>
              <a:off x="11633475" y="6447037"/>
              <a:ext cx="174430" cy="172476"/>
            </a:xfrm>
            <a:prstGeom prst="rect">
              <a:avLst/>
            </a:prstGeom>
          </p:spPr>
        </p:pic>
      </p:grpSp>
      <p:grpSp>
        <p:nvGrpSpPr>
          <p:cNvPr id="29" name="object 29"/>
          <p:cNvGrpSpPr/>
          <p:nvPr/>
        </p:nvGrpSpPr>
        <p:grpSpPr>
          <a:xfrm>
            <a:off x="0" y="4235755"/>
            <a:ext cx="18285460" cy="1269365"/>
            <a:chOff x="0" y="4235755"/>
            <a:chExt cx="18285460" cy="1269365"/>
          </a:xfrm>
        </p:grpSpPr>
        <p:sp>
          <p:nvSpPr>
            <p:cNvPr id="30" name="object 30"/>
            <p:cNvSpPr/>
            <p:nvPr/>
          </p:nvSpPr>
          <p:spPr>
            <a:xfrm>
              <a:off x="0" y="4287113"/>
              <a:ext cx="3519804" cy="1217930"/>
            </a:xfrm>
            <a:custGeom>
              <a:avLst/>
              <a:gdLst/>
              <a:ahLst/>
              <a:cxnLst/>
              <a:rect l="l" t="t" r="r" b="b"/>
              <a:pathLst>
                <a:path w="3519804" h="1217929">
                  <a:moveTo>
                    <a:pt x="0" y="0"/>
                  </a:moveTo>
                  <a:lnTo>
                    <a:pt x="3519594" y="0"/>
                  </a:lnTo>
                  <a:lnTo>
                    <a:pt x="3519594" y="1217890"/>
                  </a:lnTo>
                  <a:lnTo>
                    <a:pt x="0" y="1217890"/>
                  </a:lnTo>
                  <a:lnTo>
                    <a:pt x="0" y="0"/>
                  </a:lnTo>
                  <a:close/>
                </a:path>
              </a:pathLst>
            </a:custGeom>
            <a:solidFill>
              <a:srgbClr val="0090AE"/>
            </a:solidFill>
          </p:spPr>
          <p:txBody>
            <a:bodyPr wrap="square" lIns="0" tIns="0" rIns="0" bIns="0" rtlCol="0"/>
            <a:lstStyle/>
            <a:p>
              <a:endParaRPr/>
            </a:p>
          </p:txBody>
        </p:sp>
        <p:sp>
          <p:nvSpPr>
            <p:cNvPr id="31" name="object 31"/>
            <p:cNvSpPr/>
            <p:nvPr/>
          </p:nvSpPr>
          <p:spPr>
            <a:xfrm>
              <a:off x="3495087" y="4287113"/>
              <a:ext cx="5554345" cy="1217930"/>
            </a:xfrm>
            <a:custGeom>
              <a:avLst/>
              <a:gdLst/>
              <a:ahLst/>
              <a:cxnLst/>
              <a:rect l="l" t="t" r="r" b="b"/>
              <a:pathLst>
                <a:path w="5554345" h="1217929">
                  <a:moveTo>
                    <a:pt x="0" y="0"/>
                  </a:moveTo>
                  <a:lnTo>
                    <a:pt x="5553769" y="0"/>
                  </a:lnTo>
                  <a:lnTo>
                    <a:pt x="5553769" y="1217890"/>
                  </a:lnTo>
                  <a:lnTo>
                    <a:pt x="0" y="1217890"/>
                  </a:lnTo>
                  <a:lnTo>
                    <a:pt x="0" y="0"/>
                  </a:lnTo>
                  <a:close/>
                </a:path>
              </a:pathLst>
            </a:custGeom>
            <a:solidFill>
              <a:srgbClr val="0090AE">
                <a:alpha val="64709"/>
              </a:srgbClr>
            </a:solidFill>
          </p:spPr>
          <p:txBody>
            <a:bodyPr wrap="square" lIns="0" tIns="0" rIns="0" bIns="0" rtlCol="0"/>
            <a:lstStyle/>
            <a:p>
              <a:endParaRPr/>
            </a:p>
          </p:txBody>
        </p:sp>
        <p:sp>
          <p:nvSpPr>
            <p:cNvPr id="32" name="object 32"/>
            <p:cNvSpPr/>
            <p:nvPr/>
          </p:nvSpPr>
          <p:spPr>
            <a:xfrm>
              <a:off x="9050749" y="4287113"/>
              <a:ext cx="9234805" cy="1217930"/>
            </a:xfrm>
            <a:custGeom>
              <a:avLst/>
              <a:gdLst/>
              <a:ahLst/>
              <a:cxnLst/>
              <a:rect l="l" t="t" r="r" b="b"/>
              <a:pathLst>
                <a:path w="9234805" h="1217929">
                  <a:moveTo>
                    <a:pt x="0" y="0"/>
                  </a:moveTo>
                  <a:lnTo>
                    <a:pt x="9234205" y="0"/>
                  </a:lnTo>
                  <a:lnTo>
                    <a:pt x="9234205" y="1217890"/>
                  </a:lnTo>
                  <a:lnTo>
                    <a:pt x="0" y="1217890"/>
                  </a:lnTo>
                  <a:lnTo>
                    <a:pt x="0" y="0"/>
                  </a:lnTo>
                  <a:close/>
                </a:path>
              </a:pathLst>
            </a:custGeom>
            <a:solidFill>
              <a:srgbClr val="ECE4D5">
                <a:alpha val="34899"/>
              </a:srgbClr>
            </a:solidFill>
          </p:spPr>
          <p:txBody>
            <a:bodyPr wrap="square" lIns="0" tIns="0" rIns="0" bIns="0" rtlCol="0"/>
            <a:lstStyle/>
            <a:p>
              <a:endParaRPr/>
            </a:p>
          </p:txBody>
        </p:sp>
        <p:pic>
          <p:nvPicPr>
            <p:cNvPr id="33" name="object 33"/>
            <p:cNvPicPr/>
            <p:nvPr/>
          </p:nvPicPr>
          <p:blipFill>
            <a:blip r:embed="rId2" cstate="print"/>
            <a:stretch>
              <a:fillRect/>
            </a:stretch>
          </p:blipFill>
          <p:spPr>
            <a:xfrm>
              <a:off x="9790831" y="4235755"/>
              <a:ext cx="1267110" cy="1267110"/>
            </a:xfrm>
            <a:prstGeom prst="rect">
              <a:avLst/>
            </a:prstGeom>
          </p:spPr>
        </p:pic>
        <p:sp>
          <p:nvSpPr>
            <p:cNvPr id="34" name="object 34"/>
            <p:cNvSpPr/>
            <p:nvPr/>
          </p:nvSpPr>
          <p:spPr>
            <a:xfrm>
              <a:off x="9903150" y="4334720"/>
              <a:ext cx="1058545" cy="1058545"/>
            </a:xfrm>
            <a:custGeom>
              <a:avLst/>
              <a:gdLst/>
              <a:ahLst/>
              <a:cxnLst/>
              <a:rect l="l" t="t" r="r" b="b"/>
              <a:pathLst>
                <a:path w="1058545" h="1058545">
                  <a:moveTo>
                    <a:pt x="528985" y="1057968"/>
                  </a:moveTo>
                  <a:lnTo>
                    <a:pt x="480835" y="1055806"/>
                  </a:lnTo>
                  <a:lnTo>
                    <a:pt x="433898" y="1049445"/>
                  </a:lnTo>
                  <a:lnTo>
                    <a:pt x="388358" y="1039072"/>
                  </a:lnTo>
                  <a:lnTo>
                    <a:pt x="344404" y="1024873"/>
                  </a:lnTo>
                  <a:lnTo>
                    <a:pt x="302220" y="1007036"/>
                  </a:lnTo>
                  <a:lnTo>
                    <a:pt x="261995" y="985746"/>
                  </a:lnTo>
                  <a:lnTo>
                    <a:pt x="223914" y="961191"/>
                  </a:lnTo>
                  <a:lnTo>
                    <a:pt x="188166" y="933557"/>
                  </a:lnTo>
                  <a:lnTo>
                    <a:pt x="154935" y="903032"/>
                  </a:lnTo>
                  <a:lnTo>
                    <a:pt x="124410" y="869801"/>
                  </a:lnTo>
                  <a:lnTo>
                    <a:pt x="96776" y="834052"/>
                  </a:lnTo>
                  <a:lnTo>
                    <a:pt x="72221" y="795972"/>
                  </a:lnTo>
                  <a:lnTo>
                    <a:pt x="50931" y="755747"/>
                  </a:lnTo>
                  <a:lnTo>
                    <a:pt x="33094" y="713563"/>
                  </a:lnTo>
                  <a:lnTo>
                    <a:pt x="18895" y="669608"/>
                  </a:lnTo>
                  <a:lnTo>
                    <a:pt x="8522" y="624069"/>
                  </a:lnTo>
                  <a:lnTo>
                    <a:pt x="2161" y="577132"/>
                  </a:lnTo>
                  <a:lnTo>
                    <a:pt x="0" y="528997"/>
                  </a:lnTo>
                  <a:lnTo>
                    <a:pt x="2161" y="480835"/>
                  </a:lnTo>
                  <a:lnTo>
                    <a:pt x="8522" y="433898"/>
                  </a:lnTo>
                  <a:lnTo>
                    <a:pt x="18895" y="388358"/>
                  </a:lnTo>
                  <a:lnTo>
                    <a:pt x="33094" y="344404"/>
                  </a:lnTo>
                  <a:lnTo>
                    <a:pt x="50931" y="302220"/>
                  </a:lnTo>
                  <a:lnTo>
                    <a:pt x="72221" y="261995"/>
                  </a:lnTo>
                  <a:lnTo>
                    <a:pt x="96776" y="223914"/>
                  </a:lnTo>
                  <a:lnTo>
                    <a:pt x="124410" y="188166"/>
                  </a:lnTo>
                  <a:lnTo>
                    <a:pt x="154935" y="154935"/>
                  </a:lnTo>
                  <a:lnTo>
                    <a:pt x="188166" y="124410"/>
                  </a:lnTo>
                  <a:lnTo>
                    <a:pt x="223914" y="96776"/>
                  </a:lnTo>
                  <a:lnTo>
                    <a:pt x="261995" y="72221"/>
                  </a:lnTo>
                  <a:lnTo>
                    <a:pt x="302220" y="50931"/>
                  </a:lnTo>
                  <a:lnTo>
                    <a:pt x="344404" y="33094"/>
                  </a:lnTo>
                  <a:lnTo>
                    <a:pt x="388358" y="18895"/>
                  </a:lnTo>
                  <a:lnTo>
                    <a:pt x="433898" y="8522"/>
                  </a:lnTo>
                  <a:lnTo>
                    <a:pt x="480835" y="2161"/>
                  </a:lnTo>
                  <a:lnTo>
                    <a:pt x="528975" y="0"/>
                  </a:lnTo>
                  <a:lnTo>
                    <a:pt x="577132" y="2161"/>
                  </a:lnTo>
                  <a:lnTo>
                    <a:pt x="624069" y="8522"/>
                  </a:lnTo>
                  <a:lnTo>
                    <a:pt x="669608" y="18895"/>
                  </a:lnTo>
                  <a:lnTo>
                    <a:pt x="713563" y="33094"/>
                  </a:lnTo>
                  <a:lnTo>
                    <a:pt x="755746" y="50931"/>
                  </a:lnTo>
                  <a:lnTo>
                    <a:pt x="795972" y="72221"/>
                  </a:lnTo>
                  <a:lnTo>
                    <a:pt x="834052" y="96776"/>
                  </a:lnTo>
                  <a:lnTo>
                    <a:pt x="869801" y="124410"/>
                  </a:lnTo>
                  <a:lnTo>
                    <a:pt x="903032" y="154935"/>
                  </a:lnTo>
                  <a:lnTo>
                    <a:pt x="933557" y="188166"/>
                  </a:lnTo>
                  <a:lnTo>
                    <a:pt x="961191" y="223914"/>
                  </a:lnTo>
                  <a:lnTo>
                    <a:pt x="985746" y="261995"/>
                  </a:lnTo>
                  <a:lnTo>
                    <a:pt x="1007035" y="302220"/>
                  </a:lnTo>
                  <a:lnTo>
                    <a:pt x="1024873" y="344404"/>
                  </a:lnTo>
                  <a:lnTo>
                    <a:pt x="1039072" y="388358"/>
                  </a:lnTo>
                  <a:lnTo>
                    <a:pt x="1049445" y="433898"/>
                  </a:lnTo>
                  <a:lnTo>
                    <a:pt x="1055806" y="480835"/>
                  </a:lnTo>
                  <a:lnTo>
                    <a:pt x="1057967" y="528970"/>
                  </a:lnTo>
                  <a:lnTo>
                    <a:pt x="1055806" y="577132"/>
                  </a:lnTo>
                  <a:lnTo>
                    <a:pt x="1049445" y="624069"/>
                  </a:lnTo>
                  <a:lnTo>
                    <a:pt x="1039072" y="669608"/>
                  </a:lnTo>
                  <a:lnTo>
                    <a:pt x="1024873" y="713563"/>
                  </a:lnTo>
                  <a:lnTo>
                    <a:pt x="1007035" y="755747"/>
                  </a:lnTo>
                  <a:lnTo>
                    <a:pt x="985746" y="795972"/>
                  </a:lnTo>
                  <a:lnTo>
                    <a:pt x="961191" y="834052"/>
                  </a:lnTo>
                  <a:lnTo>
                    <a:pt x="933557" y="869801"/>
                  </a:lnTo>
                  <a:lnTo>
                    <a:pt x="903032" y="903032"/>
                  </a:lnTo>
                  <a:lnTo>
                    <a:pt x="869801" y="933557"/>
                  </a:lnTo>
                  <a:lnTo>
                    <a:pt x="834052" y="961191"/>
                  </a:lnTo>
                  <a:lnTo>
                    <a:pt x="795972" y="985746"/>
                  </a:lnTo>
                  <a:lnTo>
                    <a:pt x="755746" y="1007036"/>
                  </a:lnTo>
                  <a:lnTo>
                    <a:pt x="713563" y="1024873"/>
                  </a:lnTo>
                  <a:lnTo>
                    <a:pt x="669608" y="1039072"/>
                  </a:lnTo>
                  <a:lnTo>
                    <a:pt x="624069" y="1049445"/>
                  </a:lnTo>
                  <a:lnTo>
                    <a:pt x="577132" y="1055806"/>
                  </a:lnTo>
                  <a:lnTo>
                    <a:pt x="528985" y="1057968"/>
                  </a:lnTo>
                  <a:close/>
                </a:path>
              </a:pathLst>
            </a:custGeom>
            <a:solidFill>
              <a:srgbClr val="FFFFFF"/>
            </a:solidFill>
          </p:spPr>
          <p:txBody>
            <a:bodyPr wrap="square" lIns="0" tIns="0" rIns="0" bIns="0" rtlCol="0"/>
            <a:lstStyle/>
            <a:p>
              <a:endParaRPr/>
            </a:p>
          </p:txBody>
        </p:sp>
        <p:sp>
          <p:nvSpPr>
            <p:cNvPr id="35" name="object 35"/>
            <p:cNvSpPr/>
            <p:nvPr/>
          </p:nvSpPr>
          <p:spPr>
            <a:xfrm>
              <a:off x="10090835" y="4559435"/>
              <a:ext cx="684530" cy="493395"/>
            </a:xfrm>
            <a:custGeom>
              <a:avLst/>
              <a:gdLst/>
              <a:ahLst/>
              <a:cxnLst/>
              <a:rect l="l" t="t" r="r" b="b"/>
              <a:pathLst>
                <a:path w="684529" h="493395">
                  <a:moveTo>
                    <a:pt x="608013" y="493222"/>
                  </a:moveTo>
                  <a:lnTo>
                    <a:pt x="76001" y="493222"/>
                  </a:lnTo>
                  <a:lnTo>
                    <a:pt x="46419" y="487259"/>
                  </a:lnTo>
                  <a:lnTo>
                    <a:pt x="22261" y="470996"/>
                  </a:lnTo>
                  <a:lnTo>
                    <a:pt x="5972" y="446877"/>
                  </a:lnTo>
                  <a:lnTo>
                    <a:pt x="0" y="417342"/>
                  </a:lnTo>
                  <a:lnTo>
                    <a:pt x="0" y="75880"/>
                  </a:lnTo>
                  <a:lnTo>
                    <a:pt x="5972" y="46345"/>
                  </a:lnTo>
                  <a:lnTo>
                    <a:pt x="22261" y="22225"/>
                  </a:lnTo>
                  <a:lnTo>
                    <a:pt x="46419" y="5963"/>
                  </a:lnTo>
                  <a:lnTo>
                    <a:pt x="76001" y="0"/>
                  </a:lnTo>
                  <a:lnTo>
                    <a:pt x="608013" y="0"/>
                  </a:lnTo>
                  <a:lnTo>
                    <a:pt x="637595" y="5963"/>
                  </a:lnTo>
                  <a:lnTo>
                    <a:pt x="661753" y="22225"/>
                  </a:lnTo>
                  <a:lnTo>
                    <a:pt x="678042" y="46345"/>
                  </a:lnTo>
                  <a:lnTo>
                    <a:pt x="684015" y="75880"/>
                  </a:lnTo>
                  <a:lnTo>
                    <a:pt x="684015" y="417342"/>
                  </a:lnTo>
                  <a:lnTo>
                    <a:pt x="678042" y="446877"/>
                  </a:lnTo>
                  <a:lnTo>
                    <a:pt x="661753" y="470996"/>
                  </a:lnTo>
                  <a:lnTo>
                    <a:pt x="637595" y="487259"/>
                  </a:lnTo>
                  <a:lnTo>
                    <a:pt x="608013" y="493222"/>
                  </a:lnTo>
                  <a:close/>
                </a:path>
              </a:pathLst>
            </a:custGeom>
            <a:solidFill>
              <a:srgbClr val="009A3A"/>
            </a:solidFill>
          </p:spPr>
          <p:txBody>
            <a:bodyPr wrap="square" lIns="0" tIns="0" rIns="0" bIns="0" rtlCol="0"/>
            <a:lstStyle/>
            <a:p>
              <a:endParaRPr/>
            </a:p>
          </p:txBody>
        </p:sp>
        <p:sp>
          <p:nvSpPr>
            <p:cNvPr id="36" name="object 36"/>
            <p:cNvSpPr/>
            <p:nvPr/>
          </p:nvSpPr>
          <p:spPr>
            <a:xfrm>
              <a:off x="10153004" y="4595003"/>
              <a:ext cx="560070" cy="422275"/>
            </a:xfrm>
            <a:custGeom>
              <a:avLst/>
              <a:gdLst/>
              <a:ahLst/>
              <a:cxnLst/>
              <a:rect l="l" t="t" r="r" b="b"/>
              <a:pathLst>
                <a:path w="560070" h="422275">
                  <a:moveTo>
                    <a:pt x="279838" y="422065"/>
                  </a:moveTo>
                  <a:lnTo>
                    <a:pt x="0" y="211042"/>
                  </a:lnTo>
                  <a:lnTo>
                    <a:pt x="279838" y="0"/>
                  </a:lnTo>
                  <a:lnTo>
                    <a:pt x="559676" y="211042"/>
                  </a:lnTo>
                  <a:lnTo>
                    <a:pt x="279838" y="422065"/>
                  </a:lnTo>
                  <a:close/>
                </a:path>
              </a:pathLst>
            </a:custGeom>
            <a:solidFill>
              <a:srgbClr val="FEDE00"/>
            </a:solidFill>
          </p:spPr>
          <p:txBody>
            <a:bodyPr wrap="square" lIns="0" tIns="0" rIns="0" bIns="0" rtlCol="0"/>
            <a:lstStyle/>
            <a:p>
              <a:endParaRPr/>
            </a:p>
          </p:txBody>
        </p:sp>
        <p:pic>
          <p:nvPicPr>
            <p:cNvPr id="37" name="object 37"/>
            <p:cNvPicPr/>
            <p:nvPr/>
          </p:nvPicPr>
          <p:blipFill>
            <a:blip r:embed="rId6" cstate="print"/>
            <a:stretch>
              <a:fillRect/>
            </a:stretch>
          </p:blipFill>
          <p:spPr>
            <a:xfrm>
              <a:off x="10309682" y="4682095"/>
              <a:ext cx="245409" cy="245017"/>
            </a:xfrm>
            <a:prstGeom prst="rect">
              <a:avLst/>
            </a:prstGeom>
          </p:spPr>
        </p:pic>
      </p:grpSp>
      <p:sp>
        <p:nvSpPr>
          <p:cNvPr id="38" name="object 38"/>
          <p:cNvSpPr txBox="1"/>
          <p:nvPr/>
        </p:nvSpPr>
        <p:spPr>
          <a:xfrm>
            <a:off x="10231749" y="5074957"/>
            <a:ext cx="363220" cy="182245"/>
          </a:xfrm>
          <a:prstGeom prst="rect">
            <a:avLst/>
          </a:prstGeom>
        </p:spPr>
        <p:txBody>
          <a:bodyPr vert="horz" wrap="square" lIns="0" tIns="15875" rIns="0" bIns="0" rtlCol="0">
            <a:spAutoFit/>
          </a:bodyPr>
          <a:lstStyle/>
          <a:p>
            <a:pPr marL="12700">
              <a:lnSpc>
                <a:spcPct val="100000"/>
              </a:lnSpc>
              <a:spcBef>
                <a:spcPts val="125"/>
              </a:spcBef>
            </a:pPr>
            <a:r>
              <a:rPr sz="1000" b="1" spc="-10" dirty="0">
                <a:solidFill>
                  <a:srgbClr val="737373"/>
                </a:solidFill>
                <a:latin typeface="Roboto"/>
                <a:cs typeface="Roboto"/>
              </a:rPr>
              <a:t>Brasil</a:t>
            </a:r>
            <a:endParaRPr sz="1000">
              <a:latin typeface="Roboto"/>
              <a:cs typeface="Roboto"/>
            </a:endParaRPr>
          </a:p>
        </p:txBody>
      </p:sp>
      <p:grpSp>
        <p:nvGrpSpPr>
          <p:cNvPr id="39" name="object 39"/>
          <p:cNvGrpSpPr/>
          <p:nvPr/>
        </p:nvGrpSpPr>
        <p:grpSpPr>
          <a:xfrm>
            <a:off x="16225831" y="4235755"/>
            <a:ext cx="1267460" cy="1267460"/>
            <a:chOff x="16225831" y="4235755"/>
            <a:chExt cx="1267460" cy="1267460"/>
          </a:xfrm>
        </p:grpSpPr>
        <p:pic>
          <p:nvPicPr>
            <p:cNvPr id="40" name="object 40"/>
            <p:cNvPicPr/>
            <p:nvPr/>
          </p:nvPicPr>
          <p:blipFill>
            <a:blip r:embed="rId2" cstate="print"/>
            <a:stretch>
              <a:fillRect/>
            </a:stretch>
          </p:blipFill>
          <p:spPr>
            <a:xfrm>
              <a:off x="16225831" y="4235755"/>
              <a:ext cx="1267110" cy="1267110"/>
            </a:xfrm>
            <a:prstGeom prst="rect">
              <a:avLst/>
            </a:prstGeom>
          </p:spPr>
        </p:pic>
        <p:sp>
          <p:nvSpPr>
            <p:cNvPr id="41" name="object 41"/>
            <p:cNvSpPr/>
            <p:nvPr/>
          </p:nvSpPr>
          <p:spPr>
            <a:xfrm>
              <a:off x="16319681" y="4329082"/>
              <a:ext cx="1058545" cy="1058545"/>
            </a:xfrm>
            <a:custGeom>
              <a:avLst/>
              <a:gdLst/>
              <a:ahLst/>
              <a:cxnLst/>
              <a:rect l="l" t="t" r="r" b="b"/>
              <a:pathLst>
                <a:path w="1058544" h="1058545">
                  <a:moveTo>
                    <a:pt x="528984" y="1057968"/>
                  </a:moveTo>
                  <a:lnTo>
                    <a:pt x="480833" y="1055806"/>
                  </a:lnTo>
                  <a:lnTo>
                    <a:pt x="433896" y="1049445"/>
                  </a:lnTo>
                  <a:lnTo>
                    <a:pt x="388357" y="1039072"/>
                  </a:lnTo>
                  <a:lnTo>
                    <a:pt x="344402" y="1024873"/>
                  </a:lnTo>
                  <a:lnTo>
                    <a:pt x="302218" y="1007035"/>
                  </a:lnTo>
                  <a:lnTo>
                    <a:pt x="261993" y="985746"/>
                  </a:lnTo>
                  <a:lnTo>
                    <a:pt x="223913" y="961191"/>
                  </a:lnTo>
                  <a:lnTo>
                    <a:pt x="188164" y="933557"/>
                  </a:lnTo>
                  <a:lnTo>
                    <a:pt x="154933" y="903032"/>
                  </a:lnTo>
                  <a:lnTo>
                    <a:pt x="124408" y="869801"/>
                  </a:lnTo>
                  <a:lnTo>
                    <a:pt x="96774" y="834052"/>
                  </a:lnTo>
                  <a:lnTo>
                    <a:pt x="72219" y="795972"/>
                  </a:lnTo>
                  <a:lnTo>
                    <a:pt x="50929" y="755746"/>
                  </a:lnTo>
                  <a:lnTo>
                    <a:pt x="33092" y="713563"/>
                  </a:lnTo>
                  <a:lnTo>
                    <a:pt x="18893" y="669608"/>
                  </a:lnTo>
                  <a:lnTo>
                    <a:pt x="8520" y="624069"/>
                  </a:lnTo>
                  <a:lnTo>
                    <a:pt x="2159" y="577132"/>
                  </a:lnTo>
                  <a:lnTo>
                    <a:pt x="0" y="529036"/>
                  </a:lnTo>
                  <a:lnTo>
                    <a:pt x="2159" y="480835"/>
                  </a:lnTo>
                  <a:lnTo>
                    <a:pt x="8520" y="433898"/>
                  </a:lnTo>
                  <a:lnTo>
                    <a:pt x="18893" y="388358"/>
                  </a:lnTo>
                  <a:lnTo>
                    <a:pt x="33092" y="344404"/>
                  </a:lnTo>
                  <a:lnTo>
                    <a:pt x="50929" y="302220"/>
                  </a:lnTo>
                  <a:lnTo>
                    <a:pt x="72219" y="261995"/>
                  </a:lnTo>
                  <a:lnTo>
                    <a:pt x="96774" y="223914"/>
                  </a:lnTo>
                  <a:lnTo>
                    <a:pt x="124408" y="188165"/>
                  </a:lnTo>
                  <a:lnTo>
                    <a:pt x="154933" y="154935"/>
                  </a:lnTo>
                  <a:lnTo>
                    <a:pt x="188164" y="124409"/>
                  </a:lnTo>
                  <a:lnTo>
                    <a:pt x="223913" y="96776"/>
                  </a:lnTo>
                  <a:lnTo>
                    <a:pt x="261993" y="72221"/>
                  </a:lnTo>
                  <a:lnTo>
                    <a:pt x="302218" y="50931"/>
                  </a:lnTo>
                  <a:lnTo>
                    <a:pt x="344402" y="33094"/>
                  </a:lnTo>
                  <a:lnTo>
                    <a:pt x="388357" y="18895"/>
                  </a:lnTo>
                  <a:lnTo>
                    <a:pt x="433896" y="8522"/>
                  </a:lnTo>
                  <a:lnTo>
                    <a:pt x="480833" y="2161"/>
                  </a:lnTo>
                  <a:lnTo>
                    <a:pt x="528970" y="0"/>
                  </a:lnTo>
                  <a:lnTo>
                    <a:pt x="577130" y="2161"/>
                  </a:lnTo>
                  <a:lnTo>
                    <a:pt x="624067" y="8522"/>
                  </a:lnTo>
                  <a:lnTo>
                    <a:pt x="669606" y="18895"/>
                  </a:lnTo>
                  <a:lnTo>
                    <a:pt x="713561" y="33094"/>
                  </a:lnTo>
                  <a:lnTo>
                    <a:pt x="755744" y="50931"/>
                  </a:lnTo>
                  <a:lnTo>
                    <a:pt x="795970" y="72221"/>
                  </a:lnTo>
                  <a:lnTo>
                    <a:pt x="834050" y="96776"/>
                  </a:lnTo>
                  <a:lnTo>
                    <a:pt x="869799" y="124409"/>
                  </a:lnTo>
                  <a:lnTo>
                    <a:pt x="903030" y="154935"/>
                  </a:lnTo>
                  <a:lnTo>
                    <a:pt x="933555" y="188165"/>
                  </a:lnTo>
                  <a:lnTo>
                    <a:pt x="961189" y="223914"/>
                  </a:lnTo>
                  <a:lnTo>
                    <a:pt x="985744" y="261995"/>
                  </a:lnTo>
                  <a:lnTo>
                    <a:pt x="1007033" y="302220"/>
                  </a:lnTo>
                  <a:lnTo>
                    <a:pt x="1024871" y="344404"/>
                  </a:lnTo>
                  <a:lnTo>
                    <a:pt x="1039070" y="388358"/>
                  </a:lnTo>
                  <a:lnTo>
                    <a:pt x="1049443" y="433898"/>
                  </a:lnTo>
                  <a:lnTo>
                    <a:pt x="1055804" y="480835"/>
                  </a:lnTo>
                  <a:lnTo>
                    <a:pt x="1057963" y="528931"/>
                  </a:lnTo>
                  <a:lnTo>
                    <a:pt x="1055804" y="577132"/>
                  </a:lnTo>
                  <a:lnTo>
                    <a:pt x="1049443" y="624069"/>
                  </a:lnTo>
                  <a:lnTo>
                    <a:pt x="1039070" y="669608"/>
                  </a:lnTo>
                  <a:lnTo>
                    <a:pt x="1024871" y="713563"/>
                  </a:lnTo>
                  <a:lnTo>
                    <a:pt x="1007033" y="755746"/>
                  </a:lnTo>
                  <a:lnTo>
                    <a:pt x="985744" y="795972"/>
                  </a:lnTo>
                  <a:lnTo>
                    <a:pt x="961189" y="834052"/>
                  </a:lnTo>
                  <a:lnTo>
                    <a:pt x="933555" y="869801"/>
                  </a:lnTo>
                  <a:lnTo>
                    <a:pt x="903030" y="903032"/>
                  </a:lnTo>
                  <a:lnTo>
                    <a:pt x="869799" y="933557"/>
                  </a:lnTo>
                  <a:lnTo>
                    <a:pt x="834050" y="961191"/>
                  </a:lnTo>
                  <a:lnTo>
                    <a:pt x="795970" y="985746"/>
                  </a:lnTo>
                  <a:lnTo>
                    <a:pt x="755744" y="1007035"/>
                  </a:lnTo>
                  <a:lnTo>
                    <a:pt x="713561" y="1024873"/>
                  </a:lnTo>
                  <a:lnTo>
                    <a:pt x="669606" y="1039072"/>
                  </a:lnTo>
                  <a:lnTo>
                    <a:pt x="624067" y="1049445"/>
                  </a:lnTo>
                  <a:lnTo>
                    <a:pt x="577130" y="1055806"/>
                  </a:lnTo>
                  <a:lnTo>
                    <a:pt x="528984" y="1057968"/>
                  </a:lnTo>
                  <a:close/>
                </a:path>
              </a:pathLst>
            </a:custGeom>
            <a:solidFill>
              <a:srgbClr val="FFFFFF"/>
            </a:solidFill>
          </p:spPr>
          <p:txBody>
            <a:bodyPr wrap="square" lIns="0" tIns="0" rIns="0" bIns="0" rtlCol="0"/>
            <a:lstStyle/>
            <a:p>
              <a:endParaRPr/>
            </a:p>
          </p:txBody>
        </p:sp>
      </p:grpSp>
      <p:sp>
        <p:nvSpPr>
          <p:cNvPr id="42" name="object 42"/>
          <p:cNvSpPr txBox="1"/>
          <p:nvPr/>
        </p:nvSpPr>
        <p:spPr>
          <a:xfrm>
            <a:off x="16666747" y="5074957"/>
            <a:ext cx="344805" cy="182245"/>
          </a:xfrm>
          <a:prstGeom prst="rect">
            <a:avLst/>
          </a:prstGeom>
        </p:spPr>
        <p:txBody>
          <a:bodyPr vert="horz" wrap="square" lIns="0" tIns="15875" rIns="0" bIns="0" rtlCol="0">
            <a:spAutoFit/>
          </a:bodyPr>
          <a:lstStyle/>
          <a:p>
            <a:pPr marL="12700">
              <a:lnSpc>
                <a:spcPct val="100000"/>
              </a:lnSpc>
              <a:spcBef>
                <a:spcPts val="125"/>
              </a:spcBef>
            </a:pPr>
            <a:r>
              <a:rPr sz="1000" b="1" spc="-20" dirty="0">
                <a:solidFill>
                  <a:srgbClr val="737373"/>
                </a:solidFill>
                <a:latin typeface="Roboto"/>
                <a:cs typeface="Roboto"/>
              </a:rPr>
              <a:t>EEUU</a:t>
            </a:r>
            <a:endParaRPr sz="1000">
              <a:latin typeface="Roboto"/>
              <a:cs typeface="Roboto"/>
            </a:endParaRPr>
          </a:p>
        </p:txBody>
      </p:sp>
      <p:grpSp>
        <p:nvGrpSpPr>
          <p:cNvPr id="43" name="object 43"/>
          <p:cNvGrpSpPr/>
          <p:nvPr/>
        </p:nvGrpSpPr>
        <p:grpSpPr>
          <a:xfrm>
            <a:off x="11077831" y="4235755"/>
            <a:ext cx="6240780" cy="1267460"/>
            <a:chOff x="11077831" y="4235755"/>
            <a:chExt cx="6240780" cy="1267460"/>
          </a:xfrm>
        </p:grpSpPr>
        <p:pic>
          <p:nvPicPr>
            <p:cNvPr id="44" name="object 44"/>
            <p:cNvPicPr/>
            <p:nvPr/>
          </p:nvPicPr>
          <p:blipFill>
            <a:blip r:embed="rId7" cstate="print"/>
            <a:stretch>
              <a:fillRect/>
            </a:stretch>
          </p:blipFill>
          <p:spPr>
            <a:xfrm>
              <a:off x="16432348" y="4509054"/>
              <a:ext cx="885855" cy="672801"/>
            </a:xfrm>
            <a:prstGeom prst="rect">
              <a:avLst/>
            </a:prstGeom>
          </p:spPr>
        </p:pic>
        <p:pic>
          <p:nvPicPr>
            <p:cNvPr id="45" name="object 45"/>
            <p:cNvPicPr/>
            <p:nvPr/>
          </p:nvPicPr>
          <p:blipFill>
            <a:blip r:embed="rId8" cstate="print"/>
            <a:stretch>
              <a:fillRect/>
            </a:stretch>
          </p:blipFill>
          <p:spPr>
            <a:xfrm>
              <a:off x="11077831" y="4235755"/>
              <a:ext cx="1267110" cy="1267110"/>
            </a:xfrm>
            <a:prstGeom prst="rect">
              <a:avLst/>
            </a:prstGeom>
          </p:spPr>
        </p:pic>
        <p:sp>
          <p:nvSpPr>
            <p:cNvPr id="46" name="object 46"/>
            <p:cNvSpPr/>
            <p:nvPr/>
          </p:nvSpPr>
          <p:spPr>
            <a:xfrm>
              <a:off x="11190150" y="4334720"/>
              <a:ext cx="1058545" cy="1058545"/>
            </a:xfrm>
            <a:custGeom>
              <a:avLst/>
              <a:gdLst/>
              <a:ahLst/>
              <a:cxnLst/>
              <a:rect l="l" t="t" r="r" b="b"/>
              <a:pathLst>
                <a:path w="1058545" h="1058545">
                  <a:moveTo>
                    <a:pt x="528984" y="1057968"/>
                  </a:moveTo>
                  <a:lnTo>
                    <a:pt x="480835" y="1055806"/>
                  </a:lnTo>
                  <a:lnTo>
                    <a:pt x="433897" y="1049445"/>
                  </a:lnTo>
                  <a:lnTo>
                    <a:pt x="388358" y="1039072"/>
                  </a:lnTo>
                  <a:lnTo>
                    <a:pt x="344403" y="1024873"/>
                  </a:lnTo>
                  <a:lnTo>
                    <a:pt x="302220" y="1007036"/>
                  </a:lnTo>
                  <a:lnTo>
                    <a:pt x="261995" y="985746"/>
                  </a:lnTo>
                  <a:lnTo>
                    <a:pt x="223914" y="961191"/>
                  </a:lnTo>
                  <a:lnTo>
                    <a:pt x="188165" y="933557"/>
                  </a:lnTo>
                  <a:lnTo>
                    <a:pt x="154935" y="903032"/>
                  </a:lnTo>
                  <a:lnTo>
                    <a:pt x="124409" y="869801"/>
                  </a:lnTo>
                  <a:lnTo>
                    <a:pt x="96775" y="834052"/>
                  </a:lnTo>
                  <a:lnTo>
                    <a:pt x="72220" y="795972"/>
                  </a:lnTo>
                  <a:lnTo>
                    <a:pt x="50931" y="755747"/>
                  </a:lnTo>
                  <a:lnTo>
                    <a:pt x="33093" y="713563"/>
                  </a:lnTo>
                  <a:lnTo>
                    <a:pt x="18894" y="669608"/>
                  </a:lnTo>
                  <a:lnTo>
                    <a:pt x="8521" y="624069"/>
                  </a:lnTo>
                  <a:lnTo>
                    <a:pt x="2160" y="577132"/>
                  </a:lnTo>
                  <a:lnTo>
                    <a:pt x="0" y="529006"/>
                  </a:lnTo>
                  <a:lnTo>
                    <a:pt x="2160" y="480835"/>
                  </a:lnTo>
                  <a:lnTo>
                    <a:pt x="8521" y="433898"/>
                  </a:lnTo>
                  <a:lnTo>
                    <a:pt x="18894" y="388358"/>
                  </a:lnTo>
                  <a:lnTo>
                    <a:pt x="33093" y="344404"/>
                  </a:lnTo>
                  <a:lnTo>
                    <a:pt x="50931" y="302220"/>
                  </a:lnTo>
                  <a:lnTo>
                    <a:pt x="72220" y="261995"/>
                  </a:lnTo>
                  <a:lnTo>
                    <a:pt x="96775" y="223914"/>
                  </a:lnTo>
                  <a:lnTo>
                    <a:pt x="124409" y="188166"/>
                  </a:lnTo>
                  <a:lnTo>
                    <a:pt x="154935" y="154935"/>
                  </a:lnTo>
                  <a:lnTo>
                    <a:pt x="188165" y="124410"/>
                  </a:lnTo>
                  <a:lnTo>
                    <a:pt x="223914" y="96776"/>
                  </a:lnTo>
                  <a:lnTo>
                    <a:pt x="261995" y="72221"/>
                  </a:lnTo>
                  <a:lnTo>
                    <a:pt x="302220" y="50931"/>
                  </a:lnTo>
                  <a:lnTo>
                    <a:pt x="344403" y="33094"/>
                  </a:lnTo>
                  <a:lnTo>
                    <a:pt x="388358" y="18895"/>
                  </a:lnTo>
                  <a:lnTo>
                    <a:pt x="433897" y="8522"/>
                  </a:lnTo>
                  <a:lnTo>
                    <a:pt x="480835" y="2161"/>
                  </a:lnTo>
                  <a:lnTo>
                    <a:pt x="528975" y="0"/>
                  </a:lnTo>
                  <a:lnTo>
                    <a:pt x="577131" y="2161"/>
                  </a:lnTo>
                  <a:lnTo>
                    <a:pt x="624069" y="8522"/>
                  </a:lnTo>
                  <a:lnTo>
                    <a:pt x="669608" y="18895"/>
                  </a:lnTo>
                  <a:lnTo>
                    <a:pt x="713563" y="33094"/>
                  </a:lnTo>
                  <a:lnTo>
                    <a:pt x="755746" y="50931"/>
                  </a:lnTo>
                  <a:lnTo>
                    <a:pt x="795972" y="72221"/>
                  </a:lnTo>
                  <a:lnTo>
                    <a:pt x="834052" y="96776"/>
                  </a:lnTo>
                  <a:lnTo>
                    <a:pt x="869801" y="124410"/>
                  </a:lnTo>
                  <a:lnTo>
                    <a:pt x="903031" y="154935"/>
                  </a:lnTo>
                  <a:lnTo>
                    <a:pt x="933557" y="188166"/>
                  </a:lnTo>
                  <a:lnTo>
                    <a:pt x="961190" y="223914"/>
                  </a:lnTo>
                  <a:lnTo>
                    <a:pt x="985745" y="261995"/>
                  </a:lnTo>
                  <a:lnTo>
                    <a:pt x="1007035" y="302220"/>
                  </a:lnTo>
                  <a:lnTo>
                    <a:pt x="1024873" y="344404"/>
                  </a:lnTo>
                  <a:lnTo>
                    <a:pt x="1039071" y="388358"/>
                  </a:lnTo>
                  <a:lnTo>
                    <a:pt x="1049445" y="433898"/>
                  </a:lnTo>
                  <a:lnTo>
                    <a:pt x="1055805" y="480835"/>
                  </a:lnTo>
                  <a:lnTo>
                    <a:pt x="1057966" y="528961"/>
                  </a:lnTo>
                  <a:lnTo>
                    <a:pt x="1055805" y="577132"/>
                  </a:lnTo>
                  <a:lnTo>
                    <a:pt x="1049445" y="624069"/>
                  </a:lnTo>
                  <a:lnTo>
                    <a:pt x="1039071" y="669608"/>
                  </a:lnTo>
                  <a:lnTo>
                    <a:pt x="1024873" y="713563"/>
                  </a:lnTo>
                  <a:lnTo>
                    <a:pt x="1007035" y="755747"/>
                  </a:lnTo>
                  <a:lnTo>
                    <a:pt x="985745" y="795972"/>
                  </a:lnTo>
                  <a:lnTo>
                    <a:pt x="961190" y="834052"/>
                  </a:lnTo>
                  <a:lnTo>
                    <a:pt x="933557" y="869801"/>
                  </a:lnTo>
                  <a:lnTo>
                    <a:pt x="903031" y="903032"/>
                  </a:lnTo>
                  <a:lnTo>
                    <a:pt x="869801" y="933557"/>
                  </a:lnTo>
                  <a:lnTo>
                    <a:pt x="834052" y="961191"/>
                  </a:lnTo>
                  <a:lnTo>
                    <a:pt x="795972" y="985746"/>
                  </a:lnTo>
                  <a:lnTo>
                    <a:pt x="755746" y="1007036"/>
                  </a:lnTo>
                  <a:lnTo>
                    <a:pt x="713563" y="1024873"/>
                  </a:lnTo>
                  <a:lnTo>
                    <a:pt x="669608" y="1039072"/>
                  </a:lnTo>
                  <a:lnTo>
                    <a:pt x="624069" y="1049445"/>
                  </a:lnTo>
                  <a:lnTo>
                    <a:pt x="577131" y="1055806"/>
                  </a:lnTo>
                  <a:lnTo>
                    <a:pt x="528984" y="1057968"/>
                  </a:lnTo>
                  <a:close/>
                </a:path>
              </a:pathLst>
            </a:custGeom>
            <a:solidFill>
              <a:srgbClr val="FFFFFF"/>
            </a:solidFill>
          </p:spPr>
          <p:txBody>
            <a:bodyPr wrap="square" lIns="0" tIns="0" rIns="0" bIns="0" rtlCol="0"/>
            <a:lstStyle/>
            <a:p>
              <a:endParaRPr/>
            </a:p>
          </p:txBody>
        </p:sp>
        <p:sp>
          <p:nvSpPr>
            <p:cNvPr id="47" name="object 47"/>
            <p:cNvSpPr/>
            <p:nvPr/>
          </p:nvSpPr>
          <p:spPr>
            <a:xfrm>
              <a:off x="11811540" y="4602978"/>
              <a:ext cx="187325" cy="403860"/>
            </a:xfrm>
            <a:custGeom>
              <a:avLst/>
              <a:gdLst/>
              <a:ahLst/>
              <a:cxnLst/>
              <a:rect l="l" t="t" r="r" b="b"/>
              <a:pathLst>
                <a:path w="187325" h="403860">
                  <a:moveTo>
                    <a:pt x="124592" y="403516"/>
                  </a:moveTo>
                  <a:lnTo>
                    <a:pt x="0" y="403516"/>
                  </a:lnTo>
                  <a:lnTo>
                    <a:pt x="0" y="0"/>
                  </a:lnTo>
                  <a:lnTo>
                    <a:pt x="124592" y="0"/>
                  </a:lnTo>
                  <a:lnTo>
                    <a:pt x="148840" y="4878"/>
                  </a:lnTo>
                  <a:lnTo>
                    <a:pt x="168642" y="18183"/>
                  </a:lnTo>
                  <a:lnTo>
                    <a:pt x="181993" y="37916"/>
                  </a:lnTo>
                  <a:lnTo>
                    <a:pt x="186889" y="62079"/>
                  </a:lnTo>
                  <a:lnTo>
                    <a:pt x="186889" y="341437"/>
                  </a:lnTo>
                  <a:lnTo>
                    <a:pt x="181993" y="365600"/>
                  </a:lnTo>
                  <a:lnTo>
                    <a:pt x="168642" y="385333"/>
                  </a:lnTo>
                  <a:lnTo>
                    <a:pt x="148840" y="398637"/>
                  </a:lnTo>
                  <a:lnTo>
                    <a:pt x="124592" y="403516"/>
                  </a:lnTo>
                  <a:close/>
                </a:path>
              </a:pathLst>
            </a:custGeom>
            <a:solidFill>
              <a:srgbClr val="EC2938"/>
            </a:solidFill>
          </p:spPr>
          <p:txBody>
            <a:bodyPr wrap="square" lIns="0" tIns="0" rIns="0" bIns="0" rtlCol="0"/>
            <a:lstStyle/>
            <a:p>
              <a:endParaRPr/>
            </a:p>
          </p:txBody>
        </p:sp>
        <p:sp>
          <p:nvSpPr>
            <p:cNvPr id="48" name="object 48"/>
            <p:cNvSpPr/>
            <p:nvPr/>
          </p:nvSpPr>
          <p:spPr>
            <a:xfrm>
              <a:off x="11437761" y="4602978"/>
              <a:ext cx="187325" cy="403860"/>
            </a:xfrm>
            <a:custGeom>
              <a:avLst/>
              <a:gdLst/>
              <a:ahLst/>
              <a:cxnLst/>
              <a:rect l="l" t="t" r="r" b="b"/>
              <a:pathLst>
                <a:path w="187325" h="403860">
                  <a:moveTo>
                    <a:pt x="186889" y="403516"/>
                  </a:moveTo>
                  <a:lnTo>
                    <a:pt x="62296" y="403516"/>
                  </a:lnTo>
                  <a:lnTo>
                    <a:pt x="38048" y="398637"/>
                  </a:lnTo>
                  <a:lnTo>
                    <a:pt x="18247" y="385333"/>
                  </a:lnTo>
                  <a:lnTo>
                    <a:pt x="4895" y="365600"/>
                  </a:lnTo>
                  <a:lnTo>
                    <a:pt x="0" y="341437"/>
                  </a:lnTo>
                  <a:lnTo>
                    <a:pt x="0" y="62079"/>
                  </a:lnTo>
                  <a:lnTo>
                    <a:pt x="4895" y="37916"/>
                  </a:lnTo>
                  <a:lnTo>
                    <a:pt x="18247" y="18183"/>
                  </a:lnTo>
                  <a:lnTo>
                    <a:pt x="38048" y="4878"/>
                  </a:lnTo>
                  <a:lnTo>
                    <a:pt x="62296" y="0"/>
                  </a:lnTo>
                  <a:lnTo>
                    <a:pt x="186889" y="0"/>
                  </a:lnTo>
                  <a:lnTo>
                    <a:pt x="186889" y="403516"/>
                  </a:lnTo>
                  <a:close/>
                </a:path>
              </a:pathLst>
            </a:custGeom>
            <a:solidFill>
              <a:srgbClr val="002494"/>
            </a:solidFill>
          </p:spPr>
          <p:txBody>
            <a:bodyPr wrap="square" lIns="0" tIns="0" rIns="0" bIns="0" rtlCol="0"/>
            <a:lstStyle/>
            <a:p>
              <a:endParaRPr/>
            </a:p>
          </p:txBody>
        </p:sp>
        <p:sp>
          <p:nvSpPr>
            <p:cNvPr id="49" name="object 49"/>
            <p:cNvSpPr/>
            <p:nvPr/>
          </p:nvSpPr>
          <p:spPr>
            <a:xfrm>
              <a:off x="11624650" y="4602978"/>
              <a:ext cx="187325" cy="403860"/>
            </a:xfrm>
            <a:custGeom>
              <a:avLst/>
              <a:gdLst/>
              <a:ahLst/>
              <a:cxnLst/>
              <a:rect l="l" t="t" r="r" b="b"/>
              <a:pathLst>
                <a:path w="187325" h="403860">
                  <a:moveTo>
                    <a:pt x="186889" y="403516"/>
                  </a:moveTo>
                  <a:lnTo>
                    <a:pt x="0" y="403516"/>
                  </a:lnTo>
                  <a:lnTo>
                    <a:pt x="0" y="0"/>
                  </a:lnTo>
                  <a:lnTo>
                    <a:pt x="186889" y="0"/>
                  </a:lnTo>
                  <a:lnTo>
                    <a:pt x="186889" y="403516"/>
                  </a:lnTo>
                  <a:close/>
                </a:path>
              </a:pathLst>
            </a:custGeom>
            <a:solidFill>
              <a:srgbClr val="EDEDED"/>
            </a:solidFill>
          </p:spPr>
          <p:txBody>
            <a:bodyPr wrap="square" lIns="0" tIns="0" rIns="0" bIns="0" rtlCol="0"/>
            <a:lstStyle/>
            <a:p>
              <a:endParaRPr/>
            </a:p>
          </p:txBody>
        </p:sp>
      </p:grpSp>
      <p:sp>
        <p:nvSpPr>
          <p:cNvPr id="50" name="object 50"/>
          <p:cNvSpPr txBox="1"/>
          <p:nvPr/>
        </p:nvSpPr>
        <p:spPr>
          <a:xfrm>
            <a:off x="12706627" y="8588956"/>
            <a:ext cx="601345" cy="182245"/>
          </a:xfrm>
          <a:prstGeom prst="rect">
            <a:avLst/>
          </a:prstGeom>
        </p:spPr>
        <p:txBody>
          <a:bodyPr vert="horz" wrap="square" lIns="0" tIns="15875" rIns="0" bIns="0" rtlCol="0">
            <a:spAutoFit/>
          </a:bodyPr>
          <a:lstStyle/>
          <a:p>
            <a:pPr marL="12700">
              <a:lnSpc>
                <a:spcPct val="100000"/>
              </a:lnSpc>
              <a:spcBef>
                <a:spcPts val="125"/>
              </a:spcBef>
            </a:pPr>
            <a:r>
              <a:rPr sz="1000" b="1" spc="-10" dirty="0">
                <a:solidFill>
                  <a:srgbClr val="737373"/>
                </a:solidFill>
                <a:latin typeface="Roboto"/>
                <a:cs typeface="Roboto"/>
              </a:rPr>
              <a:t>Argentina</a:t>
            </a:r>
            <a:endParaRPr sz="1000">
              <a:latin typeface="Roboto"/>
              <a:cs typeface="Roboto"/>
            </a:endParaRPr>
          </a:p>
        </p:txBody>
      </p:sp>
      <p:sp>
        <p:nvSpPr>
          <p:cNvPr id="51" name="object 51"/>
          <p:cNvSpPr txBox="1"/>
          <p:nvPr/>
        </p:nvSpPr>
        <p:spPr>
          <a:xfrm>
            <a:off x="11533940" y="6813505"/>
            <a:ext cx="370840" cy="182245"/>
          </a:xfrm>
          <a:prstGeom prst="rect">
            <a:avLst/>
          </a:prstGeom>
        </p:spPr>
        <p:txBody>
          <a:bodyPr vert="horz" wrap="square" lIns="0" tIns="16510" rIns="0" bIns="0" rtlCol="0">
            <a:spAutoFit/>
          </a:bodyPr>
          <a:lstStyle/>
          <a:p>
            <a:pPr marL="12700">
              <a:lnSpc>
                <a:spcPct val="100000"/>
              </a:lnSpc>
              <a:spcBef>
                <a:spcPts val="130"/>
              </a:spcBef>
            </a:pPr>
            <a:r>
              <a:rPr sz="1000" b="1" spc="-20" dirty="0">
                <a:solidFill>
                  <a:srgbClr val="737373"/>
                </a:solidFill>
                <a:latin typeface="Roboto"/>
                <a:cs typeface="Roboto"/>
              </a:rPr>
              <a:t>CABA</a:t>
            </a:r>
            <a:endParaRPr sz="1000">
              <a:latin typeface="Roboto"/>
              <a:cs typeface="Roboto"/>
            </a:endParaRPr>
          </a:p>
        </p:txBody>
      </p:sp>
      <p:sp>
        <p:nvSpPr>
          <p:cNvPr id="52" name="object 52"/>
          <p:cNvSpPr txBox="1"/>
          <p:nvPr/>
        </p:nvSpPr>
        <p:spPr>
          <a:xfrm>
            <a:off x="877152" y="4493816"/>
            <a:ext cx="1763395" cy="765810"/>
          </a:xfrm>
          <a:prstGeom prst="rect">
            <a:avLst/>
          </a:prstGeom>
        </p:spPr>
        <p:txBody>
          <a:bodyPr vert="horz" wrap="square" lIns="0" tIns="12065" rIns="0" bIns="0" rtlCol="0">
            <a:spAutoFit/>
          </a:bodyPr>
          <a:lstStyle/>
          <a:p>
            <a:pPr marL="530225" marR="5080" indent="-518159">
              <a:lnSpc>
                <a:spcPct val="115599"/>
              </a:lnSpc>
              <a:spcBef>
                <a:spcPts val="95"/>
              </a:spcBef>
            </a:pPr>
            <a:r>
              <a:rPr sz="2100" b="1" spc="-10" dirty="0">
                <a:solidFill>
                  <a:srgbClr val="FFFFFF"/>
                </a:solidFill>
                <a:latin typeface="Arial"/>
                <a:cs typeface="Arial"/>
              </a:rPr>
              <a:t>ESTRATEGIA </a:t>
            </a:r>
            <a:r>
              <a:rPr sz="2100" b="1" spc="285" dirty="0">
                <a:solidFill>
                  <a:srgbClr val="FFFFFF"/>
                </a:solidFill>
                <a:latin typeface="Arial"/>
                <a:cs typeface="Arial"/>
              </a:rPr>
              <a:t>360º</a:t>
            </a:r>
            <a:endParaRPr sz="2100">
              <a:latin typeface="Arial"/>
              <a:cs typeface="Arial"/>
            </a:endParaRPr>
          </a:p>
        </p:txBody>
      </p:sp>
      <p:sp>
        <p:nvSpPr>
          <p:cNvPr id="53" name="object 53"/>
          <p:cNvSpPr txBox="1"/>
          <p:nvPr/>
        </p:nvSpPr>
        <p:spPr>
          <a:xfrm>
            <a:off x="854725" y="6334121"/>
            <a:ext cx="1763395" cy="765810"/>
          </a:xfrm>
          <a:prstGeom prst="rect">
            <a:avLst/>
          </a:prstGeom>
        </p:spPr>
        <p:txBody>
          <a:bodyPr vert="horz" wrap="square" lIns="0" tIns="61594" rIns="0" bIns="0" rtlCol="0">
            <a:spAutoFit/>
          </a:bodyPr>
          <a:lstStyle/>
          <a:p>
            <a:pPr algn="ctr">
              <a:lnSpc>
                <a:spcPct val="100000"/>
              </a:lnSpc>
              <a:spcBef>
                <a:spcPts val="484"/>
              </a:spcBef>
            </a:pPr>
            <a:r>
              <a:rPr sz="2100" b="1" spc="-10" dirty="0">
                <a:solidFill>
                  <a:srgbClr val="FFFFFF"/>
                </a:solidFill>
                <a:latin typeface="Arial"/>
                <a:cs typeface="Arial"/>
              </a:rPr>
              <a:t>ESTRATEGIA</a:t>
            </a:r>
            <a:endParaRPr sz="2100">
              <a:latin typeface="Arial"/>
              <a:cs typeface="Arial"/>
            </a:endParaRPr>
          </a:p>
          <a:p>
            <a:pPr algn="ctr">
              <a:lnSpc>
                <a:spcPct val="100000"/>
              </a:lnSpc>
              <a:spcBef>
                <a:spcPts val="395"/>
              </a:spcBef>
            </a:pPr>
            <a:r>
              <a:rPr sz="2100" b="1" spc="305" dirty="0">
                <a:solidFill>
                  <a:srgbClr val="FFFFFF"/>
                </a:solidFill>
                <a:latin typeface="Arial"/>
                <a:cs typeface="Arial"/>
              </a:rPr>
              <a:t>90º</a:t>
            </a:r>
            <a:endParaRPr sz="2100">
              <a:latin typeface="Arial"/>
              <a:cs typeface="Arial"/>
            </a:endParaRPr>
          </a:p>
        </p:txBody>
      </p:sp>
      <p:sp>
        <p:nvSpPr>
          <p:cNvPr id="54" name="object 54"/>
          <p:cNvSpPr txBox="1"/>
          <p:nvPr/>
        </p:nvSpPr>
        <p:spPr>
          <a:xfrm>
            <a:off x="605973" y="8007570"/>
            <a:ext cx="2237740" cy="765810"/>
          </a:xfrm>
          <a:prstGeom prst="rect">
            <a:avLst/>
          </a:prstGeom>
        </p:spPr>
        <p:txBody>
          <a:bodyPr vert="horz" wrap="square" lIns="0" tIns="12065" rIns="0" bIns="0" rtlCol="0">
            <a:spAutoFit/>
          </a:bodyPr>
          <a:lstStyle/>
          <a:p>
            <a:pPr marL="35560" marR="5080" indent="-23495">
              <a:lnSpc>
                <a:spcPct val="115599"/>
              </a:lnSpc>
              <a:spcBef>
                <a:spcPts val="95"/>
              </a:spcBef>
            </a:pPr>
            <a:r>
              <a:rPr sz="2100" b="1" spc="85" dirty="0">
                <a:solidFill>
                  <a:srgbClr val="FFFFFF"/>
                </a:solidFill>
                <a:latin typeface="Arial"/>
                <a:cs typeface="Arial"/>
              </a:rPr>
              <a:t>COOPERACIÓN </a:t>
            </a:r>
            <a:r>
              <a:rPr sz="2100" b="1" spc="170" dirty="0">
                <a:solidFill>
                  <a:srgbClr val="FFFFFF"/>
                </a:solidFill>
                <a:latin typeface="Arial"/>
                <a:cs typeface="Arial"/>
              </a:rPr>
              <a:t>CON</a:t>
            </a:r>
            <a:r>
              <a:rPr sz="2100" b="1" spc="5" dirty="0">
                <a:solidFill>
                  <a:srgbClr val="FFFFFF"/>
                </a:solidFill>
                <a:latin typeface="Arial"/>
                <a:cs typeface="Arial"/>
              </a:rPr>
              <a:t> </a:t>
            </a:r>
            <a:r>
              <a:rPr sz="2100" b="1" spc="-10" dirty="0">
                <a:solidFill>
                  <a:srgbClr val="FFFFFF"/>
                </a:solidFill>
                <a:latin typeface="Arial"/>
                <a:cs typeface="Arial"/>
              </a:rPr>
              <a:t>REGIONES</a:t>
            </a:r>
            <a:endParaRPr sz="2100">
              <a:latin typeface="Arial"/>
              <a:cs typeface="Arial"/>
            </a:endParaRPr>
          </a:p>
        </p:txBody>
      </p:sp>
      <p:sp>
        <p:nvSpPr>
          <p:cNvPr id="55" name="object 55"/>
          <p:cNvSpPr txBox="1"/>
          <p:nvPr/>
        </p:nvSpPr>
        <p:spPr>
          <a:xfrm>
            <a:off x="9369256" y="7978517"/>
            <a:ext cx="1612265" cy="765810"/>
          </a:xfrm>
          <a:prstGeom prst="rect">
            <a:avLst/>
          </a:prstGeom>
        </p:spPr>
        <p:txBody>
          <a:bodyPr vert="horz" wrap="square" lIns="0" tIns="12065" rIns="0" bIns="0" rtlCol="0">
            <a:spAutoFit/>
          </a:bodyPr>
          <a:lstStyle/>
          <a:p>
            <a:pPr marL="12700" marR="5080">
              <a:lnSpc>
                <a:spcPct val="115599"/>
              </a:lnSpc>
              <a:spcBef>
                <a:spcPts val="95"/>
              </a:spcBef>
            </a:pPr>
            <a:r>
              <a:rPr sz="2100" spc="-10" dirty="0">
                <a:solidFill>
                  <a:srgbClr val="FFFFFF"/>
                </a:solidFill>
                <a:latin typeface="Roboto"/>
                <a:cs typeface="Roboto"/>
              </a:rPr>
              <a:t>LIMÍTROFES INMEDIATOS</a:t>
            </a:r>
            <a:endParaRPr sz="2100">
              <a:latin typeface="Roboto"/>
              <a:cs typeface="Roboto"/>
            </a:endParaRPr>
          </a:p>
        </p:txBody>
      </p:sp>
      <p:sp>
        <p:nvSpPr>
          <p:cNvPr id="56" name="object 56"/>
          <p:cNvSpPr txBox="1"/>
          <p:nvPr/>
        </p:nvSpPr>
        <p:spPr>
          <a:xfrm>
            <a:off x="3814294" y="4363425"/>
            <a:ext cx="596265" cy="673100"/>
          </a:xfrm>
          <a:prstGeom prst="rect">
            <a:avLst/>
          </a:prstGeom>
        </p:spPr>
        <p:txBody>
          <a:bodyPr vert="horz" wrap="square" lIns="0" tIns="53975" rIns="0" bIns="0" rtlCol="0">
            <a:spAutoFit/>
          </a:bodyPr>
          <a:lstStyle/>
          <a:p>
            <a:pPr marL="142875" indent="-130175">
              <a:lnSpc>
                <a:spcPct val="100000"/>
              </a:lnSpc>
              <a:spcBef>
                <a:spcPts val="425"/>
              </a:spcBef>
              <a:buChar char="·"/>
              <a:tabLst>
                <a:tab pos="142875" algn="l"/>
              </a:tabLst>
            </a:pPr>
            <a:r>
              <a:rPr sz="1850" b="1" spc="-25" dirty="0">
                <a:solidFill>
                  <a:srgbClr val="FFFFFF"/>
                </a:solidFill>
                <a:latin typeface="Roboto"/>
                <a:cs typeface="Roboto"/>
              </a:rPr>
              <a:t>B2B</a:t>
            </a:r>
            <a:endParaRPr sz="1850">
              <a:latin typeface="Roboto"/>
              <a:cs typeface="Roboto"/>
            </a:endParaRPr>
          </a:p>
          <a:p>
            <a:pPr marL="133350" indent="-120650">
              <a:lnSpc>
                <a:spcPct val="100000"/>
              </a:lnSpc>
              <a:spcBef>
                <a:spcPts val="330"/>
              </a:spcBef>
              <a:buFont typeface="Roboto"/>
              <a:buChar char="·"/>
              <a:tabLst>
                <a:tab pos="133350" algn="l"/>
              </a:tabLst>
            </a:pPr>
            <a:r>
              <a:rPr sz="1850" b="1" spc="-25" dirty="0">
                <a:solidFill>
                  <a:srgbClr val="FFFFFF"/>
                </a:solidFill>
                <a:latin typeface="Roboto"/>
                <a:cs typeface="Roboto"/>
              </a:rPr>
              <a:t>B2C</a:t>
            </a:r>
            <a:endParaRPr sz="1850">
              <a:latin typeface="Roboto"/>
              <a:cs typeface="Roboto"/>
            </a:endParaRPr>
          </a:p>
        </p:txBody>
      </p:sp>
      <p:sp>
        <p:nvSpPr>
          <p:cNvPr id="57" name="object 57"/>
          <p:cNvSpPr txBox="1"/>
          <p:nvPr/>
        </p:nvSpPr>
        <p:spPr>
          <a:xfrm>
            <a:off x="4615584" y="4363425"/>
            <a:ext cx="3949065" cy="673100"/>
          </a:xfrm>
          <a:prstGeom prst="rect">
            <a:avLst/>
          </a:prstGeom>
        </p:spPr>
        <p:txBody>
          <a:bodyPr vert="horz" wrap="square" lIns="0" tIns="53975" rIns="0" bIns="0" rtlCol="0">
            <a:spAutoFit/>
          </a:bodyPr>
          <a:lstStyle/>
          <a:p>
            <a:pPr marL="199390" indent="-180975">
              <a:lnSpc>
                <a:spcPct val="100000"/>
              </a:lnSpc>
              <a:spcBef>
                <a:spcPts val="425"/>
              </a:spcBef>
              <a:buFont typeface="Roboto"/>
              <a:buChar char="&gt;"/>
              <a:tabLst>
                <a:tab pos="199390" algn="l"/>
              </a:tabLst>
            </a:pPr>
            <a:r>
              <a:rPr sz="1850" spc="-10" dirty="0">
                <a:solidFill>
                  <a:srgbClr val="FFFFFF"/>
                </a:solidFill>
                <a:latin typeface="Roboto"/>
                <a:cs typeface="Roboto"/>
              </a:rPr>
              <a:t>FORTALECER</a:t>
            </a:r>
            <a:r>
              <a:rPr sz="1850" spc="-55" dirty="0">
                <a:solidFill>
                  <a:srgbClr val="FFFFFF"/>
                </a:solidFill>
                <a:latin typeface="Roboto"/>
                <a:cs typeface="Roboto"/>
              </a:rPr>
              <a:t> </a:t>
            </a:r>
            <a:r>
              <a:rPr sz="1850" dirty="0">
                <a:solidFill>
                  <a:srgbClr val="FFFFFF"/>
                </a:solidFill>
                <a:latin typeface="Roboto"/>
                <a:cs typeface="Roboto"/>
              </a:rPr>
              <a:t>EL</a:t>
            </a:r>
            <a:r>
              <a:rPr sz="1850" spc="-50" dirty="0">
                <a:solidFill>
                  <a:srgbClr val="FFFFFF"/>
                </a:solidFill>
                <a:latin typeface="Roboto"/>
                <a:cs typeface="Roboto"/>
              </a:rPr>
              <a:t> </a:t>
            </a:r>
            <a:r>
              <a:rPr sz="1850" b="1" spc="-10" dirty="0">
                <a:solidFill>
                  <a:srgbClr val="FFFFFF"/>
                </a:solidFill>
                <a:latin typeface="Roboto"/>
                <a:cs typeface="Roboto"/>
              </a:rPr>
              <a:t>"TRADE"</a:t>
            </a:r>
            <a:endParaRPr sz="1850">
              <a:latin typeface="Roboto"/>
              <a:cs typeface="Roboto"/>
            </a:endParaRPr>
          </a:p>
          <a:p>
            <a:pPr marL="194310" indent="-181610">
              <a:lnSpc>
                <a:spcPct val="100000"/>
              </a:lnSpc>
              <a:spcBef>
                <a:spcPts val="330"/>
              </a:spcBef>
              <a:buChar char="&gt;"/>
              <a:tabLst>
                <a:tab pos="194310" algn="l"/>
              </a:tabLst>
            </a:pPr>
            <a:r>
              <a:rPr sz="1850" b="1" dirty="0">
                <a:solidFill>
                  <a:srgbClr val="FFFFFF"/>
                </a:solidFill>
                <a:latin typeface="Roboto"/>
                <a:cs typeface="Roboto"/>
              </a:rPr>
              <a:t>AWARENESS</a:t>
            </a:r>
            <a:r>
              <a:rPr sz="1850" b="1" spc="-5" dirty="0">
                <a:solidFill>
                  <a:srgbClr val="FFFFFF"/>
                </a:solidFill>
                <a:latin typeface="Roboto"/>
                <a:cs typeface="Roboto"/>
              </a:rPr>
              <a:t> </a:t>
            </a:r>
            <a:r>
              <a:rPr sz="1850" dirty="0">
                <a:solidFill>
                  <a:srgbClr val="FFFFFF"/>
                </a:solidFill>
                <a:latin typeface="Roboto"/>
                <a:cs typeface="Roboto"/>
              </a:rPr>
              <a:t>Y APOYO AL </a:t>
            </a:r>
            <a:r>
              <a:rPr sz="1850" b="1" spc="-10" dirty="0">
                <a:solidFill>
                  <a:srgbClr val="FFFFFF"/>
                </a:solidFill>
                <a:latin typeface="Roboto"/>
                <a:cs typeface="Roboto"/>
              </a:rPr>
              <a:t>"TRADE"</a:t>
            </a:r>
            <a:endParaRPr sz="1850">
              <a:latin typeface="Roboto"/>
              <a:cs typeface="Roboto"/>
            </a:endParaRPr>
          </a:p>
        </p:txBody>
      </p:sp>
      <p:sp>
        <p:nvSpPr>
          <p:cNvPr id="58" name="object 58"/>
          <p:cNvSpPr txBox="1"/>
          <p:nvPr/>
        </p:nvSpPr>
        <p:spPr>
          <a:xfrm>
            <a:off x="3814294" y="5049682"/>
            <a:ext cx="3512185" cy="311150"/>
          </a:xfrm>
          <a:prstGeom prst="rect">
            <a:avLst/>
          </a:prstGeom>
        </p:spPr>
        <p:txBody>
          <a:bodyPr vert="horz" wrap="square" lIns="0" tIns="15240" rIns="0" bIns="0" rtlCol="0">
            <a:spAutoFit/>
          </a:bodyPr>
          <a:lstStyle/>
          <a:p>
            <a:pPr marL="12700">
              <a:lnSpc>
                <a:spcPct val="100000"/>
              </a:lnSpc>
              <a:spcBef>
                <a:spcPts val="120"/>
              </a:spcBef>
            </a:pPr>
            <a:r>
              <a:rPr sz="1850" dirty="0">
                <a:solidFill>
                  <a:srgbClr val="FFFFFF"/>
                </a:solidFill>
                <a:latin typeface="Roboto"/>
                <a:cs typeface="Roboto"/>
              </a:rPr>
              <a:t>·</a:t>
            </a:r>
            <a:r>
              <a:rPr sz="1850" spc="-35" dirty="0">
                <a:solidFill>
                  <a:srgbClr val="FFFFFF"/>
                </a:solidFill>
                <a:latin typeface="Roboto"/>
                <a:cs typeface="Roboto"/>
              </a:rPr>
              <a:t> </a:t>
            </a:r>
            <a:r>
              <a:rPr sz="1850" b="1" dirty="0">
                <a:solidFill>
                  <a:srgbClr val="FFFFFF"/>
                </a:solidFill>
                <a:latin typeface="Roboto"/>
                <a:cs typeface="Roboto"/>
              </a:rPr>
              <a:t>RRPP</a:t>
            </a:r>
            <a:r>
              <a:rPr sz="1850" b="1" spc="-25" dirty="0">
                <a:solidFill>
                  <a:srgbClr val="FFFFFF"/>
                </a:solidFill>
                <a:latin typeface="Roboto"/>
                <a:cs typeface="Roboto"/>
              </a:rPr>
              <a:t> </a:t>
            </a:r>
            <a:r>
              <a:rPr sz="1850" b="1" dirty="0">
                <a:solidFill>
                  <a:srgbClr val="FFFFFF"/>
                </a:solidFill>
                <a:latin typeface="Roboto"/>
                <a:cs typeface="Roboto"/>
              </a:rPr>
              <a:t>&gt;</a:t>
            </a:r>
            <a:r>
              <a:rPr sz="1850" b="1" spc="-30" dirty="0">
                <a:solidFill>
                  <a:srgbClr val="FFFFFF"/>
                </a:solidFill>
                <a:latin typeface="Roboto"/>
                <a:cs typeface="Roboto"/>
              </a:rPr>
              <a:t> </a:t>
            </a:r>
            <a:r>
              <a:rPr sz="1850" spc="-20" dirty="0">
                <a:solidFill>
                  <a:srgbClr val="FFFFFF"/>
                </a:solidFill>
                <a:latin typeface="Roboto"/>
                <a:cs typeface="Roboto"/>
              </a:rPr>
              <a:t>GENERAR</a:t>
            </a:r>
            <a:r>
              <a:rPr sz="1850" spc="-30" dirty="0">
                <a:solidFill>
                  <a:srgbClr val="FFFFFF"/>
                </a:solidFill>
                <a:latin typeface="Roboto"/>
                <a:cs typeface="Roboto"/>
              </a:rPr>
              <a:t> </a:t>
            </a:r>
            <a:r>
              <a:rPr sz="1850" b="1" spc="-10" dirty="0">
                <a:solidFill>
                  <a:srgbClr val="FFFFFF"/>
                </a:solidFill>
                <a:latin typeface="Roboto"/>
                <a:cs typeface="Roboto"/>
              </a:rPr>
              <a:t>AWARENESS</a:t>
            </a:r>
            <a:endParaRPr sz="1850">
              <a:latin typeface="Roboto"/>
              <a:cs typeface="Roboto"/>
            </a:endParaRPr>
          </a:p>
        </p:txBody>
      </p:sp>
      <p:sp>
        <p:nvSpPr>
          <p:cNvPr id="59" name="object 59"/>
          <p:cNvSpPr txBox="1"/>
          <p:nvPr/>
        </p:nvSpPr>
        <p:spPr>
          <a:xfrm>
            <a:off x="3956321" y="6471988"/>
            <a:ext cx="2983230" cy="311150"/>
          </a:xfrm>
          <a:prstGeom prst="rect">
            <a:avLst/>
          </a:prstGeom>
        </p:spPr>
        <p:txBody>
          <a:bodyPr vert="horz" wrap="square" lIns="0" tIns="15240" rIns="0" bIns="0" rtlCol="0">
            <a:spAutoFit/>
          </a:bodyPr>
          <a:lstStyle/>
          <a:p>
            <a:pPr marL="12700">
              <a:lnSpc>
                <a:spcPct val="100000"/>
              </a:lnSpc>
              <a:spcBef>
                <a:spcPts val="120"/>
              </a:spcBef>
            </a:pPr>
            <a:r>
              <a:rPr sz="1850" dirty="0">
                <a:solidFill>
                  <a:srgbClr val="FFFFFF"/>
                </a:solidFill>
                <a:latin typeface="Roboto"/>
                <a:cs typeface="Roboto"/>
              </a:rPr>
              <a:t>·</a:t>
            </a:r>
            <a:r>
              <a:rPr sz="1850" spc="20" dirty="0">
                <a:solidFill>
                  <a:srgbClr val="FFFFFF"/>
                </a:solidFill>
                <a:latin typeface="Roboto"/>
                <a:cs typeface="Roboto"/>
              </a:rPr>
              <a:t> </a:t>
            </a:r>
            <a:r>
              <a:rPr sz="1850" b="1" dirty="0">
                <a:solidFill>
                  <a:srgbClr val="FFFFFF"/>
                </a:solidFill>
                <a:latin typeface="Roboto"/>
                <a:cs typeface="Roboto"/>
              </a:rPr>
              <a:t>B2B</a:t>
            </a:r>
            <a:r>
              <a:rPr sz="1850" b="1" spc="490" dirty="0">
                <a:solidFill>
                  <a:srgbClr val="FFFFFF"/>
                </a:solidFill>
                <a:latin typeface="Roboto"/>
                <a:cs typeface="Roboto"/>
              </a:rPr>
              <a:t> </a:t>
            </a:r>
            <a:r>
              <a:rPr sz="1850" dirty="0">
                <a:solidFill>
                  <a:srgbClr val="FFFFFF"/>
                </a:solidFill>
                <a:latin typeface="Roboto"/>
                <a:cs typeface="Roboto"/>
              </a:rPr>
              <a:t>Y</a:t>
            </a:r>
            <a:r>
              <a:rPr sz="1850" spc="490" dirty="0">
                <a:solidFill>
                  <a:srgbClr val="FFFFFF"/>
                </a:solidFill>
                <a:latin typeface="Roboto"/>
                <a:cs typeface="Roboto"/>
              </a:rPr>
              <a:t> </a:t>
            </a:r>
            <a:r>
              <a:rPr sz="1850" b="1" dirty="0">
                <a:solidFill>
                  <a:srgbClr val="FFFFFF"/>
                </a:solidFill>
                <a:latin typeface="Roboto"/>
                <a:cs typeface="Roboto"/>
              </a:rPr>
              <a:t>"CALL</a:t>
            </a:r>
            <a:r>
              <a:rPr sz="1850" b="1" spc="20" dirty="0">
                <a:solidFill>
                  <a:srgbClr val="FFFFFF"/>
                </a:solidFill>
                <a:latin typeface="Roboto"/>
                <a:cs typeface="Roboto"/>
              </a:rPr>
              <a:t> </a:t>
            </a:r>
            <a:r>
              <a:rPr sz="1850" b="1" spc="55" dirty="0">
                <a:solidFill>
                  <a:srgbClr val="FFFFFF"/>
                </a:solidFill>
                <a:latin typeface="Roboto"/>
                <a:cs typeface="Roboto"/>
              </a:rPr>
              <a:t>TO</a:t>
            </a:r>
            <a:r>
              <a:rPr sz="1850" b="1" spc="20" dirty="0">
                <a:solidFill>
                  <a:srgbClr val="FFFFFF"/>
                </a:solidFill>
                <a:latin typeface="Roboto"/>
                <a:cs typeface="Roboto"/>
              </a:rPr>
              <a:t> </a:t>
            </a:r>
            <a:r>
              <a:rPr sz="1850" b="1" spc="-10" dirty="0">
                <a:solidFill>
                  <a:srgbClr val="FFFFFF"/>
                </a:solidFill>
                <a:latin typeface="Roboto"/>
                <a:cs typeface="Roboto"/>
              </a:rPr>
              <a:t>ACTION"</a:t>
            </a:r>
            <a:endParaRPr sz="1850">
              <a:latin typeface="Roboto"/>
              <a:cs typeface="Roboto"/>
            </a:endParaRPr>
          </a:p>
        </p:txBody>
      </p:sp>
      <p:sp>
        <p:nvSpPr>
          <p:cNvPr id="60" name="object 60"/>
          <p:cNvSpPr txBox="1"/>
          <p:nvPr/>
        </p:nvSpPr>
        <p:spPr>
          <a:xfrm>
            <a:off x="3956321" y="8032574"/>
            <a:ext cx="3329940" cy="673100"/>
          </a:xfrm>
          <a:prstGeom prst="rect">
            <a:avLst/>
          </a:prstGeom>
        </p:spPr>
        <p:txBody>
          <a:bodyPr vert="horz" wrap="square" lIns="0" tIns="12065" rIns="0" bIns="0" rtlCol="0">
            <a:spAutoFit/>
          </a:bodyPr>
          <a:lstStyle/>
          <a:p>
            <a:pPr marL="12700" marR="5080">
              <a:lnSpc>
                <a:spcPct val="114900"/>
              </a:lnSpc>
              <a:spcBef>
                <a:spcPts val="95"/>
              </a:spcBef>
            </a:pPr>
            <a:r>
              <a:rPr sz="1850" dirty="0">
                <a:solidFill>
                  <a:srgbClr val="FFFFFF"/>
                </a:solidFill>
                <a:latin typeface="Roboto"/>
                <a:cs typeface="Roboto"/>
              </a:rPr>
              <a:t>MANTENIMIENTO </a:t>
            </a:r>
            <a:r>
              <a:rPr sz="1850" b="1" dirty="0">
                <a:solidFill>
                  <a:srgbClr val="FFFFFF"/>
                </a:solidFill>
                <a:latin typeface="Roboto"/>
                <a:cs typeface="Roboto"/>
              </a:rPr>
              <a:t>VOLUMEN</a:t>
            </a:r>
            <a:r>
              <a:rPr sz="1850" b="1" spc="5" dirty="0">
                <a:solidFill>
                  <a:srgbClr val="FFFFFF"/>
                </a:solidFill>
                <a:latin typeface="Roboto"/>
                <a:cs typeface="Roboto"/>
              </a:rPr>
              <a:t> </a:t>
            </a:r>
            <a:r>
              <a:rPr sz="1850" b="1" spc="-50" dirty="0">
                <a:solidFill>
                  <a:srgbClr val="FFFFFF"/>
                </a:solidFill>
                <a:latin typeface="Roboto"/>
                <a:cs typeface="Roboto"/>
              </a:rPr>
              <a:t>Y </a:t>
            </a:r>
            <a:r>
              <a:rPr sz="1850" b="1" dirty="0">
                <a:solidFill>
                  <a:srgbClr val="FFFFFF"/>
                </a:solidFill>
                <a:latin typeface="Roboto"/>
                <a:cs typeface="Roboto"/>
              </a:rPr>
              <a:t>DISTRIBUCIÓN</a:t>
            </a:r>
            <a:r>
              <a:rPr sz="1850" b="1" spc="-10" dirty="0">
                <a:solidFill>
                  <a:srgbClr val="FFFFFF"/>
                </a:solidFill>
                <a:latin typeface="Roboto"/>
                <a:cs typeface="Roboto"/>
              </a:rPr>
              <a:t> TERRITORIAL</a:t>
            </a:r>
            <a:endParaRPr sz="1850">
              <a:latin typeface="Roboto"/>
              <a:cs typeface="Roboto"/>
            </a:endParaRPr>
          </a:p>
        </p:txBody>
      </p:sp>
      <p:sp>
        <p:nvSpPr>
          <p:cNvPr id="61" name="object 61"/>
          <p:cNvSpPr txBox="1"/>
          <p:nvPr/>
        </p:nvSpPr>
        <p:spPr>
          <a:xfrm>
            <a:off x="5794924" y="3498889"/>
            <a:ext cx="1038860" cy="421005"/>
          </a:xfrm>
          <a:prstGeom prst="rect">
            <a:avLst/>
          </a:prstGeom>
        </p:spPr>
        <p:txBody>
          <a:bodyPr vert="horz" wrap="square" lIns="0" tIns="12065" rIns="0" bIns="0" rtlCol="0">
            <a:spAutoFit/>
          </a:bodyPr>
          <a:lstStyle/>
          <a:p>
            <a:pPr marL="12700">
              <a:lnSpc>
                <a:spcPct val="100000"/>
              </a:lnSpc>
              <a:spcBef>
                <a:spcPts val="95"/>
              </a:spcBef>
            </a:pPr>
            <a:r>
              <a:rPr sz="2600" b="1" spc="80" dirty="0">
                <a:solidFill>
                  <a:srgbClr val="FFFFFF"/>
                </a:solidFill>
                <a:latin typeface="Arial"/>
                <a:cs typeface="Arial"/>
              </a:rPr>
              <a:t>FOCO</a:t>
            </a:r>
            <a:endParaRPr sz="2600">
              <a:latin typeface="Arial"/>
              <a:cs typeface="Arial"/>
            </a:endParaRPr>
          </a:p>
        </p:txBody>
      </p:sp>
      <p:sp>
        <p:nvSpPr>
          <p:cNvPr id="62" name="object 62"/>
          <p:cNvSpPr txBox="1"/>
          <p:nvPr/>
        </p:nvSpPr>
        <p:spPr>
          <a:xfrm>
            <a:off x="12707621" y="3498889"/>
            <a:ext cx="2025014" cy="421005"/>
          </a:xfrm>
          <a:prstGeom prst="rect">
            <a:avLst/>
          </a:prstGeom>
        </p:spPr>
        <p:txBody>
          <a:bodyPr vert="horz" wrap="square" lIns="0" tIns="12065" rIns="0" bIns="0" rtlCol="0">
            <a:spAutoFit/>
          </a:bodyPr>
          <a:lstStyle/>
          <a:p>
            <a:pPr marL="12700">
              <a:lnSpc>
                <a:spcPct val="100000"/>
              </a:lnSpc>
              <a:spcBef>
                <a:spcPts val="95"/>
              </a:spcBef>
            </a:pPr>
            <a:r>
              <a:rPr sz="2600" b="1" spc="45" dirty="0">
                <a:solidFill>
                  <a:srgbClr val="FFFFFF"/>
                </a:solidFill>
                <a:latin typeface="Arial"/>
                <a:cs typeface="Arial"/>
              </a:rPr>
              <a:t>MERCADOS</a:t>
            </a:r>
            <a:endParaRPr sz="2600">
              <a:latin typeface="Arial"/>
              <a:cs typeface="Arial"/>
            </a:endParaRPr>
          </a:p>
        </p:txBody>
      </p:sp>
      <p:grpSp>
        <p:nvGrpSpPr>
          <p:cNvPr id="63" name="object 63"/>
          <p:cNvGrpSpPr/>
          <p:nvPr/>
        </p:nvGrpSpPr>
        <p:grpSpPr>
          <a:xfrm>
            <a:off x="9790831" y="5991784"/>
            <a:ext cx="1267460" cy="1267460"/>
            <a:chOff x="9790831" y="5991784"/>
            <a:chExt cx="1267460" cy="1267460"/>
          </a:xfrm>
        </p:grpSpPr>
        <p:pic>
          <p:nvPicPr>
            <p:cNvPr id="64" name="object 64"/>
            <p:cNvPicPr/>
            <p:nvPr/>
          </p:nvPicPr>
          <p:blipFill>
            <a:blip r:embed="rId9" cstate="print"/>
            <a:stretch>
              <a:fillRect/>
            </a:stretch>
          </p:blipFill>
          <p:spPr>
            <a:xfrm>
              <a:off x="9790831" y="5991784"/>
              <a:ext cx="1267110" cy="1267110"/>
            </a:xfrm>
            <a:prstGeom prst="rect">
              <a:avLst/>
            </a:prstGeom>
          </p:spPr>
        </p:pic>
        <p:sp>
          <p:nvSpPr>
            <p:cNvPr id="65" name="object 65"/>
            <p:cNvSpPr/>
            <p:nvPr/>
          </p:nvSpPr>
          <p:spPr>
            <a:xfrm>
              <a:off x="9903150" y="6090746"/>
              <a:ext cx="1058545" cy="1058545"/>
            </a:xfrm>
            <a:custGeom>
              <a:avLst/>
              <a:gdLst/>
              <a:ahLst/>
              <a:cxnLst/>
              <a:rect l="l" t="t" r="r" b="b"/>
              <a:pathLst>
                <a:path w="1058545" h="1058545">
                  <a:moveTo>
                    <a:pt x="528988" y="1057968"/>
                  </a:moveTo>
                  <a:lnTo>
                    <a:pt x="480835" y="1055806"/>
                  </a:lnTo>
                  <a:lnTo>
                    <a:pt x="433898" y="1049445"/>
                  </a:lnTo>
                  <a:lnTo>
                    <a:pt x="388358" y="1039072"/>
                  </a:lnTo>
                  <a:lnTo>
                    <a:pt x="344404" y="1024873"/>
                  </a:lnTo>
                  <a:lnTo>
                    <a:pt x="302220" y="1007036"/>
                  </a:lnTo>
                  <a:lnTo>
                    <a:pt x="261995" y="985746"/>
                  </a:lnTo>
                  <a:lnTo>
                    <a:pt x="223914" y="961191"/>
                  </a:lnTo>
                  <a:lnTo>
                    <a:pt x="188166" y="933557"/>
                  </a:lnTo>
                  <a:lnTo>
                    <a:pt x="154935" y="903032"/>
                  </a:lnTo>
                  <a:lnTo>
                    <a:pt x="124410" y="869801"/>
                  </a:lnTo>
                  <a:lnTo>
                    <a:pt x="96776" y="834052"/>
                  </a:lnTo>
                  <a:lnTo>
                    <a:pt x="72221" y="795972"/>
                  </a:lnTo>
                  <a:lnTo>
                    <a:pt x="50931" y="755747"/>
                  </a:lnTo>
                  <a:lnTo>
                    <a:pt x="33094" y="713563"/>
                  </a:lnTo>
                  <a:lnTo>
                    <a:pt x="18895" y="669608"/>
                  </a:lnTo>
                  <a:lnTo>
                    <a:pt x="8522" y="624069"/>
                  </a:lnTo>
                  <a:lnTo>
                    <a:pt x="2161" y="577132"/>
                  </a:lnTo>
                  <a:lnTo>
                    <a:pt x="0" y="528970"/>
                  </a:lnTo>
                  <a:lnTo>
                    <a:pt x="2161" y="480835"/>
                  </a:lnTo>
                  <a:lnTo>
                    <a:pt x="8522" y="433898"/>
                  </a:lnTo>
                  <a:lnTo>
                    <a:pt x="18895" y="388359"/>
                  </a:lnTo>
                  <a:lnTo>
                    <a:pt x="33094" y="344404"/>
                  </a:lnTo>
                  <a:lnTo>
                    <a:pt x="50931" y="302221"/>
                  </a:lnTo>
                  <a:lnTo>
                    <a:pt x="72221" y="261995"/>
                  </a:lnTo>
                  <a:lnTo>
                    <a:pt x="96776" y="223915"/>
                  </a:lnTo>
                  <a:lnTo>
                    <a:pt x="124410" y="188166"/>
                  </a:lnTo>
                  <a:lnTo>
                    <a:pt x="154935" y="154935"/>
                  </a:lnTo>
                  <a:lnTo>
                    <a:pt x="188166" y="124410"/>
                  </a:lnTo>
                  <a:lnTo>
                    <a:pt x="223914" y="96776"/>
                  </a:lnTo>
                  <a:lnTo>
                    <a:pt x="261995" y="72221"/>
                  </a:lnTo>
                  <a:lnTo>
                    <a:pt x="302220" y="50932"/>
                  </a:lnTo>
                  <a:lnTo>
                    <a:pt x="344404" y="33094"/>
                  </a:lnTo>
                  <a:lnTo>
                    <a:pt x="388358" y="18895"/>
                  </a:lnTo>
                  <a:lnTo>
                    <a:pt x="433898" y="8522"/>
                  </a:lnTo>
                  <a:lnTo>
                    <a:pt x="480835" y="2161"/>
                  </a:lnTo>
                  <a:lnTo>
                    <a:pt x="528983" y="0"/>
                  </a:lnTo>
                  <a:lnTo>
                    <a:pt x="577132" y="2161"/>
                  </a:lnTo>
                  <a:lnTo>
                    <a:pt x="624069" y="8522"/>
                  </a:lnTo>
                  <a:lnTo>
                    <a:pt x="669608" y="18895"/>
                  </a:lnTo>
                  <a:lnTo>
                    <a:pt x="713563" y="33094"/>
                  </a:lnTo>
                  <a:lnTo>
                    <a:pt x="755746" y="50932"/>
                  </a:lnTo>
                  <a:lnTo>
                    <a:pt x="795972" y="72221"/>
                  </a:lnTo>
                  <a:lnTo>
                    <a:pt x="834052" y="96776"/>
                  </a:lnTo>
                  <a:lnTo>
                    <a:pt x="869801" y="124410"/>
                  </a:lnTo>
                  <a:lnTo>
                    <a:pt x="903032" y="154935"/>
                  </a:lnTo>
                  <a:lnTo>
                    <a:pt x="933557" y="188166"/>
                  </a:lnTo>
                  <a:lnTo>
                    <a:pt x="961191" y="223915"/>
                  </a:lnTo>
                  <a:lnTo>
                    <a:pt x="985746" y="261995"/>
                  </a:lnTo>
                  <a:lnTo>
                    <a:pt x="1007035" y="302221"/>
                  </a:lnTo>
                  <a:lnTo>
                    <a:pt x="1024873" y="344404"/>
                  </a:lnTo>
                  <a:lnTo>
                    <a:pt x="1039072" y="388359"/>
                  </a:lnTo>
                  <a:lnTo>
                    <a:pt x="1049445" y="433898"/>
                  </a:lnTo>
                  <a:lnTo>
                    <a:pt x="1055806" y="480835"/>
                  </a:lnTo>
                  <a:lnTo>
                    <a:pt x="1057966" y="528984"/>
                  </a:lnTo>
                  <a:lnTo>
                    <a:pt x="1055806" y="577132"/>
                  </a:lnTo>
                  <a:lnTo>
                    <a:pt x="1049445" y="624069"/>
                  </a:lnTo>
                  <a:lnTo>
                    <a:pt x="1039072" y="669608"/>
                  </a:lnTo>
                  <a:lnTo>
                    <a:pt x="1024873" y="713563"/>
                  </a:lnTo>
                  <a:lnTo>
                    <a:pt x="1007035" y="755747"/>
                  </a:lnTo>
                  <a:lnTo>
                    <a:pt x="985746" y="795972"/>
                  </a:lnTo>
                  <a:lnTo>
                    <a:pt x="961191" y="834052"/>
                  </a:lnTo>
                  <a:lnTo>
                    <a:pt x="933557" y="869801"/>
                  </a:lnTo>
                  <a:lnTo>
                    <a:pt x="903032" y="903032"/>
                  </a:lnTo>
                  <a:lnTo>
                    <a:pt x="869801" y="933557"/>
                  </a:lnTo>
                  <a:lnTo>
                    <a:pt x="834052" y="961191"/>
                  </a:lnTo>
                  <a:lnTo>
                    <a:pt x="795972" y="985746"/>
                  </a:lnTo>
                  <a:lnTo>
                    <a:pt x="755746" y="1007036"/>
                  </a:lnTo>
                  <a:lnTo>
                    <a:pt x="713563" y="1024873"/>
                  </a:lnTo>
                  <a:lnTo>
                    <a:pt x="669608" y="1039072"/>
                  </a:lnTo>
                  <a:lnTo>
                    <a:pt x="624069" y="1049445"/>
                  </a:lnTo>
                  <a:lnTo>
                    <a:pt x="577132" y="1055806"/>
                  </a:lnTo>
                  <a:lnTo>
                    <a:pt x="528988" y="1057968"/>
                  </a:lnTo>
                  <a:close/>
                </a:path>
              </a:pathLst>
            </a:custGeom>
            <a:solidFill>
              <a:srgbClr val="FFFFFF"/>
            </a:solidFill>
          </p:spPr>
          <p:txBody>
            <a:bodyPr wrap="square" lIns="0" tIns="0" rIns="0" bIns="0" rtlCol="0"/>
            <a:lstStyle/>
            <a:p>
              <a:endParaRPr/>
            </a:p>
          </p:txBody>
        </p:sp>
        <p:sp>
          <p:nvSpPr>
            <p:cNvPr id="66" name="object 66"/>
            <p:cNvSpPr/>
            <p:nvPr/>
          </p:nvSpPr>
          <p:spPr>
            <a:xfrm>
              <a:off x="10108597" y="6333700"/>
              <a:ext cx="628015" cy="459740"/>
            </a:xfrm>
            <a:custGeom>
              <a:avLst/>
              <a:gdLst/>
              <a:ahLst/>
              <a:cxnLst/>
              <a:rect l="l" t="t" r="r" b="b"/>
              <a:pathLst>
                <a:path w="628015" h="459740">
                  <a:moveTo>
                    <a:pt x="558176" y="459561"/>
                  </a:moveTo>
                  <a:lnTo>
                    <a:pt x="69772" y="459561"/>
                  </a:lnTo>
                  <a:lnTo>
                    <a:pt x="42614" y="454005"/>
                  </a:lnTo>
                  <a:lnTo>
                    <a:pt x="20436" y="438852"/>
                  </a:lnTo>
                  <a:lnTo>
                    <a:pt x="5483" y="416379"/>
                  </a:lnTo>
                  <a:lnTo>
                    <a:pt x="0" y="388860"/>
                  </a:lnTo>
                  <a:lnTo>
                    <a:pt x="0" y="70701"/>
                  </a:lnTo>
                  <a:lnTo>
                    <a:pt x="778" y="60105"/>
                  </a:lnTo>
                  <a:lnTo>
                    <a:pt x="3039" y="50001"/>
                  </a:lnTo>
                  <a:lnTo>
                    <a:pt x="6667" y="40504"/>
                  </a:lnTo>
                  <a:lnTo>
                    <a:pt x="11547" y="31727"/>
                  </a:lnTo>
                  <a:lnTo>
                    <a:pt x="59166" y="31798"/>
                  </a:lnTo>
                  <a:lnTo>
                    <a:pt x="59236" y="795"/>
                  </a:lnTo>
                  <a:lnTo>
                    <a:pt x="66196" y="0"/>
                  </a:lnTo>
                  <a:lnTo>
                    <a:pt x="558176" y="0"/>
                  </a:lnTo>
                  <a:lnTo>
                    <a:pt x="585333" y="5556"/>
                  </a:lnTo>
                  <a:lnTo>
                    <a:pt x="607511" y="20709"/>
                  </a:lnTo>
                  <a:lnTo>
                    <a:pt x="622465" y="43182"/>
                  </a:lnTo>
                  <a:lnTo>
                    <a:pt x="627948" y="70701"/>
                  </a:lnTo>
                  <a:lnTo>
                    <a:pt x="627948" y="388860"/>
                  </a:lnTo>
                  <a:lnTo>
                    <a:pt x="622465" y="416379"/>
                  </a:lnTo>
                  <a:lnTo>
                    <a:pt x="607511" y="438852"/>
                  </a:lnTo>
                  <a:lnTo>
                    <a:pt x="585333" y="454005"/>
                  </a:lnTo>
                  <a:lnTo>
                    <a:pt x="558176" y="459561"/>
                  </a:lnTo>
                  <a:close/>
                </a:path>
              </a:pathLst>
            </a:custGeom>
            <a:solidFill>
              <a:srgbClr val="00247D"/>
            </a:solidFill>
          </p:spPr>
          <p:txBody>
            <a:bodyPr wrap="square" lIns="0" tIns="0" rIns="0" bIns="0" rtlCol="0"/>
            <a:lstStyle/>
            <a:p>
              <a:endParaRPr/>
            </a:p>
          </p:txBody>
        </p:sp>
        <p:sp>
          <p:nvSpPr>
            <p:cNvPr id="67" name="object 67"/>
            <p:cNvSpPr/>
            <p:nvPr/>
          </p:nvSpPr>
          <p:spPr>
            <a:xfrm>
              <a:off x="10217686" y="6365462"/>
              <a:ext cx="497205" cy="380365"/>
            </a:xfrm>
            <a:custGeom>
              <a:avLst/>
              <a:gdLst/>
              <a:ahLst/>
              <a:cxnLst/>
              <a:rect l="l" t="t" r="r" b="b"/>
              <a:pathLst>
                <a:path w="497204" h="380365">
                  <a:moveTo>
                    <a:pt x="58573" y="292511"/>
                  </a:moveTo>
                  <a:lnTo>
                    <a:pt x="37240" y="292511"/>
                  </a:lnTo>
                  <a:lnTo>
                    <a:pt x="47898" y="265131"/>
                  </a:lnTo>
                  <a:lnTo>
                    <a:pt x="58573" y="292511"/>
                  </a:lnTo>
                  <a:close/>
                </a:path>
                <a:path w="497204" h="380365">
                  <a:moveTo>
                    <a:pt x="26583" y="359783"/>
                  </a:moveTo>
                  <a:lnTo>
                    <a:pt x="28693" y="330442"/>
                  </a:lnTo>
                  <a:lnTo>
                    <a:pt x="0" y="326006"/>
                  </a:lnTo>
                  <a:lnTo>
                    <a:pt x="23949" y="309391"/>
                  </a:lnTo>
                  <a:lnTo>
                    <a:pt x="9489" y="283885"/>
                  </a:lnTo>
                  <a:lnTo>
                    <a:pt x="37240" y="292511"/>
                  </a:lnTo>
                  <a:lnTo>
                    <a:pt x="81429" y="292511"/>
                  </a:lnTo>
                  <a:lnTo>
                    <a:pt x="71847" y="309391"/>
                  </a:lnTo>
                  <a:lnTo>
                    <a:pt x="95814" y="326006"/>
                  </a:lnTo>
                  <a:lnTo>
                    <a:pt x="67120" y="330442"/>
                  </a:lnTo>
                  <a:lnTo>
                    <a:pt x="67795" y="339828"/>
                  </a:lnTo>
                  <a:lnTo>
                    <a:pt x="47898" y="339828"/>
                  </a:lnTo>
                  <a:lnTo>
                    <a:pt x="26583" y="359783"/>
                  </a:lnTo>
                  <a:close/>
                </a:path>
                <a:path w="497204" h="380365">
                  <a:moveTo>
                    <a:pt x="81429" y="292511"/>
                  </a:moveTo>
                  <a:lnTo>
                    <a:pt x="58573" y="292511"/>
                  </a:lnTo>
                  <a:lnTo>
                    <a:pt x="86325" y="283885"/>
                  </a:lnTo>
                  <a:lnTo>
                    <a:pt x="81429" y="292511"/>
                  </a:lnTo>
                  <a:close/>
                </a:path>
                <a:path w="497204" h="380365">
                  <a:moveTo>
                    <a:pt x="69231" y="359783"/>
                  </a:moveTo>
                  <a:lnTo>
                    <a:pt x="47898" y="339828"/>
                  </a:lnTo>
                  <a:lnTo>
                    <a:pt x="67795" y="339828"/>
                  </a:lnTo>
                  <a:lnTo>
                    <a:pt x="69231" y="359783"/>
                  </a:lnTo>
                  <a:close/>
                </a:path>
                <a:path w="497204" h="380365">
                  <a:moveTo>
                    <a:pt x="385438" y="17905"/>
                  </a:moveTo>
                  <a:lnTo>
                    <a:pt x="371466" y="17905"/>
                  </a:lnTo>
                  <a:lnTo>
                    <a:pt x="378443" y="0"/>
                  </a:lnTo>
                  <a:lnTo>
                    <a:pt x="385438" y="17905"/>
                  </a:lnTo>
                  <a:close/>
                </a:path>
                <a:path w="497204" h="380365">
                  <a:moveTo>
                    <a:pt x="364506" y="61917"/>
                  </a:moveTo>
                  <a:lnTo>
                    <a:pt x="365884" y="42721"/>
                  </a:lnTo>
                  <a:lnTo>
                    <a:pt x="347098" y="39822"/>
                  </a:lnTo>
                  <a:lnTo>
                    <a:pt x="362779" y="28952"/>
                  </a:lnTo>
                  <a:lnTo>
                    <a:pt x="353325" y="12266"/>
                  </a:lnTo>
                  <a:lnTo>
                    <a:pt x="371466" y="17905"/>
                  </a:lnTo>
                  <a:lnTo>
                    <a:pt x="400395" y="17905"/>
                  </a:lnTo>
                  <a:lnTo>
                    <a:pt x="394124" y="28952"/>
                  </a:lnTo>
                  <a:lnTo>
                    <a:pt x="409788" y="39822"/>
                  </a:lnTo>
                  <a:lnTo>
                    <a:pt x="391020" y="42721"/>
                  </a:lnTo>
                  <a:lnTo>
                    <a:pt x="391461" y="48872"/>
                  </a:lnTo>
                  <a:lnTo>
                    <a:pt x="378443" y="48872"/>
                  </a:lnTo>
                  <a:lnTo>
                    <a:pt x="364506" y="61917"/>
                  </a:lnTo>
                  <a:close/>
                </a:path>
                <a:path w="497204" h="380365">
                  <a:moveTo>
                    <a:pt x="400395" y="17905"/>
                  </a:moveTo>
                  <a:lnTo>
                    <a:pt x="385438" y="17905"/>
                  </a:lnTo>
                  <a:lnTo>
                    <a:pt x="403596" y="12266"/>
                  </a:lnTo>
                  <a:lnTo>
                    <a:pt x="400395" y="17905"/>
                  </a:lnTo>
                  <a:close/>
                </a:path>
                <a:path w="497204" h="380365">
                  <a:moveTo>
                    <a:pt x="392398" y="61917"/>
                  </a:moveTo>
                  <a:lnTo>
                    <a:pt x="378443" y="48872"/>
                  </a:lnTo>
                  <a:lnTo>
                    <a:pt x="391461" y="48872"/>
                  </a:lnTo>
                  <a:lnTo>
                    <a:pt x="392398" y="61917"/>
                  </a:lnTo>
                  <a:close/>
                </a:path>
                <a:path w="497204" h="380365">
                  <a:moveTo>
                    <a:pt x="315666" y="123957"/>
                  </a:moveTo>
                  <a:lnTo>
                    <a:pt x="301694" y="123957"/>
                  </a:lnTo>
                  <a:lnTo>
                    <a:pt x="308671" y="106052"/>
                  </a:lnTo>
                  <a:lnTo>
                    <a:pt x="315666" y="123957"/>
                  </a:lnTo>
                  <a:close/>
                </a:path>
                <a:path w="497204" h="380365">
                  <a:moveTo>
                    <a:pt x="294734" y="167987"/>
                  </a:moveTo>
                  <a:lnTo>
                    <a:pt x="296112" y="148792"/>
                  </a:lnTo>
                  <a:lnTo>
                    <a:pt x="277326" y="145893"/>
                  </a:lnTo>
                  <a:lnTo>
                    <a:pt x="293007" y="135005"/>
                  </a:lnTo>
                  <a:lnTo>
                    <a:pt x="283553" y="118319"/>
                  </a:lnTo>
                  <a:lnTo>
                    <a:pt x="301694" y="123957"/>
                  </a:lnTo>
                  <a:lnTo>
                    <a:pt x="315666" y="123958"/>
                  </a:lnTo>
                  <a:lnTo>
                    <a:pt x="330623" y="123958"/>
                  </a:lnTo>
                  <a:lnTo>
                    <a:pt x="324352" y="135005"/>
                  </a:lnTo>
                  <a:lnTo>
                    <a:pt x="340016" y="145893"/>
                  </a:lnTo>
                  <a:lnTo>
                    <a:pt x="321248" y="148792"/>
                  </a:lnTo>
                  <a:lnTo>
                    <a:pt x="321688" y="154925"/>
                  </a:lnTo>
                  <a:lnTo>
                    <a:pt x="308671" y="154925"/>
                  </a:lnTo>
                  <a:lnTo>
                    <a:pt x="294734" y="167987"/>
                  </a:lnTo>
                  <a:close/>
                </a:path>
                <a:path w="497204" h="380365">
                  <a:moveTo>
                    <a:pt x="330623" y="123958"/>
                  </a:moveTo>
                  <a:lnTo>
                    <a:pt x="315666" y="123958"/>
                  </a:lnTo>
                  <a:lnTo>
                    <a:pt x="333824" y="118319"/>
                  </a:lnTo>
                  <a:lnTo>
                    <a:pt x="330623" y="123958"/>
                  </a:lnTo>
                  <a:close/>
                </a:path>
                <a:path w="497204" h="380365">
                  <a:moveTo>
                    <a:pt x="322626" y="167987"/>
                  </a:moveTo>
                  <a:lnTo>
                    <a:pt x="308671" y="154925"/>
                  </a:lnTo>
                  <a:lnTo>
                    <a:pt x="321688" y="154925"/>
                  </a:lnTo>
                  <a:lnTo>
                    <a:pt x="322626" y="167987"/>
                  </a:lnTo>
                  <a:close/>
                </a:path>
                <a:path w="497204" h="380365">
                  <a:moveTo>
                    <a:pt x="472653" y="88607"/>
                  </a:moveTo>
                  <a:lnTo>
                    <a:pt x="458681" y="88607"/>
                  </a:lnTo>
                  <a:lnTo>
                    <a:pt x="465658" y="70701"/>
                  </a:lnTo>
                  <a:lnTo>
                    <a:pt x="472653" y="88607"/>
                  </a:lnTo>
                  <a:close/>
                </a:path>
                <a:path w="497204" h="380365">
                  <a:moveTo>
                    <a:pt x="451721" y="132636"/>
                  </a:moveTo>
                  <a:lnTo>
                    <a:pt x="453099" y="113441"/>
                  </a:lnTo>
                  <a:lnTo>
                    <a:pt x="434313" y="110542"/>
                  </a:lnTo>
                  <a:lnTo>
                    <a:pt x="449994" y="99654"/>
                  </a:lnTo>
                  <a:lnTo>
                    <a:pt x="440540" y="82968"/>
                  </a:lnTo>
                  <a:lnTo>
                    <a:pt x="458681" y="88607"/>
                  </a:lnTo>
                  <a:lnTo>
                    <a:pt x="472653" y="88607"/>
                  </a:lnTo>
                  <a:lnTo>
                    <a:pt x="487610" y="88607"/>
                  </a:lnTo>
                  <a:lnTo>
                    <a:pt x="481340" y="99654"/>
                  </a:lnTo>
                  <a:lnTo>
                    <a:pt x="497003" y="110542"/>
                  </a:lnTo>
                  <a:lnTo>
                    <a:pt x="478235" y="113441"/>
                  </a:lnTo>
                  <a:lnTo>
                    <a:pt x="478675" y="119574"/>
                  </a:lnTo>
                  <a:lnTo>
                    <a:pt x="465658" y="119574"/>
                  </a:lnTo>
                  <a:lnTo>
                    <a:pt x="451721" y="132636"/>
                  </a:lnTo>
                  <a:close/>
                </a:path>
                <a:path w="497204" h="380365">
                  <a:moveTo>
                    <a:pt x="487610" y="88607"/>
                  </a:moveTo>
                  <a:lnTo>
                    <a:pt x="472653" y="88607"/>
                  </a:lnTo>
                  <a:lnTo>
                    <a:pt x="490811" y="82968"/>
                  </a:lnTo>
                  <a:lnTo>
                    <a:pt x="487610" y="88607"/>
                  </a:lnTo>
                  <a:close/>
                </a:path>
                <a:path w="497204" h="380365">
                  <a:moveTo>
                    <a:pt x="479613" y="132636"/>
                  </a:moveTo>
                  <a:lnTo>
                    <a:pt x="465658" y="119574"/>
                  </a:lnTo>
                  <a:lnTo>
                    <a:pt x="478675" y="119574"/>
                  </a:lnTo>
                  <a:lnTo>
                    <a:pt x="479613" y="132636"/>
                  </a:lnTo>
                  <a:close/>
                </a:path>
                <a:path w="497204" h="380365">
                  <a:moveTo>
                    <a:pt x="385438" y="336063"/>
                  </a:moveTo>
                  <a:lnTo>
                    <a:pt x="371466" y="336063"/>
                  </a:lnTo>
                  <a:lnTo>
                    <a:pt x="378443" y="318158"/>
                  </a:lnTo>
                  <a:lnTo>
                    <a:pt x="385438" y="336063"/>
                  </a:lnTo>
                  <a:close/>
                </a:path>
                <a:path w="497204" h="380365">
                  <a:moveTo>
                    <a:pt x="364506" y="380093"/>
                  </a:moveTo>
                  <a:lnTo>
                    <a:pt x="365884" y="360897"/>
                  </a:lnTo>
                  <a:lnTo>
                    <a:pt x="347098" y="357998"/>
                  </a:lnTo>
                  <a:lnTo>
                    <a:pt x="362779" y="347110"/>
                  </a:lnTo>
                  <a:lnTo>
                    <a:pt x="353325" y="330425"/>
                  </a:lnTo>
                  <a:lnTo>
                    <a:pt x="371466" y="336063"/>
                  </a:lnTo>
                  <a:lnTo>
                    <a:pt x="400395" y="336063"/>
                  </a:lnTo>
                  <a:lnTo>
                    <a:pt x="394124" y="347110"/>
                  </a:lnTo>
                  <a:lnTo>
                    <a:pt x="409788" y="357998"/>
                  </a:lnTo>
                  <a:lnTo>
                    <a:pt x="391020" y="360897"/>
                  </a:lnTo>
                  <a:lnTo>
                    <a:pt x="391460" y="367030"/>
                  </a:lnTo>
                  <a:lnTo>
                    <a:pt x="378443" y="367030"/>
                  </a:lnTo>
                  <a:lnTo>
                    <a:pt x="364506" y="380093"/>
                  </a:lnTo>
                  <a:close/>
                </a:path>
                <a:path w="497204" h="380365">
                  <a:moveTo>
                    <a:pt x="400395" y="336063"/>
                  </a:moveTo>
                  <a:lnTo>
                    <a:pt x="385438" y="336063"/>
                  </a:lnTo>
                  <a:lnTo>
                    <a:pt x="403596" y="330425"/>
                  </a:lnTo>
                  <a:lnTo>
                    <a:pt x="400395" y="336063"/>
                  </a:lnTo>
                  <a:close/>
                </a:path>
                <a:path w="497204" h="380365">
                  <a:moveTo>
                    <a:pt x="392398" y="380093"/>
                  </a:moveTo>
                  <a:lnTo>
                    <a:pt x="378443" y="367030"/>
                  </a:lnTo>
                  <a:lnTo>
                    <a:pt x="391460" y="367030"/>
                  </a:lnTo>
                  <a:lnTo>
                    <a:pt x="392398" y="380093"/>
                  </a:lnTo>
                  <a:close/>
                </a:path>
                <a:path w="497204" h="380365">
                  <a:moveTo>
                    <a:pt x="421388" y="194642"/>
                  </a:moveTo>
                  <a:lnTo>
                    <a:pt x="423341" y="183064"/>
                  </a:lnTo>
                  <a:lnTo>
                    <a:pt x="415056" y="174880"/>
                  </a:lnTo>
                  <a:lnTo>
                    <a:pt x="426516" y="173201"/>
                  </a:lnTo>
                  <a:lnTo>
                    <a:pt x="431644" y="162667"/>
                  </a:lnTo>
                  <a:lnTo>
                    <a:pt x="436773" y="173201"/>
                  </a:lnTo>
                  <a:lnTo>
                    <a:pt x="448233" y="174880"/>
                  </a:lnTo>
                  <a:lnTo>
                    <a:pt x="439947" y="183064"/>
                  </a:lnTo>
                  <a:lnTo>
                    <a:pt x="440979" y="189180"/>
                  </a:lnTo>
                  <a:lnTo>
                    <a:pt x="431644" y="189180"/>
                  </a:lnTo>
                  <a:lnTo>
                    <a:pt x="421388" y="194642"/>
                  </a:lnTo>
                  <a:close/>
                </a:path>
                <a:path w="497204" h="380365">
                  <a:moveTo>
                    <a:pt x="441901" y="194642"/>
                  </a:moveTo>
                  <a:lnTo>
                    <a:pt x="431644" y="189180"/>
                  </a:lnTo>
                  <a:lnTo>
                    <a:pt x="440979" y="189180"/>
                  </a:lnTo>
                  <a:lnTo>
                    <a:pt x="441901" y="194642"/>
                  </a:lnTo>
                  <a:close/>
                </a:path>
              </a:pathLst>
            </a:custGeom>
            <a:solidFill>
              <a:srgbClr val="FFFFFF"/>
            </a:solidFill>
          </p:spPr>
          <p:txBody>
            <a:bodyPr wrap="square" lIns="0" tIns="0" rIns="0" bIns="0" rtlCol="0"/>
            <a:lstStyle/>
            <a:p>
              <a:endParaRPr/>
            </a:p>
          </p:txBody>
        </p:sp>
        <p:sp>
          <p:nvSpPr>
            <p:cNvPr id="68" name="object 68"/>
            <p:cNvSpPr/>
            <p:nvPr/>
          </p:nvSpPr>
          <p:spPr>
            <a:xfrm>
              <a:off x="10108597" y="6333700"/>
              <a:ext cx="331470" cy="229870"/>
            </a:xfrm>
            <a:custGeom>
              <a:avLst/>
              <a:gdLst/>
              <a:ahLst/>
              <a:cxnLst/>
              <a:rect l="l" t="t" r="r" b="b"/>
              <a:pathLst>
                <a:path w="331470" h="229870">
                  <a:moveTo>
                    <a:pt x="331417" y="31798"/>
                  </a:moveTo>
                  <a:lnTo>
                    <a:pt x="59166" y="31798"/>
                  </a:lnTo>
                  <a:lnTo>
                    <a:pt x="59236" y="795"/>
                  </a:lnTo>
                  <a:lnTo>
                    <a:pt x="64190" y="0"/>
                  </a:lnTo>
                  <a:lnTo>
                    <a:pt x="331417" y="0"/>
                  </a:lnTo>
                  <a:lnTo>
                    <a:pt x="331417" y="31798"/>
                  </a:lnTo>
                  <a:close/>
                </a:path>
                <a:path w="331470" h="229870">
                  <a:moveTo>
                    <a:pt x="331417" y="229780"/>
                  </a:moveTo>
                  <a:lnTo>
                    <a:pt x="0" y="229780"/>
                  </a:lnTo>
                  <a:lnTo>
                    <a:pt x="0" y="70701"/>
                  </a:lnTo>
                  <a:lnTo>
                    <a:pt x="10814" y="32770"/>
                  </a:lnTo>
                  <a:lnTo>
                    <a:pt x="11547" y="31727"/>
                  </a:lnTo>
                  <a:lnTo>
                    <a:pt x="331417" y="31798"/>
                  </a:lnTo>
                  <a:lnTo>
                    <a:pt x="331417" y="229780"/>
                  </a:lnTo>
                  <a:close/>
                </a:path>
              </a:pathLst>
            </a:custGeom>
            <a:solidFill>
              <a:srgbClr val="00247D"/>
            </a:solidFill>
          </p:spPr>
          <p:txBody>
            <a:bodyPr wrap="square" lIns="0" tIns="0" rIns="0" bIns="0" rtlCol="0"/>
            <a:lstStyle/>
            <a:p>
              <a:endParaRPr/>
            </a:p>
          </p:txBody>
        </p:sp>
        <p:sp>
          <p:nvSpPr>
            <p:cNvPr id="69" name="object 69"/>
            <p:cNvSpPr/>
            <p:nvPr/>
          </p:nvSpPr>
          <p:spPr>
            <a:xfrm>
              <a:off x="10108597" y="6333700"/>
              <a:ext cx="331470" cy="229870"/>
            </a:xfrm>
            <a:custGeom>
              <a:avLst/>
              <a:gdLst/>
              <a:ahLst/>
              <a:cxnLst/>
              <a:rect l="l" t="t" r="r" b="b"/>
              <a:pathLst>
                <a:path w="331470" h="229870">
                  <a:moveTo>
                    <a:pt x="331417" y="229780"/>
                  </a:moveTo>
                  <a:lnTo>
                    <a:pt x="290740" y="229780"/>
                  </a:lnTo>
                  <a:lnTo>
                    <a:pt x="209316" y="171999"/>
                  </a:lnTo>
                  <a:lnTo>
                    <a:pt x="209316" y="229780"/>
                  </a:lnTo>
                  <a:lnTo>
                    <a:pt x="122101" y="229780"/>
                  </a:lnTo>
                  <a:lnTo>
                    <a:pt x="122101" y="184390"/>
                  </a:lnTo>
                  <a:lnTo>
                    <a:pt x="58120" y="229780"/>
                  </a:lnTo>
                  <a:lnTo>
                    <a:pt x="0" y="229780"/>
                  </a:lnTo>
                  <a:lnTo>
                    <a:pt x="0" y="207969"/>
                  </a:lnTo>
                  <a:lnTo>
                    <a:pt x="67766" y="159079"/>
                  </a:lnTo>
                  <a:lnTo>
                    <a:pt x="0" y="159079"/>
                  </a:lnTo>
                  <a:lnTo>
                    <a:pt x="0" y="70701"/>
                  </a:lnTo>
                  <a:lnTo>
                    <a:pt x="66510" y="70701"/>
                  </a:lnTo>
                  <a:lnTo>
                    <a:pt x="11547" y="31727"/>
                  </a:lnTo>
                  <a:lnTo>
                    <a:pt x="13186" y="29217"/>
                  </a:lnTo>
                  <a:lnTo>
                    <a:pt x="16867" y="24586"/>
                  </a:lnTo>
                  <a:lnTo>
                    <a:pt x="81807" y="70701"/>
                  </a:lnTo>
                  <a:lnTo>
                    <a:pt x="112088" y="70701"/>
                  </a:lnTo>
                  <a:lnTo>
                    <a:pt x="30071" y="12549"/>
                  </a:lnTo>
                  <a:lnTo>
                    <a:pt x="36669" y="8411"/>
                  </a:lnTo>
                  <a:lnTo>
                    <a:pt x="43790" y="5041"/>
                  </a:lnTo>
                  <a:lnTo>
                    <a:pt x="51343" y="2487"/>
                  </a:lnTo>
                  <a:lnTo>
                    <a:pt x="59236" y="795"/>
                  </a:lnTo>
                  <a:lnTo>
                    <a:pt x="122101" y="45408"/>
                  </a:lnTo>
                  <a:lnTo>
                    <a:pt x="122101" y="0"/>
                  </a:lnTo>
                  <a:lnTo>
                    <a:pt x="209316" y="0"/>
                  </a:lnTo>
                  <a:lnTo>
                    <a:pt x="209316" y="57781"/>
                  </a:lnTo>
                  <a:lnTo>
                    <a:pt x="290757" y="0"/>
                  </a:lnTo>
                  <a:lnTo>
                    <a:pt x="331417" y="0"/>
                  </a:lnTo>
                  <a:lnTo>
                    <a:pt x="331417" y="35863"/>
                  </a:lnTo>
                  <a:lnTo>
                    <a:pt x="282332" y="70701"/>
                  </a:lnTo>
                  <a:lnTo>
                    <a:pt x="331417" y="70701"/>
                  </a:lnTo>
                  <a:lnTo>
                    <a:pt x="331417" y="159079"/>
                  </a:lnTo>
                  <a:lnTo>
                    <a:pt x="282315" y="159079"/>
                  </a:lnTo>
                  <a:lnTo>
                    <a:pt x="331417" y="193917"/>
                  </a:lnTo>
                  <a:lnTo>
                    <a:pt x="331417" y="229780"/>
                  </a:lnTo>
                  <a:close/>
                </a:path>
              </a:pathLst>
            </a:custGeom>
            <a:solidFill>
              <a:srgbClr val="EDEDED"/>
            </a:solidFill>
          </p:spPr>
          <p:txBody>
            <a:bodyPr wrap="square" lIns="0" tIns="0" rIns="0" bIns="0" rtlCol="0"/>
            <a:lstStyle/>
            <a:p>
              <a:endParaRPr/>
            </a:p>
          </p:txBody>
        </p:sp>
        <p:sp>
          <p:nvSpPr>
            <p:cNvPr id="70" name="object 70"/>
            <p:cNvSpPr/>
            <p:nvPr/>
          </p:nvSpPr>
          <p:spPr>
            <a:xfrm>
              <a:off x="10108590" y="6333540"/>
              <a:ext cx="331470" cy="230504"/>
            </a:xfrm>
            <a:custGeom>
              <a:avLst/>
              <a:gdLst/>
              <a:ahLst/>
              <a:cxnLst/>
              <a:rect l="l" t="t" r="r" b="b"/>
              <a:pathLst>
                <a:path w="331470" h="230504">
                  <a:moveTo>
                    <a:pt x="112077" y="70866"/>
                  </a:moveTo>
                  <a:lnTo>
                    <a:pt x="30073" y="12712"/>
                  </a:lnTo>
                  <a:lnTo>
                    <a:pt x="25171" y="16167"/>
                  </a:lnTo>
                  <a:lnTo>
                    <a:pt x="20751" y="20193"/>
                  </a:lnTo>
                  <a:lnTo>
                    <a:pt x="16865" y="24752"/>
                  </a:lnTo>
                  <a:lnTo>
                    <a:pt x="81813" y="70866"/>
                  </a:lnTo>
                  <a:lnTo>
                    <a:pt x="112077" y="70866"/>
                  </a:lnTo>
                  <a:close/>
                </a:path>
                <a:path w="331470" h="230504">
                  <a:moveTo>
                    <a:pt x="122097" y="159245"/>
                  </a:moveTo>
                  <a:lnTo>
                    <a:pt x="112280" y="159245"/>
                  </a:lnTo>
                  <a:lnTo>
                    <a:pt x="12801" y="229946"/>
                  </a:lnTo>
                  <a:lnTo>
                    <a:pt x="42926" y="229946"/>
                  </a:lnTo>
                  <a:lnTo>
                    <a:pt x="122097" y="173774"/>
                  </a:lnTo>
                  <a:lnTo>
                    <a:pt x="122097" y="159245"/>
                  </a:lnTo>
                  <a:close/>
                </a:path>
                <a:path w="331470" h="230504">
                  <a:moveTo>
                    <a:pt x="331419" y="204889"/>
                  </a:moveTo>
                  <a:lnTo>
                    <a:pt x="267106" y="159245"/>
                  </a:lnTo>
                  <a:lnTo>
                    <a:pt x="236702" y="159245"/>
                  </a:lnTo>
                  <a:lnTo>
                    <a:pt x="331419" y="226441"/>
                  </a:lnTo>
                  <a:lnTo>
                    <a:pt x="331419" y="204889"/>
                  </a:lnTo>
                  <a:close/>
                </a:path>
                <a:path w="331470" h="230504">
                  <a:moveTo>
                    <a:pt x="331419" y="88214"/>
                  </a:moveTo>
                  <a:lnTo>
                    <a:pt x="191871" y="88214"/>
                  </a:lnTo>
                  <a:lnTo>
                    <a:pt x="191871" y="0"/>
                  </a:lnTo>
                  <a:lnTo>
                    <a:pt x="139547" y="0"/>
                  </a:lnTo>
                  <a:lnTo>
                    <a:pt x="139547" y="88214"/>
                  </a:lnTo>
                  <a:lnTo>
                    <a:pt x="0" y="88214"/>
                  </a:lnTo>
                  <a:lnTo>
                    <a:pt x="0" y="141897"/>
                  </a:lnTo>
                  <a:lnTo>
                    <a:pt x="139547" y="141897"/>
                  </a:lnTo>
                  <a:lnTo>
                    <a:pt x="139547" y="230111"/>
                  </a:lnTo>
                  <a:lnTo>
                    <a:pt x="191871" y="230111"/>
                  </a:lnTo>
                  <a:lnTo>
                    <a:pt x="191871" y="141897"/>
                  </a:lnTo>
                  <a:lnTo>
                    <a:pt x="331419" y="141897"/>
                  </a:lnTo>
                  <a:lnTo>
                    <a:pt x="331419" y="88214"/>
                  </a:lnTo>
                  <a:close/>
                </a:path>
                <a:path w="331470" h="230504">
                  <a:moveTo>
                    <a:pt x="331419" y="165"/>
                  </a:moveTo>
                  <a:lnTo>
                    <a:pt x="305930" y="165"/>
                  </a:lnTo>
                  <a:lnTo>
                    <a:pt x="209321" y="68732"/>
                  </a:lnTo>
                  <a:lnTo>
                    <a:pt x="209321" y="70866"/>
                  </a:lnTo>
                  <a:lnTo>
                    <a:pt x="236715" y="70866"/>
                  </a:lnTo>
                  <a:lnTo>
                    <a:pt x="331419" y="3670"/>
                  </a:lnTo>
                  <a:lnTo>
                    <a:pt x="331419" y="165"/>
                  </a:lnTo>
                  <a:close/>
                </a:path>
              </a:pathLst>
            </a:custGeom>
            <a:solidFill>
              <a:srgbClr val="CF1B2A"/>
            </a:solidFill>
          </p:spPr>
          <p:txBody>
            <a:bodyPr wrap="square" lIns="0" tIns="0" rIns="0" bIns="0" rtlCol="0"/>
            <a:lstStyle/>
            <a:p>
              <a:endParaRPr/>
            </a:p>
          </p:txBody>
        </p:sp>
      </p:grpSp>
      <p:sp>
        <p:nvSpPr>
          <p:cNvPr id="71" name="object 71"/>
          <p:cNvSpPr txBox="1"/>
          <p:nvPr/>
        </p:nvSpPr>
        <p:spPr>
          <a:xfrm>
            <a:off x="10130829" y="6830983"/>
            <a:ext cx="554990" cy="182245"/>
          </a:xfrm>
          <a:prstGeom prst="rect">
            <a:avLst/>
          </a:prstGeom>
        </p:spPr>
        <p:txBody>
          <a:bodyPr vert="horz" wrap="square" lIns="0" tIns="15875" rIns="0" bIns="0" rtlCol="0">
            <a:spAutoFit/>
          </a:bodyPr>
          <a:lstStyle/>
          <a:p>
            <a:pPr marL="12700">
              <a:lnSpc>
                <a:spcPct val="100000"/>
              </a:lnSpc>
              <a:spcBef>
                <a:spcPts val="125"/>
              </a:spcBef>
            </a:pPr>
            <a:r>
              <a:rPr sz="1000" b="1" spc="-10" dirty="0">
                <a:solidFill>
                  <a:srgbClr val="737373"/>
                </a:solidFill>
                <a:latin typeface="Roboto"/>
                <a:cs typeface="Roboto"/>
              </a:rPr>
              <a:t>Australia</a:t>
            </a:r>
            <a:endParaRPr sz="1000">
              <a:latin typeface="Roboto"/>
              <a:cs typeface="Roboto"/>
            </a:endParaRPr>
          </a:p>
        </p:txBody>
      </p:sp>
      <p:sp>
        <p:nvSpPr>
          <p:cNvPr id="72" name="object 72"/>
          <p:cNvSpPr txBox="1"/>
          <p:nvPr/>
        </p:nvSpPr>
        <p:spPr>
          <a:xfrm>
            <a:off x="11468565" y="5081316"/>
            <a:ext cx="461009" cy="182245"/>
          </a:xfrm>
          <a:prstGeom prst="rect">
            <a:avLst/>
          </a:prstGeom>
        </p:spPr>
        <p:txBody>
          <a:bodyPr vert="horz" wrap="square" lIns="0" tIns="16510" rIns="0" bIns="0" rtlCol="0">
            <a:spAutoFit/>
          </a:bodyPr>
          <a:lstStyle/>
          <a:p>
            <a:pPr marL="12700">
              <a:lnSpc>
                <a:spcPct val="100000"/>
              </a:lnSpc>
              <a:spcBef>
                <a:spcPts val="130"/>
              </a:spcBef>
            </a:pPr>
            <a:r>
              <a:rPr sz="1000" b="1" spc="-10" dirty="0">
                <a:solidFill>
                  <a:srgbClr val="737373"/>
                </a:solidFill>
                <a:latin typeface="Roboto"/>
                <a:cs typeface="Roboto"/>
              </a:rPr>
              <a:t>Francia</a:t>
            </a:r>
            <a:endParaRPr sz="1000">
              <a:latin typeface="Roboto"/>
              <a:cs typeface="Roboto"/>
            </a:endParaRPr>
          </a:p>
        </p:txBody>
      </p:sp>
      <p:grpSp>
        <p:nvGrpSpPr>
          <p:cNvPr id="73" name="object 73"/>
          <p:cNvGrpSpPr/>
          <p:nvPr/>
        </p:nvGrpSpPr>
        <p:grpSpPr>
          <a:xfrm>
            <a:off x="13669581" y="7773596"/>
            <a:ext cx="1267460" cy="1267460"/>
            <a:chOff x="13669581" y="7773596"/>
            <a:chExt cx="1267460" cy="1267460"/>
          </a:xfrm>
        </p:grpSpPr>
        <p:pic>
          <p:nvPicPr>
            <p:cNvPr id="74" name="object 74"/>
            <p:cNvPicPr/>
            <p:nvPr/>
          </p:nvPicPr>
          <p:blipFill>
            <a:blip r:embed="rId10" cstate="print"/>
            <a:stretch>
              <a:fillRect/>
            </a:stretch>
          </p:blipFill>
          <p:spPr>
            <a:xfrm>
              <a:off x="13669581" y="7773596"/>
              <a:ext cx="1267110" cy="1267110"/>
            </a:xfrm>
            <a:prstGeom prst="rect">
              <a:avLst/>
            </a:prstGeom>
          </p:spPr>
        </p:pic>
        <p:sp>
          <p:nvSpPr>
            <p:cNvPr id="75" name="object 75"/>
            <p:cNvSpPr/>
            <p:nvPr/>
          </p:nvSpPr>
          <p:spPr>
            <a:xfrm>
              <a:off x="13781902" y="7872554"/>
              <a:ext cx="1058545" cy="1058545"/>
            </a:xfrm>
            <a:custGeom>
              <a:avLst/>
              <a:gdLst/>
              <a:ahLst/>
              <a:cxnLst/>
              <a:rect l="l" t="t" r="r" b="b"/>
              <a:pathLst>
                <a:path w="1058544" h="1058545">
                  <a:moveTo>
                    <a:pt x="528982" y="1057968"/>
                  </a:moveTo>
                  <a:lnTo>
                    <a:pt x="480834" y="1055806"/>
                  </a:lnTo>
                  <a:lnTo>
                    <a:pt x="433896" y="1049445"/>
                  </a:lnTo>
                  <a:lnTo>
                    <a:pt x="388357" y="1039072"/>
                  </a:lnTo>
                  <a:lnTo>
                    <a:pt x="344402" y="1024873"/>
                  </a:lnTo>
                  <a:lnTo>
                    <a:pt x="302219" y="1007036"/>
                  </a:lnTo>
                  <a:lnTo>
                    <a:pt x="261994" y="985746"/>
                  </a:lnTo>
                  <a:lnTo>
                    <a:pt x="223913" y="961191"/>
                  </a:lnTo>
                  <a:lnTo>
                    <a:pt x="188164" y="933557"/>
                  </a:lnTo>
                  <a:lnTo>
                    <a:pt x="154934" y="903032"/>
                  </a:lnTo>
                  <a:lnTo>
                    <a:pt x="124408" y="869801"/>
                  </a:lnTo>
                  <a:lnTo>
                    <a:pt x="96775" y="834053"/>
                  </a:lnTo>
                  <a:lnTo>
                    <a:pt x="72220" y="795972"/>
                  </a:lnTo>
                  <a:lnTo>
                    <a:pt x="50930" y="755747"/>
                  </a:lnTo>
                  <a:lnTo>
                    <a:pt x="33092" y="713563"/>
                  </a:lnTo>
                  <a:lnTo>
                    <a:pt x="18893" y="669609"/>
                  </a:lnTo>
                  <a:lnTo>
                    <a:pt x="8520" y="624069"/>
                  </a:lnTo>
                  <a:lnTo>
                    <a:pt x="2159" y="577132"/>
                  </a:lnTo>
                  <a:lnTo>
                    <a:pt x="0" y="528941"/>
                  </a:lnTo>
                  <a:lnTo>
                    <a:pt x="2159" y="480835"/>
                  </a:lnTo>
                  <a:lnTo>
                    <a:pt x="8520" y="433898"/>
                  </a:lnTo>
                  <a:lnTo>
                    <a:pt x="18893" y="388359"/>
                  </a:lnTo>
                  <a:lnTo>
                    <a:pt x="33092" y="344404"/>
                  </a:lnTo>
                  <a:lnTo>
                    <a:pt x="50930" y="302221"/>
                  </a:lnTo>
                  <a:lnTo>
                    <a:pt x="72220" y="261995"/>
                  </a:lnTo>
                  <a:lnTo>
                    <a:pt x="96775" y="223915"/>
                  </a:lnTo>
                  <a:lnTo>
                    <a:pt x="124408" y="188166"/>
                  </a:lnTo>
                  <a:lnTo>
                    <a:pt x="154934" y="154935"/>
                  </a:lnTo>
                  <a:lnTo>
                    <a:pt x="188164" y="124410"/>
                  </a:lnTo>
                  <a:lnTo>
                    <a:pt x="223913" y="96776"/>
                  </a:lnTo>
                  <a:lnTo>
                    <a:pt x="261994" y="72221"/>
                  </a:lnTo>
                  <a:lnTo>
                    <a:pt x="302219" y="50932"/>
                  </a:lnTo>
                  <a:lnTo>
                    <a:pt x="344402" y="33094"/>
                  </a:lnTo>
                  <a:lnTo>
                    <a:pt x="388357" y="18895"/>
                  </a:lnTo>
                  <a:lnTo>
                    <a:pt x="433896" y="8522"/>
                  </a:lnTo>
                  <a:lnTo>
                    <a:pt x="480834" y="2161"/>
                  </a:lnTo>
                  <a:lnTo>
                    <a:pt x="528982" y="0"/>
                  </a:lnTo>
                  <a:lnTo>
                    <a:pt x="577130" y="2161"/>
                  </a:lnTo>
                  <a:lnTo>
                    <a:pt x="624067" y="8522"/>
                  </a:lnTo>
                  <a:lnTo>
                    <a:pt x="669607" y="18895"/>
                  </a:lnTo>
                  <a:lnTo>
                    <a:pt x="713562" y="33094"/>
                  </a:lnTo>
                  <a:lnTo>
                    <a:pt x="755745" y="50932"/>
                  </a:lnTo>
                  <a:lnTo>
                    <a:pt x="795970" y="72221"/>
                  </a:lnTo>
                  <a:lnTo>
                    <a:pt x="834051" y="96776"/>
                  </a:lnTo>
                  <a:lnTo>
                    <a:pt x="869800" y="124410"/>
                  </a:lnTo>
                  <a:lnTo>
                    <a:pt x="903030" y="154935"/>
                  </a:lnTo>
                  <a:lnTo>
                    <a:pt x="933556" y="188166"/>
                  </a:lnTo>
                  <a:lnTo>
                    <a:pt x="961189" y="223915"/>
                  </a:lnTo>
                  <a:lnTo>
                    <a:pt x="985744" y="261995"/>
                  </a:lnTo>
                  <a:lnTo>
                    <a:pt x="1007034" y="302221"/>
                  </a:lnTo>
                  <a:lnTo>
                    <a:pt x="1024871" y="344404"/>
                  </a:lnTo>
                  <a:lnTo>
                    <a:pt x="1039070" y="388359"/>
                  </a:lnTo>
                  <a:lnTo>
                    <a:pt x="1049443" y="433898"/>
                  </a:lnTo>
                  <a:lnTo>
                    <a:pt x="1055804" y="480835"/>
                  </a:lnTo>
                  <a:lnTo>
                    <a:pt x="1057962" y="528984"/>
                  </a:lnTo>
                  <a:lnTo>
                    <a:pt x="1055804" y="577132"/>
                  </a:lnTo>
                  <a:lnTo>
                    <a:pt x="1049443" y="624069"/>
                  </a:lnTo>
                  <a:lnTo>
                    <a:pt x="1039070" y="669609"/>
                  </a:lnTo>
                  <a:lnTo>
                    <a:pt x="1024871" y="713563"/>
                  </a:lnTo>
                  <a:lnTo>
                    <a:pt x="1007034" y="755747"/>
                  </a:lnTo>
                  <a:lnTo>
                    <a:pt x="985744" y="795972"/>
                  </a:lnTo>
                  <a:lnTo>
                    <a:pt x="961189" y="834053"/>
                  </a:lnTo>
                  <a:lnTo>
                    <a:pt x="933556" y="869801"/>
                  </a:lnTo>
                  <a:lnTo>
                    <a:pt x="903030" y="903032"/>
                  </a:lnTo>
                  <a:lnTo>
                    <a:pt x="869800" y="933557"/>
                  </a:lnTo>
                  <a:lnTo>
                    <a:pt x="834051" y="961191"/>
                  </a:lnTo>
                  <a:lnTo>
                    <a:pt x="795970" y="985746"/>
                  </a:lnTo>
                  <a:lnTo>
                    <a:pt x="755745" y="1007036"/>
                  </a:lnTo>
                  <a:lnTo>
                    <a:pt x="713562" y="1024873"/>
                  </a:lnTo>
                  <a:lnTo>
                    <a:pt x="669607" y="1039072"/>
                  </a:lnTo>
                  <a:lnTo>
                    <a:pt x="624067" y="1049445"/>
                  </a:lnTo>
                  <a:lnTo>
                    <a:pt x="577130" y="1055806"/>
                  </a:lnTo>
                  <a:lnTo>
                    <a:pt x="528982" y="1057968"/>
                  </a:lnTo>
                  <a:close/>
                </a:path>
              </a:pathLst>
            </a:custGeom>
            <a:solidFill>
              <a:srgbClr val="FFFFFF"/>
            </a:solidFill>
          </p:spPr>
          <p:txBody>
            <a:bodyPr wrap="square" lIns="0" tIns="0" rIns="0" bIns="0" rtlCol="0"/>
            <a:lstStyle/>
            <a:p>
              <a:endParaRPr/>
            </a:p>
          </p:txBody>
        </p:sp>
        <p:sp>
          <p:nvSpPr>
            <p:cNvPr id="76" name="object 76"/>
            <p:cNvSpPr/>
            <p:nvPr/>
          </p:nvSpPr>
          <p:spPr>
            <a:xfrm>
              <a:off x="14004060" y="8116752"/>
              <a:ext cx="616585" cy="448945"/>
            </a:xfrm>
            <a:custGeom>
              <a:avLst/>
              <a:gdLst/>
              <a:ahLst/>
              <a:cxnLst/>
              <a:rect l="l" t="t" r="r" b="b"/>
              <a:pathLst>
                <a:path w="616584" h="448945">
                  <a:moveTo>
                    <a:pt x="548004" y="448534"/>
                  </a:moveTo>
                  <a:lnTo>
                    <a:pt x="68500" y="448534"/>
                  </a:lnTo>
                  <a:lnTo>
                    <a:pt x="41838" y="443111"/>
                  </a:lnTo>
                  <a:lnTo>
                    <a:pt x="20064" y="428322"/>
                  </a:lnTo>
                  <a:lnTo>
                    <a:pt x="5383" y="406388"/>
                  </a:lnTo>
                  <a:lnTo>
                    <a:pt x="0" y="379529"/>
                  </a:lnTo>
                  <a:lnTo>
                    <a:pt x="0" y="69005"/>
                  </a:lnTo>
                  <a:lnTo>
                    <a:pt x="5383" y="42146"/>
                  </a:lnTo>
                  <a:lnTo>
                    <a:pt x="20064" y="20212"/>
                  </a:lnTo>
                  <a:lnTo>
                    <a:pt x="41838" y="5423"/>
                  </a:lnTo>
                  <a:lnTo>
                    <a:pt x="68500" y="0"/>
                  </a:lnTo>
                  <a:lnTo>
                    <a:pt x="548004" y="0"/>
                  </a:lnTo>
                  <a:lnTo>
                    <a:pt x="574666" y="5423"/>
                  </a:lnTo>
                  <a:lnTo>
                    <a:pt x="596440" y="20212"/>
                  </a:lnTo>
                  <a:lnTo>
                    <a:pt x="611121" y="42146"/>
                  </a:lnTo>
                  <a:lnTo>
                    <a:pt x="616504" y="69005"/>
                  </a:lnTo>
                  <a:lnTo>
                    <a:pt x="616504" y="379529"/>
                  </a:lnTo>
                  <a:lnTo>
                    <a:pt x="611121" y="406388"/>
                  </a:lnTo>
                  <a:lnTo>
                    <a:pt x="596440" y="428322"/>
                  </a:lnTo>
                  <a:lnTo>
                    <a:pt x="574666" y="443111"/>
                  </a:lnTo>
                  <a:lnTo>
                    <a:pt x="548004" y="448534"/>
                  </a:lnTo>
                  <a:close/>
                </a:path>
              </a:pathLst>
            </a:custGeom>
            <a:solidFill>
              <a:srgbClr val="007833"/>
            </a:solidFill>
          </p:spPr>
          <p:txBody>
            <a:bodyPr wrap="square" lIns="0" tIns="0" rIns="0" bIns="0" rtlCol="0"/>
            <a:lstStyle/>
            <a:p>
              <a:endParaRPr/>
            </a:p>
          </p:txBody>
        </p:sp>
        <p:sp>
          <p:nvSpPr>
            <p:cNvPr id="77" name="object 77"/>
            <p:cNvSpPr/>
            <p:nvPr/>
          </p:nvSpPr>
          <p:spPr>
            <a:xfrm>
              <a:off x="14004060" y="8254762"/>
              <a:ext cx="616585" cy="172720"/>
            </a:xfrm>
            <a:custGeom>
              <a:avLst/>
              <a:gdLst/>
              <a:ahLst/>
              <a:cxnLst/>
              <a:rect l="l" t="t" r="r" b="b"/>
              <a:pathLst>
                <a:path w="616584" h="172720">
                  <a:moveTo>
                    <a:pt x="616504" y="172513"/>
                  </a:moveTo>
                  <a:lnTo>
                    <a:pt x="0" y="172513"/>
                  </a:lnTo>
                  <a:lnTo>
                    <a:pt x="0" y="0"/>
                  </a:lnTo>
                  <a:lnTo>
                    <a:pt x="616504" y="0"/>
                  </a:lnTo>
                  <a:lnTo>
                    <a:pt x="616504" y="172513"/>
                  </a:lnTo>
                  <a:close/>
                </a:path>
              </a:pathLst>
            </a:custGeom>
            <a:solidFill>
              <a:srgbClr val="FFDF00"/>
            </a:solidFill>
          </p:spPr>
          <p:txBody>
            <a:bodyPr wrap="square" lIns="0" tIns="0" rIns="0" bIns="0" rtlCol="0"/>
            <a:lstStyle/>
            <a:p>
              <a:endParaRPr/>
            </a:p>
          </p:txBody>
        </p:sp>
        <p:sp>
          <p:nvSpPr>
            <p:cNvPr id="78" name="object 78"/>
            <p:cNvSpPr/>
            <p:nvPr/>
          </p:nvSpPr>
          <p:spPr>
            <a:xfrm>
              <a:off x="14004060" y="8116752"/>
              <a:ext cx="616585" cy="138430"/>
            </a:xfrm>
            <a:custGeom>
              <a:avLst/>
              <a:gdLst/>
              <a:ahLst/>
              <a:cxnLst/>
              <a:rect l="l" t="t" r="r" b="b"/>
              <a:pathLst>
                <a:path w="616584" h="138429">
                  <a:moveTo>
                    <a:pt x="616504" y="138010"/>
                  </a:moveTo>
                  <a:lnTo>
                    <a:pt x="0" y="138010"/>
                  </a:lnTo>
                  <a:lnTo>
                    <a:pt x="0" y="69005"/>
                  </a:lnTo>
                  <a:lnTo>
                    <a:pt x="5383" y="42146"/>
                  </a:lnTo>
                  <a:lnTo>
                    <a:pt x="20064" y="20212"/>
                  </a:lnTo>
                  <a:lnTo>
                    <a:pt x="41838" y="5423"/>
                  </a:lnTo>
                  <a:lnTo>
                    <a:pt x="68500" y="0"/>
                  </a:lnTo>
                  <a:lnTo>
                    <a:pt x="548004" y="0"/>
                  </a:lnTo>
                  <a:lnTo>
                    <a:pt x="574666" y="5423"/>
                  </a:lnTo>
                  <a:lnTo>
                    <a:pt x="596440" y="20212"/>
                  </a:lnTo>
                  <a:lnTo>
                    <a:pt x="611121" y="42146"/>
                  </a:lnTo>
                  <a:lnTo>
                    <a:pt x="616504" y="69005"/>
                  </a:lnTo>
                  <a:lnTo>
                    <a:pt x="616504" y="138010"/>
                  </a:lnTo>
                  <a:close/>
                </a:path>
              </a:pathLst>
            </a:custGeom>
            <a:solidFill>
              <a:srgbClr val="D52A1D"/>
            </a:solidFill>
          </p:spPr>
          <p:txBody>
            <a:bodyPr wrap="square" lIns="0" tIns="0" rIns="0" bIns="0" rtlCol="0"/>
            <a:lstStyle/>
            <a:p>
              <a:endParaRPr/>
            </a:p>
          </p:txBody>
        </p:sp>
        <p:pic>
          <p:nvPicPr>
            <p:cNvPr id="79" name="object 79"/>
            <p:cNvPicPr/>
            <p:nvPr/>
          </p:nvPicPr>
          <p:blipFill>
            <a:blip r:embed="rId11" cstate="print"/>
            <a:stretch>
              <a:fillRect/>
            </a:stretch>
          </p:blipFill>
          <p:spPr>
            <a:xfrm>
              <a:off x="14224871" y="8263112"/>
              <a:ext cx="174864" cy="155969"/>
            </a:xfrm>
            <a:prstGeom prst="rect">
              <a:avLst/>
            </a:prstGeom>
          </p:spPr>
        </p:pic>
      </p:grpSp>
      <p:sp>
        <p:nvSpPr>
          <p:cNvPr id="80" name="object 80"/>
          <p:cNvSpPr txBox="1"/>
          <p:nvPr/>
        </p:nvSpPr>
        <p:spPr>
          <a:xfrm>
            <a:off x="14066992" y="8619153"/>
            <a:ext cx="422909" cy="182245"/>
          </a:xfrm>
          <a:prstGeom prst="rect">
            <a:avLst/>
          </a:prstGeom>
        </p:spPr>
        <p:txBody>
          <a:bodyPr vert="horz" wrap="square" lIns="0" tIns="16510" rIns="0" bIns="0" rtlCol="0">
            <a:spAutoFit/>
          </a:bodyPr>
          <a:lstStyle/>
          <a:p>
            <a:pPr marL="12700">
              <a:lnSpc>
                <a:spcPct val="100000"/>
              </a:lnSpc>
              <a:spcBef>
                <a:spcPts val="130"/>
              </a:spcBef>
            </a:pPr>
            <a:r>
              <a:rPr sz="1000" b="1" spc="-10" dirty="0">
                <a:solidFill>
                  <a:srgbClr val="737373"/>
                </a:solidFill>
                <a:latin typeface="Roboto"/>
                <a:cs typeface="Roboto"/>
              </a:rPr>
              <a:t>Bolivia</a:t>
            </a:r>
            <a:endParaRPr sz="1000">
              <a:latin typeface="Roboto"/>
              <a:cs typeface="Roboto"/>
            </a:endParaRPr>
          </a:p>
        </p:txBody>
      </p:sp>
      <p:grpSp>
        <p:nvGrpSpPr>
          <p:cNvPr id="81" name="object 81"/>
          <p:cNvGrpSpPr/>
          <p:nvPr/>
        </p:nvGrpSpPr>
        <p:grpSpPr>
          <a:xfrm>
            <a:off x="12364832" y="4235755"/>
            <a:ext cx="1267460" cy="1267460"/>
            <a:chOff x="12364832" y="4235755"/>
            <a:chExt cx="1267460" cy="1267460"/>
          </a:xfrm>
        </p:grpSpPr>
        <p:pic>
          <p:nvPicPr>
            <p:cNvPr id="82" name="object 82"/>
            <p:cNvPicPr/>
            <p:nvPr/>
          </p:nvPicPr>
          <p:blipFill>
            <a:blip r:embed="rId2" cstate="print"/>
            <a:stretch>
              <a:fillRect/>
            </a:stretch>
          </p:blipFill>
          <p:spPr>
            <a:xfrm>
              <a:off x="12364832" y="4235755"/>
              <a:ext cx="1267110" cy="1267110"/>
            </a:xfrm>
            <a:prstGeom prst="rect">
              <a:avLst/>
            </a:prstGeom>
          </p:spPr>
        </p:pic>
        <p:sp>
          <p:nvSpPr>
            <p:cNvPr id="83" name="object 83"/>
            <p:cNvSpPr/>
            <p:nvPr/>
          </p:nvSpPr>
          <p:spPr>
            <a:xfrm>
              <a:off x="12477151" y="4334720"/>
              <a:ext cx="1058545" cy="1058545"/>
            </a:xfrm>
            <a:custGeom>
              <a:avLst/>
              <a:gdLst/>
              <a:ahLst/>
              <a:cxnLst/>
              <a:rect l="l" t="t" r="r" b="b"/>
              <a:pathLst>
                <a:path w="1058544" h="1058545">
                  <a:moveTo>
                    <a:pt x="528984" y="1057968"/>
                  </a:moveTo>
                  <a:lnTo>
                    <a:pt x="480834" y="1055806"/>
                  </a:lnTo>
                  <a:lnTo>
                    <a:pt x="433897" y="1049445"/>
                  </a:lnTo>
                  <a:lnTo>
                    <a:pt x="388358" y="1039072"/>
                  </a:lnTo>
                  <a:lnTo>
                    <a:pt x="344403" y="1024873"/>
                  </a:lnTo>
                  <a:lnTo>
                    <a:pt x="302220" y="1007036"/>
                  </a:lnTo>
                  <a:lnTo>
                    <a:pt x="261994" y="985746"/>
                  </a:lnTo>
                  <a:lnTo>
                    <a:pt x="223914" y="961191"/>
                  </a:lnTo>
                  <a:lnTo>
                    <a:pt x="188165" y="933557"/>
                  </a:lnTo>
                  <a:lnTo>
                    <a:pt x="154934" y="903032"/>
                  </a:lnTo>
                  <a:lnTo>
                    <a:pt x="124409" y="869801"/>
                  </a:lnTo>
                  <a:lnTo>
                    <a:pt x="96775" y="834052"/>
                  </a:lnTo>
                  <a:lnTo>
                    <a:pt x="72220" y="795972"/>
                  </a:lnTo>
                  <a:lnTo>
                    <a:pt x="50931" y="755747"/>
                  </a:lnTo>
                  <a:lnTo>
                    <a:pt x="33093" y="713563"/>
                  </a:lnTo>
                  <a:lnTo>
                    <a:pt x="18894" y="669608"/>
                  </a:lnTo>
                  <a:lnTo>
                    <a:pt x="8521" y="624069"/>
                  </a:lnTo>
                  <a:lnTo>
                    <a:pt x="2160" y="577132"/>
                  </a:lnTo>
                  <a:lnTo>
                    <a:pt x="0" y="529009"/>
                  </a:lnTo>
                  <a:lnTo>
                    <a:pt x="2160" y="480835"/>
                  </a:lnTo>
                  <a:lnTo>
                    <a:pt x="8521" y="433898"/>
                  </a:lnTo>
                  <a:lnTo>
                    <a:pt x="18894" y="388358"/>
                  </a:lnTo>
                  <a:lnTo>
                    <a:pt x="33093" y="344404"/>
                  </a:lnTo>
                  <a:lnTo>
                    <a:pt x="50931" y="302220"/>
                  </a:lnTo>
                  <a:lnTo>
                    <a:pt x="72220" y="261995"/>
                  </a:lnTo>
                  <a:lnTo>
                    <a:pt x="96775" y="223914"/>
                  </a:lnTo>
                  <a:lnTo>
                    <a:pt x="124409" y="188166"/>
                  </a:lnTo>
                  <a:lnTo>
                    <a:pt x="154934" y="154935"/>
                  </a:lnTo>
                  <a:lnTo>
                    <a:pt x="188165" y="124410"/>
                  </a:lnTo>
                  <a:lnTo>
                    <a:pt x="223914" y="96776"/>
                  </a:lnTo>
                  <a:lnTo>
                    <a:pt x="261994" y="72221"/>
                  </a:lnTo>
                  <a:lnTo>
                    <a:pt x="302220" y="50931"/>
                  </a:lnTo>
                  <a:lnTo>
                    <a:pt x="344403" y="33094"/>
                  </a:lnTo>
                  <a:lnTo>
                    <a:pt x="388358" y="18895"/>
                  </a:lnTo>
                  <a:lnTo>
                    <a:pt x="433897" y="8522"/>
                  </a:lnTo>
                  <a:lnTo>
                    <a:pt x="480834" y="2161"/>
                  </a:lnTo>
                  <a:lnTo>
                    <a:pt x="528975" y="0"/>
                  </a:lnTo>
                  <a:lnTo>
                    <a:pt x="577131" y="2161"/>
                  </a:lnTo>
                  <a:lnTo>
                    <a:pt x="624068" y="8522"/>
                  </a:lnTo>
                  <a:lnTo>
                    <a:pt x="669608" y="18895"/>
                  </a:lnTo>
                  <a:lnTo>
                    <a:pt x="713562" y="33094"/>
                  </a:lnTo>
                  <a:lnTo>
                    <a:pt x="755746" y="50931"/>
                  </a:lnTo>
                  <a:lnTo>
                    <a:pt x="795971" y="72221"/>
                  </a:lnTo>
                  <a:lnTo>
                    <a:pt x="834052" y="96776"/>
                  </a:lnTo>
                  <a:lnTo>
                    <a:pt x="869800" y="124410"/>
                  </a:lnTo>
                  <a:lnTo>
                    <a:pt x="903031" y="154935"/>
                  </a:lnTo>
                  <a:lnTo>
                    <a:pt x="933556" y="188166"/>
                  </a:lnTo>
                  <a:lnTo>
                    <a:pt x="961190" y="223914"/>
                  </a:lnTo>
                  <a:lnTo>
                    <a:pt x="985745" y="261995"/>
                  </a:lnTo>
                  <a:lnTo>
                    <a:pt x="1007035" y="302220"/>
                  </a:lnTo>
                  <a:lnTo>
                    <a:pt x="1024872" y="344404"/>
                  </a:lnTo>
                  <a:lnTo>
                    <a:pt x="1039071" y="388358"/>
                  </a:lnTo>
                  <a:lnTo>
                    <a:pt x="1049444" y="433898"/>
                  </a:lnTo>
                  <a:lnTo>
                    <a:pt x="1055805" y="480835"/>
                  </a:lnTo>
                  <a:lnTo>
                    <a:pt x="1057966" y="528958"/>
                  </a:lnTo>
                  <a:lnTo>
                    <a:pt x="1055805" y="577132"/>
                  </a:lnTo>
                  <a:lnTo>
                    <a:pt x="1049444" y="624069"/>
                  </a:lnTo>
                  <a:lnTo>
                    <a:pt x="1039071" y="669608"/>
                  </a:lnTo>
                  <a:lnTo>
                    <a:pt x="1024872" y="713563"/>
                  </a:lnTo>
                  <a:lnTo>
                    <a:pt x="1007035" y="755747"/>
                  </a:lnTo>
                  <a:lnTo>
                    <a:pt x="985745" y="795972"/>
                  </a:lnTo>
                  <a:lnTo>
                    <a:pt x="961190" y="834052"/>
                  </a:lnTo>
                  <a:lnTo>
                    <a:pt x="933556" y="869801"/>
                  </a:lnTo>
                  <a:lnTo>
                    <a:pt x="903031" y="903032"/>
                  </a:lnTo>
                  <a:lnTo>
                    <a:pt x="869800" y="933557"/>
                  </a:lnTo>
                  <a:lnTo>
                    <a:pt x="834052" y="961191"/>
                  </a:lnTo>
                  <a:lnTo>
                    <a:pt x="795971" y="985746"/>
                  </a:lnTo>
                  <a:lnTo>
                    <a:pt x="755746" y="1007036"/>
                  </a:lnTo>
                  <a:lnTo>
                    <a:pt x="713562" y="1024873"/>
                  </a:lnTo>
                  <a:lnTo>
                    <a:pt x="669608" y="1039072"/>
                  </a:lnTo>
                  <a:lnTo>
                    <a:pt x="624068" y="1049445"/>
                  </a:lnTo>
                  <a:lnTo>
                    <a:pt x="577131" y="1055806"/>
                  </a:lnTo>
                  <a:lnTo>
                    <a:pt x="528984" y="1057968"/>
                  </a:lnTo>
                  <a:close/>
                </a:path>
              </a:pathLst>
            </a:custGeom>
            <a:solidFill>
              <a:srgbClr val="FFFFFF"/>
            </a:solidFill>
          </p:spPr>
          <p:txBody>
            <a:bodyPr wrap="square" lIns="0" tIns="0" rIns="0" bIns="0" rtlCol="0"/>
            <a:lstStyle/>
            <a:p>
              <a:endParaRPr/>
            </a:p>
          </p:txBody>
        </p:sp>
        <p:sp>
          <p:nvSpPr>
            <p:cNvPr id="84" name="object 84"/>
            <p:cNvSpPr/>
            <p:nvPr/>
          </p:nvSpPr>
          <p:spPr>
            <a:xfrm>
              <a:off x="12701265" y="4602896"/>
              <a:ext cx="605155" cy="403860"/>
            </a:xfrm>
            <a:custGeom>
              <a:avLst/>
              <a:gdLst/>
              <a:ahLst/>
              <a:cxnLst/>
              <a:rect l="l" t="t" r="r" b="b"/>
              <a:pathLst>
                <a:path w="605155" h="403860">
                  <a:moveTo>
                    <a:pt x="529309" y="403681"/>
                  </a:moveTo>
                  <a:lnTo>
                    <a:pt x="75690" y="403681"/>
                  </a:lnTo>
                  <a:lnTo>
                    <a:pt x="46222" y="397730"/>
                  </a:lnTo>
                  <a:lnTo>
                    <a:pt x="22163" y="381506"/>
                  </a:lnTo>
                  <a:lnTo>
                    <a:pt x="5946" y="357446"/>
                  </a:lnTo>
                  <a:lnTo>
                    <a:pt x="0" y="327990"/>
                  </a:lnTo>
                  <a:lnTo>
                    <a:pt x="0" y="75690"/>
                  </a:lnTo>
                  <a:lnTo>
                    <a:pt x="5936" y="46234"/>
                  </a:lnTo>
                  <a:lnTo>
                    <a:pt x="22139" y="22174"/>
                  </a:lnTo>
                  <a:lnTo>
                    <a:pt x="46194" y="5950"/>
                  </a:lnTo>
                  <a:lnTo>
                    <a:pt x="75690" y="0"/>
                  </a:lnTo>
                  <a:lnTo>
                    <a:pt x="529309" y="0"/>
                  </a:lnTo>
                  <a:lnTo>
                    <a:pt x="558777" y="5950"/>
                  </a:lnTo>
                  <a:lnTo>
                    <a:pt x="582836" y="22174"/>
                  </a:lnTo>
                  <a:lnTo>
                    <a:pt x="599054" y="46234"/>
                  </a:lnTo>
                  <a:lnTo>
                    <a:pt x="605000" y="75690"/>
                  </a:lnTo>
                  <a:lnTo>
                    <a:pt x="605000" y="327990"/>
                  </a:lnTo>
                  <a:lnTo>
                    <a:pt x="599063" y="357446"/>
                  </a:lnTo>
                  <a:lnTo>
                    <a:pt x="582860" y="381506"/>
                  </a:lnTo>
                  <a:lnTo>
                    <a:pt x="558805" y="397730"/>
                  </a:lnTo>
                  <a:lnTo>
                    <a:pt x="529309" y="403681"/>
                  </a:lnTo>
                  <a:close/>
                </a:path>
              </a:pathLst>
            </a:custGeom>
            <a:solidFill>
              <a:srgbClr val="D90F23"/>
            </a:solidFill>
          </p:spPr>
          <p:txBody>
            <a:bodyPr wrap="square" lIns="0" tIns="0" rIns="0" bIns="0" rtlCol="0"/>
            <a:lstStyle/>
            <a:p>
              <a:endParaRPr/>
            </a:p>
          </p:txBody>
        </p:sp>
        <p:sp>
          <p:nvSpPr>
            <p:cNvPr id="85" name="object 85"/>
            <p:cNvSpPr/>
            <p:nvPr/>
          </p:nvSpPr>
          <p:spPr>
            <a:xfrm>
              <a:off x="12701265" y="4703816"/>
              <a:ext cx="605155" cy="201930"/>
            </a:xfrm>
            <a:custGeom>
              <a:avLst/>
              <a:gdLst/>
              <a:ahLst/>
              <a:cxnLst/>
              <a:rect l="l" t="t" r="r" b="b"/>
              <a:pathLst>
                <a:path w="605155" h="201929">
                  <a:moveTo>
                    <a:pt x="605000" y="201840"/>
                  </a:moveTo>
                  <a:lnTo>
                    <a:pt x="0" y="201840"/>
                  </a:lnTo>
                  <a:lnTo>
                    <a:pt x="0" y="0"/>
                  </a:lnTo>
                  <a:lnTo>
                    <a:pt x="605000" y="0"/>
                  </a:lnTo>
                  <a:lnTo>
                    <a:pt x="605000" y="201840"/>
                  </a:lnTo>
                  <a:close/>
                </a:path>
              </a:pathLst>
            </a:custGeom>
            <a:solidFill>
              <a:srgbClr val="F1C400"/>
            </a:solidFill>
          </p:spPr>
          <p:txBody>
            <a:bodyPr wrap="square" lIns="0" tIns="0" rIns="0" bIns="0" rtlCol="0"/>
            <a:lstStyle/>
            <a:p>
              <a:endParaRPr/>
            </a:p>
          </p:txBody>
        </p:sp>
        <p:pic>
          <p:nvPicPr>
            <p:cNvPr id="86" name="object 86"/>
            <p:cNvPicPr/>
            <p:nvPr/>
          </p:nvPicPr>
          <p:blipFill>
            <a:blip r:embed="rId12" cstate="print"/>
            <a:stretch>
              <a:fillRect/>
            </a:stretch>
          </p:blipFill>
          <p:spPr>
            <a:xfrm>
              <a:off x="12757984" y="4716431"/>
              <a:ext cx="214270" cy="177727"/>
            </a:xfrm>
            <a:prstGeom prst="rect">
              <a:avLst/>
            </a:prstGeom>
          </p:spPr>
        </p:pic>
      </p:grpSp>
      <p:sp>
        <p:nvSpPr>
          <p:cNvPr id="87" name="object 87"/>
          <p:cNvSpPr txBox="1"/>
          <p:nvPr/>
        </p:nvSpPr>
        <p:spPr>
          <a:xfrm>
            <a:off x="12788727" y="5074957"/>
            <a:ext cx="452755" cy="182245"/>
          </a:xfrm>
          <a:prstGeom prst="rect">
            <a:avLst/>
          </a:prstGeom>
        </p:spPr>
        <p:txBody>
          <a:bodyPr vert="horz" wrap="square" lIns="0" tIns="15875" rIns="0" bIns="0" rtlCol="0">
            <a:spAutoFit/>
          </a:bodyPr>
          <a:lstStyle/>
          <a:p>
            <a:pPr marL="12700">
              <a:lnSpc>
                <a:spcPct val="100000"/>
              </a:lnSpc>
              <a:spcBef>
                <a:spcPts val="125"/>
              </a:spcBef>
            </a:pPr>
            <a:r>
              <a:rPr sz="1000" b="1" spc="-10" dirty="0">
                <a:solidFill>
                  <a:srgbClr val="737373"/>
                </a:solidFill>
                <a:latin typeface="Roboto"/>
                <a:cs typeface="Roboto"/>
              </a:rPr>
              <a:t>España</a:t>
            </a:r>
            <a:endParaRPr sz="1000">
              <a:latin typeface="Roboto"/>
              <a:cs typeface="Roboto"/>
            </a:endParaRPr>
          </a:p>
        </p:txBody>
      </p:sp>
      <p:grpSp>
        <p:nvGrpSpPr>
          <p:cNvPr id="88" name="object 88"/>
          <p:cNvGrpSpPr/>
          <p:nvPr/>
        </p:nvGrpSpPr>
        <p:grpSpPr>
          <a:xfrm>
            <a:off x="12364832" y="5991784"/>
            <a:ext cx="1267460" cy="1267460"/>
            <a:chOff x="12364832" y="5991784"/>
            <a:chExt cx="1267460" cy="1267460"/>
          </a:xfrm>
        </p:grpSpPr>
        <p:pic>
          <p:nvPicPr>
            <p:cNvPr id="89" name="object 89"/>
            <p:cNvPicPr/>
            <p:nvPr/>
          </p:nvPicPr>
          <p:blipFill>
            <a:blip r:embed="rId9" cstate="print"/>
            <a:stretch>
              <a:fillRect/>
            </a:stretch>
          </p:blipFill>
          <p:spPr>
            <a:xfrm>
              <a:off x="12364832" y="5991784"/>
              <a:ext cx="1267110" cy="1267110"/>
            </a:xfrm>
            <a:prstGeom prst="rect">
              <a:avLst/>
            </a:prstGeom>
          </p:spPr>
        </p:pic>
        <p:sp>
          <p:nvSpPr>
            <p:cNvPr id="90" name="object 90"/>
            <p:cNvSpPr/>
            <p:nvPr/>
          </p:nvSpPr>
          <p:spPr>
            <a:xfrm>
              <a:off x="12477151" y="6090746"/>
              <a:ext cx="1058545" cy="1058545"/>
            </a:xfrm>
            <a:custGeom>
              <a:avLst/>
              <a:gdLst/>
              <a:ahLst/>
              <a:cxnLst/>
              <a:rect l="l" t="t" r="r" b="b"/>
              <a:pathLst>
                <a:path w="1058544" h="1058545">
                  <a:moveTo>
                    <a:pt x="528987" y="1057968"/>
                  </a:moveTo>
                  <a:lnTo>
                    <a:pt x="480834" y="1055806"/>
                  </a:lnTo>
                  <a:lnTo>
                    <a:pt x="433897" y="1049445"/>
                  </a:lnTo>
                  <a:lnTo>
                    <a:pt x="388358" y="1039072"/>
                  </a:lnTo>
                  <a:lnTo>
                    <a:pt x="344403" y="1024873"/>
                  </a:lnTo>
                  <a:lnTo>
                    <a:pt x="302220" y="1007036"/>
                  </a:lnTo>
                  <a:lnTo>
                    <a:pt x="261994" y="985746"/>
                  </a:lnTo>
                  <a:lnTo>
                    <a:pt x="223914" y="961191"/>
                  </a:lnTo>
                  <a:lnTo>
                    <a:pt x="188165" y="933557"/>
                  </a:lnTo>
                  <a:lnTo>
                    <a:pt x="154934" y="903032"/>
                  </a:lnTo>
                  <a:lnTo>
                    <a:pt x="124409" y="869801"/>
                  </a:lnTo>
                  <a:lnTo>
                    <a:pt x="96775" y="834052"/>
                  </a:lnTo>
                  <a:lnTo>
                    <a:pt x="72220" y="795972"/>
                  </a:lnTo>
                  <a:lnTo>
                    <a:pt x="50931" y="755747"/>
                  </a:lnTo>
                  <a:lnTo>
                    <a:pt x="33093" y="713563"/>
                  </a:lnTo>
                  <a:lnTo>
                    <a:pt x="18894" y="669608"/>
                  </a:lnTo>
                  <a:lnTo>
                    <a:pt x="8521" y="624069"/>
                  </a:lnTo>
                  <a:lnTo>
                    <a:pt x="2160" y="577132"/>
                  </a:lnTo>
                  <a:lnTo>
                    <a:pt x="0" y="528958"/>
                  </a:lnTo>
                  <a:lnTo>
                    <a:pt x="2160" y="480835"/>
                  </a:lnTo>
                  <a:lnTo>
                    <a:pt x="8521" y="433898"/>
                  </a:lnTo>
                  <a:lnTo>
                    <a:pt x="18894" y="388359"/>
                  </a:lnTo>
                  <a:lnTo>
                    <a:pt x="33093" y="344404"/>
                  </a:lnTo>
                  <a:lnTo>
                    <a:pt x="50931" y="302221"/>
                  </a:lnTo>
                  <a:lnTo>
                    <a:pt x="72220" y="261995"/>
                  </a:lnTo>
                  <a:lnTo>
                    <a:pt x="96775" y="223915"/>
                  </a:lnTo>
                  <a:lnTo>
                    <a:pt x="124409" y="188166"/>
                  </a:lnTo>
                  <a:lnTo>
                    <a:pt x="154934" y="154935"/>
                  </a:lnTo>
                  <a:lnTo>
                    <a:pt x="188165" y="124410"/>
                  </a:lnTo>
                  <a:lnTo>
                    <a:pt x="223914" y="96776"/>
                  </a:lnTo>
                  <a:lnTo>
                    <a:pt x="261994" y="72221"/>
                  </a:lnTo>
                  <a:lnTo>
                    <a:pt x="302220" y="50932"/>
                  </a:lnTo>
                  <a:lnTo>
                    <a:pt x="344403" y="33094"/>
                  </a:lnTo>
                  <a:lnTo>
                    <a:pt x="388358" y="18895"/>
                  </a:lnTo>
                  <a:lnTo>
                    <a:pt x="433897" y="8522"/>
                  </a:lnTo>
                  <a:lnTo>
                    <a:pt x="480834" y="2161"/>
                  </a:lnTo>
                  <a:lnTo>
                    <a:pt x="528983" y="0"/>
                  </a:lnTo>
                  <a:lnTo>
                    <a:pt x="577131" y="2161"/>
                  </a:lnTo>
                  <a:lnTo>
                    <a:pt x="624068" y="8522"/>
                  </a:lnTo>
                  <a:lnTo>
                    <a:pt x="669608" y="18895"/>
                  </a:lnTo>
                  <a:lnTo>
                    <a:pt x="713562" y="33094"/>
                  </a:lnTo>
                  <a:lnTo>
                    <a:pt x="755746" y="50932"/>
                  </a:lnTo>
                  <a:lnTo>
                    <a:pt x="795971" y="72221"/>
                  </a:lnTo>
                  <a:lnTo>
                    <a:pt x="834052" y="96776"/>
                  </a:lnTo>
                  <a:lnTo>
                    <a:pt x="869800" y="124410"/>
                  </a:lnTo>
                  <a:lnTo>
                    <a:pt x="903031" y="154935"/>
                  </a:lnTo>
                  <a:lnTo>
                    <a:pt x="933556" y="188166"/>
                  </a:lnTo>
                  <a:lnTo>
                    <a:pt x="961190" y="223915"/>
                  </a:lnTo>
                  <a:lnTo>
                    <a:pt x="985745" y="261995"/>
                  </a:lnTo>
                  <a:lnTo>
                    <a:pt x="1007035" y="302221"/>
                  </a:lnTo>
                  <a:lnTo>
                    <a:pt x="1024872" y="344404"/>
                  </a:lnTo>
                  <a:lnTo>
                    <a:pt x="1039071" y="388359"/>
                  </a:lnTo>
                  <a:lnTo>
                    <a:pt x="1049444" y="433898"/>
                  </a:lnTo>
                  <a:lnTo>
                    <a:pt x="1055805" y="480835"/>
                  </a:lnTo>
                  <a:lnTo>
                    <a:pt x="1057965" y="528984"/>
                  </a:lnTo>
                  <a:lnTo>
                    <a:pt x="1055805" y="577132"/>
                  </a:lnTo>
                  <a:lnTo>
                    <a:pt x="1049444" y="624069"/>
                  </a:lnTo>
                  <a:lnTo>
                    <a:pt x="1039071" y="669608"/>
                  </a:lnTo>
                  <a:lnTo>
                    <a:pt x="1024872" y="713563"/>
                  </a:lnTo>
                  <a:lnTo>
                    <a:pt x="1007035" y="755747"/>
                  </a:lnTo>
                  <a:lnTo>
                    <a:pt x="985745" y="795972"/>
                  </a:lnTo>
                  <a:lnTo>
                    <a:pt x="961190" y="834052"/>
                  </a:lnTo>
                  <a:lnTo>
                    <a:pt x="933556" y="869801"/>
                  </a:lnTo>
                  <a:lnTo>
                    <a:pt x="903031" y="903032"/>
                  </a:lnTo>
                  <a:lnTo>
                    <a:pt x="869800" y="933557"/>
                  </a:lnTo>
                  <a:lnTo>
                    <a:pt x="834052" y="961191"/>
                  </a:lnTo>
                  <a:lnTo>
                    <a:pt x="795971" y="985746"/>
                  </a:lnTo>
                  <a:lnTo>
                    <a:pt x="755746" y="1007036"/>
                  </a:lnTo>
                  <a:lnTo>
                    <a:pt x="713562" y="1024873"/>
                  </a:lnTo>
                  <a:lnTo>
                    <a:pt x="669608" y="1039072"/>
                  </a:lnTo>
                  <a:lnTo>
                    <a:pt x="624068" y="1049445"/>
                  </a:lnTo>
                  <a:lnTo>
                    <a:pt x="577131" y="1055806"/>
                  </a:lnTo>
                  <a:lnTo>
                    <a:pt x="528987" y="1057968"/>
                  </a:lnTo>
                  <a:close/>
                </a:path>
              </a:pathLst>
            </a:custGeom>
            <a:solidFill>
              <a:srgbClr val="FFFFFF"/>
            </a:solidFill>
          </p:spPr>
          <p:txBody>
            <a:bodyPr wrap="square" lIns="0" tIns="0" rIns="0" bIns="0" rtlCol="0"/>
            <a:lstStyle/>
            <a:p>
              <a:endParaRPr/>
            </a:p>
          </p:txBody>
        </p:sp>
        <p:sp>
          <p:nvSpPr>
            <p:cNvPr id="91" name="object 91"/>
            <p:cNvSpPr/>
            <p:nvPr/>
          </p:nvSpPr>
          <p:spPr>
            <a:xfrm>
              <a:off x="12733552" y="6359026"/>
              <a:ext cx="549910" cy="196215"/>
            </a:xfrm>
            <a:custGeom>
              <a:avLst/>
              <a:gdLst/>
              <a:ahLst/>
              <a:cxnLst/>
              <a:rect l="l" t="t" r="r" b="b"/>
              <a:pathLst>
                <a:path w="549909" h="196215">
                  <a:moveTo>
                    <a:pt x="549454" y="196132"/>
                  </a:moveTo>
                  <a:lnTo>
                    <a:pt x="0" y="196132"/>
                  </a:lnTo>
                  <a:lnTo>
                    <a:pt x="0" y="60348"/>
                  </a:lnTo>
                  <a:lnTo>
                    <a:pt x="4797" y="36858"/>
                  </a:lnTo>
                  <a:lnTo>
                    <a:pt x="17882" y="17676"/>
                  </a:lnTo>
                  <a:lnTo>
                    <a:pt x="37287" y="4742"/>
                  </a:lnTo>
                  <a:lnTo>
                    <a:pt x="61050" y="0"/>
                  </a:lnTo>
                  <a:lnTo>
                    <a:pt x="488404" y="0"/>
                  </a:lnTo>
                  <a:lnTo>
                    <a:pt x="512167" y="4742"/>
                  </a:lnTo>
                  <a:lnTo>
                    <a:pt x="531572" y="17676"/>
                  </a:lnTo>
                  <a:lnTo>
                    <a:pt x="544656" y="36858"/>
                  </a:lnTo>
                  <a:lnTo>
                    <a:pt x="549454" y="60348"/>
                  </a:lnTo>
                  <a:lnTo>
                    <a:pt x="549454" y="196132"/>
                  </a:lnTo>
                  <a:close/>
                </a:path>
              </a:pathLst>
            </a:custGeom>
            <a:solidFill>
              <a:srgbClr val="FAD016"/>
            </a:solidFill>
          </p:spPr>
          <p:txBody>
            <a:bodyPr wrap="square" lIns="0" tIns="0" rIns="0" bIns="0" rtlCol="0"/>
            <a:lstStyle/>
            <a:p>
              <a:endParaRPr/>
            </a:p>
          </p:txBody>
        </p:sp>
        <p:sp>
          <p:nvSpPr>
            <p:cNvPr id="92" name="object 92"/>
            <p:cNvSpPr/>
            <p:nvPr/>
          </p:nvSpPr>
          <p:spPr>
            <a:xfrm>
              <a:off x="12733552" y="6555159"/>
              <a:ext cx="549910" cy="106045"/>
            </a:xfrm>
            <a:custGeom>
              <a:avLst/>
              <a:gdLst/>
              <a:ahLst/>
              <a:cxnLst/>
              <a:rect l="l" t="t" r="r" b="b"/>
              <a:pathLst>
                <a:path w="549909" h="106045">
                  <a:moveTo>
                    <a:pt x="549454" y="105609"/>
                  </a:moveTo>
                  <a:lnTo>
                    <a:pt x="0" y="105609"/>
                  </a:lnTo>
                  <a:lnTo>
                    <a:pt x="0" y="0"/>
                  </a:lnTo>
                  <a:lnTo>
                    <a:pt x="549454" y="0"/>
                  </a:lnTo>
                  <a:lnTo>
                    <a:pt x="549454" y="105609"/>
                  </a:lnTo>
                  <a:close/>
                </a:path>
              </a:pathLst>
            </a:custGeom>
            <a:solidFill>
              <a:srgbClr val="21408B"/>
            </a:solidFill>
          </p:spPr>
          <p:txBody>
            <a:bodyPr wrap="square" lIns="0" tIns="0" rIns="0" bIns="0" rtlCol="0"/>
            <a:lstStyle/>
            <a:p>
              <a:endParaRPr/>
            </a:p>
          </p:txBody>
        </p:sp>
        <p:sp>
          <p:nvSpPr>
            <p:cNvPr id="93" name="object 93"/>
            <p:cNvSpPr/>
            <p:nvPr/>
          </p:nvSpPr>
          <p:spPr>
            <a:xfrm>
              <a:off x="12733552" y="6660768"/>
              <a:ext cx="549910" cy="90805"/>
            </a:xfrm>
            <a:custGeom>
              <a:avLst/>
              <a:gdLst/>
              <a:ahLst/>
              <a:cxnLst/>
              <a:rect l="l" t="t" r="r" b="b"/>
              <a:pathLst>
                <a:path w="549909" h="90804">
                  <a:moveTo>
                    <a:pt x="488404" y="90522"/>
                  </a:moveTo>
                  <a:lnTo>
                    <a:pt x="61050" y="90522"/>
                  </a:lnTo>
                  <a:lnTo>
                    <a:pt x="37287" y="85779"/>
                  </a:lnTo>
                  <a:lnTo>
                    <a:pt x="17882" y="72846"/>
                  </a:lnTo>
                  <a:lnTo>
                    <a:pt x="4797" y="53663"/>
                  </a:lnTo>
                  <a:lnTo>
                    <a:pt x="0" y="30174"/>
                  </a:lnTo>
                  <a:lnTo>
                    <a:pt x="0" y="0"/>
                  </a:lnTo>
                  <a:lnTo>
                    <a:pt x="549454" y="0"/>
                  </a:lnTo>
                  <a:lnTo>
                    <a:pt x="549454" y="30174"/>
                  </a:lnTo>
                  <a:lnTo>
                    <a:pt x="544656" y="53663"/>
                  </a:lnTo>
                  <a:lnTo>
                    <a:pt x="531572" y="72846"/>
                  </a:lnTo>
                  <a:lnTo>
                    <a:pt x="512167" y="85779"/>
                  </a:lnTo>
                  <a:lnTo>
                    <a:pt x="488404" y="90522"/>
                  </a:lnTo>
                  <a:close/>
                </a:path>
              </a:pathLst>
            </a:custGeom>
            <a:solidFill>
              <a:srgbClr val="CD2028"/>
            </a:solidFill>
          </p:spPr>
          <p:txBody>
            <a:bodyPr wrap="square" lIns="0" tIns="0" rIns="0" bIns="0" rtlCol="0"/>
            <a:lstStyle/>
            <a:p>
              <a:endParaRPr/>
            </a:p>
          </p:txBody>
        </p:sp>
      </p:grpSp>
      <p:sp>
        <p:nvSpPr>
          <p:cNvPr id="94" name="object 94"/>
          <p:cNvSpPr txBox="1"/>
          <p:nvPr/>
        </p:nvSpPr>
        <p:spPr>
          <a:xfrm>
            <a:off x="12682453" y="6837341"/>
            <a:ext cx="585470" cy="182245"/>
          </a:xfrm>
          <a:prstGeom prst="rect">
            <a:avLst/>
          </a:prstGeom>
        </p:spPr>
        <p:txBody>
          <a:bodyPr vert="horz" wrap="square" lIns="0" tIns="16510" rIns="0" bIns="0" rtlCol="0">
            <a:spAutoFit/>
          </a:bodyPr>
          <a:lstStyle/>
          <a:p>
            <a:pPr marL="12700">
              <a:lnSpc>
                <a:spcPct val="100000"/>
              </a:lnSpc>
              <a:spcBef>
                <a:spcPts val="130"/>
              </a:spcBef>
            </a:pPr>
            <a:r>
              <a:rPr sz="1000" b="1" spc="-10" dirty="0">
                <a:solidFill>
                  <a:srgbClr val="737373"/>
                </a:solidFill>
                <a:latin typeface="Roboto"/>
                <a:cs typeface="Roboto"/>
              </a:rPr>
              <a:t>Colombia</a:t>
            </a:r>
            <a:endParaRPr sz="1000">
              <a:latin typeface="Roboto"/>
              <a:cs typeface="Roboto"/>
            </a:endParaRPr>
          </a:p>
        </p:txBody>
      </p:sp>
      <p:grpSp>
        <p:nvGrpSpPr>
          <p:cNvPr id="95" name="object 95"/>
          <p:cNvGrpSpPr/>
          <p:nvPr/>
        </p:nvGrpSpPr>
        <p:grpSpPr>
          <a:xfrm>
            <a:off x="14956581" y="7773596"/>
            <a:ext cx="1267460" cy="1267460"/>
            <a:chOff x="14956581" y="7773596"/>
            <a:chExt cx="1267460" cy="1267460"/>
          </a:xfrm>
        </p:grpSpPr>
        <p:pic>
          <p:nvPicPr>
            <p:cNvPr id="96" name="object 96"/>
            <p:cNvPicPr/>
            <p:nvPr/>
          </p:nvPicPr>
          <p:blipFill>
            <a:blip r:embed="rId13" cstate="print"/>
            <a:stretch>
              <a:fillRect/>
            </a:stretch>
          </p:blipFill>
          <p:spPr>
            <a:xfrm>
              <a:off x="14956581" y="7773596"/>
              <a:ext cx="1267110" cy="1267110"/>
            </a:xfrm>
            <a:prstGeom prst="rect">
              <a:avLst/>
            </a:prstGeom>
          </p:spPr>
        </p:pic>
        <p:sp>
          <p:nvSpPr>
            <p:cNvPr id="97" name="object 97"/>
            <p:cNvSpPr/>
            <p:nvPr/>
          </p:nvSpPr>
          <p:spPr>
            <a:xfrm>
              <a:off x="15068899" y="7872554"/>
              <a:ext cx="1058545" cy="1058545"/>
            </a:xfrm>
            <a:custGeom>
              <a:avLst/>
              <a:gdLst/>
              <a:ahLst/>
              <a:cxnLst/>
              <a:rect l="l" t="t" r="r" b="b"/>
              <a:pathLst>
                <a:path w="1058544" h="1058545">
                  <a:moveTo>
                    <a:pt x="528983" y="1057968"/>
                  </a:moveTo>
                  <a:lnTo>
                    <a:pt x="480835" y="1055806"/>
                  </a:lnTo>
                  <a:lnTo>
                    <a:pt x="433898" y="1049445"/>
                  </a:lnTo>
                  <a:lnTo>
                    <a:pt x="388358" y="1039072"/>
                  </a:lnTo>
                  <a:lnTo>
                    <a:pt x="344404" y="1024873"/>
                  </a:lnTo>
                  <a:lnTo>
                    <a:pt x="302220" y="1007036"/>
                  </a:lnTo>
                  <a:lnTo>
                    <a:pt x="261995" y="985746"/>
                  </a:lnTo>
                  <a:lnTo>
                    <a:pt x="223914" y="961191"/>
                  </a:lnTo>
                  <a:lnTo>
                    <a:pt x="188166" y="933557"/>
                  </a:lnTo>
                  <a:lnTo>
                    <a:pt x="154935" y="903032"/>
                  </a:lnTo>
                  <a:lnTo>
                    <a:pt x="124410" y="869801"/>
                  </a:lnTo>
                  <a:lnTo>
                    <a:pt x="96776" y="834053"/>
                  </a:lnTo>
                  <a:lnTo>
                    <a:pt x="72221" y="795972"/>
                  </a:lnTo>
                  <a:lnTo>
                    <a:pt x="50931" y="755747"/>
                  </a:lnTo>
                  <a:lnTo>
                    <a:pt x="33094" y="713563"/>
                  </a:lnTo>
                  <a:lnTo>
                    <a:pt x="18895" y="669609"/>
                  </a:lnTo>
                  <a:lnTo>
                    <a:pt x="8522" y="624069"/>
                  </a:lnTo>
                  <a:lnTo>
                    <a:pt x="2161" y="577132"/>
                  </a:lnTo>
                  <a:lnTo>
                    <a:pt x="0" y="528972"/>
                  </a:lnTo>
                  <a:lnTo>
                    <a:pt x="2161" y="480835"/>
                  </a:lnTo>
                  <a:lnTo>
                    <a:pt x="8522" y="433898"/>
                  </a:lnTo>
                  <a:lnTo>
                    <a:pt x="18895" y="388359"/>
                  </a:lnTo>
                  <a:lnTo>
                    <a:pt x="33094" y="344404"/>
                  </a:lnTo>
                  <a:lnTo>
                    <a:pt x="50931" y="302221"/>
                  </a:lnTo>
                  <a:lnTo>
                    <a:pt x="72221" y="261995"/>
                  </a:lnTo>
                  <a:lnTo>
                    <a:pt x="96776" y="223915"/>
                  </a:lnTo>
                  <a:lnTo>
                    <a:pt x="124410" y="188166"/>
                  </a:lnTo>
                  <a:lnTo>
                    <a:pt x="154935" y="154935"/>
                  </a:lnTo>
                  <a:lnTo>
                    <a:pt x="188166" y="124410"/>
                  </a:lnTo>
                  <a:lnTo>
                    <a:pt x="223914" y="96776"/>
                  </a:lnTo>
                  <a:lnTo>
                    <a:pt x="261995" y="72221"/>
                  </a:lnTo>
                  <a:lnTo>
                    <a:pt x="302220" y="50932"/>
                  </a:lnTo>
                  <a:lnTo>
                    <a:pt x="344404" y="33094"/>
                  </a:lnTo>
                  <a:lnTo>
                    <a:pt x="388358" y="18895"/>
                  </a:lnTo>
                  <a:lnTo>
                    <a:pt x="433898" y="8522"/>
                  </a:lnTo>
                  <a:lnTo>
                    <a:pt x="480835" y="2161"/>
                  </a:lnTo>
                  <a:lnTo>
                    <a:pt x="528983" y="0"/>
                  </a:lnTo>
                  <a:lnTo>
                    <a:pt x="577132" y="2161"/>
                  </a:lnTo>
                  <a:lnTo>
                    <a:pt x="624069" y="8522"/>
                  </a:lnTo>
                  <a:lnTo>
                    <a:pt x="669608" y="18895"/>
                  </a:lnTo>
                  <a:lnTo>
                    <a:pt x="713563" y="33094"/>
                  </a:lnTo>
                  <a:lnTo>
                    <a:pt x="755746" y="50932"/>
                  </a:lnTo>
                  <a:lnTo>
                    <a:pt x="795972" y="72221"/>
                  </a:lnTo>
                  <a:lnTo>
                    <a:pt x="834052" y="96776"/>
                  </a:lnTo>
                  <a:lnTo>
                    <a:pt x="869801" y="124410"/>
                  </a:lnTo>
                  <a:lnTo>
                    <a:pt x="903032" y="154935"/>
                  </a:lnTo>
                  <a:lnTo>
                    <a:pt x="933557" y="188166"/>
                  </a:lnTo>
                  <a:lnTo>
                    <a:pt x="961191" y="223915"/>
                  </a:lnTo>
                  <a:lnTo>
                    <a:pt x="985746" y="261995"/>
                  </a:lnTo>
                  <a:lnTo>
                    <a:pt x="1007035" y="302221"/>
                  </a:lnTo>
                  <a:lnTo>
                    <a:pt x="1024873" y="344404"/>
                  </a:lnTo>
                  <a:lnTo>
                    <a:pt x="1039072" y="388359"/>
                  </a:lnTo>
                  <a:lnTo>
                    <a:pt x="1049445" y="433898"/>
                  </a:lnTo>
                  <a:lnTo>
                    <a:pt x="1055806" y="480835"/>
                  </a:lnTo>
                  <a:lnTo>
                    <a:pt x="1057967" y="528984"/>
                  </a:lnTo>
                  <a:lnTo>
                    <a:pt x="1055806" y="577132"/>
                  </a:lnTo>
                  <a:lnTo>
                    <a:pt x="1049445" y="624069"/>
                  </a:lnTo>
                  <a:lnTo>
                    <a:pt x="1039072" y="669609"/>
                  </a:lnTo>
                  <a:lnTo>
                    <a:pt x="1024873" y="713563"/>
                  </a:lnTo>
                  <a:lnTo>
                    <a:pt x="1007035" y="755747"/>
                  </a:lnTo>
                  <a:lnTo>
                    <a:pt x="985746" y="795972"/>
                  </a:lnTo>
                  <a:lnTo>
                    <a:pt x="961191" y="834053"/>
                  </a:lnTo>
                  <a:lnTo>
                    <a:pt x="933557" y="869801"/>
                  </a:lnTo>
                  <a:lnTo>
                    <a:pt x="903032" y="903032"/>
                  </a:lnTo>
                  <a:lnTo>
                    <a:pt x="869801" y="933557"/>
                  </a:lnTo>
                  <a:lnTo>
                    <a:pt x="834052" y="961191"/>
                  </a:lnTo>
                  <a:lnTo>
                    <a:pt x="795972" y="985746"/>
                  </a:lnTo>
                  <a:lnTo>
                    <a:pt x="755746" y="1007036"/>
                  </a:lnTo>
                  <a:lnTo>
                    <a:pt x="713563" y="1024873"/>
                  </a:lnTo>
                  <a:lnTo>
                    <a:pt x="669608" y="1039072"/>
                  </a:lnTo>
                  <a:lnTo>
                    <a:pt x="624069" y="1049445"/>
                  </a:lnTo>
                  <a:lnTo>
                    <a:pt x="577132" y="1055806"/>
                  </a:lnTo>
                  <a:lnTo>
                    <a:pt x="528983" y="1057968"/>
                  </a:lnTo>
                  <a:close/>
                </a:path>
              </a:pathLst>
            </a:custGeom>
            <a:solidFill>
              <a:srgbClr val="FFFFFF"/>
            </a:solidFill>
          </p:spPr>
          <p:txBody>
            <a:bodyPr wrap="square" lIns="0" tIns="0" rIns="0" bIns="0" rtlCol="0"/>
            <a:lstStyle/>
            <a:p>
              <a:endParaRPr/>
            </a:p>
          </p:txBody>
        </p:sp>
        <p:sp>
          <p:nvSpPr>
            <p:cNvPr id="98" name="object 98"/>
            <p:cNvSpPr/>
            <p:nvPr/>
          </p:nvSpPr>
          <p:spPr>
            <a:xfrm>
              <a:off x="15306102" y="8120727"/>
              <a:ext cx="194945" cy="426084"/>
            </a:xfrm>
            <a:custGeom>
              <a:avLst/>
              <a:gdLst/>
              <a:ahLst/>
              <a:cxnLst/>
              <a:rect l="l" t="t" r="r" b="b"/>
              <a:pathLst>
                <a:path w="194944" h="426084">
                  <a:moveTo>
                    <a:pt x="194365" y="425930"/>
                  </a:moveTo>
                  <a:lnTo>
                    <a:pt x="64788" y="425930"/>
                  </a:lnTo>
                  <a:lnTo>
                    <a:pt x="39570" y="420780"/>
                  </a:lnTo>
                  <a:lnTo>
                    <a:pt x="18976" y="406737"/>
                  </a:lnTo>
                  <a:lnTo>
                    <a:pt x="5091" y="385908"/>
                  </a:lnTo>
                  <a:lnTo>
                    <a:pt x="0" y="360402"/>
                  </a:lnTo>
                  <a:lnTo>
                    <a:pt x="0" y="65527"/>
                  </a:lnTo>
                  <a:lnTo>
                    <a:pt x="5091" y="40022"/>
                  </a:lnTo>
                  <a:lnTo>
                    <a:pt x="18976" y="19193"/>
                  </a:lnTo>
                  <a:lnTo>
                    <a:pt x="39570" y="5149"/>
                  </a:lnTo>
                  <a:lnTo>
                    <a:pt x="64788" y="0"/>
                  </a:lnTo>
                  <a:lnTo>
                    <a:pt x="194365" y="0"/>
                  </a:lnTo>
                  <a:lnTo>
                    <a:pt x="194365" y="425930"/>
                  </a:lnTo>
                  <a:close/>
                </a:path>
              </a:pathLst>
            </a:custGeom>
            <a:solidFill>
              <a:srgbClr val="D90F23"/>
            </a:solidFill>
          </p:spPr>
          <p:txBody>
            <a:bodyPr wrap="square" lIns="0" tIns="0" rIns="0" bIns="0" rtlCol="0"/>
            <a:lstStyle/>
            <a:p>
              <a:endParaRPr/>
            </a:p>
          </p:txBody>
        </p:sp>
        <p:sp>
          <p:nvSpPr>
            <p:cNvPr id="99" name="object 99"/>
            <p:cNvSpPr/>
            <p:nvPr/>
          </p:nvSpPr>
          <p:spPr>
            <a:xfrm>
              <a:off x="15500468" y="8120727"/>
              <a:ext cx="194945" cy="426084"/>
            </a:xfrm>
            <a:custGeom>
              <a:avLst/>
              <a:gdLst/>
              <a:ahLst/>
              <a:cxnLst/>
              <a:rect l="l" t="t" r="r" b="b"/>
              <a:pathLst>
                <a:path w="194944" h="426084">
                  <a:moveTo>
                    <a:pt x="194365" y="425930"/>
                  </a:moveTo>
                  <a:lnTo>
                    <a:pt x="0" y="425930"/>
                  </a:lnTo>
                  <a:lnTo>
                    <a:pt x="0" y="0"/>
                  </a:lnTo>
                  <a:lnTo>
                    <a:pt x="194365" y="0"/>
                  </a:lnTo>
                  <a:lnTo>
                    <a:pt x="194365" y="425930"/>
                  </a:lnTo>
                  <a:close/>
                </a:path>
              </a:pathLst>
            </a:custGeom>
            <a:solidFill>
              <a:srgbClr val="EDEDED"/>
            </a:solidFill>
          </p:spPr>
          <p:txBody>
            <a:bodyPr wrap="square" lIns="0" tIns="0" rIns="0" bIns="0" rtlCol="0"/>
            <a:lstStyle/>
            <a:p>
              <a:endParaRPr/>
            </a:p>
          </p:txBody>
        </p:sp>
        <p:sp>
          <p:nvSpPr>
            <p:cNvPr id="100" name="object 100"/>
            <p:cNvSpPr/>
            <p:nvPr/>
          </p:nvSpPr>
          <p:spPr>
            <a:xfrm>
              <a:off x="15694833" y="8120727"/>
              <a:ext cx="194945" cy="426084"/>
            </a:xfrm>
            <a:custGeom>
              <a:avLst/>
              <a:gdLst/>
              <a:ahLst/>
              <a:cxnLst/>
              <a:rect l="l" t="t" r="r" b="b"/>
              <a:pathLst>
                <a:path w="194944" h="426084">
                  <a:moveTo>
                    <a:pt x="129576" y="425930"/>
                  </a:moveTo>
                  <a:lnTo>
                    <a:pt x="0" y="425930"/>
                  </a:lnTo>
                  <a:lnTo>
                    <a:pt x="0" y="0"/>
                  </a:lnTo>
                  <a:lnTo>
                    <a:pt x="129576" y="0"/>
                  </a:lnTo>
                  <a:lnTo>
                    <a:pt x="154794" y="5149"/>
                  </a:lnTo>
                  <a:lnTo>
                    <a:pt x="175388" y="19193"/>
                  </a:lnTo>
                  <a:lnTo>
                    <a:pt x="189273" y="40022"/>
                  </a:lnTo>
                  <a:lnTo>
                    <a:pt x="194365" y="65527"/>
                  </a:lnTo>
                  <a:lnTo>
                    <a:pt x="194365" y="360402"/>
                  </a:lnTo>
                  <a:lnTo>
                    <a:pt x="189273" y="385908"/>
                  </a:lnTo>
                  <a:lnTo>
                    <a:pt x="175388" y="406737"/>
                  </a:lnTo>
                  <a:lnTo>
                    <a:pt x="154794" y="420780"/>
                  </a:lnTo>
                  <a:lnTo>
                    <a:pt x="129576" y="425930"/>
                  </a:lnTo>
                  <a:close/>
                </a:path>
              </a:pathLst>
            </a:custGeom>
            <a:solidFill>
              <a:srgbClr val="D90F23"/>
            </a:solidFill>
          </p:spPr>
          <p:txBody>
            <a:bodyPr wrap="square" lIns="0" tIns="0" rIns="0" bIns="0" rtlCol="0"/>
            <a:lstStyle/>
            <a:p>
              <a:endParaRPr/>
            </a:p>
          </p:txBody>
        </p:sp>
      </p:grpSp>
      <p:sp>
        <p:nvSpPr>
          <p:cNvPr id="101" name="object 101"/>
          <p:cNvSpPr txBox="1"/>
          <p:nvPr/>
        </p:nvSpPr>
        <p:spPr>
          <a:xfrm>
            <a:off x="15403380" y="8612795"/>
            <a:ext cx="300990" cy="182245"/>
          </a:xfrm>
          <a:prstGeom prst="rect">
            <a:avLst/>
          </a:prstGeom>
        </p:spPr>
        <p:txBody>
          <a:bodyPr vert="horz" wrap="square" lIns="0" tIns="15875" rIns="0" bIns="0" rtlCol="0">
            <a:spAutoFit/>
          </a:bodyPr>
          <a:lstStyle/>
          <a:p>
            <a:pPr marL="12700">
              <a:lnSpc>
                <a:spcPct val="100000"/>
              </a:lnSpc>
              <a:spcBef>
                <a:spcPts val="125"/>
              </a:spcBef>
            </a:pPr>
            <a:r>
              <a:rPr sz="1000" b="1" spc="-20" dirty="0">
                <a:solidFill>
                  <a:srgbClr val="737373"/>
                </a:solidFill>
                <a:latin typeface="Roboto"/>
                <a:cs typeface="Roboto"/>
              </a:rPr>
              <a:t>Perú</a:t>
            </a:r>
            <a:endParaRPr sz="1000">
              <a:latin typeface="Roboto"/>
              <a:cs typeface="Roboto"/>
            </a:endParaRPr>
          </a:p>
        </p:txBody>
      </p:sp>
      <p:grpSp>
        <p:nvGrpSpPr>
          <p:cNvPr id="102" name="object 102"/>
          <p:cNvGrpSpPr/>
          <p:nvPr/>
        </p:nvGrpSpPr>
        <p:grpSpPr>
          <a:xfrm>
            <a:off x="13651830" y="4235755"/>
            <a:ext cx="1267460" cy="1267460"/>
            <a:chOff x="13651830" y="4235755"/>
            <a:chExt cx="1267460" cy="1267460"/>
          </a:xfrm>
        </p:grpSpPr>
        <p:pic>
          <p:nvPicPr>
            <p:cNvPr id="103" name="object 103"/>
            <p:cNvPicPr/>
            <p:nvPr/>
          </p:nvPicPr>
          <p:blipFill>
            <a:blip r:embed="rId2" cstate="print"/>
            <a:stretch>
              <a:fillRect/>
            </a:stretch>
          </p:blipFill>
          <p:spPr>
            <a:xfrm>
              <a:off x="13651830" y="4235755"/>
              <a:ext cx="1267110" cy="1267110"/>
            </a:xfrm>
            <a:prstGeom prst="rect">
              <a:avLst/>
            </a:prstGeom>
          </p:spPr>
        </p:pic>
        <p:sp>
          <p:nvSpPr>
            <p:cNvPr id="104" name="object 104"/>
            <p:cNvSpPr/>
            <p:nvPr/>
          </p:nvSpPr>
          <p:spPr>
            <a:xfrm>
              <a:off x="13764149" y="4334720"/>
              <a:ext cx="1058545" cy="1058545"/>
            </a:xfrm>
            <a:custGeom>
              <a:avLst/>
              <a:gdLst/>
              <a:ahLst/>
              <a:cxnLst/>
              <a:rect l="l" t="t" r="r" b="b"/>
              <a:pathLst>
                <a:path w="1058544" h="1058545">
                  <a:moveTo>
                    <a:pt x="528984" y="1057968"/>
                  </a:moveTo>
                  <a:lnTo>
                    <a:pt x="480835" y="1055806"/>
                  </a:lnTo>
                  <a:lnTo>
                    <a:pt x="433897" y="1049445"/>
                  </a:lnTo>
                  <a:lnTo>
                    <a:pt x="388358" y="1039072"/>
                  </a:lnTo>
                  <a:lnTo>
                    <a:pt x="344403" y="1024873"/>
                  </a:lnTo>
                  <a:lnTo>
                    <a:pt x="302220" y="1007036"/>
                  </a:lnTo>
                  <a:lnTo>
                    <a:pt x="261995" y="985746"/>
                  </a:lnTo>
                  <a:lnTo>
                    <a:pt x="223914" y="961191"/>
                  </a:lnTo>
                  <a:lnTo>
                    <a:pt x="188165" y="933557"/>
                  </a:lnTo>
                  <a:lnTo>
                    <a:pt x="154935" y="903032"/>
                  </a:lnTo>
                  <a:lnTo>
                    <a:pt x="124409" y="869801"/>
                  </a:lnTo>
                  <a:lnTo>
                    <a:pt x="96776" y="834052"/>
                  </a:lnTo>
                  <a:lnTo>
                    <a:pt x="72221" y="795972"/>
                  </a:lnTo>
                  <a:lnTo>
                    <a:pt x="50931" y="755747"/>
                  </a:lnTo>
                  <a:lnTo>
                    <a:pt x="33093" y="713563"/>
                  </a:lnTo>
                  <a:lnTo>
                    <a:pt x="18895" y="669608"/>
                  </a:lnTo>
                  <a:lnTo>
                    <a:pt x="8521" y="624069"/>
                  </a:lnTo>
                  <a:lnTo>
                    <a:pt x="2161" y="577132"/>
                  </a:lnTo>
                  <a:lnTo>
                    <a:pt x="0" y="528998"/>
                  </a:lnTo>
                  <a:lnTo>
                    <a:pt x="2161" y="480835"/>
                  </a:lnTo>
                  <a:lnTo>
                    <a:pt x="8521" y="433898"/>
                  </a:lnTo>
                  <a:lnTo>
                    <a:pt x="18895" y="388358"/>
                  </a:lnTo>
                  <a:lnTo>
                    <a:pt x="33093" y="344404"/>
                  </a:lnTo>
                  <a:lnTo>
                    <a:pt x="50931" y="302220"/>
                  </a:lnTo>
                  <a:lnTo>
                    <a:pt x="72221" y="261995"/>
                  </a:lnTo>
                  <a:lnTo>
                    <a:pt x="96776" y="223914"/>
                  </a:lnTo>
                  <a:lnTo>
                    <a:pt x="124409" y="188166"/>
                  </a:lnTo>
                  <a:lnTo>
                    <a:pt x="154935" y="154935"/>
                  </a:lnTo>
                  <a:lnTo>
                    <a:pt x="188165" y="124410"/>
                  </a:lnTo>
                  <a:lnTo>
                    <a:pt x="223914" y="96776"/>
                  </a:lnTo>
                  <a:lnTo>
                    <a:pt x="261995" y="72221"/>
                  </a:lnTo>
                  <a:lnTo>
                    <a:pt x="302220" y="50931"/>
                  </a:lnTo>
                  <a:lnTo>
                    <a:pt x="344403" y="33094"/>
                  </a:lnTo>
                  <a:lnTo>
                    <a:pt x="388358" y="18895"/>
                  </a:lnTo>
                  <a:lnTo>
                    <a:pt x="433897" y="8522"/>
                  </a:lnTo>
                  <a:lnTo>
                    <a:pt x="480835" y="2161"/>
                  </a:lnTo>
                  <a:lnTo>
                    <a:pt x="528975" y="0"/>
                  </a:lnTo>
                  <a:lnTo>
                    <a:pt x="577131" y="2161"/>
                  </a:lnTo>
                  <a:lnTo>
                    <a:pt x="624068" y="8522"/>
                  </a:lnTo>
                  <a:lnTo>
                    <a:pt x="669608" y="18895"/>
                  </a:lnTo>
                  <a:lnTo>
                    <a:pt x="713563" y="33094"/>
                  </a:lnTo>
                  <a:lnTo>
                    <a:pt x="755746" y="50931"/>
                  </a:lnTo>
                  <a:lnTo>
                    <a:pt x="795971" y="72221"/>
                  </a:lnTo>
                  <a:lnTo>
                    <a:pt x="834052" y="96776"/>
                  </a:lnTo>
                  <a:lnTo>
                    <a:pt x="869801" y="124410"/>
                  </a:lnTo>
                  <a:lnTo>
                    <a:pt x="903031" y="154935"/>
                  </a:lnTo>
                  <a:lnTo>
                    <a:pt x="933557" y="188166"/>
                  </a:lnTo>
                  <a:lnTo>
                    <a:pt x="961190" y="223914"/>
                  </a:lnTo>
                  <a:lnTo>
                    <a:pt x="985745" y="261995"/>
                  </a:lnTo>
                  <a:lnTo>
                    <a:pt x="1007035" y="302220"/>
                  </a:lnTo>
                  <a:lnTo>
                    <a:pt x="1024873" y="344404"/>
                  </a:lnTo>
                  <a:lnTo>
                    <a:pt x="1039071" y="388358"/>
                  </a:lnTo>
                  <a:lnTo>
                    <a:pt x="1049445" y="433898"/>
                  </a:lnTo>
                  <a:lnTo>
                    <a:pt x="1055805" y="480835"/>
                  </a:lnTo>
                  <a:lnTo>
                    <a:pt x="1057967" y="528969"/>
                  </a:lnTo>
                  <a:lnTo>
                    <a:pt x="1055805" y="577132"/>
                  </a:lnTo>
                  <a:lnTo>
                    <a:pt x="1049445" y="624069"/>
                  </a:lnTo>
                  <a:lnTo>
                    <a:pt x="1039071" y="669608"/>
                  </a:lnTo>
                  <a:lnTo>
                    <a:pt x="1024873" y="713563"/>
                  </a:lnTo>
                  <a:lnTo>
                    <a:pt x="1007035" y="755747"/>
                  </a:lnTo>
                  <a:lnTo>
                    <a:pt x="985745" y="795972"/>
                  </a:lnTo>
                  <a:lnTo>
                    <a:pt x="961190" y="834052"/>
                  </a:lnTo>
                  <a:lnTo>
                    <a:pt x="933557" y="869801"/>
                  </a:lnTo>
                  <a:lnTo>
                    <a:pt x="903031" y="903032"/>
                  </a:lnTo>
                  <a:lnTo>
                    <a:pt x="869801" y="933557"/>
                  </a:lnTo>
                  <a:lnTo>
                    <a:pt x="834052" y="961191"/>
                  </a:lnTo>
                  <a:lnTo>
                    <a:pt x="795971" y="985746"/>
                  </a:lnTo>
                  <a:lnTo>
                    <a:pt x="755746" y="1007036"/>
                  </a:lnTo>
                  <a:lnTo>
                    <a:pt x="713563" y="1024873"/>
                  </a:lnTo>
                  <a:lnTo>
                    <a:pt x="669608" y="1039072"/>
                  </a:lnTo>
                  <a:lnTo>
                    <a:pt x="624068" y="1049445"/>
                  </a:lnTo>
                  <a:lnTo>
                    <a:pt x="577131" y="1055806"/>
                  </a:lnTo>
                  <a:lnTo>
                    <a:pt x="528984" y="1057968"/>
                  </a:lnTo>
                  <a:close/>
                </a:path>
              </a:pathLst>
            </a:custGeom>
            <a:solidFill>
              <a:srgbClr val="FFFFFF"/>
            </a:solidFill>
          </p:spPr>
          <p:txBody>
            <a:bodyPr wrap="square" lIns="0" tIns="0" rIns="0" bIns="0" rtlCol="0"/>
            <a:lstStyle/>
            <a:p>
              <a:endParaRPr/>
            </a:p>
          </p:txBody>
        </p:sp>
        <p:sp>
          <p:nvSpPr>
            <p:cNvPr id="105" name="object 105"/>
            <p:cNvSpPr/>
            <p:nvPr/>
          </p:nvSpPr>
          <p:spPr>
            <a:xfrm>
              <a:off x="14011760" y="4882336"/>
              <a:ext cx="560705" cy="124460"/>
            </a:xfrm>
            <a:custGeom>
              <a:avLst/>
              <a:gdLst/>
              <a:ahLst/>
              <a:cxnLst/>
              <a:rect l="l" t="t" r="r" b="b"/>
              <a:pathLst>
                <a:path w="560705" h="124460">
                  <a:moveTo>
                    <a:pt x="498371" y="124159"/>
                  </a:moveTo>
                  <a:lnTo>
                    <a:pt x="62296" y="124159"/>
                  </a:lnTo>
                  <a:lnTo>
                    <a:pt x="38048" y="119280"/>
                  </a:lnTo>
                  <a:lnTo>
                    <a:pt x="18247" y="105975"/>
                  </a:lnTo>
                  <a:lnTo>
                    <a:pt x="4895" y="86242"/>
                  </a:lnTo>
                  <a:lnTo>
                    <a:pt x="0" y="62079"/>
                  </a:lnTo>
                  <a:lnTo>
                    <a:pt x="0" y="0"/>
                  </a:lnTo>
                  <a:lnTo>
                    <a:pt x="560668" y="0"/>
                  </a:lnTo>
                  <a:lnTo>
                    <a:pt x="560668" y="62079"/>
                  </a:lnTo>
                  <a:lnTo>
                    <a:pt x="555772" y="86242"/>
                  </a:lnTo>
                  <a:lnTo>
                    <a:pt x="542421" y="105975"/>
                  </a:lnTo>
                  <a:lnTo>
                    <a:pt x="522619" y="119280"/>
                  </a:lnTo>
                  <a:lnTo>
                    <a:pt x="498371" y="124159"/>
                  </a:lnTo>
                  <a:close/>
                </a:path>
              </a:pathLst>
            </a:custGeom>
            <a:solidFill>
              <a:srgbClr val="FFCC04"/>
            </a:solidFill>
          </p:spPr>
          <p:txBody>
            <a:bodyPr wrap="square" lIns="0" tIns="0" rIns="0" bIns="0" rtlCol="0"/>
            <a:lstStyle/>
            <a:p>
              <a:endParaRPr/>
            </a:p>
          </p:txBody>
        </p:sp>
        <p:sp>
          <p:nvSpPr>
            <p:cNvPr id="106" name="object 106"/>
            <p:cNvSpPr/>
            <p:nvPr/>
          </p:nvSpPr>
          <p:spPr>
            <a:xfrm>
              <a:off x="14011760" y="4742657"/>
              <a:ext cx="560705" cy="139700"/>
            </a:xfrm>
            <a:custGeom>
              <a:avLst/>
              <a:gdLst/>
              <a:ahLst/>
              <a:cxnLst/>
              <a:rect l="l" t="t" r="r" b="b"/>
              <a:pathLst>
                <a:path w="560705" h="139700">
                  <a:moveTo>
                    <a:pt x="560668" y="139678"/>
                  </a:moveTo>
                  <a:lnTo>
                    <a:pt x="0" y="139678"/>
                  </a:lnTo>
                  <a:lnTo>
                    <a:pt x="0" y="0"/>
                  </a:lnTo>
                  <a:lnTo>
                    <a:pt x="560668" y="0"/>
                  </a:lnTo>
                  <a:lnTo>
                    <a:pt x="560668" y="139678"/>
                  </a:lnTo>
                  <a:close/>
                </a:path>
              </a:pathLst>
            </a:custGeom>
            <a:solidFill>
              <a:srgbClr val="EC1F24"/>
            </a:solidFill>
          </p:spPr>
          <p:txBody>
            <a:bodyPr wrap="square" lIns="0" tIns="0" rIns="0" bIns="0" rtlCol="0"/>
            <a:lstStyle/>
            <a:p>
              <a:endParaRPr/>
            </a:p>
          </p:txBody>
        </p:sp>
        <p:sp>
          <p:nvSpPr>
            <p:cNvPr id="107" name="object 107"/>
            <p:cNvSpPr/>
            <p:nvPr/>
          </p:nvSpPr>
          <p:spPr>
            <a:xfrm>
              <a:off x="14011760" y="4602978"/>
              <a:ext cx="560705" cy="139700"/>
            </a:xfrm>
            <a:custGeom>
              <a:avLst/>
              <a:gdLst/>
              <a:ahLst/>
              <a:cxnLst/>
              <a:rect l="l" t="t" r="r" b="b"/>
              <a:pathLst>
                <a:path w="560705" h="139700">
                  <a:moveTo>
                    <a:pt x="560668" y="139678"/>
                  </a:moveTo>
                  <a:lnTo>
                    <a:pt x="0" y="139678"/>
                  </a:lnTo>
                  <a:lnTo>
                    <a:pt x="0" y="62079"/>
                  </a:lnTo>
                  <a:lnTo>
                    <a:pt x="4895" y="37916"/>
                  </a:lnTo>
                  <a:lnTo>
                    <a:pt x="18247" y="18183"/>
                  </a:lnTo>
                  <a:lnTo>
                    <a:pt x="38048" y="4878"/>
                  </a:lnTo>
                  <a:lnTo>
                    <a:pt x="62296" y="0"/>
                  </a:lnTo>
                  <a:lnTo>
                    <a:pt x="498371" y="0"/>
                  </a:lnTo>
                  <a:lnTo>
                    <a:pt x="522619" y="4878"/>
                  </a:lnTo>
                  <a:lnTo>
                    <a:pt x="542421" y="18183"/>
                  </a:lnTo>
                  <a:lnTo>
                    <a:pt x="555772" y="37916"/>
                  </a:lnTo>
                  <a:lnTo>
                    <a:pt x="560668" y="62079"/>
                  </a:lnTo>
                  <a:lnTo>
                    <a:pt x="560668" y="139678"/>
                  </a:lnTo>
                  <a:close/>
                </a:path>
              </a:pathLst>
            </a:custGeom>
            <a:solidFill>
              <a:srgbClr val="131313"/>
            </a:solidFill>
          </p:spPr>
          <p:txBody>
            <a:bodyPr wrap="square" lIns="0" tIns="0" rIns="0" bIns="0" rtlCol="0"/>
            <a:lstStyle/>
            <a:p>
              <a:endParaRPr/>
            </a:p>
          </p:txBody>
        </p:sp>
      </p:grpSp>
      <p:sp>
        <p:nvSpPr>
          <p:cNvPr id="108" name="object 108"/>
          <p:cNvSpPr txBox="1"/>
          <p:nvPr/>
        </p:nvSpPr>
        <p:spPr>
          <a:xfrm>
            <a:off x="13984653" y="5074957"/>
            <a:ext cx="579755" cy="182245"/>
          </a:xfrm>
          <a:prstGeom prst="rect">
            <a:avLst/>
          </a:prstGeom>
        </p:spPr>
        <p:txBody>
          <a:bodyPr vert="horz" wrap="square" lIns="0" tIns="15875" rIns="0" bIns="0" rtlCol="0">
            <a:spAutoFit/>
          </a:bodyPr>
          <a:lstStyle/>
          <a:p>
            <a:pPr marL="12700">
              <a:lnSpc>
                <a:spcPct val="100000"/>
              </a:lnSpc>
              <a:spcBef>
                <a:spcPts val="125"/>
              </a:spcBef>
            </a:pPr>
            <a:r>
              <a:rPr sz="1000" b="1" spc="-10" dirty="0">
                <a:solidFill>
                  <a:srgbClr val="737373"/>
                </a:solidFill>
                <a:latin typeface="Roboto"/>
                <a:cs typeface="Roboto"/>
              </a:rPr>
              <a:t>Alemania</a:t>
            </a:r>
            <a:endParaRPr sz="1000">
              <a:latin typeface="Roboto"/>
              <a:cs typeface="Roboto"/>
            </a:endParaRPr>
          </a:p>
        </p:txBody>
      </p:sp>
      <p:grpSp>
        <p:nvGrpSpPr>
          <p:cNvPr id="109" name="object 109"/>
          <p:cNvGrpSpPr/>
          <p:nvPr/>
        </p:nvGrpSpPr>
        <p:grpSpPr>
          <a:xfrm>
            <a:off x="13651830" y="5991784"/>
            <a:ext cx="1267460" cy="1267460"/>
            <a:chOff x="13651830" y="5991784"/>
            <a:chExt cx="1267460" cy="1267460"/>
          </a:xfrm>
        </p:grpSpPr>
        <p:pic>
          <p:nvPicPr>
            <p:cNvPr id="110" name="object 110"/>
            <p:cNvPicPr/>
            <p:nvPr/>
          </p:nvPicPr>
          <p:blipFill>
            <a:blip r:embed="rId9" cstate="print"/>
            <a:stretch>
              <a:fillRect/>
            </a:stretch>
          </p:blipFill>
          <p:spPr>
            <a:xfrm>
              <a:off x="13651830" y="5991784"/>
              <a:ext cx="1267110" cy="1267110"/>
            </a:xfrm>
            <a:prstGeom prst="rect">
              <a:avLst/>
            </a:prstGeom>
          </p:spPr>
        </p:pic>
        <p:pic>
          <p:nvPicPr>
            <p:cNvPr id="111" name="object 111"/>
            <p:cNvPicPr/>
            <p:nvPr/>
          </p:nvPicPr>
          <p:blipFill>
            <a:blip r:embed="rId14" cstate="print"/>
            <a:stretch>
              <a:fillRect/>
            </a:stretch>
          </p:blipFill>
          <p:spPr>
            <a:xfrm>
              <a:off x="13764149" y="6090746"/>
              <a:ext cx="1057966" cy="1057968"/>
            </a:xfrm>
            <a:prstGeom prst="rect">
              <a:avLst/>
            </a:prstGeom>
          </p:spPr>
        </p:pic>
      </p:grpSp>
      <p:sp>
        <p:nvSpPr>
          <p:cNvPr id="112" name="object 112"/>
          <p:cNvSpPr txBox="1"/>
          <p:nvPr/>
        </p:nvSpPr>
        <p:spPr>
          <a:xfrm>
            <a:off x="14045796" y="6830983"/>
            <a:ext cx="454025" cy="182245"/>
          </a:xfrm>
          <a:prstGeom prst="rect">
            <a:avLst/>
          </a:prstGeom>
        </p:spPr>
        <p:txBody>
          <a:bodyPr vert="horz" wrap="square" lIns="0" tIns="15875" rIns="0" bIns="0" rtlCol="0">
            <a:spAutoFit/>
          </a:bodyPr>
          <a:lstStyle/>
          <a:p>
            <a:pPr marL="12700">
              <a:lnSpc>
                <a:spcPct val="100000"/>
              </a:lnSpc>
              <a:spcBef>
                <a:spcPts val="125"/>
              </a:spcBef>
            </a:pPr>
            <a:r>
              <a:rPr sz="1000" b="1" spc="-10" dirty="0">
                <a:solidFill>
                  <a:srgbClr val="737373"/>
                </a:solidFill>
                <a:latin typeface="Roboto"/>
                <a:cs typeface="Roboto"/>
              </a:rPr>
              <a:t>México</a:t>
            </a:r>
            <a:endParaRPr sz="1000">
              <a:latin typeface="Roboto"/>
              <a:cs typeface="Roboto"/>
            </a:endParaRPr>
          </a:p>
        </p:txBody>
      </p:sp>
      <p:grpSp>
        <p:nvGrpSpPr>
          <p:cNvPr id="113" name="object 113"/>
          <p:cNvGrpSpPr/>
          <p:nvPr/>
        </p:nvGrpSpPr>
        <p:grpSpPr>
          <a:xfrm>
            <a:off x="14938830" y="4235755"/>
            <a:ext cx="1267460" cy="1267460"/>
            <a:chOff x="14938830" y="4235755"/>
            <a:chExt cx="1267460" cy="1267460"/>
          </a:xfrm>
        </p:grpSpPr>
        <p:pic>
          <p:nvPicPr>
            <p:cNvPr id="114" name="object 114"/>
            <p:cNvPicPr/>
            <p:nvPr/>
          </p:nvPicPr>
          <p:blipFill>
            <a:blip r:embed="rId15" cstate="print"/>
            <a:stretch>
              <a:fillRect/>
            </a:stretch>
          </p:blipFill>
          <p:spPr>
            <a:xfrm>
              <a:off x="14938830" y="4235755"/>
              <a:ext cx="1267110" cy="1267110"/>
            </a:xfrm>
            <a:prstGeom prst="rect">
              <a:avLst/>
            </a:prstGeom>
          </p:spPr>
        </p:pic>
        <p:sp>
          <p:nvSpPr>
            <p:cNvPr id="115" name="object 115"/>
            <p:cNvSpPr/>
            <p:nvPr/>
          </p:nvSpPr>
          <p:spPr>
            <a:xfrm>
              <a:off x="15051150" y="4334720"/>
              <a:ext cx="1058545" cy="1058545"/>
            </a:xfrm>
            <a:custGeom>
              <a:avLst/>
              <a:gdLst/>
              <a:ahLst/>
              <a:cxnLst/>
              <a:rect l="l" t="t" r="r" b="b"/>
              <a:pathLst>
                <a:path w="1058544" h="1058545">
                  <a:moveTo>
                    <a:pt x="528984" y="1057968"/>
                  </a:moveTo>
                  <a:lnTo>
                    <a:pt x="480834" y="1055806"/>
                  </a:lnTo>
                  <a:lnTo>
                    <a:pt x="433897" y="1049445"/>
                  </a:lnTo>
                  <a:lnTo>
                    <a:pt x="388358" y="1039072"/>
                  </a:lnTo>
                  <a:lnTo>
                    <a:pt x="344403" y="1024873"/>
                  </a:lnTo>
                  <a:lnTo>
                    <a:pt x="302220" y="1007036"/>
                  </a:lnTo>
                  <a:lnTo>
                    <a:pt x="261994" y="985746"/>
                  </a:lnTo>
                  <a:lnTo>
                    <a:pt x="223914" y="961191"/>
                  </a:lnTo>
                  <a:lnTo>
                    <a:pt x="188165" y="933557"/>
                  </a:lnTo>
                  <a:lnTo>
                    <a:pt x="154934" y="903032"/>
                  </a:lnTo>
                  <a:lnTo>
                    <a:pt x="124409" y="869801"/>
                  </a:lnTo>
                  <a:lnTo>
                    <a:pt x="96775" y="834052"/>
                  </a:lnTo>
                  <a:lnTo>
                    <a:pt x="72220" y="795972"/>
                  </a:lnTo>
                  <a:lnTo>
                    <a:pt x="50931" y="755747"/>
                  </a:lnTo>
                  <a:lnTo>
                    <a:pt x="33093" y="713563"/>
                  </a:lnTo>
                  <a:lnTo>
                    <a:pt x="18894" y="669608"/>
                  </a:lnTo>
                  <a:lnTo>
                    <a:pt x="8521" y="624069"/>
                  </a:lnTo>
                  <a:lnTo>
                    <a:pt x="2160" y="577132"/>
                  </a:lnTo>
                  <a:lnTo>
                    <a:pt x="0" y="529008"/>
                  </a:lnTo>
                  <a:lnTo>
                    <a:pt x="2160" y="480835"/>
                  </a:lnTo>
                  <a:lnTo>
                    <a:pt x="8521" y="433898"/>
                  </a:lnTo>
                  <a:lnTo>
                    <a:pt x="18894" y="388358"/>
                  </a:lnTo>
                  <a:lnTo>
                    <a:pt x="33093" y="344404"/>
                  </a:lnTo>
                  <a:lnTo>
                    <a:pt x="50931" y="302220"/>
                  </a:lnTo>
                  <a:lnTo>
                    <a:pt x="72220" y="261995"/>
                  </a:lnTo>
                  <a:lnTo>
                    <a:pt x="96775" y="223914"/>
                  </a:lnTo>
                  <a:lnTo>
                    <a:pt x="124409" y="188166"/>
                  </a:lnTo>
                  <a:lnTo>
                    <a:pt x="154934" y="154935"/>
                  </a:lnTo>
                  <a:lnTo>
                    <a:pt x="188165" y="124410"/>
                  </a:lnTo>
                  <a:lnTo>
                    <a:pt x="223914" y="96776"/>
                  </a:lnTo>
                  <a:lnTo>
                    <a:pt x="261994" y="72221"/>
                  </a:lnTo>
                  <a:lnTo>
                    <a:pt x="302220" y="50931"/>
                  </a:lnTo>
                  <a:lnTo>
                    <a:pt x="344403" y="33094"/>
                  </a:lnTo>
                  <a:lnTo>
                    <a:pt x="388358" y="18895"/>
                  </a:lnTo>
                  <a:lnTo>
                    <a:pt x="433897" y="8522"/>
                  </a:lnTo>
                  <a:lnTo>
                    <a:pt x="480834" y="2161"/>
                  </a:lnTo>
                  <a:lnTo>
                    <a:pt x="528975" y="0"/>
                  </a:lnTo>
                  <a:lnTo>
                    <a:pt x="577131" y="2161"/>
                  </a:lnTo>
                  <a:lnTo>
                    <a:pt x="624068" y="8522"/>
                  </a:lnTo>
                  <a:lnTo>
                    <a:pt x="669608" y="18895"/>
                  </a:lnTo>
                  <a:lnTo>
                    <a:pt x="713562" y="33094"/>
                  </a:lnTo>
                  <a:lnTo>
                    <a:pt x="755746" y="50931"/>
                  </a:lnTo>
                  <a:lnTo>
                    <a:pt x="795971" y="72221"/>
                  </a:lnTo>
                  <a:lnTo>
                    <a:pt x="834052" y="96776"/>
                  </a:lnTo>
                  <a:lnTo>
                    <a:pt x="869801" y="124410"/>
                  </a:lnTo>
                  <a:lnTo>
                    <a:pt x="903031" y="154935"/>
                  </a:lnTo>
                  <a:lnTo>
                    <a:pt x="933557" y="188166"/>
                  </a:lnTo>
                  <a:lnTo>
                    <a:pt x="961190" y="223914"/>
                  </a:lnTo>
                  <a:lnTo>
                    <a:pt x="985745" y="261995"/>
                  </a:lnTo>
                  <a:lnTo>
                    <a:pt x="1007035" y="302220"/>
                  </a:lnTo>
                  <a:lnTo>
                    <a:pt x="1024873" y="344404"/>
                  </a:lnTo>
                  <a:lnTo>
                    <a:pt x="1039071" y="388358"/>
                  </a:lnTo>
                  <a:lnTo>
                    <a:pt x="1049444" y="433898"/>
                  </a:lnTo>
                  <a:lnTo>
                    <a:pt x="1055805" y="480835"/>
                  </a:lnTo>
                  <a:lnTo>
                    <a:pt x="1057966" y="528959"/>
                  </a:lnTo>
                  <a:lnTo>
                    <a:pt x="1055805" y="577132"/>
                  </a:lnTo>
                  <a:lnTo>
                    <a:pt x="1049444" y="624069"/>
                  </a:lnTo>
                  <a:lnTo>
                    <a:pt x="1039071" y="669608"/>
                  </a:lnTo>
                  <a:lnTo>
                    <a:pt x="1024873" y="713563"/>
                  </a:lnTo>
                  <a:lnTo>
                    <a:pt x="1007035" y="755747"/>
                  </a:lnTo>
                  <a:lnTo>
                    <a:pt x="985745" y="795972"/>
                  </a:lnTo>
                  <a:lnTo>
                    <a:pt x="961190" y="834052"/>
                  </a:lnTo>
                  <a:lnTo>
                    <a:pt x="933557" y="869801"/>
                  </a:lnTo>
                  <a:lnTo>
                    <a:pt x="903031" y="903032"/>
                  </a:lnTo>
                  <a:lnTo>
                    <a:pt x="869801" y="933557"/>
                  </a:lnTo>
                  <a:lnTo>
                    <a:pt x="834052" y="961191"/>
                  </a:lnTo>
                  <a:lnTo>
                    <a:pt x="795971" y="985746"/>
                  </a:lnTo>
                  <a:lnTo>
                    <a:pt x="755746" y="1007036"/>
                  </a:lnTo>
                  <a:lnTo>
                    <a:pt x="713562" y="1024873"/>
                  </a:lnTo>
                  <a:lnTo>
                    <a:pt x="669608" y="1039072"/>
                  </a:lnTo>
                  <a:lnTo>
                    <a:pt x="624068" y="1049445"/>
                  </a:lnTo>
                  <a:lnTo>
                    <a:pt x="577131" y="1055806"/>
                  </a:lnTo>
                  <a:lnTo>
                    <a:pt x="528984" y="1057968"/>
                  </a:lnTo>
                  <a:close/>
                </a:path>
              </a:pathLst>
            </a:custGeom>
            <a:solidFill>
              <a:srgbClr val="FFFFFF"/>
            </a:solidFill>
          </p:spPr>
          <p:txBody>
            <a:bodyPr wrap="square" lIns="0" tIns="0" rIns="0" bIns="0" rtlCol="0"/>
            <a:lstStyle/>
            <a:p>
              <a:endParaRPr/>
            </a:p>
          </p:txBody>
        </p:sp>
        <p:sp>
          <p:nvSpPr>
            <p:cNvPr id="116" name="object 116"/>
            <p:cNvSpPr/>
            <p:nvPr/>
          </p:nvSpPr>
          <p:spPr>
            <a:xfrm>
              <a:off x="15298759" y="4602978"/>
              <a:ext cx="560705" cy="403860"/>
            </a:xfrm>
            <a:custGeom>
              <a:avLst/>
              <a:gdLst/>
              <a:ahLst/>
              <a:cxnLst/>
              <a:rect l="l" t="t" r="r" b="b"/>
              <a:pathLst>
                <a:path w="560705" h="403860">
                  <a:moveTo>
                    <a:pt x="202463" y="90589"/>
                  </a:moveTo>
                  <a:lnTo>
                    <a:pt x="72637" y="0"/>
                  </a:lnTo>
                  <a:lnTo>
                    <a:pt x="202463" y="0"/>
                  </a:lnTo>
                  <a:lnTo>
                    <a:pt x="202463" y="90589"/>
                  </a:lnTo>
                  <a:close/>
                </a:path>
                <a:path w="560705" h="403860">
                  <a:moveTo>
                    <a:pt x="87651" y="124159"/>
                  </a:moveTo>
                  <a:lnTo>
                    <a:pt x="0" y="124159"/>
                  </a:lnTo>
                  <a:lnTo>
                    <a:pt x="0" y="62995"/>
                  </a:lnTo>
                  <a:lnTo>
                    <a:pt x="87651" y="124159"/>
                  </a:lnTo>
                  <a:close/>
                </a:path>
                <a:path w="560705" h="403860">
                  <a:moveTo>
                    <a:pt x="0" y="340521"/>
                  </a:moveTo>
                  <a:lnTo>
                    <a:pt x="0" y="279357"/>
                  </a:lnTo>
                  <a:lnTo>
                    <a:pt x="87682" y="279357"/>
                  </a:lnTo>
                  <a:lnTo>
                    <a:pt x="0" y="340521"/>
                  </a:lnTo>
                  <a:close/>
                </a:path>
                <a:path w="560705" h="403860">
                  <a:moveTo>
                    <a:pt x="202463" y="403516"/>
                  </a:moveTo>
                  <a:lnTo>
                    <a:pt x="72637" y="403516"/>
                  </a:lnTo>
                  <a:lnTo>
                    <a:pt x="202463" y="312927"/>
                  </a:lnTo>
                  <a:lnTo>
                    <a:pt x="202463" y="403516"/>
                  </a:lnTo>
                  <a:close/>
                </a:path>
                <a:path w="560705" h="403860">
                  <a:moveTo>
                    <a:pt x="560668" y="340537"/>
                  </a:moveTo>
                  <a:lnTo>
                    <a:pt x="472970" y="279357"/>
                  </a:lnTo>
                  <a:lnTo>
                    <a:pt x="560668" y="279357"/>
                  </a:lnTo>
                  <a:lnTo>
                    <a:pt x="560668" y="340537"/>
                  </a:lnTo>
                  <a:close/>
                </a:path>
                <a:path w="560705" h="403860">
                  <a:moveTo>
                    <a:pt x="488015" y="403516"/>
                  </a:moveTo>
                  <a:lnTo>
                    <a:pt x="358204" y="403516"/>
                  </a:lnTo>
                  <a:lnTo>
                    <a:pt x="358204" y="312942"/>
                  </a:lnTo>
                  <a:lnTo>
                    <a:pt x="488015" y="403516"/>
                  </a:lnTo>
                  <a:close/>
                </a:path>
                <a:path w="560705" h="403860">
                  <a:moveTo>
                    <a:pt x="358204" y="90589"/>
                  </a:moveTo>
                  <a:lnTo>
                    <a:pt x="358204" y="0"/>
                  </a:lnTo>
                  <a:lnTo>
                    <a:pt x="488046" y="0"/>
                  </a:lnTo>
                  <a:lnTo>
                    <a:pt x="358204" y="90589"/>
                  </a:lnTo>
                  <a:close/>
                </a:path>
                <a:path w="560705" h="403860">
                  <a:moveTo>
                    <a:pt x="560668" y="124159"/>
                  </a:moveTo>
                  <a:lnTo>
                    <a:pt x="473001" y="124159"/>
                  </a:lnTo>
                  <a:lnTo>
                    <a:pt x="560668" y="62995"/>
                  </a:lnTo>
                  <a:lnTo>
                    <a:pt x="560668" y="124159"/>
                  </a:lnTo>
                  <a:close/>
                </a:path>
              </a:pathLst>
            </a:custGeom>
            <a:solidFill>
              <a:srgbClr val="00247D"/>
            </a:solidFill>
          </p:spPr>
          <p:txBody>
            <a:bodyPr wrap="square" lIns="0" tIns="0" rIns="0" bIns="0" rtlCol="0"/>
            <a:lstStyle/>
            <a:p>
              <a:endParaRPr/>
            </a:p>
          </p:txBody>
        </p:sp>
        <p:sp>
          <p:nvSpPr>
            <p:cNvPr id="117" name="object 117"/>
            <p:cNvSpPr/>
            <p:nvPr/>
          </p:nvSpPr>
          <p:spPr>
            <a:xfrm>
              <a:off x="15301204" y="4604763"/>
              <a:ext cx="556260" cy="400050"/>
            </a:xfrm>
            <a:custGeom>
              <a:avLst/>
              <a:gdLst/>
              <a:ahLst/>
              <a:cxnLst/>
              <a:rect l="l" t="t" r="r" b="b"/>
              <a:pathLst>
                <a:path w="556259" h="400050">
                  <a:moveTo>
                    <a:pt x="540344" y="383123"/>
                  </a:moveTo>
                  <a:lnTo>
                    <a:pt x="389088" y="277572"/>
                  </a:lnTo>
                  <a:lnTo>
                    <a:pt x="443395" y="277572"/>
                  </a:lnTo>
                  <a:lnTo>
                    <a:pt x="555762" y="355979"/>
                  </a:lnTo>
                  <a:lnTo>
                    <a:pt x="553189" y="363542"/>
                  </a:lnTo>
                  <a:lnTo>
                    <a:pt x="549741" y="370645"/>
                  </a:lnTo>
                  <a:lnTo>
                    <a:pt x="545449" y="377201"/>
                  </a:lnTo>
                  <a:lnTo>
                    <a:pt x="540344" y="383123"/>
                  </a:lnTo>
                  <a:close/>
                </a:path>
                <a:path w="556259" h="400050">
                  <a:moveTo>
                    <a:pt x="45616" y="399947"/>
                  </a:moveTo>
                  <a:lnTo>
                    <a:pt x="37120" y="397320"/>
                  </a:lnTo>
                  <a:lnTo>
                    <a:pt x="29193" y="393587"/>
                  </a:lnTo>
                  <a:lnTo>
                    <a:pt x="21932" y="388825"/>
                  </a:lnTo>
                  <a:lnTo>
                    <a:pt x="15433" y="383108"/>
                  </a:lnTo>
                  <a:lnTo>
                    <a:pt x="166674" y="277572"/>
                  </a:lnTo>
                  <a:lnTo>
                    <a:pt x="200018" y="277572"/>
                  </a:lnTo>
                  <a:lnTo>
                    <a:pt x="200018" y="292208"/>
                  </a:lnTo>
                  <a:lnTo>
                    <a:pt x="45616" y="399947"/>
                  </a:lnTo>
                  <a:close/>
                </a:path>
                <a:path w="556259" h="400050">
                  <a:moveTo>
                    <a:pt x="389103" y="122374"/>
                  </a:moveTo>
                  <a:lnTo>
                    <a:pt x="355759" y="122374"/>
                  </a:lnTo>
                  <a:lnTo>
                    <a:pt x="355759" y="107738"/>
                  </a:lnTo>
                  <a:lnTo>
                    <a:pt x="510177" y="0"/>
                  </a:lnTo>
                  <a:lnTo>
                    <a:pt x="518670" y="2626"/>
                  </a:lnTo>
                  <a:lnTo>
                    <a:pt x="526592" y="6359"/>
                  </a:lnTo>
                  <a:lnTo>
                    <a:pt x="533847" y="11121"/>
                  </a:lnTo>
                  <a:lnTo>
                    <a:pt x="540344" y="16839"/>
                  </a:lnTo>
                  <a:lnTo>
                    <a:pt x="389103" y="122374"/>
                  </a:lnTo>
                  <a:close/>
                </a:path>
                <a:path w="556259" h="400050">
                  <a:moveTo>
                    <a:pt x="166674" y="122374"/>
                  </a:moveTo>
                  <a:lnTo>
                    <a:pt x="112367" y="122374"/>
                  </a:lnTo>
                  <a:lnTo>
                    <a:pt x="0" y="43983"/>
                  </a:lnTo>
                  <a:lnTo>
                    <a:pt x="2582" y="36422"/>
                  </a:lnTo>
                  <a:lnTo>
                    <a:pt x="6034" y="29322"/>
                  </a:lnTo>
                  <a:lnTo>
                    <a:pt x="10328" y="22767"/>
                  </a:lnTo>
                  <a:lnTo>
                    <a:pt x="15433" y="16839"/>
                  </a:lnTo>
                  <a:lnTo>
                    <a:pt x="166674" y="122374"/>
                  </a:lnTo>
                  <a:close/>
                </a:path>
              </a:pathLst>
            </a:custGeom>
            <a:solidFill>
              <a:srgbClr val="CF1B2A"/>
            </a:solidFill>
          </p:spPr>
          <p:txBody>
            <a:bodyPr wrap="square" lIns="0" tIns="0" rIns="0" bIns="0" rtlCol="0"/>
            <a:lstStyle/>
            <a:p>
              <a:endParaRPr/>
            </a:p>
          </p:txBody>
        </p:sp>
        <p:sp>
          <p:nvSpPr>
            <p:cNvPr id="118" name="object 118"/>
            <p:cNvSpPr/>
            <p:nvPr/>
          </p:nvSpPr>
          <p:spPr>
            <a:xfrm>
              <a:off x="15298759" y="4602978"/>
              <a:ext cx="560705" cy="403860"/>
            </a:xfrm>
            <a:custGeom>
              <a:avLst/>
              <a:gdLst/>
              <a:ahLst/>
              <a:cxnLst/>
              <a:rect l="l" t="t" r="r" b="b"/>
              <a:pathLst>
                <a:path w="560705" h="403860">
                  <a:moveTo>
                    <a:pt x="358204" y="403516"/>
                  </a:moveTo>
                  <a:lnTo>
                    <a:pt x="327056" y="403516"/>
                  </a:lnTo>
                  <a:lnTo>
                    <a:pt x="327056" y="248318"/>
                  </a:lnTo>
                  <a:lnTo>
                    <a:pt x="560668" y="248318"/>
                  </a:lnTo>
                  <a:lnTo>
                    <a:pt x="560668" y="279357"/>
                  </a:lnTo>
                  <a:lnTo>
                    <a:pt x="391533" y="279357"/>
                  </a:lnTo>
                  <a:lnTo>
                    <a:pt x="439661" y="312942"/>
                  </a:lnTo>
                  <a:lnTo>
                    <a:pt x="358204" y="312942"/>
                  </a:lnTo>
                  <a:lnTo>
                    <a:pt x="358204" y="403516"/>
                  </a:lnTo>
                  <a:close/>
                </a:path>
                <a:path w="560705" h="403860">
                  <a:moveTo>
                    <a:pt x="558207" y="357764"/>
                  </a:moveTo>
                  <a:lnTo>
                    <a:pt x="445840" y="279357"/>
                  </a:lnTo>
                  <a:lnTo>
                    <a:pt x="472970" y="279357"/>
                  </a:lnTo>
                  <a:lnTo>
                    <a:pt x="560668" y="340537"/>
                  </a:lnTo>
                  <a:lnTo>
                    <a:pt x="560668" y="347117"/>
                  </a:lnTo>
                  <a:lnTo>
                    <a:pt x="559655" y="352533"/>
                  </a:lnTo>
                  <a:lnTo>
                    <a:pt x="558207" y="357764"/>
                  </a:lnTo>
                  <a:close/>
                </a:path>
                <a:path w="560705" h="403860">
                  <a:moveTo>
                    <a:pt x="498371" y="403516"/>
                  </a:moveTo>
                  <a:lnTo>
                    <a:pt x="488015" y="403516"/>
                  </a:lnTo>
                  <a:lnTo>
                    <a:pt x="358204" y="312942"/>
                  </a:lnTo>
                  <a:lnTo>
                    <a:pt x="439661" y="312942"/>
                  </a:lnTo>
                  <a:lnTo>
                    <a:pt x="542789" y="384908"/>
                  </a:lnTo>
                  <a:lnTo>
                    <a:pt x="533525" y="392648"/>
                  </a:lnTo>
                  <a:lnTo>
                    <a:pt x="522864" y="398507"/>
                  </a:lnTo>
                  <a:lnTo>
                    <a:pt x="511061" y="402219"/>
                  </a:lnTo>
                  <a:lnTo>
                    <a:pt x="498371" y="403516"/>
                  </a:lnTo>
                  <a:close/>
                </a:path>
                <a:path w="560705" h="403860">
                  <a:moveTo>
                    <a:pt x="72637" y="403516"/>
                  </a:moveTo>
                  <a:lnTo>
                    <a:pt x="57375" y="403516"/>
                  </a:lnTo>
                  <a:lnTo>
                    <a:pt x="52640" y="402802"/>
                  </a:lnTo>
                  <a:lnTo>
                    <a:pt x="48061" y="401716"/>
                  </a:lnTo>
                  <a:lnTo>
                    <a:pt x="202463" y="293993"/>
                  </a:lnTo>
                  <a:lnTo>
                    <a:pt x="202463" y="279357"/>
                  </a:lnTo>
                  <a:lnTo>
                    <a:pt x="0" y="279357"/>
                  </a:lnTo>
                  <a:lnTo>
                    <a:pt x="0" y="248318"/>
                  </a:lnTo>
                  <a:lnTo>
                    <a:pt x="233611" y="248318"/>
                  </a:lnTo>
                  <a:lnTo>
                    <a:pt x="233611" y="312927"/>
                  </a:lnTo>
                  <a:lnTo>
                    <a:pt x="202463" y="312927"/>
                  </a:lnTo>
                  <a:lnTo>
                    <a:pt x="72637" y="403516"/>
                  </a:lnTo>
                  <a:close/>
                </a:path>
                <a:path w="560705" h="403860">
                  <a:moveTo>
                    <a:pt x="17879" y="384892"/>
                  </a:moveTo>
                  <a:lnTo>
                    <a:pt x="10427" y="375756"/>
                  </a:lnTo>
                  <a:lnTo>
                    <a:pt x="4798" y="365312"/>
                  </a:lnTo>
                  <a:lnTo>
                    <a:pt x="1240" y="353794"/>
                  </a:lnTo>
                  <a:lnTo>
                    <a:pt x="0" y="341437"/>
                  </a:lnTo>
                  <a:lnTo>
                    <a:pt x="0" y="340521"/>
                  </a:lnTo>
                  <a:lnTo>
                    <a:pt x="87682" y="279357"/>
                  </a:lnTo>
                  <a:lnTo>
                    <a:pt x="169119" y="279357"/>
                  </a:lnTo>
                  <a:lnTo>
                    <a:pt x="17879" y="384892"/>
                  </a:lnTo>
                  <a:close/>
                </a:path>
                <a:path w="560705" h="403860">
                  <a:moveTo>
                    <a:pt x="233611" y="403516"/>
                  </a:moveTo>
                  <a:lnTo>
                    <a:pt x="202463" y="403516"/>
                  </a:lnTo>
                  <a:lnTo>
                    <a:pt x="202463" y="312927"/>
                  </a:lnTo>
                  <a:lnTo>
                    <a:pt x="233611" y="312927"/>
                  </a:lnTo>
                  <a:lnTo>
                    <a:pt x="233611" y="403516"/>
                  </a:lnTo>
                  <a:close/>
                </a:path>
                <a:path w="560705" h="403860">
                  <a:moveTo>
                    <a:pt x="560668" y="155198"/>
                  </a:moveTo>
                  <a:lnTo>
                    <a:pt x="327056" y="155198"/>
                  </a:lnTo>
                  <a:lnTo>
                    <a:pt x="327056" y="0"/>
                  </a:lnTo>
                  <a:lnTo>
                    <a:pt x="358204" y="0"/>
                  </a:lnTo>
                  <a:lnTo>
                    <a:pt x="358204" y="90589"/>
                  </a:lnTo>
                  <a:lnTo>
                    <a:pt x="385342" y="90589"/>
                  </a:lnTo>
                  <a:lnTo>
                    <a:pt x="358204" y="109523"/>
                  </a:lnTo>
                  <a:lnTo>
                    <a:pt x="358204" y="124159"/>
                  </a:lnTo>
                  <a:lnTo>
                    <a:pt x="560668" y="124159"/>
                  </a:lnTo>
                  <a:lnTo>
                    <a:pt x="560668" y="155198"/>
                  </a:lnTo>
                  <a:close/>
                </a:path>
                <a:path w="560705" h="403860">
                  <a:moveTo>
                    <a:pt x="385342" y="90589"/>
                  </a:moveTo>
                  <a:lnTo>
                    <a:pt x="358204" y="90589"/>
                  </a:lnTo>
                  <a:lnTo>
                    <a:pt x="488046" y="0"/>
                  </a:lnTo>
                  <a:lnTo>
                    <a:pt x="503293" y="0"/>
                  </a:lnTo>
                  <a:lnTo>
                    <a:pt x="508027" y="713"/>
                  </a:lnTo>
                  <a:lnTo>
                    <a:pt x="512622" y="1784"/>
                  </a:lnTo>
                  <a:lnTo>
                    <a:pt x="385342" y="90589"/>
                  </a:lnTo>
                  <a:close/>
                </a:path>
                <a:path w="560705" h="403860">
                  <a:moveTo>
                    <a:pt x="473001" y="124159"/>
                  </a:moveTo>
                  <a:lnTo>
                    <a:pt x="391548" y="124159"/>
                  </a:lnTo>
                  <a:lnTo>
                    <a:pt x="542789" y="18623"/>
                  </a:lnTo>
                  <a:lnTo>
                    <a:pt x="550241" y="27759"/>
                  </a:lnTo>
                  <a:lnTo>
                    <a:pt x="555869" y="38204"/>
                  </a:lnTo>
                  <a:lnTo>
                    <a:pt x="559427" y="49722"/>
                  </a:lnTo>
                  <a:lnTo>
                    <a:pt x="560668" y="62079"/>
                  </a:lnTo>
                  <a:lnTo>
                    <a:pt x="560668" y="62995"/>
                  </a:lnTo>
                  <a:lnTo>
                    <a:pt x="473001" y="124159"/>
                  </a:lnTo>
                  <a:close/>
                </a:path>
                <a:path w="560705" h="403860">
                  <a:moveTo>
                    <a:pt x="233611" y="155198"/>
                  </a:moveTo>
                  <a:lnTo>
                    <a:pt x="0" y="155198"/>
                  </a:lnTo>
                  <a:lnTo>
                    <a:pt x="0" y="124159"/>
                  </a:lnTo>
                  <a:lnTo>
                    <a:pt x="169119" y="124159"/>
                  </a:lnTo>
                  <a:lnTo>
                    <a:pt x="17879" y="18623"/>
                  </a:lnTo>
                  <a:lnTo>
                    <a:pt x="27140" y="10875"/>
                  </a:lnTo>
                  <a:lnTo>
                    <a:pt x="37798" y="5010"/>
                  </a:lnTo>
                  <a:lnTo>
                    <a:pt x="49600" y="1297"/>
                  </a:lnTo>
                  <a:lnTo>
                    <a:pt x="62296" y="0"/>
                  </a:lnTo>
                  <a:lnTo>
                    <a:pt x="72637" y="0"/>
                  </a:lnTo>
                  <a:lnTo>
                    <a:pt x="202463" y="90589"/>
                  </a:lnTo>
                  <a:lnTo>
                    <a:pt x="233611" y="90589"/>
                  </a:lnTo>
                  <a:lnTo>
                    <a:pt x="233611" y="155198"/>
                  </a:lnTo>
                  <a:close/>
                </a:path>
                <a:path w="560705" h="403860">
                  <a:moveTo>
                    <a:pt x="233611" y="90589"/>
                  </a:moveTo>
                  <a:lnTo>
                    <a:pt x="202463" y="90589"/>
                  </a:lnTo>
                  <a:lnTo>
                    <a:pt x="202463" y="0"/>
                  </a:lnTo>
                  <a:lnTo>
                    <a:pt x="233611" y="0"/>
                  </a:lnTo>
                  <a:lnTo>
                    <a:pt x="233611" y="90589"/>
                  </a:lnTo>
                  <a:close/>
                </a:path>
                <a:path w="560705" h="403860">
                  <a:moveTo>
                    <a:pt x="114812" y="124159"/>
                  </a:moveTo>
                  <a:lnTo>
                    <a:pt x="87651" y="124159"/>
                  </a:lnTo>
                  <a:lnTo>
                    <a:pt x="0" y="62995"/>
                  </a:lnTo>
                  <a:lnTo>
                    <a:pt x="0" y="56399"/>
                  </a:lnTo>
                  <a:lnTo>
                    <a:pt x="1012" y="50998"/>
                  </a:lnTo>
                  <a:lnTo>
                    <a:pt x="2445" y="45768"/>
                  </a:lnTo>
                  <a:lnTo>
                    <a:pt x="114812" y="124159"/>
                  </a:lnTo>
                  <a:close/>
                </a:path>
              </a:pathLst>
            </a:custGeom>
            <a:solidFill>
              <a:srgbClr val="EDEDED"/>
            </a:solidFill>
          </p:spPr>
          <p:txBody>
            <a:bodyPr wrap="square" lIns="0" tIns="0" rIns="0" bIns="0" rtlCol="0"/>
            <a:lstStyle/>
            <a:p>
              <a:endParaRPr/>
            </a:p>
          </p:txBody>
        </p:sp>
        <p:sp>
          <p:nvSpPr>
            <p:cNvPr id="119" name="object 119"/>
            <p:cNvSpPr/>
            <p:nvPr/>
          </p:nvSpPr>
          <p:spPr>
            <a:xfrm>
              <a:off x="15298750" y="4602720"/>
              <a:ext cx="560705" cy="403225"/>
            </a:xfrm>
            <a:custGeom>
              <a:avLst/>
              <a:gdLst/>
              <a:ahLst/>
              <a:cxnLst/>
              <a:rect l="l" t="t" r="r" b="b"/>
              <a:pathLst>
                <a:path w="560705" h="403225">
                  <a:moveTo>
                    <a:pt x="560666" y="155943"/>
                  </a:moveTo>
                  <a:lnTo>
                    <a:pt x="327063" y="155943"/>
                  </a:lnTo>
                  <a:lnTo>
                    <a:pt x="327063" y="0"/>
                  </a:lnTo>
                  <a:lnTo>
                    <a:pt x="233616" y="0"/>
                  </a:lnTo>
                  <a:lnTo>
                    <a:pt x="233616" y="155943"/>
                  </a:lnTo>
                  <a:lnTo>
                    <a:pt x="0" y="155943"/>
                  </a:lnTo>
                  <a:lnTo>
                    <a:pt x="0" y="248488"/>
                  </a:lnTo>
                  <a:lnTo>
                    <a:pt x="233616" y="248488"/>
                  </a:lnTo>
                  <a:lnTo>
                    <a:pt x="233616" y="403148"/>
                  </a:lnTo>
                  <a:lnTo>
                    <a:pt x="327063" y="403148"/>
                  </a:lnTo>
                  <a:lnTo>
                    <a:pt x="327063" y="248488"/>
                  </a:lnTo>
                  <a:lnTo>
                    <a:pt x="560666" y="248488"/>
                  </a:lnTo>
                  <a:lnTo>
                    <a:pt x="560666" y="155943"/>
                  </a:lnTo>
                  <a:close/>
                </a:path>
              </a:pathLst>
            </a:custGeom>
            <a:solidFill>
              <a:srgbClr val="CF1B2A"/>
            </a:solidFill>
          </p:spPr>
          <p:txBody>
            <a:bodyPr wrap="square" lIns="0" tIns="0" rIns="0" bIns="0" rtlCol="0"/>
            <a:lstStyle/>
            <a:p>
              <a:endParaRPr/>
            </a:p>
          </p:txBody>
        </p:sp>
      </p:grpSp>
      <p:sp>
        <p:nvSpPr>
          <p:cNvPr id="120" name="object 120"/>
          <p:cNvSpPr txBox="1"/>
          <p:nvPr/>
        </p:nvSpPr>
        <p:spPr>
          <a:xfrm>
            <a:off x="15209098" y="5074957"/>
            <a:ext cx="734695" cy="182245"/>
          </a:xfrm>
          <a:prstGeom prst="rect">
            <a:avLst/>
          </a:prstGeom>
        </p:spPr>
        <p:txBody>
          <a:bodyPr vert="horz" wrap="square" lIns="0" tIns="15875" rIns="0" bIns="0" rtlCol="0">
            <a:spAutoFit/>
          </a:bodyPr>
          <a:lstStyle/>
          <a:p>
            <a:pPr marL="12700">
              <a:lnSpc>
                <a:spcPct val="100000"/>
              </a:lnSpc>
              <a:spcBef>
                <a:spcPts val="125"/>
              </a:spcBef>
            </a:pPr>
            <a:r>
              <a:rPr sz="1000" b="1" dirty="0">
                <a:solidFill>
                  <a:srgbClr val="737373"/>
                </a:solidFill>
                <a:latin typeface="Roboto"/>
                <a:cs typeface="Roboto"/>
              </a:rPr>
              <a:t>Reino</a:t>
            </a:r>
            <a:r>
              <a:rPr sz="1000" b="1" spc="35" dirty="0">
                <a:solidFill>
                  <a:srgbClr val="737373"/>
                </a:solidFill>
                <a:latin typeface="Roboto"/>
                <a:cs typeface="Roboto"/>
              </a:rPr>
              <a:t> </a:t>
            </a:r>
            <a:r>
              <a:rPr sz="1000" b="1" spc="-10" dirty="0">
                <a:solidFill>
                  <a:srgbClr val="737373"/>
                </a:solidFill>
                <a:latin typeface="Roboto"/>
                <a:cs typeface="Roboto"/>
              </a:rPr>
              <a:t>Unido</a:t>
            </a:r>
            <a:endParaRPr sz="1000">
              <a:latin typeface="Roboto"/>
              <a:cs typeface="Roboto"/>
            </a:endParaRPr>
          </a:p>
        </p:txBody>
      </p:sp>
      <p:pic>
        <p:nvPicPr>
          <p:cNvPr id="121" name="object 121"/>
          <p:cNvPicPr/>
          <p:nvPr/>
        </p:nvPicPr>
        <p:blipFill>
          <a:blip r:embed="rId16" cstate="print"/>
          <a:stretch>
            <a:fillRect/>
          </a:stretch>
        </p:blipFill>
        <p:spPr>
          <a:xfrm>
            <a:off x="17316450" y="237491"/>
            <a:ext cx="742949" cy="819149"/>
          </a:xfrm>
          <a:prstGeom prst="rect">
            <a:avLst/>
          </a:prstGeom>
        </p:spPr>
      </p:pic>
      <p:sp>
        <p:nvSpPr>
          <p:cNvPr id="122" name="object 122"/>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123" name="object 123"/>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21</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16551"/>
            <a:ext cx="18288000" cy="10270490"/>
          </a:xfrm>
          <a:custGeom>
            <a:avLst/>
            <a:gdLst/>
            <a:ahLst/>
            <a:cxnLst/>
            <a:rect l="l" t="t" r="r" b="b"/>
            <a:pathLst>
              <a:path w="18288000" h="10270490">
                <a:moveTo>
                  <a:pt x="18287999" y="10270448"/>
                </a:moveTo>
                <a:lnTo>
                  <a:pt x="0" y="10270448"/>
                </a:lnTo>
                <a:lnTo>
                  <a:pt x="0" y="0"/>
                </a:lnTo>
                <a:lnTo>
                  <a:pt x="18287999" y="0"/>
                </a:lnTo>
                <a:lnTo>
                  <a:pt x="18287999" y="10270448"/>
                </a:lnTo>
                <a:close/>
              </a:path>
            </a:pathLst>
          </a:custGeom>
          <a:solidFill>
            <a:srgbClr val="21408B"/>
          </a:solidFill>
        </p:spPr>
        <p:txBody>
          <a:bodyPr wrap="square" lIns="0" tIns="0" rIns="0" bIns="0" rtlCol="0"/>
          <a:lstStyle/>
          <a:p>
            <a:endParaRPr/>
          </a:p>
        </p:txBody>
      </p:sp>
      <p:sp>
        <p:nvSpPr>
          <p:cNvPr id="3" name="object 3"/>
          <p:cNvSpPr/>
          <p:nvPr/>
        </p:nvSpPr>
        <p:spPr>
          <a:xfrm>
            <a:off x="201329" y="181841"/>
            <a:ext cx="17897475" cy="9886950"/>
          </a:xfrm>
          <a:custGeom>
            <a:avLst/>
            <a:gdLst/>
            <a:ahLst/>
            <a:cxnLst/>
            <a:rect l="l" t="t" r="r" b="b"/>
            <a:pathLst>
              <a:path w="17897475" h="9886950">
                <a:moveTo>
                  <a:pt x="0" y="0"/>
                </a:moveTo>
                <a:lnTo>
                  <a:pt x="17897461" y="0"/>
                </a:lnTo>
                <a:lnTo>
                  <a:pt x="17897461" y="9886950"/>
                </a:lnTo>
                <a:lnTo>
                  <a:pt x="0" y="9886950"/>
                </a:lnTo>
                <a:lnTo>
                  <a:pt x="0" y="0"/>
                </a:lnTo>
              </a:path>
            </a:pathLst>
          </a:custGeom>
          <a:ln w="38110">
            <a:solidFill>
              <a:srgbClr val="FFFFFF"/>
            </a:solidFill>
          </a:ln>
        </p:spPr>
        <p:txBody>
          <a:bodyPr wrap="square" lIns="0" tIns="0" rIns="0" bIns="0" rtlCol="0"/>
          <a:lstStyle/>
          <a:p>
            <a:endParaRPr/>
          </a:p>
        </p:txBody>
      </p:sp>
      <p:sp>
        <p:nvSpPr>
          <p:cNvPr id="4" name="object 4"/>
          <p:cNvSpPr txBox="1">
            <a:spLocks noGrp="1"/>
          </p:cNvSpPr>
          <p:nvPr>
            <p:ph type="title"/>
          </p:nvPr>
        </p:nvSpPr>
        <p:spPr>
          <a:xfrm>
            <a:off x="5505489" y="3840753"/>
            <a:ext cx="7277100" cy="1696720"/>
          </a:xfrm>
          <a:prstGeom prst="rect">
            <a:avLst/>
          </a:prstGeom>
        </p:spPr>
        <p:txBody>
          <a:bodyPr vert="horz" wrap="square" lIns="0" tIns="40005" rIns="0" bIns="0" rtlCol="0">
            <a:spAutoFit/>
          </a:bodyPr>
          <a:lstStyle/>
          <a:p>
            <a:pPr marL="1610995" marR="5080" indent="-1598930">
              <a:lnSpc>
                <a:spcPts val="6520"/>
              </a:lnSpc>
              <a:spcBef>
                <a:spcPts val="315"/>
              </a:spcBef>
            </a:pPr>
            <a:r>
              <a:rPr sz="5500" b="1" dirty="0">
                <a:latin typeface="Arial"/>
                <a:cs typeface="Arial"/>
              </a:rPr>
              <a:t>Diagnóstico</a:t>
            </a:r>
            <a:r>
              <a:rPr sz="5500" b="1" spc="-120" dirty="0">
                <a:latin typeface="Arial"/>
                <a:cs typeface="Arial"/>
              </a:rPr>
              <a:t> </a:t>
            </a:r>
            <a:r>
              <a:rPr sz="5500" b="1" dirty="0">
                <a:latin typeface="Arial"/>
                <a:cs typeface="Arial"/>
              </a:rPr>
              <a:t>y</a:t>
            </a:r>
            <a:r>
              <a:rPr sz="5500" b="1" spc="-114" dirty="0">
                <a:latin typeface="Arial"/>
                <a:cs typeface="Arial"/>
              </a:rPr>
              <a:t> </a:t>
            </a:r>
            <a:r>
              <a:rPr sz="5500" b="1" spc="-10" dirty="0">
                <a:latin typeface="Arial"/>
                <a:cs typeface="Arial"/>
              </a:rPr>
              <a:t>estudio </a:t>
            </a:r>
            <a:r>
              <a:rPr sz="5500" b="1" spc="90" dirty="0">
                <a:latin typeface="Arial"/>
                <a:cs typeface="Arial"/>
              </a:rPr>
              <a:t>de</a:t>
            </a:r>
            <a:r>
              <a:rPr sz="5500" b="1" spc="-180" dirty="0">
                <a:latin typeface="Arial"/>
                <a:cs typeface="Arial"/>
              </a:rPr>
              <a:t> </a:t>
            </a:r>
            <a:r>
              <a:rPr sz="5500" b="1" spc="110" dirty="0">
                <a:latin typeface="Arial"/>
                <a:cs typeface="Arial"/>
              </a:rPr>
              <a:t>mercado</a:t>
            </a:r>
            <a:endParaRPr sz="5500">
              <a:latin typeface="Arial"/>
              <a:cs typeface="Aria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8715797"/>
            <a:ext cx="17954625" cy="1059815"/>
          </a:xfrm>
          <a:custGeom>
            <a:avLst/>
            <a:gdLst/>
            <a:ahLst/>
            <a:cxnLst/>
            <a:rect l="l" t="t" r="r" b="b"/>
            <a:pathLst>
              <a:path w="17954625" h="1059815">
                <a:moveTo>
                  <a:pt x="0" y="1059576"/>
                </a:moveTo>
                <a:lnTo>
                  <a:pt x="17954029" y="1059576"/>
                </a:lnTo>
                <a:lnTo>
                  <a:pt x="17954029" y="0"/>
                </a:lnTo>
                <a:lnTo>
                  <a:pt x="0" y="0"/>
                </a:lnTo>
                <a:lnTo>
                  <a:pt x="0" y="1059576"/>
                </a:lnTo>
                <a:close/>
              </a:path>
            </a:pathLst>
          </a:custGeom>
          <a:solidFill>
            <a:srgbClr val="EFEBE2">
              <a:alpha val="55690"/>
            </a:srgbClr>
          </a:solidFill>
        </p:spPr>
        <p:txBody>
          <a:bodyPr wrap="square" lIns="0" tIns="0" rIns="0" bIns="0" rtlCol="0"/>
          <a:lstStyle/>
          <a:p>
            <a:endParaRPr/>
          </a:p>
        </p:txBody>
      </p:sp>
      <p:sp>
        <p:nvSpPr>
          <p:cNvPr id="3" name="object 3"/>
          <p:cNvSpPr/>
          <p:nvPr/>
        </p:nvSpPr>
        <p:spPr>
          <a:xfrm>
            <a:off x="166956" y="1113694"/>
            <a:ext cx="17954625" cy="4516120"/>
          </a:xfrm>
          <a:custGeom>
            <a:avLst/>
            <a:gdLst/>
            <a:ahLst/>
            <a:cxnLst/>
            <a:rect l="l" t="t" r="r" b="b"/>
            <a:pathLst>
              <a:path w="17954625" h="4516120">
                <a:moveTo>
                  <a:pt x="0" y="4516003"/>
                </a:moveTo>
                <a:lnTo>
                  <a:pt x="17954029" y="4516003"/>
                </a:lnTo>
                <a:lnTo>
                  <a:pt x="17954029" y="0"/>
                </a:lnTo>
                <a:lnTo>
                  <a:pt x="0" y="0"/>
                </a:lnTo>
                <a:lnTo>
                  <a:pt x="0" y="4516003"/>
                </a:lnTo>
                <a:close/>
              </a:path>
            </a:pathLst>
          </a:custGeom>
          <a:solidFill>
            <a:srgbClr val="EFEBE2">
              <a:alpha val="55690"/>
            </a:srgbClr>
          </a:solidFill>
        </p:spPr>
        <p:txBody>
          <a:bodyPr wrap="square" lIns="0" tIns="0" rIns="0" bIns="0" rtlCol="0"/>
          <a:lstStyle/>
          <a:p>
            <a:endParaRPr/>
          </a:p>
        </p:txBody>
      </p:sp>
      <p:grpSp>
        <p:nvGrpSpPr>
          <p:cNvPr id="4" name="object 4"/>
          <p:cNvGrpSpPr/>
          <p:nvPr/>
        </p:nvGrpSpPr>
        <p:grpSpPr>
          <a:xfrm>
            <a:off x="166956" y="171494"/>
            <a:ext cx="17954625" cy="1394460"/>
            <a:chOff x="166956" y="171494"/>
            <a:chExt cx="17954625" cy="1394460"/>
          </a:xfrm>
        </p:grpSpPr>
        <p:sp>
          <p:nvSpPr>
            <p:cNvPr id="5" name="object 5"/>
            <p:cNvSpPr/>
            <p:nvPr/>
          </p:nvSpPr>
          <p:spPr>
            <a:xfrm>
              <a:off x="166956" y="171494"/>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6" name="object 6"/>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grpSp>
      <p:sp>
        <p:nvSpPr>
          <p:cNvPr id="7" name="object 7"/>
          <p:cNvSpPr/>
          <p:nvPr/>
        </p:nvSpPr>
        <p:spPr>
          <a:xfrm>
            <a:off x="3612788" y="2388703"/>
            <a:ext cx="1374775" cy="1374775"/>
          </a:xfrm>
          <a:custGeom>
            <a:avLst/>
            <a:gdLst/>
            <a:ahLst/>
            <a:cxnLst/>
            <a:rect l="l" t="t" r="r" b="b"/>
            <a:pathLst>
              <a:path w="1374775" h="1374775">
                <a:moveTo>
                  <a:pt x="687152" y="1374286"/>
                </a:moveTo>
                <a:lnTo>
                  <a:pt x="640096" y="1372701"/>
                </a:lnTo>
                <a:lnTo>
                  <a:pt x="593901" y="1368013"/>
                </a:lnTo>
                <a:lnTo>
                  <a:pt x="548659" y="1360326"/>
                </a:lnTo>
                <a:lnTo>
                  <a:pt x="504473" y="1349740"/>
                </a:lnTo>
                <a:lnTo>
                  <a:pt x="461444" y="1336360"/>
                </a:lnTo>
                <a:lnTo>
                  <a:pt x="419675" y="1320287"/>
                </a:lnTo>
                <a:lnTo>
                  <a:pt x="379269" y="1301623"/>
                </a:lnTo>
                <a:lnTo>
                  <a:pt x="340328" y="1280471"/>
                </a:lnTo>
                <a:lnTo>
                  <a:pt x="302954" y="1256933"/>
                </a:lnTo>
                <a:lnTo>
                  <a:pt x="267250" y="1231111"/>
                </a:lnTo>
                <a:lnTo>
                  <a:pt x="233317" y="1203108"/>
                </a:lnTo>
                <a:lnTo>
                  <a:pt x="201259" y="1173026"/>
                </a:lnTo>
                <a:lnTo>
                  <a:pt x="171177" y="1140968"/>
                </a:lnTo>
                <a:lnTo>
                  <a:pt x="143174" y="1107035"/>
                </a:lnTo>
                <a:lnTo>
                  <a:pt x="117353" y="1071331"/>
                </a:lnTo>
                <a:lnTo>
                  <a:pt x="93814" y="1033957"/>
                </a:lnTo>
                <a:lnTo>
                  <a:pt x="72662" y="995016"/>
                </a:lnTo>
                <a:lnTo>
                  <a:pt x="53998" y="954610"/>
                </a:lnTo>
                <a:lnTo>
                  <a:pt x="37925" y="912841"/>
                </a:lnTo>
                <a:lnTo>
                  <a:pt x="24545" y="869813"/>
                </a:lnTo>
                <a:lnTo>
                  <a:pt x="13960" y="825626"/>
                </a:lnTo>
                <a:lnTo>
                  <a:pt x="6272" y="780384"/>
                </a:lnTo>
                <a:lnTo>
                  <a:pt x="1585" y="734189"/>
                </a:lnTo>
                <a:lnTo>
                  <a:pt x="0" y="687137"/>
                </a:lnTo>
                <a:lnTo>
                  <a:pt x="1585" y="640097"/>
                </a:lnTo>
                <a:lnTo>
                  <a:pt x="6272" y="593901"/>
                </a:lnTo>
                <a:lnTo>
                  <a:pt x="13960" y="548659"/>
                </a:lnTo>
                <a:lnTo>
                  <a:pt x="24545" y="504473"/>
                </a:lnTo>
                <a:lnTo>
                  <a:pt x="37925" y="461444"/>
                </a:lnTo>
                <a:lnTo>
                  <a:pt x="53998" y="419676"/>
                </a:lnTo>
                <a:lnTo>
                  <a:pt x="72662" y="379270"/>
                </a:lnTo>
                <a:lnTo>
                  <a:pt x="93814" y="340328"/>
                </a:lnTo>
                <a:lnTo>
                  <a:pt x="117353" y="302954"/>
                </a:lnTo>
                <a:lnTo>
                  <a:pt x="143174" y="267250"/>
                </a:lnTo>
                <a:lnTo>
                  <a:pt x="171177" y="233317"/>
                </a:lnTo>
                <a:lnTo>
                  <a:pt x="201259" y="201259"/>
                </a:lnTo>
                <a:lnTo>
                  <a:pt x="233317" y="171177"/>
                </a:lnTo>
                <a:lnTo>
                  <a:pt x="267250" y="143174"/>
                </a:lnTo>
                <a:lnTo>
                  <a:pt x="302954" y="117353"/>
                </a:lnTo>
                <a:lnTo>
                  <a:pt x="340328" y="93815"/>
                </a:lnTo>
                <a:lnTo>
                  <a:pt x="379269" y="72663"/>
                </a:lnTo>
                <a:lnTo>
                  <a:pt x="419675" y="53999"/>
                </a:lnTo>
                <a:lnTo>
                  <a:pt x="461444" y="37925"/>
                </a:lnTo>
                <a:lnTo>
                  <a:pt x="504473" y="24545"/>
                </a:lnTo>
                <a:lnTo>
                  <a:pt x="548659" y="13960"/>
                </a:lnTo>
                <a:lnTo>
                  <a:pt x="593901" y="6272"/>
                </a:lnTo>
                <a:lnTo>
                  <a:pt x="640096" y="1585"/>
                </a:lnTo>
                <a:lnTo>
                  <a:pt x="687142" y="0"/>
                </a:lnTo>
                <a:lnTo>
                  <a:pt x="734189" y="1585"/>
                </a:lnTo>
                <a:lnTo>
                  <a:pt x="780384" y="6272"/>
                </a:lnTo>
                <a:lnTo>
                  <a:pt x="825626" y="13960"/>
                </a:lnTo>
                <a:lnTo>
                  <a:pt x="869812" y="24545"/>
                </a:lnTo>
                <a:lnTo>
                  <a:pt x="912841" y="37925"/>
                </a:lnTo>
                <a:lnTo>
                  <a:pt x="954610" y="53999"/>
                </a:lnTo>
                <a:lnTo>
                  <a:pt x="995016" y="72663"/>
                </a:lnTo>
                <a:lnTo>
                  <a:pt x="1033957" y="93815"/>
                </a:lnTo>
                <a:lnTo>
                  <a:pt x="1071331" y="117353"/>
                </a:lnTo>
                <a:lnTo>
                  <a:pt x="1107035" y="143174"/>
                </a:lnTo>
                <a:lnTo>
                  <a:pt x="1140968" y="171177"/>
                </a:lnTo>
                <a:lnTo>
                  <a:pt x="1173026" y="201259"/>
                </a:lnTo>
                <a:lnTo>
                  <a:pt x="1203108" y="233317"/>
                </a:lnTo>
                <a:lnTo>
                  <a:pt x="1231111" y="267250"/>
                </a:lnTo>
                <a:lnTo>
                  <a:pt x="1256932" y="302954"/>
                </a:lnTo>
                <a:lnTo>
                  <a:pt x="1280470" y="340328"/>
                </a:lnTo>
                <a:lnTo>
                  <a:pt x="1301623" y="379270"/>
                </a:lnTo>
                <a:lnTo>
                  <a:pt x="1320287" y="419676"/>
                </a:lnTo>
                <a:lnTo>
                  <a:pt x="1336360" y="461444"/>
                </a:lnTo>
                <a:lnTo>
                  <a:pt x="1349740" y="504473"/>
                </a:lnTo>
                <a:lnTo>
                  <a:pt x="1360325" y="548659"/>
                </a:lnTo>
                <a:lnTo>
                  <a:pt x="1368013" y="593901"/>
                </a:lnTo>
                <a:lnTo>
                  <a:pt x="1372700" y="640097"/>
                </a:lnTo>
                <a:lnTo>
                  <a:pt x="1374285" y="687143"/>
                </a:lnTo>
                <a:lnTo>
                  <a:pt x="1372700" y="734189"/>
                </a:lnTo>
                <a:lnTo>
                  <a:pt x="1368013" y="780384"/>
                </a:lnTo>
                <a:lnTo>
                  <a:pt x="1360325" y="825626"/>
                </a:lnTo>
                <a:lnTo>
                  <a:pt x="1349740" y="869813"/>
                </a:lnTo>
                <a:lnTo>
                  <a:pt x="1336360" y="912841"/>
                </a:lnTo>
                <a:lnTo>
                  <a:pt x="1320287" y="954610"/>
                </a:lnTo>
                <a:lnTo>
                  <a:pt x="1301623" y="995016"/>
                </a:lnTo>
                <a:lnTo>
                  <a:pt x="1280470" y="1033957"/>
                </a:lnTo>
                <a:lnTo>
                  <a:pt x="1256932" y="1071331"/>
                </a:lnTo>
                <a:lnTo>
                  <a:pt x="1231111" y="1107035"/>
                </a:lnTo>
                <a:lnTo>
                  <a:pt x="1203108" y="1140968"/>
                </a:lnTo>
                <a:lnTo>
                  <a:pt x="1173026" y="1173026"/>
                </a:lnTo>
                <a:lnTo>
                  <a:pt x="1140968" y="1203108"/>
                </a:lnTo>
                <a:lnTo>
                  <a:pt x="1107035" y="1231111"/>
                </a:lnTo>
                <a:lnTo>
                  <a:pt x="1071331" y="1256933"/>
                </a:lnTo>
                <a:lnTo>
                  <a:pt x="1033957" y="1280471"/>
                </a:lnTo>
                <a:lnTo>
                  <a:pt x="995016" y="1301623"/>
                </a:lnTo>
                <a:lnTo>
                  <a:pt x="954610" y="1320287"/>
                </a:lnTo>
                <a:lnTo>
                  <a:pt x="912841" y="1336360"/>
                </a:lnTo>
                <a:lnTo>
                  <a:pt x="869812" y="1349740"/>
                </a:lnTo>
                <a:lnTo>
                  <a:pt x="825626" y="1360326"/>
                </a:lnTo>
                <a:lnTo>
                  <a:pt x="780384" y="1368013"/>
                </a:lnTo>
                <a:lnTo>
                  <a:pt x="734189" y="1372701"/>
                </a:lnTo>
                <a:lnTo>
                  <a:pt x="687152" y="1374286"/>
                </a:lnTo>
                <a:close/>
              </a:path>
            </a:pathLst>
          </a:custGeom>
          <a:solidFill>
            <a:srgbClr val="21408B"/>
          </a:solidFill>
        </p:spPr>
        <p:txBody>
          <a:bodyPr wrap="square" lIns="0" tIns="0" rIns="0" bIns="0" rtlCol="0"/>
          <a:lstStyle/>
          <a:p>
            <a:endParaRPr/>
          </a:p>
        </p:txBody>
      </p:sp>
      <p:pic>
        <p:nvPicPr>
          <p:cNvPr id="8" name="object 8"/>
          <p:cNvPicPr/>
          <p:nvPr/>
        </p:nvPicPr>
        <p:blipFill>
          <a:blip r:embed="rId2" cstate="print"/>
          <a:stretch>
            <a:fillRect/>
          </a:stretch>
        </p:blipFill>
        <p:spPr>
          <a:xfrm>
            <a:off x="5158471" y="5946491"/>
            <a:ext cx="1715514" cy="1689099"/>
          </a:xfrm>
          <a:prstGeom prst="rect">
            <a:avLst/>
          </a:prstGeom>
        </p:spPr>
      </p:pic>
      <p:sp>
        <p:nvSpPr>
          <p:cNvPr id="9" name="object 9"/>
          <p:cNvSpPr/>
          <p:nvPr/>
        </p:nvSpPr>
        <p:spPr>
          <a:xfrm>
            <a:off x="12124029" y="6870566"/>
            <a:ext cx="496570" cy="663575"/>
          </a:xfrm>
          <a:custGeom>
            <a:avLst/>
            <a:gdLst/>
            <a:ahLst/>
            <a:cxnLst/>
            <a:rect l="l" t="t" r="r" b="b"/>
            <a:pathLst>
              <a:path w="496570" h="663575">
                <a:moveTo>
                  <a:pt x="467372" y="663390"/>
                </a:moveTo>
                <a:lnTo>
                  <a:pt x="419881" y="506917"/>
                </a:lnTo>
                <a:lnTo>
                  <a:pt x="276845" y="519369"/>
                </a:lnTo>
                <a:lnTo>
                  <a:pt x="259750" y="638533"/>
                </a:lnTo>
                <a:lnTo>
                  <a:pt x="231133" y="663390"/>
                </a:lnTo>
                <a:lnTo>
                  <a:pt x="229260" y="663390"/>
                </a:lnTo>
                <a:lnTo>
                  <a:pt x="202610" y="629464"/>
                </a:lnTo>
                <a:lnTo>
                  <a:pt x="218207" y="520873"/>
                </a:lnTo>
                <a:lnTo>
                  <a:pt x="171876" y="509403"/>
                </a:lnTo>
                <a:lnTo>
                  <a:pt x="130498" y="486798"/>
                </a:lnTo>
                <a:lnTo>
                  <a:pt x="96080" y="454609"/>
                </a:lnTo>
                <a:lnTo>
                  <a:pt x="70630" y="414389"/>
                </a:lnTo>
                <a:lnTo>
                  <a:pt x="56155" y="367689"/>
                </a:lnTo>
                <a:lnTo>
                  <a:pt x="0" y="33409"/>
                </a:lnTo>
                <a:lnTo>
                  <a:pt x="363" y="21898"/>
                </a:lnTo>
                <a:lnTo>
                  <a:pt x="4947" y="11770"/>
                </a:lnTo>
                <a:lnTo>
                  <a:pt x="12981" y="4110"/>
                </a:lnTo>
                <a:lnTo>
                  <a:pt x="23698" y="0"/>
                </a:lnTo>
                <a:lnTo>
                  <a:pt x="35172" y="364"/>
                </a:lnTo>
                <a:lnTo>
                  <a:pt x="45272" y="4963"/>
                </a:lnTo>
                <a:lnTo>
                  <a:pt x="52922" y="13024"/>
                </a:lnTo>
                <a:lnTo>
                  <a:pt x="57045" y="23776"/>
                </a:lnTo>
                <a:lnTo>
                  <a:pt x="113201" y="358009"/>
                </a:lnTo>
                <a:lnTo>
                  <a:pt x="129819" y="402622"/>
                </a:lnTo>
                <a:lnTo>
                  <a:pt x="160681" y="437174"/>
                </a:lnTo>
                <a:lnTo>
                  <a:pt x="201747" y="458527"/>
                </a:lnTo>
                <a:lnTo>
                  <a:pt x="248978" y="463546"/>
                </a:lnTo>
                <a:lnTo>
                  <a:pt x="473273" y="444046"/>
                </a:lnTo>
                <a:lnTo>
                  <a:pt x="478285" y="501842"/>
                </a:lnTo>
                <a:lnTo>
                  <a:pt x="477582" y="501936"/>
                </a:lnTo>
                <a:lnTo>
                  <a:pt x="495942" y="629464"/>
                </a:lnTo>
                <a:lnTo>
                  <a:pt x="495440" y="640763"/>
                </a:lnTo>
                <a:lnTo>
                  <a:pt x="491047" y="650815"/>
                </a:lnTo>
                <a:lnTo>
                  <a:pt x="483388" y="658532"/>
                </a:lnTo>
                <a:lnTo>
                  <a:pt x="473086" y="662827"/>
                </a:lnTo>
                <a:lnTo>
                  <a:pt x="471166" y="663203"/>
                </a:lnTo>
                <a:lnTo>
                  <a:pt x="467372" y="663390"/>
                </a:lnTo>
                <a:close/>
              </a:path>
            </a:pathLst>
          </a:custGeom>
          <a:solidFill>
            <a:srgbClr val="0090AE"/>
          </a:solidFill>
        </p:spPr>
        <p:txBody>
          <a:bodyPr wrap="square" lIns="0" tIns="0" rIns="0" bIns="0" rtlCol="0"/>
          <a:lstStyle/>
          <a:p>
            <a:endParaRPr/>
          </a:p>
        </p:txBody>
      </p:sp>
      <p:pic>
        <p:nvPicPr>
          <p:cNvPr id="10" name="object 10"/>
          <p:cNvPicPr/>
          <p:nvPr/>
        </p:nvPicPr>
        <p:blipFill>
          <a:blip r:embed="rId3" cstate="print"/>
          <a:stretch>
            <a:fillRect/>
          </a:stretch>
        </p:blipFill>
        <p:spPr>
          <a:xfrm>
            <a:off x="12319755" y="6516504"/>
            <a:ext cx="202704" cy="203368"/>
          </a:xfrm>
          <a:prstGeom prst="rect">
            <a:avLst/>
          </a:prstGeom>
        </p:spPr>
      </p:pic>
      <p:sp>
        <p:nvSpPr>
          <p:cNvPr id="11" name="object 11"/>
          <p:cNvSpPr/>
          <p:nvPr/>
        </p:nvSpPr>
        <p:spPr>
          <a:xfrm>
            <a:off x="12252571" y="6765779"/>
            <a:ext cx="527050" cy="711835"/>
          </a:xfrm>
          <a:custGeom>
            <a:avLst/>
            <a:gdLst/>
            <a:ahLst/>
            <a:cxnLst/>
            <a:rect l="l" t="t" r="r" b="b"/>
            <a:pathLst>
              <a:path w="527050" h="711834">
                <a:moveTo>
                  <a:pt x="475278" y="711768"/>
                </a:moveTo>
                <a:lnTo>
                  <a:pt x="458788" y="706698"/>
                </a:lnTo>
                <a:lnTo>
                  <a:pt x="445230" y="696034"/>
                </a:lnTo>
                <a:lnTo>
                  <a:pt x="436248" y="680731"/>
                </a:lnTo>
                <a:lnTo>
                  <a:pt x="371755" y="497051"/>
                </a:lnTo>
                <a:lnTo>
                  <a:pt x="124136" y="514860"/>
                </a:lnTo>
                <a:lnTo>
                  <a:pt x="77159" y="504522"/>
                </a:lnTo>
                <a:lnTo>
                  <a:pt x="39482" y="466097"/>
                </a:lnTo>
                <a:lnTo>
                  <a:pt x="19791" y="395697"/>
                </a:lnTo>
                <a:lnTo>
                  <a:pt x="9364" y="341659"/>
                </a:lnTo>
                <a:lnTo>
                  <a:pt x="2480" y="287075"/>
                </a:lnTo>
                <a:lnTo>
                  <a:pt x="0" y="232248"/>
                </a:lnTo>
                <a:lnTo>
                  <a:pt x="2785" y="177479"/>
                </a:lnTo>
                <a:lnTo>
                  <a:pt x="8757" y="137587"/>
                </a:lnTo>
                <a:lnTo>
                  <a:pt x="19951" y="94009"/>
                </a:lnTo>
                <a:lnTo>
                  <a:pt x="37589" y="52629"/>
                </a:lnTo>
                <a:lnTo>
                  <a:pt x="62897" y="19331"/>
                </a:lnTo>
                <a:lnTo>
                  <a:pt x="97099" y="0"/>
                </a:lnTo>
                <a:lnTo>
                  <a:pt x="141418" y="518"/>
                </a:lnTo>
                <a:lnTo>
                  <a:pt x="172092" y="16085"/>
                </a:lnTo>
                <a:lnTo>
                  <a:pt x="190941" y="41352"/>
                </a:lnTo>
                <a:lnTo>
                  <a:pt x="202229" y="72504"/>
                </a:lnTo>
                <a:lnTo>
                  <a:pt x="224645" y="167094"/>
                </a:lnTo>
                <a:lnTo>
                  <a:pt x="334943" y="180627"/>
                </a:lnTo>
                <a:lnTo>
                  <a:pt x="347061" y="183078"/>
                </a:lnTo>
                <a:lnTo>
                  <a:pt x="356961" y="189766"/>
                </a:lnTo>
                <a:lnTo>
                  <a:pt x="363639" y="199697"/>
                </a:lnTo>
                <a:lnTo>
                  <a:pt x="366088" y="211875"/>
                </a:lnTo>
                <a:lnTo>
                  <a:pt x="363639" y="224032"/>
                </a:lnTo>
                <a:lnTo>
                  <a:pt x="356961" y="233965"/>
                </a:lnTo>
                <a:lnTo>
                  <a:pt x="347061" y="240665"/>
                </a:lnTo>
                <a:lnTo>
                  <a:pt x="334943" y="243122"/>
                </a:lnTo>
                <a:lnTo>
                  <a:pt x="186474" y="243122"/>
                </a:lnTo>
                <a:lnTo>
                  <a:pt x="186617" y="268016"/>
                </a:lnTo>
                <a:lnTo>
                  <a:pt x="187586" y="294188"/>
                </a:lnTo>
                <a:lnTo>
                  <a:pt x="189451" y="321610"/>
                </a:lnTo>
                <a:lnTo>
                  <a:pt x="192281" y="350257"/>
                </a:lnTo>
                <a:lnTo>
                  <a:pt x="402948" y="365388"/>
                </a:lnTo>
                <a:lnTo>
                  <a:pt x="422670" y="369986"/>
                </a:lnTo>
                <a:lnTo>
                  <a:pt x="452332" y="394495"/>
                </a:lnTo>
                <a:lnTo>
                  <a:pt x="525329" y="652397"/>
                </a:lnTo>
                <a:lnTo>
                  <a:pt x="526742" y="670957"/>
                </a:lnTo>
                <a:lnTo>
                  <a:pt x="521138" y="688038"/>
                </a:lnTo>
                <a:lnTo>
                  <a:pt x="509562" y="701770"/>
                </a:lnTo>
                <a:lnTo>
                  <a:pt x="493060" y="710287"/>
                </a:lnTo>
                <a:lnTo>
                  <a:pt x="475278" y="711768"/>
                </a:lnTo>
                <a:close/>
              </a:path>
            </a:pathLst>
          </a:custGeom>
          <a:solidFill>
            <a:srgbClr val="0090AE"/>
          </a:solidFill>
        </p:spPr>
        <p:txBody>
          <a:bodyPr wrap="square" lIns="0" tIns="0" rIns="0" bIns="0" rtlCol="0"/>
          <a:lstStyle/>
          <a:p>
            <a:endParaRPr/>
          </a:p>
        </p:txBody>
      </p:sp>
      <p:sp>
        <p:nvSpPr>
          <p:cNvPr id="12" name="object 12"/>
          <p:cNvSpPr/>
          <p:nvPr/>
        </p:nvSpPr>
        <p:spPr>
          <a:xfrm>
            <a:off x="13012641" y="6870566"/>
            <a:ext cx="496570" cy="663575"/>
          </a:xfrm>
          <a:custGeom>
            <a:avLst/>
            <a:gdLst/>
            <a:ahLst/>
            <a:cxnLst/>
            <a:rect l="l" t="t" r="r" b="b"/>
            <a:pathLst>
              <a:path w="496569" h="663575">
                <a:moveTo>
                  <a:pt x="264808" y="663390"/>
                </a:moveTo>
                <a:lnTo>
                  <a:pt x="219050" y="519369"/>
                </a:lnTo>
                <a:lnTo>
                  <a:pt x="76061" y="506917"/>
                </a:lnTo>
                <a:lnTo>
                  <a:pt x="57139" y="638533"/>
                </a:lnTo>
                <a:lnTo>
                  <a:pt x="28569" y="663390"/>
                </a:lnTo>
                <a:lnTo>
                  <a:pt x="26696" y="663390"/>
                </a:lnTo>
                <a:lnTo>
                  <a:pt x="0" y="629464"/>
                </a:lnTo>
                <a:lnTo>
                  <a:pt x="18312" y="501936"/>
                </a:lnTo>
                <a:lnTo>
                  <a:pt x="17703" y="501842"/>
                </a:lnTo>
                <a:lnTo>
                  <a:pt x="22668" y="444046"/>
                </a:lnTo>
                <a:lnTo>
                  <a:pt x="246964" y="463546"/>
                </a:lnTo>
                <a:lnTo>
                  <a:pt x="294194" y="458527"/>
                </a:lnTo>
                <a:lnTo>
                  <a:pt x="335261" y="437174"/>
                </a:lnTo>
                <a:lnTo>
                  <a:pt x="366122" y="402622"/>
                </a:lnTo>
                <a:lnTo>
                  <a:pt x="382740" y="358009"/>
                </a:lnTo>
                <a:lnTo>
                  <a:pt x="438896" y="23776"/>
                </a:lnTo>
                <a:lnTo>
                  <a:pt x="443013" y="13024"/>
                </a:lnTo>
                <a:lnTo>
                  <a:pt x="450652" y="4963"/>
                </a:lnTo>
                <a:lnTo>
                  <a:pt x="460749" y="364"/>
                </a:lnTo>
                <a:lnTo>
                  <a:pt x="472243" y="0"/>
                </a:lnTo>
                <a:lnTo>
                  <a:pt x="482960" y="4110"/>
                </a:lnTo>
                <a:lnTo>
                  <a:pt x="490995" y="11770"/>
                </a:lnTo>
                <a:lnTo>
                  <a:pt x="495578" y="21898"/>
                </a:lnTo>
                <a:lnTo>
                  <a:pt x="495942" y="33409"/>
                </a:lnTo>
                <a:lnTo>
                  <a:pt x="439786" y="367689"/>
                </a:lnTo>
                <a:lnTo>
                  <a:pt x="425311" y="414389"/>
                </a:lnTo>
                <a:lnTo>
                  <a:pt x="399861" y="454609"/>
                </a:lnTo>
                <a:lnTo>
                  <a:pt x="365443" y="486798"/>
                </a:lnTo>
                <a:lnTo>
                  <a:pt x="324065" y="509403"/>
                </a:lnTo>
                <a:lnTo>
                  <a:pt x="277735" y="520873"/>
                </a:lnTo>
                <a:lnTo>
                  <a:pt x="293331" y="629464"/>
                </a:lnTo>
                <a:lnTo>
                  <a:pt x="270522" y="662827"/>
                </a:lnTo>
                <a:lnTo>
                  <a:pt x="268602" y="663203"/>
                </a:lnTo>
                <a:lnTo>
                  <a:pt x="264808" y="663390"/>
                </a:lnTo>
                <a:close/>
              </a:path>
            </a:pathLst>
          </a:custGeom>
          <a:solidFill>
            <a:srgbClr val="0090AE"/>
          </a:solidFill>
        </p:spPr>
        <p:txBody>
          <a:bodyPr wrap="square" lIns="0" tIns="0" rIns="0" bIns="0" rtlCol="0"/>
          <a:lstStyle/>
          <a:p>
            <a:endParaRPr/>
          </a:p>
        </p:txBody>
      </p:sp>
      <p:pic>
        <p:nvPicPr>
          <p:cNvPr id="13" name="object 13"/>
          <p:cNvPicPr/>
          <p:nvPr/>
        </p:nvPicPr>
        <p:blipFill>
          <a:blip r:embed="rId3" cstate="print"/>
          <a:stretch>
            <a:fillRect/>
          </a:stretch>
        </p:blipFill>
        <p:spPr>
          <a:xfrm>
            <a:off x="13110153" y="6516504"/>
            <a:ext cx="202704" cy="203368"/>
          </a:xfrm>
          <a:prstGeom prst="rect">
            <a:avLst/>
          </a:prstGeom>
        </p:spPr>
      </p:pic>
      <p:sp>
        <p:nvSpPr>
          <p:cNvPr id="14" name="object 14"/>
          <p:cNvSpPr/>
          <p:nvPr/>
        </p:nvSpPr>
        <p:spPr>
          <a:xfrm>
            <a:off x="12853292" y="6765779"/>
            <a:ext cx="527050" cy="711835"/>
          </a:xfrm>
          <a:custGeom>
            <a:avLst/>
            <a:gdLst/>
            <a:ahLst/>
            <a:cxnLst/>
            <a:rect l="l" t="t" r="r" b="b"/>
            <a:pathLst>
              <a:path w="527050" h="711834">
                <a:moveTo>
                  <a:pt x="51470" y="711768"/>
                </a:moveTo>
                <a:lnTo>
                  <a:pt x="33688" y="710287"/>
                </a:lnTo>
                <a:lnTo>
                  <a:pt x="17166" y="701770"/>
                </a:lnTo>
                <a:lnTo>
                  <a:pt x="5593" y="688038"/>
                </a:lnTo>
                <a:lnTo>
                  <a:pt x="0" y="670957"/>
                </a:lnTo>
                <a:lnTo>
                  <a:pt x="1418" y="652397"/>
                </a:lnTo>
                <a:lnTo>
                  <a:pt x="66286" y="412283"/>
                </a:lnTo>
                <a:lnTo>
                  <a:pt x="87315" y="380043"/>
                </a:lnTo>
                <a:lnTo>
                  <a:pt x="123800" y="365388"/>
                </a:lnTo>
                <a:lnTo>
                  <a:pt x="334467" y="350257"/>
                </a:lnTo>
                <a:lnTo>
                  <a:pt x="337297" y="321610"/>
                </a:lnTo>
                <a:lnTo>
                  <a:pt x="339162" y="294188"/>
                </a:lnTo>
                <a:lnTo>
                  <a:pt x="340131" y="268016"/>
                </a:lnTo>
                <a:lnTo>
                  <a:pt x="340274" y="243122"/>
                </a:lnTo>
                <a:lnTo>
                  <a:pt x="191805" y="243122"/>
                </a:lnTo>
                <a:lnTo>
                  <a:pt x="179667" y="240665"/>
                </a:lnTo>
                <a:lnTo>
                  <a:pt x="169769" y="233965"/>
                </a:lnTo>
                <a:lnTo>
                  <a:pt x="163102" y="224032"/>
                </a:lnTo>
                <a:lnTo>
                  <a:pt x="160660" y="211875"/>
                </a:lnTo>
                <a:lnTo>
                  <a:pt x="163102" y="199697"/>
                </a:lnTo>
                <a:lnTo>
                  <a:pt x="169769" y="189766"/>
                </a:lnTo>
                <a:lnTo>
                  <a:pt x="179667" y="183078"/>
                </a:lnTo>
                <a:lnTo>
                  <a:pt x="191805" y="180627"/>
                </a:lnTo>
                <a:lnTo>
                  <a:pt x="302103" y="167094"/>
                </a:lnTo>
                <a:lnTo>
                  <a:pt x="324519" y="72504"/>
                </a:lnTo>
                <a:lnTo>
                  <a:pt x="335807" y="41352"/>
                </a:lnTo>
                <a:lnTo>
                  <a:pt x="354656" y="16085"/>
                </a:lnTo>
                <a:lnTo>
                  <a:pt x="385330" y="518"/>
                </a:lnTo>
                <a:lnTo>
                  <a:pt x="429649" y="0"/>
                </a:lnTo>
                <a:lnTo>
                  <a:pt x="463851" y="19331"/>
                </a:lnTo>
                <a:lnTo>
                  <a:pt x="489159" y="52629"/>
                </a:lnTo>
                <a:lnTo>
                  <a:pt x="506797" y="94009"/>
                </a:lnTo>
                <a:lnTo>
                  <a:pt x="517991" y="137587"/>
                </a:lnTo>
                <a:lnTo>
                  <a:pt x="523963" y="177479"/>
                </a:lnTo>
                <a:lnTo>
                  <a:pt x="526748" y="232248"/>
                </a:lnTo>
                <a:lnTo>
                  <a:pt x="524268" y="287075"/>
                </a:lnTo>
                <a:lnTo>
                  <a:pt x="517384" y="341659"/>
                </a:lnTo>
                <a:lnTo>
                  <a:pt x="506957" y="395697"/>
                </a:lnTo>
                <a:lnTo>
                  <a:pt x="493848" y="448887"/>
                </a:lnTo>
                <a:lnTo>
                  <a:pt x="465428" y="493715"/>
                </a:lnTo>
                <a:lnTo>
                  <a:pt x="426013" y="513262"/>
                </a:lnTo>
                <a:lnTo>
                  <a:pt x="414521" y="514880"/>
                </a:lnTo>
                <a:lnTo>
                  <a:pt x="402612" y="514860"/>
                </a:lnTo>
                <a:lnTo>
                  <a:pt x="154992" y="497051"/>
                </a:lnTo>
                <a:lnTo>
                  <a:pt x="90500" y="680731"/>
                </a:lnTo>
                <a:lnTo>
                  <a:pt x="81518" y="696034"/>
                </a:lnTo>
                <a:lnTo>
                  <a:pt x="67960" y="706698"/>
                </a:lnTo>
                <a:lnTo>
                  <a:pt x="51470" y="711768"/>
                </a:lnTo>
                <a:close/>
              </a:path>
            </a:pathLst>
          </a:custGeom>
          <a:solidFill>
            <a:srgbClr val="0090AE"/>
          </a:solidFill>
        </p:spPr>
        <p:txBody>
          <a:bodyPr wrap="square" lIns="0" tIns="0" rIns="0" bIns="0" rtlCol="0"/>
          <a:lstStyle/>
          <a:p>
            <a:endParaRPr/>
          </a:p>
        </p:txBody>
      </p:sp>
      <p:sp>
        <p:nvSpPr>
          <p:cNvPr id="15" name="object 15"/>
          <p:cNvSpPr/>
          <p:nvPr/>
        </p:nvSpPr>
        <p:spPr>
          <a:xfrm>
            <a:off x="12517349" y="6026924"/>
            <a:ext cx="681990" cy="466090"/>
          </a:xfrm>
          <a:custGeom>
            <a:avLst/>
            <a:gdLst/>
            <a:ahLst/>
            <a:cxnLst/>
            <a:rect l="l" t="t" r="r" b="b"/>
            <a:pathLst>
              <a:path w="681990" h="466089">
                <a:moveTo>
                  <a:pt x="420763" y="271411"/>
                </a:moveTo>
                <a:lnTo>
                  <a:pt x="418388" y="223342"/>
                </a:lnTo>
                <a:lnTo>
                  <a:pt x="405104" y="176999"/>
                </a:lnTo>
                <a:lnTo>
                  <a:pt x="382397" y="136194"/>
                </a:lnTo>
                <a:lnTo>
                  <a:pt x="351701" y="101993"/>
                </a:lnTo>
                <a:lnTo>
                  <a:pt x="314464" y="75438"/>
                </a:lnTo>
                <a:lnTo>
                  <a:pt x="272148" y="57581"/>
                </a:lnTo>
                <a:lnTo>
                  <a:pt x="226199" y="49479"/>
                </a:lnTo>
                <a:lnTo>
                  <a:pt x="178066" y="52171"/>
                </a:lnTo>
                <a:lnTo>
                  <a:pt x="132511" y="65659"/>
                </a:lnTo>
                <a:lnTo>
                  <a:pt x="92341" y="88468"/>
                </a:lnTo>
                <a:lnTo>
                  <a:pt x="58585" y="119126"/>
                </a:lnTo>
                <a:lnTo>
                  <a:pt x="32296" y="156222"/>
                </a:lnTo>
                <a:lnTo>
                  <a:pt x="14490" y="198285"/>
                </a:lnTo>
                <a:lnTo>
                  <a:pt x="6210" y="243890"/>
                </a:lnTo>
                <a:lnTo>
                  <a:pt x="8483" y="291579"/>
                </a:lnTo>
                <a:lnTo>
                  <a:pt x="14630" y="317906"/>
                </a:lnTo>
                <a:lnTo>
                  <a:pt x="23914" y="342709"/>
                </a:lnTo>
                <a:lnTo>
                  <a:pt x="36029" y="365772"/>
                </a:lnTo>
                <a:lnTo>
                  <a:pt x="50723" y="386867"/>
                </a:lnTo>
                <a:lnTo>
                  <a:pt x="48247" y="395312"/>
                </a:lnTo>
                <a:lnTo>
                  <a:pt x="27774" y="432587"/>
                </a:lnTo>
                <a:lnTo>
                  <a:pt x="0" y="454533"/>
                </a:lnTo>
                <a:lnTo>
                  <a:pt x="1638" y="455891"/>
                </a:lnTo>
                <a:lnTo>
                  <a:pt x="43827" y="461975"/>
                </a:lnTo>
                <a:lnTo>
                  <a:pt x="51536" y="461556"/>
                </a:lnTo>
                <a:lnTo>
                  <a:pt x="90538" y="453123"/>
                </a:lnTo>
                <a:lnTo>
                  <a:pt x="116814" y="442074"/>
                </a:lnTo>
                <a:lnTo>
                  <a:pt x="147015" y="455015"/>
                </a:lnTo>
                <a:lnTo>
                  <a:pt x="179209" y="463105"/>
                </a:lnTo>
                <a:lnTo>
                  <a:pt x="212839" y="465950"/>
                </a:lnTo>
                <a:lnTo>
                  <a:pt x="247345" y="463130"/>
                </a:lnTo>
                <a:lnTo>
                  <a:pt x="293458" y="449884"/>
                </a:lnTo>
                <a:lnTo>
                  <a:pt x="334060" y="427228"/>
                </a:lnTo>
                <a:lnTo>
                  <a:pt x="368122" y="396621"/>
                </a:lnTo>
                <a:lnTo>
                  <a:pt x="394601" y="359486"/>
                </a:lnTo>
                <a:lnTo>
                  <a:pt x="412496" y="317271"/>
                </a:lnTo>
                <a:lnTo>
                  <a:pt x="420763" y="271411"/>
                </a:lnTo>
                <a:close/>
              </a:path>
              <a:path w="681990" h="466089">
                <a:moveTo>
                  <a:pt x="681482" y="204774"/>
                </a:moveTo>
                <a:lnTo>
                  <a:pt x="676211" y="151409"/>
                </a:lnTo>
                <a:lnTo>
                  <a:pt x="658063" y="103390"/>
                </a:lnTo>
                <a:lnTo>
                  <a:pt x="629069" y="62547"/>
                </a:lnTo>
                <a:lnTo>
                  <a:pt x="594207" y="33401"/>
                </a:lnTo>
                <a:lnTo>
                  <a:pt x="590715" y="30480"/>
                </a:lnTo>
                <a:lnTo>
                  <a:pt x="544512" y="8788"/>
                </a:lnTo>
                <a:lnTo>
                  <a:pt x="506463" y="584"/>
                </a:lnTo>
                <a:lnTo>
                  <a:pt x="468109" y="0"/>
                </a:lnTo>
                <a:lnTo>
                  <a:pt x="430352" y="6985"/>
                </a:lnTo>
                <a:lnTo>
                  <a:pt x="394119" y="21475"/>
                </a:lnTo>
                <a:lnTo>
                  <a:pt x="352526" y="50241"/>
                </a:lnTo>
                <a:lnTo>
                  <a:pt x="355676" y="52349"/>
                </a:lnTo>
                <a:lnTo>
                  <a:pt x="358813" y="54559"/>
                </a:lnTo>
                <a:lnTo>
                  <a:pt x="369023" y="62268"/>
                </a:lnTo>
                <a:lnTo>
                  <a:pt x="374446" y="66725"/>
                </a:lnTo>
                <a:lnTo>
                  <a:pt x="379653" y="71424"/>
                </a:lnTo>
                <a:lnTo>
                  <a:pt x="413562" y="49530"/>
                </a:lnTo>
                <a:lnTo>
                  <a:pt x="451815" y="36550"/>
                </a:lnTo>
                <a:lnTo>
                  <a:pt x="492620" y="33401"/>
                </a:lnTo>
                <a:lnTo>
                  <a:pt x="534212" y="41033"/>
                </a:lnTo>
                <a:lnTo>
                  <a:pt x="572503" y="59004"/>
                </a:lnTo>
                <a:lnTo>
                  <a:pt x="604304" y="85598"/>
                </a:lnTo>
                <a:lnTo>
                  <a:pt x="628345" y="119468"/>
                </a:lnTo>
                <a:lnTo>
                  <a:pt x="643382" y="159296"/>
                </a:lnTo>
                <a:lnTo>
                  <a:pt x="647763" y="203479"/>
                </a:lnTo>
                <a:lnTo>
                  <a:pt x="645426" y="225602"/>
                </a:lnTo>
                <a:lnTo>
                  <a:pt x="627341" y="276999"/>
                </a:lnTo>
                <a:lnTo>
                  <a:pt x="586435" y="325475"/>
                </a:lnTo>
                <a:lnTo>
                  <a:pt x="556310" y="344855"/>
                </a:lnTo>
                <a:lnTo>
                  <a:pt x="554672" y="346557"/>
                </a:lnTo>
                <a:lnTo>
                  <a:pt x="549148" y="352564"/>
                </a:lnTo>
                <a:lnTo>
                  <a:pt x="546100" y="360032"/>
                </a:lnTo>
                <a:lnTo>
                  <a:pt x="545973" y="365061"/>
                </a:lnTo>
                <a:lnTo>
                  <a:pt x="546061" y="373329"/>
                </a:lnTo>
                <a:lnTo>
                  <a:pt x="546100" y="374891"/>
                </a:lnTo>
                <a:lnTo>
                  <a:pt x="547789" y="380847"/>
                </a:lnTo>
                <a:lnTo>
                  <a:pt x="549897" y="386638"/>
                </a:lnTo>
                <a:lnTo>
                  <a:pt x="554304" y="399503"/>
                </a:lnTo>
                <a:lnTo>
                  <a:pt x="519036" y="379488"/>
                </a:lnTo>
                <a:lnTo>
                  <a:pt x="506666" y="367982"/>
                </a:lnTo>
                <a:lnTo>
                  <a:pt x="502081" y="365061"/>
                </a:lnTo>
                <a:lnTo>
                  <a:pt x="496557" y="362712"/>
                </a:lnTo>
                <a:lnTo>
                  <a:pt x="491274" y="361162"/>
                </a:lnTo>
                <a:lnTo>
                  <a:pt x="491121" y="361124"/>
                </a:lnTo>
                <a:lnTo>
                  <a:pt x="489445" y="361162"/>
                </a:lnTo>
                <a:lnTo>
                  <a:pt x="476491" y="361073"/>
                </a:lnTo>
                <a:lnTo>
                  <a:pt x="464273" y="360032"/>
                </a:lnTo>
                <a:lnTo>
                  <a:pt x="452132" y="358063"/>
                </a:lnTo>
                <a:lnTo>
                  <a:pt x="440118" y="355193"/>
                </a:lnTo>
                <a:lnTo>
                  <a:pt x="436626" y="362712"/>
                </a:lnTo>
                <a:lnTo>
                  <a:pt x="432625" y="370624"/>
                </a:lnTo>
                <a:lnTo>
                  <a:pt x="428459" y="378167"/>
                </a:lnTo>
                <a:lnTo>
                  <a:pt x="424002" y="385597"/>
                </a:lnTo>
                <a:lnTo>
                  <a:pt x="424192" y="385648"/>
                </a:lnTo>
                <a:lnTo>
                  <a:pt x="439356" y="389902"/>
                </a:lnTo>
                <a:lnTo>
                  <a:pt x="454685" y="392874"/>
                </a:lnTo>
                <a:lnTo>
                  <a:pt x="470141" y="394601"/>
                </a:lnTo>
                <a:lnTo>
                  <a:pt x="485686" y="395097"/>
                </a:lnTo>
                <a:lnTo>
                  <a:pt x="492099" y="401053"/>
                </a:lnTo>
                <a:lnTo>
                  <a:pt x="531952" y="426758"/>
                </a:lnTo>
                <a:lnTo>
                  <a:pt x="575310" y="438289"/>
                </a:lnTo>
                <a:lnTo>
                  <a:pt x="583044" y="436181"/>
                </a:lnTo>
                <a:lnTo>
                  <a:pt x="589241" y="431736"/>
                </a:lnTo>
                <a:lnTo>
                  <a:pt x="591553" y="428815"/>
                </a:lnTo>
                <a:lnTo>
                  <a:pt x="593852" y="424040"/>
                </a:lnTo>
                <a:lnTo>
                  <a:pt x="594868" y="417461"/>
                </a:lnTo>
                <a:lnTo>
                  <a:pt x="593356" y="409143"/>
                </a:lnTo>
                <a:lnTo>
                  <a:pt x="590054" y="399503"/>
                </a:lnTo>
                <a:lnTo>
                  <a:pt x="581812" y="375539"/>
                </a:lnTo>
                <a:lnTo>
                  <a:pt x="580948" y="373329"/>
                </a:lnTo>
                <a:lnTo>
                  <a:pt x="580390" y="371640"/>
                </a:lnTo>
                <a:lnTo>
                  <a:pt x="580059" y="370370"/>
                </a:lnTo>
                <a:lnTo>
                  <a:pt x="610920" y="349148"/>
                </a:lnTo>
                <a:lnTo>
                  <a:pt x="636943" y="322834"/>
                </a:lnTo>
                <a:lnTo>
                  <a:pt x="657567" y="292112"/>
                </a:lnTo>
                <a:lnTo>
                  <a:pt x="672236" y="257644"/>
                </a:lnTo>
                <a:lnTo>
                  <a:pt x="678662" y="231457"/>
                </a:lnTo>
                <a:lnTo>
                  <a:pt x="681482" y="204774"/>
                </a:lnTo>
                <a:close/>
              </a:path>
            </a:pathLst>
          </a:custGeom>
          <a:solidFill>
            <a:srgbClr val="0090AE"/>
          </a:solidFill>
        </p:spPr>
        <p:txBody>
          <a:bodyPr wrap="square" lIns="0" tIns="0" rIns="0" bIns="0" rtlCol="0"/>
          <a:lstStyle/>
          <a:p>
            <a:endParaRPr/>
          </a:p>
        </p:txBody>
      </p:sp>
      <p:sp>
        <p:nvSpPr>
          <p:cNvPr id="16" name="object 16"/>
          <p:cNvSpPr/>
          <p:nvPr/>
        </p:nvSpPr>
        <p:spPr>
          <a:xfrm>
            <a:off x="3925303" y="7197940"/>
            <a:ext cx="18415" cy="26034"/>
          </a:xfrm>
          <a:custGeom>
            <a:avLst/>
            <a:gdLst/>
            <a:ahLst/>
            <a:cxnLst/>
            <a:rect l="l" t="t" r="r" b="b"/>
            <a:pathLst>
              <a:path w="18414" h="26034">
                <a:moveTo>
                  <a:pt x="1371" y="25133"/>
                </a:moveTo>
                <a:lnTo>
                  <a:pt x="1066" y="24726"/>
                </a:lnTo>
                <a:lnTo>
                  <a:pt x="596" y="24777"/>
                </a:lnTo>
                <a:lnTo>
                  <a:pt x="254" y="24714"/>
                </a:lnTo>
                <a:lnTo>
                  <a:pt x="203" y="25082"/>
                </a:lnTo>
                <a:lnTo>
                  <a:pt x="0" y="25539"/>
                </a:lnTo>
                <a:lnTo>
                  <a:pt x="266" y="25971"/>
                </a:lnTo>
                <a:lnTo>
                  <a:pt x="774" y="25908"/>
                </a:lnTo>
                <a:lnTo>
                  <a:pt x="1104" y="25971"/>
                </a:lnTo>
                <a:lnTo>
                  <a:pt x="1168" y="25615"/>
                </a:lnTo>
                <a:lnTo>
                  <a:pt x="1371" y="25133"/>
                </a:lnTo>
                <a:close/>
              </a:path>
              <a:path w="18414" h="26034">
                <a:moveTo>
                  <a:pt x="17907" y="850"/>
                </a:moveTo>
                <a:lnTo>
                  <a:pt x="17665" y="444"/>
                </a:lnTo>
                <a:lnTo>
                  <a:pt x="17576" y="139"/>
                </a:lnTo>
                <a:lnTo>
                  <a:pt x="16598" y="0"/>
                </a:lnTo>
                <a:lnTo>
                  <a:pt x="16598" y="342"/>
                </a:lnTo>
                <a:lnTo>
                  <a:pt x="16484" y="749"/>
                </a:lnTo>
                <a:lnTo>
                  <a:pt x="16916" y="1612"/>
                </a:lnTo>
                <a:lnTo>
                  <a:pt x="17424" y="1587"/>
                </a:lnTo>
                <a:lnTo>
                  <a:pt x="17792" y="1028"/>
                </a:lnTo>
                <a:lnTo>
                  <a:pt x="17907" y="850"/>
                </a:lnTo>
                <a:close/>
              </a:path>
            </a:pathLst>
          </a:custGeom>
          <a:solidFill>
            <a:srgbClr val="D02929"/>
          </a:solidFill>
        </p:spPr>
        <p:txBody>
          <a:bodyPr wrap="square" lIns="0" tIns="0" rIns="0" bIns="0" rtlCol="0"/>
          <a:lstStyle/>
          <a:p>
            <a:endParaRPr/>
          </a:p>
        </p:txBody>
      </p:sp>
      <p:sp>
        <p:nvSpPr>
          <p:cNvPr id="17" name="object 17"/>
          <p:cNvSpPr/>
          <p:nvPr/>
        </p:nvSpPr>
        <p:spPr>
          <a:xfrm>
            <a:off x="3890149" y="7275524"/>
            <a:ext cx="1270" cy="1905"/>
          </a:xfrm>
          <a:custGeom>
            <a:avLst/>
            <a:gdLst/>
            <a:ahLst/>
            <a:cxnLst/>
            <a:rect l="l" t="t" r="r" b="b"/>
            <a:pathLst>
              <a:path w="1270" h="1904">
                <a:moveTo>
                  <a:pt x="1193" y="76"/>
                </a:moveTo>
                <a:lnTo>
                  <a:pt x="254" y="0"/>
                </a:lnTo>
                <a:lnTo>
                  <a:pt x="177" y="355"/>
                </a:lnTo>
                <a:lnTo>
                  <a:pt x="0" y="749"/>
                </a:lnTo>
                <a:lnTo>
                  <a:pt x="228" y="1524"/>
                </a:lnTo>
                <a:lnTo>
                  <a:pt x="622" y="1524"/>
                </a:lnTo>
                <a:lnTo>
                  <a:pt x="889" y="1079"/>
                </a:lnTo>
                <a:lnTo>
                  <a:pt x="1066" y="787"/>
                </a:lnTo>
                <a:lnTo>
                  <a:pt x="1092" y="419"/>
                </a:lnTo>
                <a:lnTo>
                  <a:pt x="1193" y="76"/>
                </a:lnTo>
                <a:close/>
              </a:path>
            </a:pathLst>
          </a:custGeom>
          <a:solidFill>
            <a:srgbClr val="D02929"/>
          </a:solidFill>
        </p:spPr>
        <p:txBody>
          <a:bodyPr wrap="square" lIns="0" tIns="0" rIns="0" bIns="0" rtlCol="0"/>
          <a:lstStyle/>
          <a:p>
            <a:endParaRPr/>
          </a:p>
        </p:txBody>
      </p:sp>
      <p:sp>
        <p:nvSpPr>
          <p:cNvPr id="18" name="object 18"/>
          <p:cNvSpPr/>
          <p:nvPr/>
        </p:nvSpPr>
        <p:spPr>
          <a:xfrm>
            <a:off x="3729393" y="6544855"/>
            <a:ext cx="876935" cy="989330"/>
          </a:xfrm>
          <a:custGeom>
            <a:avLst/>
            <a:gdLst/>
            <a:ahLst/>
            <a:cxnLst/>
            <a:rect l="l" t="t" r="r" b="b"/>
            <a:pathLst>
              <a:path w="876935" h="989329">
                <a:moveTo>
                  <a:pt x="101828" y="580910"/>
                </a:moveTo>
                <a:lnTo>
                  <a:pt x="101701" y="580059"/>
                </a:lnTo>
                <a:lnTo>
                  <a:pt x="101333" y="579869"/>
                </a:lnTo>
                <a:lnTo>
                  <a:pt x="101041" y="580110"/>
                </a:lnTo>
                <a:lnTo>
                  <a:pt x="100761" y="580339"/>
                </a:lnTo>
                <a:lnTo>
                  <a:pt x="100482" y="580859"/>
                </a:lnTo>
                <a:lnTo>
                  <a:pt x="100279" y="581964"/>
                </a:lnTo>
                <a:lnTo>
                  <a:pt x="100660" y="582650"/>
                </a:lnTo>
                <a:lnTo>
                  <a:pt x="101346" y="582168"/>
                </a:lnTo>
                <a:lnTo>
                  <a:pt x="101574" y="581380"/>
                </a:lnTo>
                <a:lnTo>
                  <a:pt x="101828" y="580910"/>
                </a:lnTo>
                <a:close/>
              </a:path>
              <a:path w="876935" h="989329">
                <a:moveTo>
                  <a:pt x="108458" y="982980"/>
                </a:moveTo>
                <a:lnTo>
                  <a:pt x="89814" y="982980"/>
                </a:lnTo>
                <a:lnTo>
                  <a:pt x="91833" y="986790"/>
                </a:lnTo>
                <a:lnTo>
                  <a:pt x="93472" y="986790"/>
                </a:lnTo>
                <a:lnTo>
                  <a:pt x="95580" y="988060"/>
                </a:lnTo>
                <a:lnTo>
                  <a:pt x="99618" y="988060"/>
                </a:lnTo>
                <a:lnTo>
                  <a:pt x="106845" y="989330"/>
                </a:lnTo>
                <a:lnTo>
                  <a:pt x="106400" y="985520"/>
                </a:lnTo>
                <a:lnTo>
                  <a:pt x="107543" y="984250"/>
                </a:lnTo>
                <a:lnTo>
                  <a:pt x="108458" y="982980"/>
                </a:lnTo>
                <a:close/>
              </a:path>
              <a:path w="876935" h="989329">
                <a:moveTo>
                  <a:pt x="110388" y="577786"/>
                </a:moveTo>
                <a:lnTo>
                  <a:pt x="110109" y="576249"/>
                </a:lnTo>
                <a:lnTo>
                  <a:pt x="109855" y="575754"/>
                </a:lnTo>
                <a:lnTo>
                  <a:pt x="109283" y="574827"/>
                </a:lnTo>
                <a:lnTo>
                  <a:pt x="108902" y="574929"/>
                </a:lnTo>
                <a:lnTo>
                  <a:pt x="108089" y="578167"/>
                </a:lnTo>
                <a:lnTo>
                  <a:pt x="107276" y="580542"/>
                </a:lnTo>
                <a:lnTo>
                  <a:pt x="106006" y="583247"/>
                </a:lnTo>
                <a:lnTo>
                  <a:pt x="105943" y="583742"/>
                </a:lnTo>
                <a:lnTo>
                  <a:pt x="106464" y="583907"/>
                </a:lnTo>
                <a:lnTo>
                  <a:pt x="107099" y="583958"/>
                </a:lnTo>
                <a:lnTo>
                  <a:pt x="110388" y="577786"/>
                </a:lnTo>
                <a:close/>
              </a:path>
              <a:path w="876935" h="989329">
                <a:moveTo>
                  <a:pt x="126796" y="683183"/>
                </a:moveTo>
                <a:lnTo>
                  <a:pt x="124053" y="681990"/>
                </a:lnTo>
                <a:lnTo>
                  <a:pt x="123634" y="680720"/>
                </a:lnTo>
                <a:lnTo>
                  <a:pt x="125882" y="678180"/>
                </a:lnTo>
                <a:lnTo>
                  <a:pt x="124244" y="675640"/>
                </a:lnTo>
                <a:lnTo>
                  <a:pt x="122593" y="671830"/>
                </a:lnTo>
                <a:lnTo>
                  <a:pt x="120383" y="669836"/>
                </a:lnTo>
                <a:lnTo>
                  <a:pt x="120383" y="688340"/>
                </a:lnTo>
                <a:lnTo>
                  <a:pt x="119735" y="689610"/>
                </a:lnTo>
                <a:lnTo>
                  <a:pt x="118846" y="689610"/>
                </a:lnTo>
                <a:lnTo>
                  <a:pt x="118046" y="687070"/>
                </a:lnTo>
                <a:lnTo>
                  <a:pt x="117919" y="686663"/>
                </a:lnTo>
                <a:lnTo>
                  <a:pt x="119240" y="684530"/>
                </a:lnTo>
                <a:lnTo>
                  <a:pt x="119697" y="685800"/>
                </a:lnTo>
                <a:lnTo>
                  <a:pt x="120002" y="687070"/>
                </a:lnTo>
                <a:lnTo>
                  <a:pt x="120383" y="688340"/>
                </a:lnTo>
                <a:lnTo>
                  <a:pt x="120383" y="669836"/>
                </a:lnTo>
                <a:lnTo>
                  <a:pt x="119786" y="669290"/>
                </a:lnTo>
                <a:lnTo>
                  <a:pt x="122936" y="664210"/>
                </a:lnTo>
                <a:lnTo>
                  <a:pt x="122301" y="662940"/>
                </a:lnTo>
                <a:lnTo>
                  <a:pt x="121488" y="661670"/>
                </a:lnTo>
                <a:lnTo>
                  <a:pt x="121945" y="660400"/>
                </a:lnTo>
                <a:lnTo>
                  <a:pt x="123355" y="660400"/>
                </a:lnTo>
                <a:lnTo>
                  <a:pt x="121488" y="657313"/>
                </a:lnTo>
                <a:lnTo>
                  <a:pt x="121488" y="660400"/>
                </a:lnTo>
                <a:lnTo>
                  <a:pt x="121437" y="661657"/>
                </a:lnTo>
                <a:lnTo>
                  <a:pt x="121158" y="660400"/>
                </a:lnTo>
                <a:lnTo>
                  <a:pt x="121488" y="660400"/>
                </a:lnTo>
                <a:lnTo>
                  <a:pt x="121488" y="657313"/>
                </a:lnTo>
                <a:lnTo>
                  <a:pt x="121056" y="656590"/>
                </a:lnTo>
                <a:lnTo>
                  <a:pt x="120904" y="654050"/>
                </a:lnTo>
                <a:lnTo>
                  <a:pt x="118198" y="650240"/>
                </a:lnTo>
                <a:lnTo>
                  <a:pt x="119608" y="648970"/>
                </a:lnTo>
                <a:lnTo>
                  <a:pt x="121005" y="647700"/>
                </a:lnTo>
                <a:lnTo>
                  <a:pt x="122504" y="645160"/>
                </a:lnTo>
                <a:lnTo>
                  <a:pt x="117271" y="641578"/>
                </a:lnTo>
                <a:lnTo>
                  <a:pt x="117271" y="690880"/>
                </a:lnTo>
                <a:lnTo>
                  <a:pt x="116078" y="689610"/>
                </a:lnTo>
                <a:lnTo>
                  <a:pt x="114769" y="689610"/>
                </a:lnTo>
                <a:lnTo>
                  <a:pt x="113411" y="688340"/>
                </a:lnTo>
                <a:lnTo>
                  <a:pt x="113207" y="688340"/>
                </a:lnTo>
                <a:lnTo>
                  <a:pt x="113131" y="687070"/>
                </a:lnTo>
                <a:lnTo>
                  <a:pt x="117132" y="687070"/>
                </a:lnTo>
                <a:lnTo>
                  <a:pt x="117195" y="689610"/>
                </a:lnTo>
                <a:lnTo>
                  <a:pt x="117271" y="690880"/>
                </a:lnTo>
                <a:lnTo>
                  <a:pt x="117271" y="641578"/>
                </a:lnTo>
                <a:lnTo>
                  <a:pt x="116954" y="641350"/>
                </a:lnTo>
                <a:lnTo>
                  <a:pt x="116979" y="635000"/>
                </a:lnTo>
                <a:lnTo>
                  <a:pt x="116344" y="632460"/>
                </a:lnTo>
                <a:lnTo>
                  <a:pt x="116027" y="631190"/>
                </a:lnTo>
                <a:lnTo>
                  <a:pt x="115392" y="628650"/>
                </a:lnTo>
                <a:lnTo>
                  <a:pt x="115176" y="627380"/>
                </a:lnTo>
                <a:lnTo>
                  <a:pt x="114947" y="626110"/>
                </a:lnTo>
                <a:lnTo>
                  <a:pt x="112331" y="626110"/>
                </a:lnTo>
                <a:lnTo>
                  <a:pt x="111671" y="627380"/>
                </a:lnTo>
                <a:lnTo>
                  <a:pt x="111556" y="624840"/>
                </a:lnTo>
                <a:lnTo>
                  <a:pt x="112115" y="624840"/>
                </a:lnTo>
                <a:lnTo>
                  <a:pt x="113487" y="623570"/>
                </a:lnTo>
                <a:lnTo>
                  <a:pt x="114782" y="623570"/>
                </a:lnTo>
                <a:lnTo>
                  <a:pt x="115722" y="617220"/>
                </a:lnTo>
                <a:lnTo>
                  <a:pt x="115836" y="612140"/>
                </a:lnTo>
                <a:lnTo>
                  <a:pt x="116217" y="608330"/>
                </a:lnTo>
                <a:lnTo>
                  <a:pt x="116344" y="607060"/>
                </a:lnTo>
                <a:lnTo>
                  <a:pt x="115557" y="605790"/>
                </a:lnTo>
                <a:lnTo>
                  <a:pt x="114757" y="604520"/>
                </a:lnTo>
                <a:lnTo>
                  <a:pt x="109588" y="604520"/>
                </a:lnTo>
                <a:lnTo>
                  <a:pt x="108115" y="605536"/>
                </a:lnTo>
                <a:lnTo>
                  <a:pt x="108115" y="612140"/>
                </a:lnTo>
                <a:lnTo>
                  <a:pt x="106540" y="612140"/>
                </a:lnTo>
                <a:lnTo>
                  <a:pt x="106565" y="610870"/>
                </a:lnTo>
                <a:lnTo>
                  <a:pt x="106591" y="609600"/>
                </a:lnTo>
                <a:lnTo>
                  <a:pt x="106730" y="608330"/>
                </a:lnTo>
                <a:lnTo>
                  <a:pt x="108089" y="608330"/>
                </a:lnTo>
                <a:lnTo>
                  <a:pt x="108026" y="609600"/>
                </a:lnTo>
                <a:lnTo>
                  <a:pt x="108115" y="612140"/>
                </a:lnTo>
                <a:lnTo>
                  <a:pt x="108115" y="605536"/>
                </a:lnTo>
                <a:lnTo>
                  <a:pt x="107734" y="605790"/>
                </a:lnTo>
                <a:lnTo>
                  <a:pt x="106819" y="605790"/>
                </a:lnTo>
                <a:lnTo>
                  <a:pt x="107048" y="604520"/>
                </a:lnTo>
                <a:lnTo>
                  <a:pt x="107492" y="601980"/>
                </a:lnTo>
                <a:lnTo>
                  <a:pt x="108737" y="600710"/>
                </a:lnTo>
                <a:lnTo>
                  <a:pt x="111721" y="600710"/>
                </a:lnTo>
                <a:lnTo>
                  <a:pt x="113487" y="599440"/>
                </a:lnTo>
                <a:lnTo>
                  <a:pt x="115290" y="601980"/>
                </a:lnTo>
                <a:lnTo>
                  <a:pt x="114681" y="604520"/>
                </a:lnTo>
                <a:lnTo>
                  <a:pt x="117525" y="601980"/>
                </a:lnTo>
                <a:lnTo>
                  <a:pt x="117538" y="600710"/>
                </a:lnTo>
                <a:lnTo>
                  <a:pt x="117081" y="599440"/>
                </a:lnTo>
                <a:lnTo>
                  <a:pt x="116624" y="598170"/>
                </a:lnTo>
                <a:lnTo>
                  <a:pt x="115252" y="594360"/>
                </a:lnTo>
                <a:lnTo>
                  <a:pt x="111734" y="593090"/>
                </a:lnTo>
                <a:lnTo>
                  <a:pt x="108508" y="596900"/>
                </a:lnTo>
                <a:lnTo>
                  <a:pt x="107721" y="596900"/>
                </a:lnTo>
                <a:lnTo>
                  <a:pt x="107010" y="598170"/>
                </a:lnTo>
                <a:lnTo>
                  <a:pt x="106591" y="596900"/>
                </a:lnTo>
                <a:lnTo>
                  <a:pt x="106121" y="596900"/>
                </a:lnTo>
                <a:lnTo>
                  <a:pt x="105587" y="595630"/>
                </a:lnTo>
                <a:lnTo>
                  <a:pt x="106819" y="594360"/>
                </a:lnTo>
                <a:lnTo>
                  <a:pt x="107657" y="591820"/>
                </a:lnTo>
                <a:lnTo>
                  <a:pt x="107632" y="590550"/>
                </a:lnTo>
                <a:lnTo>
                  <a:pt x="107619" y="589280"/>
                </a:lnTo>
                <a:lnTo>
                  <a:pt x="107708" y="586740"/>
                </a:lnTo>
                <a:lnTo>
                  <a:pt x="107823" y="585470"/>
                </a:lnTo>
                <a:lnTo>
                  <a:pt x="104660" y="589280"/>
                </a:lnTo>
                <a:lnTo>
                  <a:pt x="104660" y="600710"/>
                </a:lnTo>
                <a:lnTo>
                  <a:pt x="104203" y="601980"/>
                </a:lnTo>
                <a:lnTo>
                  <a:pt x="103632" y="600710"/>
                </a:lnTo>
                <a:lnTo>
                  <a:pt x="104660" y="600710"/>
                </a:lnTo>
                <a:lnTo>
                  <a:pt x="104660" y="589280"/>
                </a:lnTo>
                <a:lnTo>
                  <a:pt x="103263" y="588010"/>
                </a:lnTo>
                <a:lnTo>
                  <a:pt x="101206" y="585470"/>
                </a:lnTo>
                <a:lnTo>
                  <a:pt x="101180" y="601980"/>
                </a:lnTo>
                <a:lnTo>
                  <a:pt x="100939" y="601980"/>
                </a:lnTo>
                <a:lnTo>
                  <a:pt x="100749" y="603250"/>
                </a:lnTo>
                <a:lnTo>
                  <a:pt x="100380" y="604520"/>
                </a:lnTo>
                <a:lnTo>
                  <a:pt x="99847" y="604520"/>
                </a:lnTo>
                <a:lnTo>
                  <a:pt x="99974" y="603250"/>
                </a:lnTo>
                <a:lnTo>
                  <a:pt x="99745" y="601980"/>
                </a:lnTo>
                <a:lnTo>
                  <a:pt x="100609" y="600710"/>
                </a:lnTo>
                <a:lnTo>
                  <a:pt x="101180" y="601980"/>
                </a:lnTo>
                <a:lnTo>
                  <a:pt x="101180" y="585444"/>
                </a:lnTo>
                <a:lnTo>
                  <a:pt x="99161" y="582930"/>
                </a:lnTo>
                <a:lnTo>
                  <a:pt x="98933" y="580390"/>
                </a:lnTo>
                <a:lnTo>
                  <a:pt x="98818" y="579120"/>
                </a:lnTo>
                <a:lnTo>
                  <a:pt x="97396" y="575310"/>
                </a:lnTo>
                <a:lnTo>
                  <a:pt x="96964" y="574040"/>
                </a:lnTo>
                <a:lnTo>
                  <a:pt x="98120" y="572770"/>
                </a:lnTo>
                <a:lnTo>
                  <a:pt x="98806" y="572770"/>
                </a:lnTo>
                <a:lnTo>
                  <a:pt x="100317" y="575310"/>
                </a:lnTo>
                <a:lnTo>
                  <a:pt x="102133" y="576580"/>
                </a:lnTo>
                <a:lnTo>
                  <a:pt x="104559" y="580390"/>
                </a:lnTo>
                <a:lnTo>
                  <a:pt x="105867" y="579120"/>
                </a:lnTo>
                <a:lnTo>
                  <a:pt x="107188" y="575310"/>
                </a:lnTo>
                <a:lnTo>
                  <a:pt x="107632" y="574040"/>
                </a:lnTo>
                <a:lnTo>
                  <a:pt x="105714" y="575310"/>
                </a:lnTo>
                <a:lnTo>
                  <a:pt x="104368" y="574040"/>
                </a:lnTo>
                <a:lnTo>
                  <a:pt x="103568" y="572770"/>
                </a:lnTo>
                <a:lnTo>
                  <a:pt x="100342" y="572770"/>
                </a:lnTo>
                <a:lnTo>
                  <a:pt x="100469" y="571500"/>
                </a:lnTo>
                <a:lnTo>
                  <a:pt x="100596" y="570230"/>
                </a:lnTo>
                <a:lnTo>
                  <a:pt x="101231" y="567690"/>
                </a:lnTo>
                <a:lnTo>
                  <a:pt x="101879" y="565150"/>
                </a:lnTo>
                <a:lnTo>
                  <a:pt x="102514" y="562610"/>
                </a:lnTo>
                <a:lnTo>
                  <a:pt x="101815" y="560070"/>
                </a:lnTo>
                <a:lnTo>
                  <a:pt x="97866" y="557530"/>
                </a:lnTo>
                <a:lnTo>
                  <a:pt x="97510" y="557530"/>
                </a:lnTo>
                <a:lnTo>
                  <a:pt x="96507" y="554990"/>
                </a:lnTo>
                <a:lnTo>
                  <a:pt x="95440" y="553720"/>
                </a:lnTo>
                <a:lnTo>
                  <a:pt x="94081" y="554507"/>
                </a:lnTo>
                <a:lnTo>
                  <a:pt x="94081" y="610870"/>
                </a:lnTo>
                <a:lnTo>
                  <a:pt x="93840" y="612140"/>
                </a:lnTo>
                <a:lnTo>
                  <a:pt x="92468" y="612140"/>
                </a:lnTo>
                <a:lnTo>
                  <a:pt x="92849" y="610870"/>
                </a:lnTo>
                <a:lnTo>
                  <a:pt x="94081" y="610870"/>
                </a:lnTo>
                <a:lnTo>
                  <a:pt x="94081" y="554507"/>
                </a:lnTo>
                <a:lnTo>
                  <a:pt x="93230" y="554990"/>
                </a:lnTo>
                <a:lnTo>
                  <a:pt x="92659" y="557530"/>
                </a:lnTo>
                <a:lnTo>
                  <a:pt x="93065" y="561340"/>
                </a:lnTo>
                <a:lnTo>
                  <a:pt x="93891" y="562610"/>
                </a:lnTo>
                <a:lnTo>
                  <a:pt x="93878" y="586740"/>
                </a:lnTo>
                <a:lnTo>
                  <a:pt x="93853" y="588010"/>
                </a:lnTo>
                <a:lnTo>
                  <a:pt x="93751" y="586740"/>
                </a:lnTo>
                <a:lnTo>
                  <a:pt x="93878" y="586740"/>
                </a:lnTo>
                <a:lnTo>
                  <a:pt x="93878" y="562635"/>
                </a:lnTo>
                <a:lnTo>
                  <a:pt x="93548" y="563029"/>
                </a:lnTo>
                <a:lnTo>
                  <a:pt x="93548" y="586740"/>
                </a:lnTo>
                <a:lnTo>
                  <a:pt x="92075" y="586740"/>
                </a:lnTo>
                <a:lnTo>
                  <a:pt x="92087" y="585470"/>
                </a:lnTo>
                <a:lnTo>
                  <a:pt x="93408" y="585470"/>
                </a:lnTo>
                <a:lnTo>
                  <a:pt x="93548" y="586740"/>
                </a:lnTo>
                <a:lnTo>
                  <a:pt x="93548" y="563029"/>
                </a:lnTo>
                <a:lnTo>
                  <a:pt x="92824" y="563880"/>
                </a:lnTo>
                <a:lnTo>
                  <a:pt x="92608" y="565150"/>
                </a:lnTo>
                <a:lnTo>
                  <a:pt x="91236" y="565150"/>
                </a:lnTo>
                <a:lnTo>
                  <a:pt x="91236" y="560070"/>
                </a:lnTo>
                <a:lnTo>
                  <a:pt x="91389" y="557530"/>
                </a:lnTo>
                <a:lnTo>
                  <a:pt x="89801" y="557530"/>
                </a:lnTo>
                <a:lnTo>
                  <a:pt x="88773" y="556577"/>
                </a:lnTo>
                <a:lnTo>
                  <a:pt x="88773" y="588010"/>
                </a:lnTo>
                <a:lnTo>
                  <a:pt x="87198" y="588010"/>
                </a:lnTo>
                <a:lnTo>
                  <a:pt x="87274" y="585470"/>
                </a:lnTo>
                <a:lnTo>
                  <a:pt x="86296" y="586740"/>
                </a:lnTo>
                <a:lnTo>
                  <a:pt x="85674" y="586740"/>
                </a:lnTo>
                <a:lnTo>
                  <a:pt x="83616" y="585470"/>
                </a:lnTo>
                <a:lnTo>
                  <a:pt x="82778" y="584200"/>
                </a:lnTo>
                <a:lnTo>
                  <a:pt x="82105" y="582930"/>
                </a:lnTo>
                <a:lnTo>
                  <a:pt x="82588" y="582930"/>
                </a:lnTo>
                <a:lnTo>
                  <a:pt x="83096" y="581660"/>
                </a:lnTo>
                <a:lnTo>
                  <a:pt x="84340" y="581660"/>
                </a:lnTo>
                <a:lnTo>
                  <a:pt x="85559" y="580390"/>
                </a:lnTo>
                <a:lnTo>
                  <a:pt x="86715" y="581660"/>
                </a:lnTo>
                <a:lnTo>
                  <a:pt x="87960" y="584200"/>
                </a:lnTo>
                <a:lnTo>
                  <a:pt x="88328" y="585470"/>
                </a:lnTo>
                <a:lnTo>
                  <a:pt x="88595" y="586740"/>
                </a:lnTo>
                <a:lnTo>
                  <a:pt x="88773" y="588010"/>
                </a:lnTo>
                <a:lnTo>
                  <a:pt x="88773" y="556577"/>
                </a:lnTo>
                <a:lnTo>
                  <a:pt x="87071" y="554990"/>
                </a:lnTo>
                <a:lnTo>
                  <a:pt x="86169" y="554990"/>
                </a:lnTo>
                <a:lnTo>
                  <a:pt x="84264" y="558800"/>
                </a:lnTo>
                <a:lnTo>
                  <a:pt x="82892" y="560070"/>
                </a:lnTo>
                <a:lnTo>
                  <a:pt x="82105" y="560070"/>
                </a:lnTo>
                <a:lnTo>
                  <a:pt x="81089" y="558800"/>
                </a:lnTo>
                <a:lnTo>
                  <a:pt x="78892" y="558800"/>
                </a:lnTo>
                <a:lnTo>
                  <a:pt x="78333" y="557530"/>
                </a:lnTo>
                <a:lnTo>
                  <a:pt x="76809" y="554990"/>
                </a:lnTo>
                <a:lnTo>
                  <a:pt x="75209" y="553720"/>
                </a:lnTo>
                <a:lnTo>
                  <a:pt x="71907" y="554990"/>
                </a:lnTo>
                <a:lnTo>
                  <a:pt x="71069" y="557530"/>
                </a:lnTo>
                <a:lnTo>
                  <a:pt x="71729" y="561340"/>
                </a:lnTo>
                <a:lnTo>
                  <a:pt x="72974" y="562610"/>
                </a:lnTo>
                <a:lnTo>
                  <a:pt x="72351" y="563118"/>
                </a:lnTo>
                <a:lnTo>
                  <a:pt x="72351" y="586740"/>
                </a:lnTo>
                <a:lnTo>
                  <a:pt x="70891" y="586740"/>
                </a:lnTo>
                <a:lnTo>
                  <a:pt x="70739" y="585470"/>
                </a:lnTo>
                <a:lnTo>
                  <a:pt x="72034" y="585470"/>
                </a:lnTo>
                <a:lnTo>
                  <a:pt x="72351" y="586740"/>
                </a:lnTo>
                <a:lnTo>
                  <a:pt x="72351" y="563118"/>
                </a:lnTo>
                <a:lnTo>
                  <a:pt x="71386" y="563880"/>
                </a:lnTo>
                <a:lnTo>
                  <a:pt x="71094" y="565150"/>
                </a:lnTo>
                <a:lnTo>
                  <a:pt x="69024" y="565150"/>
                </a:lnTo>
                <a:lnTo>
                  <a:pt x="69202" y="563880"/>
                </a:lnTo>
                <a:lnTo>
                  <a:pt x="69062" y="562610"/>
                </a:lnTo>
                <a:lnTo>
                  <a:pt x="68897" y="561340"/>
                </a:lnTo>
                <a:lnTo>
                  <a:pt x="69176" y="557530"/>
                </a:lnTo>
                <a:lnTo>
                  <a:pt x="66789" y="557530"/>
                </a:lnTo>
                <a:lnTo>
                  <a:pt x="65138" y="556514"/>
                </a:lnTo>
                <a:lnTo>
                  <a:pt x="65138" y="586740"/>
                </a:lnTo>
                <a:lnTo>
                  <a:pt x="64096" y="586740"/>
                </a:lnTo>
                <a:lnTo>
                  <a:pt x="64503" y="589280"/>
                </a:lnTo>
                <a:lnTo>
                  <a:pt x="64757" y="590550"/>
                </a:lnTo>
                <a:lnTo>
                  <a:pt x="63754" y="590550"/>
                </a:lnTo>
                <a:lnTo>
                  <a:pt x="63042" y="589280"/>
                </a:lnTo>
                <a:lnTo>
                  <a:pt x="63258" y="585470"/>
                </a:lnTo>
                <a:lnTo>
                  <a:pt x="61760" y="586740"/>
                </a:lnTo>
                <a:lnTo>
                  <a:pt x="59931" y="586740"/>
                </a:lnTo>
                <a:lnTo>
                  <a:pt x="59410" y="588010"/>
                </a:lnTo>
                <a:lnTo>
                  <a:pt x="58813" y="589280"/>
                </a:lnTo>
                <a:lnTo>
                  <a:pt x="58039" y="590550"/>
                </a:lnTo>
                <a:lnTo>
                  <a:pt x="54927" y="590550"/>
                </a:lnTo>
                <a:lnTo>
                  <a:pt x="55829" y="589280"/>
                </a:lnTo>
                <a:lnTo>
                  <a:pt x="54927" y="586740"/>
                </a:lnTo>
                <a:lnTo>
                  <a:pt x="54368" y="585470"/>
                </a:lnTo>
                <a:lnTo>
                  <a:pt x="53746" y="584200"/>
                </a:lnTo>
                <a:lnTo>
                  <a:pt x="55194" y="582930"/>
                </a:lnTo>
                <a:lnTo>
                  <a:pt x="57124" y="581660"/>
                </a:lnTo>
                <a:lnTo>
                  <a:pt x="58928" y="581660"/>
                </a:lnTo>
                <a:lnTo>
                  <a:pt x="60655" y="580390"/>
                </a:lnTo>
                <a:lnTo>
                  <a:pt x="62369" y="581660"/>
                </a:lnTo>
                <a:lnTo>
                  <a:pt x="64249" y="584200"/>
                </a:lnTo>
                <a:lnTo>
                  <a:pt x="64795" y="585470"/>
                </a:lnTo>
                <a:lnTo>
                  <a:pt x="65138" y="586740"/>
                </a:lnTo>
                <a:lnTo>
                  <a:pt x="65138" y="556514"/>
                </a:lnTo>
                <a:lnTo>
                  <a:pt x="62674" y="554990"/>
                </a:lnTo>
                <a:lnTo>
                  <a:pt x="61328" y="554990"/>
                </a:lnTo>
                <a:lnTo>
                  <a:pt x="57492" y="560070"/>
                </a:lnTo>
                <a:lnTo>
                  <a:pt x="55105" y="561340"/>
                </a:lnTo>
                <a:lnTo>
                  <a:pt x="54711" y="561809"/>
                </a:lnTo>
                <a:lnTo>
                  <a:pt x="54711" y="568960"/>
                </a:lnTo>
                <a:lnTo>
                  <a:pt x="54102" y="568960"/>
                </a:lnTo>
                <a:lnTo>
                  <a:pt x="53454" y="570230"/>
                </a:lnTo>
                <a:lnTo>
                  <a:pt x="51689" y="570230"/>
                </a:lnTo>
                <a:lnTo>
                  <a:pt x="51943" y="567690"/>
                </a:lnTo>
                <a:lnTo>
                  <a:pt x="54571" y="567690"/>
                </a:lnTo>
                <a:lnTo>
                  <a:pt x="54711" y="568960"/>
                </a:lnTo>
                <a:lnTo>
                  <a:pt x="54711" y="561809"/>
                </a:lnTo>
                <a:lnTo>
                  <a:pt x="51904" y="565150"/>
                </a:lnTo>
                <a:lnTo>
                  <a:pt x="51371" y="565150"/>
                </a:lnTo>
                <a:lnTo>
                  <a:pt x="47078" y="560070"/>
                </a:lnTo>
                <a:lnTo>
                  <a:pt x="44157" y="561340"/>
                </a:lnTo>
                <a:lnTo>
                  <a:pt x="43307" y="568960"/>
                </a:lnTo>
                <a:lnTo>
                  <a:pt x="43141" y="571500"/>
                </a:lnTo>
                <a:lnTo>
                  <a:pt x="36347" y="570230"/>
                </a:lnTo>
                <a:lnTo>
                  <a:pt x="36715" y="572770"/>
                </a:lnTo>
                <a:lnTo>
                  <a:pt x="38798" y="575310"/>
                </a:lnTo>
                <a:lnTo>
                  <a:pt x="40652" y="584200"/>
                </a:lnTo>
                <a:lnTo>
                  <a:pt x="40322" y="585470"/>
                </a:lnTo>
                <a:lnTo>
                  <a:pt x="40881" y="586740"/>
                </a:lnTo>
                <a:lnTo>
                  <a:pt x="39230" y="586740"/>
                </a:lnTo>
                <a:lnTo>
                  <a:pt x="38430" y="585470"/>
                </a:lnTo>
                <a:lnTo>
                  <a:pt x="37846" y="581660"/>
                </a:lnTo>
                <a:lnTo>
                  <a:pt x="37122" y="579120"/>
                </a:lnTo>
                <a:lnTo>
                  <a:pt x="33718" y="576580"/>
                </a:lnTo>
                <a:lnTo>
                  <a:pt x="32994" y="574040"/>
                </a:lnTo>
                <a:lnTo>
                  <a:pt x="30568" y="575310"/>
                </a:lnTo>
                <a:lnTo>
                  <a:pt x="30454" y="580390"/>
                </a:lnTo>
                <a:lnTo>
                  <a:pt x="30276" y="581660"/>
                </a:lnTo>
                <a:lnTo>
                  <a:pt x="35826" y="584200"/>
                </a:lnTo>
                <a:lnTo>
                  <a:pt x="32131" y="584200"/>
                </a:lnTo>
                <a:lnTo>
                  <a:pt x="31521" y="586740"/>
                </a:lnTo>
                <a:lnTo>
                  <a:pt x="28143" y="586740"/>
                </a:lnTo>
                <a:lnTo>
                  <a:pt x="30543" y="593090"/>
                </a:lnTo>
                <a:lnTo>
                  <a:pt x="30480" y="596900"/>
                </a:lnTo>
                <a:lnTo>
                  <a:pt x="29806" y="600710"/>
                </a:lnTo>
                <a:lnTo>
                  <a:pt x="29337" y="604520"/>
                </a:lnTo>
                <a:lnTo>
                  <a:pt x="29629" y="607060"/>
                </a:lnTo>
                <a:lnTo>
                  <a:pt x="24053" y="609600"/>
                </a:lnTo>
                <a:lnTo>
                  <a:pt x="19659" y="610870"/>
                </a:lnTo>
                <a:lnTo>
                  <a:pt x="20231" y="615950"/>
                </a:lnTo>
                <a:lnTo>
                  <a:pt x="17805" y="617220"/>
                </a:lnTo>
                <a:lnTo>
                  <a:pt x="16129" y="618769"/>
                </a:lnTo>
                <a:lnTo>
                  <a:pt x="16129" y="632460"/>
                </a:lnTo>
                <a:lnTo>
                  <a:pt x="15125" y="632460"/>
                </a:lnTo>
                <a:lnTo>
                  <a:pt x="15125" y="645160"/>
                </a:lnTo>
                <a:lnTo>
                  <a:pt x="15087" y="646430"/>
                </a:lnTo>
                <a:lnTo>
                  <a:pt x="14719" y="647700"/>
                </a:lnTo>
                <a:lnTo>
                  <a:pt x="13779" y="648970"/>
                </a:lnTo>
                <a:lnTo>
                  <a:pt x="11442" y="648970"/>
                </a:lnTo>
                <a:lnTo>
                  <a:pt x="11061" y="647700"/>
                </a:lnTo>
                <a:lnTo>
                  <a:pt x="10807" y="645160"/>
                </a:lnTo>
                <a:lnTo>
                  <a:pt x="15125" y="645160"/>
                </a:lnTo>
                <a:lnTo>
                  <a:pt x="15125" y="632460"/>
                </a:lnTo>
                <a:lnTo>
                  <a:pt x="14947" y="632460"/>
                </a:lnTo>
                <a:lnTo>
                  <a:pt x="14439" y="631190"/>
                </a:lnTo>
                <a:lnTo>
                  <a:pt x="15900" y="631190"/>
                </a:lnTo>
                <a:lnTo>
                  <a:pt x="16129" y="632460"/>
                </a:lnTo>
                <a:lnTo>
                  <a:pt x="16129" y="618769"/>
                </a:lnTo>
                <a:lnTo>
                  <a:pt x="13677" y="621030"/>
                </a:lnTo>
                <a:lnTo>
                  <a:pt x="12331" y="623570"/>
                </a:lnTo>
                <a:lnTo>
                  <a:pt x="10350" y="629920"/>
                </a:lnTo>
                <a:lnTo>
                  <a:pt x="7416" y="632460"/>
                </a:lnTo>
                <a:lnTo>
                  <a:pt x="4495" y="636270"/>
                </a:lnTo>
                <a:lnTo>
                  <a:pt x="2095" y="636270"/>
                </a:lnTo>
                <a:lnTo>
                  <a:pt x="3149" y="640080"/>
                </a:lnTo>
                <a:lnTo>
                  <a:pt x="10680" y="640080"/>
                </a:lnTo>
                <a:lnTo>
                  <a:pt x="8026" y="642620"/>
                </a:lnTo>
                <a:lnTo>
                  <a:pt x="8470" y="643890"/>
                </a:lnTo>
                <a:lnTo>
                  <a:pt x="3517" y="648970"/>
                </a:lnTo>
                <a:lnTo>
                  <a:pt x="7200" y="657860"/>
                </a:lnTo>
                <a:lnTo>
                  <a:pt x="5321" y="662940"/>
                </a:lnTo>
                <a:lnTo>
                  <a:pt x="6794" y="668020"/>
                </a:lnTo>
                <a:lnTo>
                  <a:pt x="4089" y="669290"/>
                </a:lnTo>
                <a:lnTo>
                  <a:pt x="6235" y="673100"/>
                </a:lnTo>
                <a:lnTo>
                  <a:pt x="7048" y="673100"/>
                </a:lnTo>
                <a:lnTo>
                  <a:pt x="8585" y="671830"/>
                </a:lnTo>
                <a:lnTo>
                  <a:pt x="8864" y="674370"/>
                </a:lnTo>
                <a:lnTo>
                  <a:pt x="6413" y="674370"/>
                </a:lnTo>
                <a:lnTo>
                  <a:pt x="6934" y="679450"/>
                </a:lnTo>
                <a:lnTo>
                  <a:pt x="7886" y="685800"/>
                </a:lnTo>
                <a:lnTo>
                  <a:pt x="0" y="689610"/>
                </a:lnTo>
                <a:lnTo>
                  <a:pt x="254" y="689610"/>
                </a:lnTo>
                <a:lnTo>
                  <a:pt x="2705" y="692150"/>
                </a:lnTo>
                <a:lnTo>
                  <a:pt x="6743" y="692150"/>
                </a:lnTo>
                <a:lnTo>
                  <a:pt x="7556" y="692150"/>
                </a:lnTo>
                <a:lnTo>
                  <a:pt x="124675" y="692150"/>
                </a:lnTo>
                <a:lnTo>
                  <a:pt x="123342" y="690880"/>
                </a:lnTo>
                <a:lnTo>
                  <a:pt x="121983" y="689610"/>
                </a:lnTo>
                <a:lnTo>
                  <a:pt x="120624" y="688340"/>
                </a:lnTo>
                <a:lnTo>
                  <a:pt x="125514" y="688340"/>
                </a:lnTo>
                <a:lnTo>
                  <a:pt x="126466" y="684530"/>
                </a:lnTo>
                <a:lnTo>
                  <a:pt x="126796" y="683183"/>
                </a:lnTo>
                <a:close/>
              </a:path>
              <a:path w="876935" h="989329">
                <a:moveTo>
                  <a:pt x="127101" y="681990"/>
                </a:moveTo>
                <a:lnTo>
                  <a:pt x="126796" y="683183"/>
                </a:lnTo>
                <a:lnTo>
                  <a:pt x="126974" y="683260"/>
                </a:lnTo>
                <a:lnTo>
                  <a:pt x="127101" y="681990"/>
                </a:lnTo>
                <a:close/>
              </a:path>
              <a:path w="876935" h="989329">
                <a:moveTo>
                  <a:pt x="132740" y="726224"/>
                </a:moveTo>
                <a:lnTo>
                  <a:pt x="132359" y="725678"/>
                </a:lnTo>
                <a:lnTo>
                  <a:pt x="132232" y="725551"/>
                </a:lnTo>
                <a:lnTo>
                  <a:pt x="131826" y="725424"/>
                </a:lnTo>
                <a:lnTo>
                  <a:pt x="131622" y="725678"/>
                </a:lnTo>
                <a:lnTo>
                  <a:pt x="131800" y="726338"/>
                </a:lnTo>
                <a:lnTo>
                  <a:pt x="132118" y="726452"/>
                </a:lnTo>
                <a:lnTo>
                  <a:pt x="132321" y="726617"/>
                </a:lnTo>
                <a:lnTo>
                  <a:pt x="132702" y="726503"/>
                </a:lnTo>
                <a:lnTo>
                  <a:pt x="132740" y="726224"/>
                </a:lnTo>
                <a:close/>
              </a:path>
              <a:path w="876935" h="989329">
                <a:moveTo>
                  <a:pt x="139865" y="774382"/>
                </a:moveTo>
                <a:lnTo>
                  <a:pt x="139852" y="773430"/>
                </a:lnTo>
                <a:lnTo>
                  <a:pt x="139865" y="774382"/>
                </a:lnTo>
                <a:close/>
              </a:path>
              <a:path w="876935" h="989329">
                <a:moveTo>
                  <a:pt x="145618" y="762139"/>
                </a:moveTo>
                <a:lnTo>
                  <a:pt x="145491" y="762000"/>
                </a:lnTo>
                <a:lnTo>
                  <a:pt x="145313" y="762000"/>
                </a:lnTo>
                <a:lnTo>
                  <a:pt x="145618" y="762139"/>
                </a:lnTo>
                <a:close/>
              </a:path>
              <a:path w="876935" h="989329">
                <a:moveTo>
                  <a:pt x="145961" y="769620"/>
                </a:moveTo>
                <a:lnTo>
                  <a:pt x="145262" y="768350"/>
                </a:lnTo>
                <a:lnTo>
                  <a:pt x="145669" y="769620"/>
                </a:lnTo>
                <a:lnTo>
                  <a:pt x="145961" y="769620"/>
                </a:lnTo>
                <a:close/>
              </a:path>
              <a:path w="876935" h="989329">
                <a:moveTo>
                  <a:pt x="245135" y="600837"/>
                </a:moveTo>
                <a:lnTo>
                  <a:pt x="244386" y="600710"/>
                </a:lnTo>
                <a:lnTo>
                  <a:pt x="245021" y="601218"/>
                </a:lnTo>
                <a:lnTo>
                  <a:pt x="245135" y="600837"/>
                </a:lnTo>
                <a:close/>
              </a:path>
              <a:path w="876935" h="989329">
                <a:moveTo>
                  <a:pt x="367753" y="651535"/>
                </a:moveTo>
                <a:lnTo>
                  <a:pt x="367360" y="651294"/>
                </a:lnTo>
                <a:lnTo>
                  <a:pt x="366928" y="651573"/>
                </a:lnTo>
                <a:lnTo>
                  <a:pt x="366598" y="652068"/>
                </a:lnTo>
                <a:lnTo>
                  <a:pt x="366344" y="652462"/>
                </a:lnTo>
                <a:lnTo>
                  <a:pt x="366483" y="652729"/>
                </a:lnTo>
                <a:lnTo>
                  <a:pt x="367118" y="652614"/>
                </a:lnTo>
                <a:lnTo>
                  <a:pt x="367411" y="652475"/>
                </a:lnTo>
                <a:lnTo>
                  <a:pt x="367703" y="652373"/>
                </a:lnTo>
                <a:lnTo>
                  <a:pt x="367753" y="651535"/>
                </a:lnTo>
                <a:close/>
              </a:path>
              <a:path w="876935" h="989329">
                <a:moveTo>
                  <a:pt x="586206" y="334441"/>
                </a:moveTo>
                <a:lnTo>
                  <a:pt x="586117" y="334264"/>
                </a:lnTo>
                <a:lnTo>
                  <a:pt x="586041" y="334391"/>
                </a:lnTo>
                <a:lnTo>
                  <a:pt x="586206" y="334441"/>
                </a:lnTo>
                <a:close/>
              </a:path>
              <a:path w="876935" h="989329">
                <a:moveTo>
                  <a:pt x="587908" y="333565"/>
                </a:moveTo>
                <a:lnTo>
                  <a:pt x="587400" y="334086"/>
                </a:lnTo>
                <a:lnTo>
                  <a:pt x="586778" y="334187"/>
                </a:lnTo>
                <a:lnTo>
                  <a:pt x="586206" y="334441"/>
                </a:lnTo>
                <a:lnTo>
                  <a:pt x="587082" y="336105"/>
                </a:lnTo>
                <a:lnTo>
                  <a:pt x="587451" y="334556"/>
                </a:lnTo>
                <a:lnTo>
                  <a:pt x="587908" y="333565"/>
                </a:lnTo>
                <a:close/>
              </a:path>
              <a:path w="876935" h="989329">
                <a:moveTo>
                  <a:pt x="588314" y="333019"/>
                </a:moveTo>
                <a:lnTo>
                  <a:pt x="588124" y="333133"/>
                </a:lnTo>
                <a:lnTo>
                  <a:pt x="588010" y="333336"/>
                </a:lnTo>
                <a:lnTo>
                  <a:pt x="587908" y="333565"/>
                </a:lnTo>
                <a:lnTo>
                  <a:pt x="588048" y="333425"/>
                </a:lnTo>
                <a:lnTo>
                  <a:pt x="588187" y="333248"/>
                </a:lnTo>
                <a:lnTo>
                  <a:pt x="588314" y="333019"/>
                </a:lnTo>
                <a:close/>
              </a:path>
              <a:path w="876935" h="989329">
                <a:moveTo>
                  <a:pt x="783094" y="109220"/>
                </a:moveTo>
                <a:lnTo>
                  <a:pt x="781964" y="106680"/>
                </a:lnTo>
                <a:lnTo>
                  <a:pt x="779805" y="107950"/>
                </a:lnTo>
                <a:lnTo>
                  <a:pt x="780059" y="109220"/>
                </a:lnTo>
                <a:lnTo>
                  <a:pt x="781075" y="109220"/>
                </a:lnTo>
                <a:lnTo>
                  <a:pt x="780669" y="110490"/>
                </a:lnTo>
                <a:lnTo>
                  <a:pt x="783094" y="109220"/>
                </a:lnTo>
                <a:close/>
              </a:path>
              <a:path w="876935" h="989329">
                <a:moveTo>
                  <a:pt x="862584" y="8496"/>
                </a:moveTo>
                <a:lnTo>
                  <a:pt x="862444" y="8102"/>
                </a:lnTo>
                <a:lnTo>
                  <a:pt x="862139" y="7988"/>
                </a:lnTo>
                <a:lnTo>
                  <a:pt x="861923" y="7823"/>
                </a:lnTo>
                <a:lnTo>
                  <a:pt x="861847" y="8077"/>
                </a:lnTo>
                <a:lnTo>
                  <a:pt x="861669" y="8356"/>
                </a:lnTo>
                <a:lnTo>
                  <a:pt x="861809" y="8737"/>
                </a:lnTo>
                <a:lnTo>
                  <a:pt x="862114" y="8851"/>
                </a:lnTo>
                <a:lnTo>
                  <a:pt x="862317" y="9017"/>
                </a:lnTo>
                <a:lnTo>
                  <a:pt x="862393" y="8775"/>
                </a:lnTo>
                <a:lnTo>
                  <a:pt x="862584" y="8496"/>
                </a:lnTo>
                <a:close/>
              </a:path>
              <a:path w="876935" h="989329">
                <a:moveTo>
                  <a:pt x="876312" y="25819"/>
                </a:moveTo>
                <a:lnTo>
                  <a:pt x="876198" y="24257"/>
                </a:lnTo>
                <a:lnTo>
                  <a:pt x="875677" y="23888"/>
                </a:lnTo>
                <a:lnTo>
                  <a:pt x="874864" y="24028"/>
                </a:lnTo>
                <a:lnTo>
                  <a:pt x="873493" y="24257"/>
                </a:lnTo>
                <a:lnTo>
                  <a:pt x="871956" y="24942"/>
                </a:lnTo>
                <a:lnTo>
                  <a:pt x="872185" y="27203"/>
                </a:lnTo>
                <a:lnTo>
                  <a:pt x="871524" y="27635"/>
                </a:lnTo>
                <a:lnTo>
                  <a:pt x="867867" y="28333"/>
                </a:lnTo>
                <a:lnTo>
                  <a:pt x="866889" y="29032"/>
                </a:lnTo>
                <a:lnTo>
                  <a:pt x="866368" y="30568"/>
                </a:lnTo>
                <a:lnTo>
                  <a:pt x="866800" y="31419"/>
                </a:lnTo>
                <a:lnTo>
                  <a:pt x="867029" y="31750"/>
                </a:lnTo>
                <a:lnTo>
                  <a:pt x="863219" y="31750"/>
                </a:lnTo>
                <a:lnTo>
                  <a:pt x="864704" y="29210"/>
                </a:lnTo>
                <a:lnTo>
                  <a:pt x="865492" y="27940"/>
                </a:lnTo>
                <a:lnTo>
                  <a:pt x="865073" y="26670"/>
                </a:lnTo>
                <a:lnTo>
                  <a:pt x="860158" y="27940"/>
                </a:lnTo>
                <a:lnTo>
                  <a:pt x="857986" y="26670"/>
                </a:lnTo>
                <a:lnTo>
                  <a:pt x="860640" y="22860"/>
                </a:lnTo>
                <a:lnTo>
                  <a:pt x="865047" y="20358"/>
                </a:lnTo>
                <a:lnTo>
                  <a:pt x="865441" y="20904"/>
                </a:lnTo>
                <a:lnTo>
                  <a:pt x="865708" y="21628"/>
                </a:lnTo>
                <a:lnTo>
                  <a:pt x="867587" y="20358"/>
                </a:lnTo>
                <a:lnTo>
                  <a:pt x="867359" y="19824"/>
                </a:lnTo>
                <a:lnTo>
                  <a:pt x="866648" y="19075"/>
                </a:lnTo>
                <a:lnTo>
                  <a:pt x="866127" y="18834"/>
                </a:lnTo>
                <a:lnTo>
                  <a:pt x="865263" y="19100"/>
                </a:lnTo>
                <a:lnTo>
                  <a:pt x="864527" y="19646"/>
                </a:lnTo>
                <a:lnTo>
                  <a:pt x="864831" y="20053"/>
                </a:lnTo>
                <a:lnTo>
                  <a:pt x="864984" y="20281"/>
                </a:lnTo>
                <a:lnTo>
                  <a:pt x="861593" y="19050"/>
                </a:lnTo>
                <a:lnTo>
                  <a:pt x="864806" y="16510"/>
                </a:lnTo>
                <a:lnTo>
                  <a:pt x="863574" y="15240"/>
                </a:lnTo>
                <a:lnTo>
                  <a:pt x="864247" y="13970"/>
                </a:lnTo>
                <a:lnTo>
                  <a:pt x="864920" y="12700"/>
                </a:lnTo>
                <a:lnTo>
                  <a:pt x="865454" y="11430"/>
                </a:lnTo>
                <a:lnTo>
                  <a:pt x="867625" y="11430"/>
                </a:lnTo>
                <a:lnTo>
                  <a:pt x="868781" y="12700"/>
                </a:lnTo>
                <a:lnTo>
                  <a:pt x="869442" y="10160"/>
                </a:lnTo>
                <a:lnTo>
                  <a:pt x="868629" y="8890"/>
                </a:lnTo>
                <a:lnTo>
                  <a:pt x="866990" y="8890"/>
                </a:lnTo>
                <a:lnTo>
                  <a:pt x="864095" y="10160"/>
                </a:lnTo>
                <a:lnTo>
                  <a:pt x="858215" y="10160"/>
                </a:lnTo>
                <a:lnTo>
                  <a:pt x="857237" y="11430"/>
                </a:lnTo>
                <a:lnTo>
                  <a:pt x="857046" y="11430"/>
                </a:lnTo>
                <a:lnTo>
                  <a:pt x="857046" y="34290"/>
                </a:lnTo>
                <a:lnTo>
                  <a:pt x="856716" y="35560"/>
                </a:lnTo>
                <a:lnTo>
                  <a:pt x="856361" y="35560"/>
                </a:lnTo>
                <a:lnTo>
                  <a:pt x="856094" y="34290"/>
                </a:lnTo>
                <a:lnTo>
                  <a:pt x="857046" y="34290"/>
                </a:lnTo>
                <a:lnTo>
                  <a:pt x="857046" y="11430"/>
                </a:lnTo>
                <a:lnTo>
                  <a:pt x="856068" y="11430"/>
                </a:lnTo>
                <a:lnTo>
                  <a:pt x="855192" y="10160"/>
                </a:lnTo>
                <a:lnTo>
                  <a:pt x="854316" y="8890"/>
                </a:lnTo>
                <a:lnTo>
                  <a:pt x="853554" y="8890"/>
                </a:lnTo>
                <a:lnTo>
                  <a:pt x="853554" y="40640"/>
                </a:lnTo>
                <a:lnTo>
                  <a:pt x="849693" y="40640"/>
                </a:lnTo>
                <a:lnTo>
                  <a:pt x="848982" y="41910"/>
                </a:lnTo>
                <a:lnTo>
                  <a:pt x="848766" y="43180"/>
                </a:lnTo>
                <a:lnTo>
                  <a:pt x="847686" y="43180"/>
                </a:lnTo>
                <a:lnTo>
                  <a:pt x="848093" y="41910"/>
                </a:lnTo>
                <a:lnTo>
                  <a:pt x="847737" y="41910"/>
                </a:lnTo>
                <a:lnTo>
                  <a:pt x="847153" y="40640"/>
                </a:lnTo>
                <a:lnTo>
                  <a:pt x="847382" y="40640"/>
                </a:lnTo>
                <a:lnTo>
                  <a:pt x="847801" y="39370"/>
                </a:lnTo>
                <a:lnTo>
                  <a:pt x="849884" y="39370"/>
                </a:lnTo>
                <a:lnTo>
                  <a:pt x="852208" y="38100"/>
                </a:lnTo>
                <a:lnTo>
                  <a:pt x="853554" y="40640"/>
                </a:lnTo>
                <a:lnTo>
                  <a:pt x="853554" y="8890"/>
                </a:lnTo>
                <a:lnTo>
                  <a:pt x="849820" y="8890"/>
                </a:lnTo>
                <a:lnTo>
                  <a:pt x="849820" y="12700"/>
                </a:lnTo>
                <a:lnTo>
                  <a:pt x="849464" y="13970"/>
                </a:lnTo>
                <a:lnTo>
                  <a:pt x="848499" y="13970"/>
                </a:lnTo>
                <a:lnTo>
                  <a:pt x="848702" y="12700"/>
                </a:lnTo>
                <a:lnTo>
                  <a:pt x="849820" y="12700"/>
                </a:lnTo>
                <a:lnTo>
                  <a:pt x="849820" y="8890"/>
                </a:lnTo>
                <a:lnTo>
                  <a:pt x="849109" y="8890"/>
                </a:lnTo>
                <a:lnTo>
                  <a:pt x="845921" y="6350"/>
                </a:lnTo>
                <a:lnTo>
                  <a:pt x="844194" y="7620"/>
                </a:lnTo>
                <a:lnTo>
                  <a:pt x="842416" y="7620"/>
                </a:lnTo>
                <a:lnTo>
                  <a:pt x="842086" y="6350"/>
                </a:lnTo>
                <a:lnTo>
                  <a:pt x="833793" y="6350"/>
                </a:lnTo>
                <a:lnTo>
                  <a:pt x="830757" y="7620"/>
                </a:lnTo>
                <a:lnTo>
                  <a:pt x="828560" y="7620"/>
                </a:lnTo>
                <a:lnTo>
                  <a:pt x="827938" y="6350"/>
                </a:lnTo>
                <a:lnTo>
                  <a:pt x="826681" y="3810"/>
                </a:lnTo>
                <a:lnTo>
                  <a:pt x="826046" y="2540"/>
                </a:lnTo>
                <a:lnTo>
                  <a:pt x="821956" y="3479"/>
                </a:lnTo>
                <a:lnTo>
                  <a:pt x="821956" y="8890"/>
                </a:lnTo>
                <a:lnTo>
                  <a:pt x="821651" y="8890"/>
                </a:lnTo>
                <a:lnTo>
                  <a:pt x="820915" y="10160"/>
                </a:lnTo>
                <a:lnTo>
                  <a:pt x="820445" y="10160"/>
                </a:lnTo>
                <a:lnTo>
                  <a:pt x="820547" y="8890"/>
                </a:lnTo>
                <a:lnTo>
                  <a:pt x="820699" y="8890"/>
                </a:lnTo>
                <a:lnTo>
                  <a:pt x="821029" y="7620"/>
                </a:lnTo>
                <a:lnTo>
                  <a:pt x="821715" y="7620"/>
                </a:lnTo>
                <a:lnTo>
                  <a:pt x="821956" y="8890"/>
                </a:lnTo>
                <a:lnTo>
                  <a:pt x="821956" y="3479"/>
                </a:lnTo>
                <a:lnTo>
                  <a:pt x="820483" y="3810"/>
                </a:lnTo>
                <a:lnTo>
                  <a:pt x="816495" y="0"/>
                </a:lnTo>
                <a:lnTo>
                  <a:pt x="814641" y="0"/>
                </a:lnTo>
                <a:lnTo>
                  <a:pt x="809840" y="1270"/>
                </a:lnTo>
                <a:lnTo>
                  <a:pt x="801598" y="5080"/>
                </a:lnTo>
                <a:lnTo>
                  <a:pt x="798703" y="6350"/>
                </a:lnTo>
                <a:lnTo>
                  <a:pt x="794804" y="5080"/>
                </a:lnTo>
                <a:lnTo>
                  <a:pt x="793711" y="5080"/>
                </a:lnTo>
                <a:lnTo>
                  <a:pt x="790321" y="7620"/>
                </a:lnTo>
                <a:lnTo>
                  <a:pt x="782993" y="11430"/>
                </a:lnTo>
                <a:lnTo>
                  <a:pt x="780402" y="12700"/>
                </a:lnTo>
                <a:lnTo>
                  <a:pt x="777303" y="12700"/>
                </a:lnTo>
                <a:lnTo>
                  <a:pt x="773430" y="13970"/>
                </a:lnTo>
                <a:lnTo>
                  <a:pt x="766318" y="19050"/>
                </a:lnTo>
                <a:lnTo>
                  <a:pt x="762863" y="21590"/>
                </a:lnTo>
                <a:lnTo>
                  <a:pt x="759320" y="24130"/>
                </a:lnTo>
                <a:lnTo>
                  <a:pt x="755573" y="25400"/>
                </a:lnTo>
                <a:lnTo>
                  <a:pt x="749046" y="29210"/>
                </a:lnTo>
                <a:lnTo>
                  <a:pt x="743750" y="34290"/>
                </a:lnTo>
                <a:lnTo>
                  <a:pt x="732929" y="39370"/>
                </a:lnTo>
                <a:lnTo>
                  <a:pt x="727621" y="40640"/>
                </a:lnTo>
                <a:lnTo>
                  <a:pt x="725652" y="45720"/>
                </a:lnTo>
                <a:lnTo>
                  <a:pt x="723887" y="48260"/>
                </a:lnTo>
                <a:lnTo>
                  <a:pt x="721360" y="50800"/>
                </a:lnTo>
                <a:lnTo>
                  <a:pt x="718096" y="52374"/>
                </a:lnTo>
                <a:lnTo>
                  <a:pt x="718096" y="175260"/>
                </a:lnTo>
                <a:lnTo>
                  <a:pt x="717956" y="176530"/>
                </a:lnTo>
                <a:lnTo>
                  <a:pt x="717143" y="176530"/>
                </a:lnTo>
                <a:lnTo>
                  <a:pt x="716089" y="177800"/>
                </a:lnTo>
                <a:lnTo>
                  <a:pt x="714895" y="177800"/>
                </a:lnTo>
                <a:lnTo>
                  <a:pt x="713981" y="176530"/>
                </a:lnTo>
                <a:lnTo>
                  <a:pt x="714222" y="175260"/>
                </a:lnTo>
                <a:lnTo>
                  <a:pt x="718096" y="175260"/>
                </a:lnTo>
                <a:lnTo>
                  <a:pt x="718096" y="52374"/>
                </a:lnTo>
                <a:lnTo>
                  <a:pt x="713422" y="54610"/>
                </a:lnTo>
                <a:lnTo>
                  <a:pt x="709485" y="59690"/>
                </a:lnTo>
                <a:lnTo>
                  <a:pt x="704964" y="61785"/>
                </a:lnTo>
                <a:lnTo>
                  <a:pt x="704964" y="63500"/>
                </a:lnTo>
                <a:lnTo>
                  <a:pt x="704227" y="63500"/>
                </a:lnTo>
                <a:lnTo>
                  <a:pt x="704291" y="62230"/>
                </a:lnTo>
                <a:lnTo>
                  <a:pt x="704964" y="63500"/>
                </a:lnTo>
                <a:lnTo>
                  <a:pt x="704964" y="61785"/>
                </a:lnTo>
                <a:lnTo>
                  <a:pt x="703999" y="62230"/>
                </a:lnTo>
                <a:lnTo>
                  <a:pt x="701001" y="62230"/>
                </a:lnTo>
                <a:lnTo>
                  <a:pt x="698766" y="64770"/>
                </a:lnTo>
                <a:lnTo>
                  <a:pt x="697039" y="69850"/>
                </a:lnTo>
                <a:lnTo>
                  <a:pt x="694855" y="71120"/>
                </a:lnTo>
                <a:lnTo>
                  <a:pt x="689927" y="76200"/>
                </a:lnTo>
                <a:lnTo>
                  <a:pt x="686536" y="77470"/>
                </a:lnTo>
                <a:lnTo>
                  <a:pt x="680504" y="82550"/>
                </a:lnTo>
                <a:lnTo>
                  <a:pt x="674370" y="83820"/>
                </a:lnTo>
                <a:lnTo>
                  <a:pt x="673239" y="90170"/>
                </a:lnTo>
                <a:lnTo>
                  <a:pt x="668439" y="92710"/>
                </a:lnTo>
                <a:lnTo>
                  <a:pt x="664870" y="96520"/>
                </a:lnTo>
                <a:lnTo>
                  <a:pt x="657707" y="102870"/>
                </a:lnTo>
                <a:lnTo>
                  <a:pt x="653110" y="104140"/>
                </a:lnTo>
                <a:lnTo>
                  <a:pt x="647560" y="113030"/>
                </a:lnTo>
                <a:lnTo>
                  <a:pt x="643686" y="116840"/>
                </a:lnTo>
                <a:lnTo>
                  <a:pt x="640588" y="118618"/>
                </a:lnTo>
                <a:lnTo>
                  <a:pt x="640588" y="264160"/>
                </a:lnTo>
                <a:lnTo>
                  <a:pt x="640334" y="265430"/>
                </a:lnTo>
                <a:lnTo>
                  <a:pt x="639457" y="265430"/>
                </a:lnTo>
                <a:lnTo>
                  <a:pt x="639394" y="264160"/>
                </a:lnTo>
                <a:lnTo>
                  <a:pt x="640588" y="264160"/>
                </a:lnTo>
                <a:lnTo>
                  <a:pt x="640588" y="118618"/>
                </a:lnTo>
                <a:lnTo>
                  <a:pt x="637032" y="120650"/>
                </a:lnTo>
                <a:lnTo>
                  <a:pt x="634796" y="120650"/>
                </a:lnTo>
                <a:lnTo>
                  <a:pt x="635901" y="125730"/>
                </a:lnTo>
                <a:lnTo>
                  <a:pt x="630986" y="125730"/>
                </a:lnTo>
                <a:lnTo>
                  <a:pt x="630986" y="264160"/>
                </a:lnTo>
                <a:lnTo>
                  <a:pt x="630682" y="265430"/>
                </a:lnTo>
                <a:lnTo>
                  <a:pt x="630148" y="265430"/>
                </a:lnTo>
                <a:lnTo>
                  <a:pt x="630072" y="264160"/>
                </a:lnTo>
                <a:lnTo>
                  <a:pt x="630986" y="264160"/>
                </a:lnTo>
                <a:lnTo>
                  <a:pt x="630986" y="125730"/>
                </a:lnTo>
                <a:lnTo>
                  <a:pt x="629348" y="125730"/>
                </a:lnTo>
                <a:lnTo>
                  <a:pt x="628154" y="127000"/>
                </a:lnTo>
                <a:lnTo>
                  <a:pt x="623811" y="135890"/>
                </a:lnTo>
                <a:lnTo>
                  <a:pt x="617118" y="138430"/>
                </a:lnTo>
                <a:lnTo>
                  <a:pt x="610895" y="147320"/>
                </a:lnTo>
                <a:lnTo>
                  <a:pt x="608203" y="149860"/>
                </a:lnTo>
                <a:lnTo>
                  <a:pt x="598703" y="153670"/>
                </a:lnTo>
                <a:lnTo>
                  <a:pt x="598106" y="161290"/>
                </a:lnTo>
                <a:lnTo>
                  <a:pt x="592531" y="163830"/>
                </a:lnTo>
                <a:lnTo>
                  <a:pt x="592543" y="165100"/>
                </a:lnTo>
                <a:lnTo>
                  <a:pt x="592137" y="166370"/>
                </a:lnTo>
                <a:lnTo>
                  <a:pt x="591451" y="167640"/>
                </a:lnTo>
                <a:lnTo>
                  <a:pt x="587133" y="167640"/>
                </a:lnTo>
                <a:lnTo>
                  <a:pt x="585927" y="168910"/>
                </a:lnTo>
                <a:lnTo>
                  <a:pt x="585330" y="173990"/>
                </a:lnTo>
                <a:lnTo>
                  <a:pt x="583438" y="175260"/>
                </a:lnTo>
                <a:lnTo>
                  <a:pt x="578269" y="177800"/>
                </a:lnTo>
                <a:lnTo>
                  <a:pt x="574319" y="180340"/>
                </a:lnTo>
                <a:lnTo>
                  <a:pt x="570230" y="186690"/>
                </a:lnTo>
                <a:lnTo>
                  <a:pt x="567067" y="189230"/>
                </a:lnTo>
                <a:lnTo>
                  <a:pt x="565061" y="195580"/>
                </a:lnTo>
                <a:lnTo>
                  <a:pt x="562686" y="195580"/>
                </a:lnTo>
                <a:lnTo>
                  <a:pt x="557860" y="200660"/>
                </a:lnTo>
                <a:lnTo>
                  <a:pt x="552462" y="204470"/>
                </a:lnTo>
                <a:lnTo>
                  <a:pt x="547979" y="208280"/>
                </a:lnTo>
                <a:lnTo>
                  <a:pt x="544995" y="213360"/>
                </a:lnTo>
                <a:lnTo>
                  <a:pt x="539953" y="218440"/>
                </a:lnTo>
                <a:lnTo>
                  <a:pt x="526516" y="231140"/>
                </a:lnTo>
                <a:lnTo>
                  <a:pt x="525183" y="234950"/>
                </a:lnTo>
                <a:lnTo>
                  <a:pt x="524548" y="236220"/>
                </a:lnTo>
                <a:lnTo>
                  <a:pt x="518756" y="234950"/>
                </a:lnTo>
                <a:lnTo>
                  <a:pt x="520433" y="238760"/>
                </a:lnTo>
                <a:lnTo>
                  <a:pt x="520217" y="243840"/>
                </a:lnTo>
                <a:lnTo>
                  <a:pt x="519150" y="245110"/>
                </a:lnTo>
                <a:lnTo>
                  <a:pt x="514858" y="243840"/>
                </a:lnTo>
                <a:lnTo>
                  <a:pt x="513816" y="243840"/>
                </a:lnTo>
                <a:lnTo>
                  <a:pt x="513270" y="247650"/>
                </a:lnTo>
                <a:lnTo>
                  <a:pt x="511657" y="248920"/>
                </a:lnTo>
                <a:lnTo>
                  <a:pt x="509993" y="251460"/>
                </a:lnTo>
                <a:lnTo>
                  <a:pt x="508381" y="252730"/>
                </a:lnTo>
                <a:lnTo>
                  <a:pt x="506691" y="254000"/>
                </a:lnTo>
                <a:lnTo>
                  <a:pt x="505625" y="257810"/>
                </a:lnTo>
                <a:lnTo>
                  <a:pt x="499592" y="260350"/>
                </a:lnTo>
                <a:lnTo>
                  <a:pt x="496252" y="261620"/>
                </a:lnTo>
                <a:lnTo>
                  <a:pt x="498424" y="266700"/>
                </a:lnTo>
                <a:lnTo>
                  <a:pt x="498094" y="267970"/>
                </a:lnTo>
                <a:lnTo>
                  <a:pt x="492696" y="271780"/>
                </a:lnTo>
                <a:lnTo>
                  <a:pt x="490296" y="279400"/>
                </a:lnTo>
                <a:lnTo>
                  <a:pt x="480314" y="281940"/>
                </a:lnTo>
                <a:lnTo>
                  <a:pt x="477685" y="284480"/>
                </a:lnTo>
                <a:lnTo>
                  <a:pt x="479145" y="288290"/>
                </a:lnTo>
                <a:lnTo>
                  <a:pt x="479323" y="289560"/>
                </a:lnTo>
                <a:lnTo>
                  <a:pt x="474535" y="289560"/>
                </a:lnTo>
                <a:lnTo>
                  <a:pt x="471551" y="290830"/>
                </a:lnTo>
                <a:lnTo>
                  <a:pt x="474472" y="295910"/>
                </a:lnTo>
                <a:lnTo>
                  <a:pt x="473202" y="295910"/>
                </a:lnTo>
                <a:lnTo>
                  <a:pt x="468134" y="300990"/>
                </a:lnTo>
                <a:lnTo>
                  <a:pt x="464705" y="303530"/>
                </a:lnTo>
                <a:lnTo>
                  <a:pt x="460057" y="306070"/>
                </a:lnTo>
                <a:lnTo>
                  <a:pt x="459752" y="313690"/>
                </a:lnTo>
                <a:lnTo>
                  <a:pt x="458304" y="314960"/>
                </a:lnTo>
                <a:lnTo>
                  <a:pt x="454583" y="313918"/>
                </a:lnTo>
                <a:lnTo>
                  <a:pt x="454583" y="363220"/>
                </a:lnTo>
                <a:lnTo>
                  <a:pt x="452818" y="365760"/>
                </a:lnTo>
                <a:lnTo>
                  <a:pt x="451967" y="365760"/>
                </a:lnTo>
                <a:lnTo>
                  <a:pt x="449859" y="364490"/>
                </a:lnTo>
                <a:lnTo>
                  <a:pt x="451294" y="363220"/>
                </a:lnTo>
                <a:lnTo>
                  <a:pt x="451434" y="361950"/>
                </a:lnTo>
                <a:lnTo>
                  <a:pt x="452158" y="361950"/>
                </a:lnTo>
                <a:lnTo>
                  <a:pt x="452831" y="360680"/>
                </a:lnTo>
                <a:lnTo>
                  <a:pt x="453961" y="361950"/>
                </a:lnTo>
                <a:lnTo>
                  <a:pt x="454583" y="363220"/>
                </a:lnTo>
                <a:lnTo>
                  <a:pt x="454583" y="313918"/>
                </a:lnTo>
                <a:lnTo>
                  <a:pt x="453796" y="313690"/>
                </a:lnTo>
                <a:lnTo>
                  <a:pt x="452247" y="314960"/>
                </a:lnTo>
                <a:lnTo>
                  <a:pt x="452043" y="323850"/>
                </a:lnTo>
                <a:lnTo>
                  <a:pt x="450862" y="324700"/>
                </a:lnTo>
                <a:lnTo>
                  <a:pt x="450862" y="359410"/>
                </a:lnTo>
                <a:lnTo>
                  <a:pt x="447979" y="359410"/>
                </a:lnTo>
                <a:lnTo>
                  <a:pt x="447001" y="360680"/>
                </a:lnTo>
                <a:lnTo>
                  <a:pt x="446303" y="361759"/>
                </a:lnTo>
                <a:lnTo>
                  <a:pt x="446303" y="378460"/>
                </a:lnTo>
                <a:lnTo>
                  <a:pt x="445833" y="378460"/>
                </a:lnTo>
                <a:lnTo>
                  <a:pt x="444906" y="379730"/>
                </a:lnTo>
                <a:lnTo>
                  <a:pt x="444296" y="379730"/>
                </a:lnTo>
                <a:lnTo>
                  <a:pt x="443534" y="378460"/>
                </a:lnTo>
                <a:lnTo>
                  <a:pt x="443877" y="378460"/>
                </a:lnTo>
                <a:lnTo>
                  <a:pt x="444512" y="377190"/>
                </a:lnTo>
                <a:lnTo>
                  <a:pt x="445985" y="377190"/>
                </a:lnTo>
                <a:lnTo>
                  <a:pt x="446303" y="378460"/>
                </a:lnTo>
                <a:lnTo>
                  <a:pt x="446303" y="361759"/>
                </a:lnTo>
                <a:lnTo>
                  <a:pt x="446176" y="361950"/>
                </a:lnTo>
                <a:lnTo>
                  <a:pt x="445528" y="359410"/>
                </a:lnTo>
                <a:lnTo>
                  <a:pt x="447001" y="358140"/>
                </a:lnTo>
                <a:lnTo>
                  <a:pt x="447560" y="356870"/>
                </a:lnTo>
                <a:lnTo>
                  <a:pt x="447941" y="355600"/>
                </a:lnTo>
                <a:lnTo>
                  <a:pt x="448767" y="356870"/>
                </a:lnTo>
                <a:lnTo>
                  <a:pt x="449427" y="356870"/>
                </a:lnTo>
                <a:lnTo>
                  <a:pt x="450862" y="359410"/>
                </a:lnTo>
                <a:lnTo>
                  <a:pt x="450862" y="324700"/>
                </a:lnTo>
                <a:lnTo>
                  <a:pt x="446722" y="327660"/>
                </a:lnTo>
                <a:lnTo>
                  <a:pt x="441286" y="332740"/>
                </a:lnTo>
                <a:lnTo>
                  <a:pt x="440067" y="332740"/>
                </a:lnTo>
                <a:lnTo>
                  <a:pt x="440613" y="337820"/>
                </a:lnTo>
                <a:lnTo>
                  <a:pt x="433819" y="337820"/>
                </a:lnTo>
                <a:lnTo>
                  <a:pt x="432092" y="339090"/>
                </a:lnTo>
                <a:lnTo>
                  <a:pt x="434086" y="345440"/>
                </a:lnTo>
                <a:lnTo>
                  <a:pt x="430390" y="347980"/>
                </a:lnTo>
                <a:lnTo>
                  <a:pt x="428828" y="353060"/>
                </a:lnTo>
                <a:lnTo>
                  <a:pt x="427723" y="353060"/>
                </a:lnTo>
                <a:lnTo>
                  <a:pt x="428104" y="358140"/>
                </a:lnTo>
                <a:lnTo>
                  <a:pt x="419290" y="356870"/>
                </a:lnTo>
                <a:lnTo>
                  <a:pt x="418668" y="357784"/>
                </a:lnTo>
                <a:lnTo>
                  <a:pt x="418668" y="388620"/>
                </a:lnTo>
                <a:lnTo>
                  <a:pt x="418465" y="389890"/>
                </a:lnTo>
                <a:lnTo>
                  <a:pt x="417588" y="389890"/>
                </a:lnTo>
                <a:lnTo>
                  <a:pt x="416890" y="391160"/>
                </a:lnTo>
                <a:lnTo>
                  <a:pt x="415594" y="389890"/>
                </a:lnTo>
                <a:lnTo>
                  <a:pt x="415912" y="389890"/>
                </a:lnTo>
                <a:lnTo>
                  <a:pt x="416356" y="388620"/>
                </a:lnTo>
                <a:lnTo>
                  <a:pt x="418668" y="388620"/>
                </a:lnTo>
                <a:lnTo>
                  <a:pt x="418668" y="357784"/>
                </a:lnTo>
                <a:lnTo>
                  <a:pt x="417537" y="359410"/>
                </a:lnTo>
                <a:lnTo>
                  <a:pt x="418198" y="367030"/>
                </a:lnTo>
                <a:lnTo>
                  <a:pt x="415810" y="368300"/>
                </a:lnTo>
                <a:lnTo>
                  <a:pt x="410210" y="368300"/>
                </a:lnTo>
                <a:lnTo>
                  <a:pt x="410603" y="369570"/>
                </a:lnTo>
                <a:lnTo>
                  <a:pt x="410133" y="375920"/>
                </a:lnTo>
                <a:lnTo>
                  <a:pt x="406869" y="381000"/>
                </a:lnTo>
                <a:lnTo>
                  <a:pt x="404139" y="381977"/>
                </a:lnTo>
                <a:lnTo>
                  <a:pt x="404139" y="397510"/>
                </a:lnTo>
                <a:lnTo>
                  <a:pt x="403161" y="400050"/>
                </a:lnTo>
                <a:lnTo>
                  <a:pt x="402501" y="402590"/>
                </a:lnTo>
                <a:lnTo>
                  <a:pt x="399503" y="401320"/>
                </a:lnTo>
                <a:lnTo>
                  <a:pt x="402297" y="401320"/>
                </a:lnTo>
                <a:lnTo>
                  <a:pt x="401510" y="398780"/>
                </a:lnTo>
                <a:lnTo>
                  <a:pt x="403186" y="396240"/>
                </a:lnTo>
                <a:lnTo>
                  <a:pt x="404025" y="396240"/>
                </a:lnTo>
                <a:lnTo>
                  <a:pt x="404139" y="397510"/>
                </a:lnTo>
                <a:lnTo>
                  <a:pt x="404139" y="381977"/>
                </a:lnTo>
                <a:lnTo>
                  <a:pt x="399719" y="383540"/>
                </a:lnTo>
                <a:lnTo>
                  <a:pt x="399021" y="386080"/>
                </a:lnTo>
                <a:lnTo>
                  <a:pt x="400989" y="388620"/>
                </a:lnTo>
                <a:lnTo>
                  <a:pt x="399453" y="389890"/>
                </a:lnTo>
                <a:lnTo>
                  <a:pt x="396798" y="393700"/>
                </a:lnTo>
                <a:lnTo>
                  <a:pt x="396481" y="396240"/>
                </a:lnTo>
                <a:lnTo>
                  <a:pt x="392747" y="400050"/>
                </a:lnTo>
                <a:lnTo>
                  <a:pt x="393649" y="405130"/>
                </a:lnTo>
                <a:lnTo>
                  <a:pt x="398348" y="405130"/>
                </a:lnTo>
                <a:lnTo>
                  <a:pt x="397256" y="402590"/>
                </a:lnTo>
                <a:lnTo>
                  <a:pt x="399059" y="401320"/>
                </a:lnTo>
                <a:lnTo>
                  <a:pt x="399313" y="401320"/>
                </a:lnTo>
                <a:lnTo>
                  <a:pt x="399465" y="402590"/>
                </a:lnTo>
                <a:lnTo>
                  <a:pt x="401370" y="403860"/>
                </a:lnTo>
                <a:lnTo>
                  <a:pt x="397421" y="406400"/>
                </a:lnTo>
                <a:lnTo>
                  <a:pt x="395058" y="410210"/>
                </a:lnTo>
                <a:lnTo>
                  <a:pt x="388670" y="410210"/>
                </a:lnTo>
                <a:lnTo>
                  <a:pt x="388454" y="407670"/>
                </a:lnTo>
                <a:lnTo>
                  <a:pt x="386956" y="405130"/>
                </a:lnTo>
                <a:lnTo>
                  <a:pt x="386016" y="403860"/>
                </a:lnTo>
                <a:lnTo>
                  <a:pt x="383451" y="405130"/>
                </a:lnTo>
                <a:lnTo>
                  <a:pt x="382397" y="405130"/>
                </a:lnTo>
                <a:lnTo>
                  <a:pt x="382892" y="410210"/>
                </a:lnTo>
                <a:lnTo>
                  <a:pt x="380352" y="411480"/>
                </a:lnTo>
                <a:lnTo>
                  <a:pt x="376262" y="416560"/>
                </a:lnTo>
                <a:lnTo>
                  <a:pt x="371894" y="417830"/>
                </a:lnTo>
                <a:lnTo>
                  <a:pt x="374789" y="422910"/>
                </a:lnTo>
                <a:lnTo>
                  <a:pt x="374218" y="422910"/>
                </a:lnTo>
                <a:lnTo>
                  <a:pt x="368503" y="427990"/>
                </a:lnTo>
                <a:lnTo>
                  <a:pt x="364604" y="433070"/>
                </a:lnTo>
                <a:lnTo>
                  <a:pt x="359930" y="440690"/>
                </a:lnTo>
                <a:lnTo>
                  <a:pt x="357416" y="443230"/>
                </a:lnTo>
                <a:lnTo>
                  <a:pt x="352945" y="445770"/>
                </a:lnTo>
                <a:lnTo>
                  <a:pt x="350240" y="447040"/>
                </a:lnTo>
                <a:lnTo>
                  <a:pt x="352844" y="453390"/>
                </a:lnTo>
                <a:lnTo>
                  <a:pt x="350329" y="457200"/>
                </a:lnTo>
                <a:lnTo>
                  <a:pt x="343877" y="461010"/>
                </a:lnTo>
                <a:lnTo>
                  <a:pt x="341337" y="466090"/>
                </a:lnTo>
                <a:lnTo>
                  <a:pt x="334314" y="469900"/>
                </a:lnTo>
                <a:lnTo>
                  <a:pt x="333654" y="469900"/>
                </a:lnTo>
                <a:lnTo>
                  <a:pt x="333489" y="477520"/>
                </a:lnTo>
                <a:lnTo>
                  <a:pt x="332752" y="478904"/>
                </a:lnTo>
                <a:lnTo>
                  <a:pt x="332752" y="699770"/>
                </a:lnTo>
                <a:lnTo>
                  <a:pt x="332638" y="701040"/>
                </a:lnTo>
                <a:lnTo>
                  <a:pt x="332460" y="702310"/>
                </a:lnTo>
                <a:lnTo>
                  <a:pt x="331685" y="702310"/>
                </a:lnTo>
                <a:lnTo>
                  <a:pt x="332028" y="701040"/>
                </a:lnTo>
                <a:lnTo>
                  <a:pt x="332371" y="699770"/>
                </a:lnTo>
                <a:lnTo>
                  <a:pt x="332752" y="699770"/>
                </a:lnTo>
                <a:lnTo>
                  <a:pt x="332752" y="478904"/>
                </a:lnTo>
                <a:lnTo>
                  <a:pt x="330771" y="482600"/>
                </a:lnTo>
                <a:lnTo>
                  <a:pt x="331228" y="488950"/>
                </a:lnTo>
                <a:lnTo>
                  <a:pt x="330060" y="488950"/>
                </a:lnTo>
                <a:lnTo>
                  <a:pt x="327240" y="490220"/>
                </a:lnTo>
                <a:lnTo>
                  <a:pt x="327469" y="491490"/>
                </a:lnTo>
                <a:lnTo>
                  <a:pt x="325970" y="495300"/>
                </a:lnTo>
                <a:lnTo>
                  <a:pt x="323900" y="490220"/>
                </a:lnTo>
                <a:lnTo>
                  <a:pt x="323418" y="494957"/>
                </a:lnTo>
                <a:lnTo>
                  <a:pt x="323418" y="699770"/>
                </a:lnTo>
                <a:lnTo>
                  <a:pt x="323037" y="701040"/>
                </a:lnTo>
                <a:lnTo>
                  <a:pt x="322846" y="701040"/>
                </a:lnTo>
                <a:lnTo>
                  <a:pt x="322427" y="699770"/>
                </a:lnTo>
                <a:lnTo>
                  <a:pt x="323418" y="699770"/>
                </a:lnTo>
                <a:lnTo>
                  <a:pt x="323418" y="494957"/>
                </a:lnTo>
                <a:lnTo>
                  <a:pt x="323253" y="496570"/>
                </a:lnTo>
                <a:lnTo>
                  <a:pt x="320128" y="497840"/>
                </a:lnTo>
                <a:lnTo>
                  <a:pt x="318008" y="500380"/>
                </a:lnTo>
                <a:lnTo>
                  <a:pt x="316395" y="501650"/>
                </a:lnTo>
                <a:lnTo>
                  <a:pt x="314604" y="500380"/>
                </a:lnTo>
                <a:lnTo>
                  <a:pt x="310705" y="502920"/>
                </a:lnTo>
                <a:lnTo>
                  <a:pt x="314820" y="504190"/>
                </a:lnTo>
                <a:lnTo>
                  <a:pt x="313270" y="506730"/>
                </a:lnTo>
                <a:lnTo>
                  <a:pt x="313093" y="506730"/>
                </a:lnTo>
                <a:lnTo>
                  <a:pt x="310261" y="508000"/>
                </a:lnTo>
                <a:lnTo>
                  <a:pt x="310349" y="510540"/>
                </a:lnTo>
                <a:lnTo>
                  <a:pt x="309943" y="515620"/>
                </a:lnTo>
                <a:lnTo>
                  <a:pt x="309867" y="516890"/>
                </a:lnTo>
                <a:lnTo>
                  <a:pt x="306692" y="515620"/>
                </a:lnTo>
                <a:lnTo>
                  <a:pt x="303580" y="516890"/>
                </a:lnTo>
                <a:lnTo>
                  <a:pt x="305955" y="523240"/>
                </a:lnTo>
                <a:lnTo>
                  <a:pt x="303339" y="524510"/>
                </a:lnTo>
                <a:lnTo>
                  <a:pt x="298246" y="527050"/>
                </a:lnTo>
                <a:lnTo>
                  <a:pt x="293522" y="532130"/>
                </a:lnTo>
                <a:lnTo>
                  <a:pt x="291439" y="534670"/>
                </a:lnTo>
                <a:lnTo>
                  <a:pt x="290817" y="538480"/>
                </a:lnTo>
                <a:lnTo>
                  <a:pt x="284251" y="538480"/>
                </a:lnTo>
                <a:lnTo>
                  <a:pt x="286016" y="544830"/>
                </a:lnTo>
                <a:lnTo>
                  <a:pt x="283159" y="549910"/>
                </a:lnTo>
                <a:lnTo>
                  <a:pt x="282270" y="552450"/>
                </a:lnTo>
                <a:lnTo>
                  <a:pt x="277228" y="552450"/>
                </a:lnTo>
                <a:lnTo>
                  <a:pt x="278511" y="558800"/>
                </a:lnTo>
                <a:lnTo>
                  <a:pt x="274853" y="561340"/>
                </a:lnTo>
                <a:lnTo>
                  <a:pt x="275463" y="565150"/>
                </a:lnTo>
                <a:lnTo>
                  <a:pt x="271665" y="565150"/>
                </a:lnTo>
                <a:lnTo>
                  <a:pt x="264617" y="567690"/>
                </a:lnTo>
                <a:lnTo>
                  <a:pt x="263639" y="568960"/>
                </a:lnTo>
                <a:lnTo>
                  <a:pt x="264934" y="576580"/>
                </a:lnTo>
                <a:lnTo>
                  <a:pt x="265582" y="579120"/>
                </a:lnTo>
                <a:lnTo>
                  <a:pt x="261137" y="580390"/>
                </a:lnTo>
                <a:lnTo>
                  <a:pt x="261327" y="588010"/>
                </a:lnTo>
                <a:lnTo>
                  <a:pt x="259207" y="589280"/>
                </a:lnTo>
                <a:lnTo>
                  <a:pt x="252374" y="590550"/>
                </a:lnTo>
                <a:lnTo>
                  <a:pt x="249212" y="590550"/>
                </a:lnTo>
                <a:lnTo>
                  <a:pt x="252806" y="596900"/>
                </a:lnTo>
                <a:lnTo>
                  <a:pt x="250774" y="599440"/>
                </a:lnTo>
                <a:lnTo>
                  <a:pt x="251536" y="601980"/>
                </a:lnTo>
                <a:lnTo>
                  <a:pt x="245186" y="600849"/>
                </a:lnTo>
                <a:lnTo>
                  <a:pt x="245237" y="601383"/>
                </a:lnTo>
                <a:lnTo>
                  <a:pt x="247535" y="603250"/>
                </a:lnTo>
                <a:lnTo>
                  <a:pt x="245859" y="608330"/>
                </a:lnTo>
                <a:lnTo>
                  <a:pt x="245237" y="601383"/>
                </a:lnTo>
                <a:lnTo>
                  <a:pt x="245021" y="601218"/>
                </a:lnTo>
                <a:lnTo>
                  <a:pt x="243649" y="605790"/>
                </a:lnTo>
                <a:lnTo>
                  <a:pt x="243992" y="605790"/>
                </a:lnTo>
                <a:lnTo>
                  <a:pt x="245694" y="613410"/>
                </a:lnTo>
                <a:lnTo>
                  <a:pt x="236461" y="618490"/>
                </a:lnTo>
                <a:lnTo>
                  <a:pt x="235267" y="619760"/>
                </a:lnTo>
                <a:lnTo>
                  <a:pt x="234657" y="626110"/>
                </a:lnTo>
                <a:lnTo>
                  <a:pt x="234086" y="631190"/>
                </a:lnTo>
                <a:lnTo>
                  <a:pt x="227545" y="629920"/>
                </a:lnTo>
                <a:lnTo>
                  <a:pt x="225526" y="629920"/>
                </a:lnTo>
                <a:lnTo>
                  <a:pt x="226072" y="636270"/>
                </a:lnTo>
                <a:lnTo>
                  <a:pt x="224282" y="640080"/>
                </a:lnTo>
                <a:lnTo>
                  <a:pt x="223913" y="646430"/>
                </a:lnTo>
                <a:lnTo>
                  <a:pt x="221475" y="648970"/>
                </a:lnTo>
                <a:lnTo>
                  <a:pt x="215785" y="648970"/>
                </a:lnTo>
                <a:lnTo>
                  <a:pt x="217652" y="654050"/>
                </a:lnTo>
                <a:lnTo>
                  <a:pt x="213537" y="655320"/>
                </a:lnTo>
                <a:lnTo>
                  <a:pt x="211988" y="660400"/>
                </a:lnTo>
                <a:lnTo>
                  <a:pt x="208978" y="659130"/>
                </a:lnTo>
                <a:lnTo>
                  <a:pt x="208953" y="662940"/>
                </a:lnTo>
                <a:lnTo>
                  <a:pt x="203263" y="665480"/>
                </a:lnTo>
                <a:lnTo>
                  <a:pt x="207721" y="669290"/>
                </a:lnTo>
                <a:lnTo>
                  <a:pt x="207352" y="669290"/>
                </a:lnTo>
                <a:lnTo>
                  <a:pt x="203657" y="673100"/>
                </a:lnTo>
                <a:lnTo>
                  <a:pt x="201803" y="675640"/>
                </a:lnTo>
                <a:lnTo>
                  <a:pt x="200545" y="680720"/>
                </a:lnTo>
                <a:lnTo>
                  <a:pt x="199593" y="683260"/>
                </a:lnTo>
                <a:lnTo>
                  <a:pt x="195884" y="683260"/>
                </a:lnTo>
                <a:lnTo>
                  <a:pt x="191731" y="692150"/>
                </a:lnTo>
                <a:lnTo>
                  <a:pt x="190449" y="694690"/>
                </a:lnTo>
                <a:lnTo>
                  <a:pt x="182676" y="699770"/>
                </a:lnTo>
                <a:lnTo>
                  <a:pt x="182549" y="701040"/>
                </a:lnTo>
                <a:lnTo>
                  <a:pt x="182765" y="706120"/>
                </a:lnTo>
                <a:lnTo>
                  <a:pt x="181762" y="706120"/>
                </a:lnTo>
                <a:lnTo>
                  <a:pt x="178473" y="712470"/>
                </a:lnTo>
                <a:lnTo>
                  <a:pt x="177165" y="713740"/>
                </a:lnTo>
                <a:lnTo>
                  <a:pt x="172821" y="713740"/>
                </a:lnTo>
                <a:lnTo>
                  <a:pt x="172885" y="715010"/>
                </a:lnTo>
                <a:lnTo>
                  <a:pt x="175094" y="715010"/>
                </a:lnTo>
                <a:lnTo>
                  <a:pt x="174332" y="716280"/>
                </a:lnTo>
                <a:lnTo>
                  <a:pt x="179374" y="718820"/>
                </a:lnTo>
                <a:lnTo>
                  <a:pt x="174650" y="719772"/>
                </a:lnTo>
                <a:lnTo>
                  <a:pt x="174650" y="949960"/>
                </a:lnTo>
                <a:lnTo>
                  <a:pt x="172669" y="952500"/>
                </a:lnTo>
                <a:lnTo>
                  <a:pt x="171589" y="952500"/>
                </a:lnTo>
                <a:lnTo>
                  <a:pt x="170497" y="953770"/>
                </a:lnTo>
                <a:lnTo>
                  <a:pt x="169113" y="953770"/>
                </a:lnTo>
                <a:lnTo>
                  <a:pt x="170967" y="952500"/>
                </a:lnTo>
                <a:lnTo>
                  <a:pt x="172923" y="951230"/>
                </a:lnTo>
                <a:lnTo>
                  <a:pt x="174650" y="949960"/>
                </a:lnTo>
                <a:lnTo>
                  <a:pt x="174650" y="719772"/>
                </a:lnTo>
                <a:lnTo>
                  <a:pt x="173062" y="720090"/>
                </a:lnTo>
                <a:lnTo>
                  <a:pt x="171653" y="720090"/>
                </a:lnTo>
                <a:lnTo>
                  <a:pt x="172046" y="725170"/>
                </a:lnTo>
                <a:lnTo>
                  <a:pt x="168313" y="728980"/>
                </a:lnTo>
                <a:lnTo>
                  <a:pt x="169875" y="732790"/>
                </a:lnTo>
                <a:lnTo>
                  <a:pt x="169062" y="734060"/>
                </a:lnTo>
                <a:lnTo>
                  <a:pt x="163296" y="732790"/>
                </a:lnTo>
                <a:lnTo>
                  <a:pt x="158559" y="737870"/>
                </a:lnTo>
                <a:lnTo>
                  <a:pt x="162471" y="745490"/>
                </a:lnTo>
                <a:lnTo>
                  <a:pt x="158267" y="746760"/>
                </a:lnTo>
                <a:lnTo>
                  <a:pt x="158318" y="753110"/>
                </a:lnTo>
                <a:lnTo>
                  <a:pt x="156552" y="751840"/>
                </a:lnTo>
                <a:lnTo>
                  <a:pt x="152882" y="753110"/>
                </a:lnTo>
                <a:lnTo>
                  <a:pt x="152323" y="754380"/>
                </a:lnTo>
                <a:lnTo>
                  <a:pt x="153073" y="758190"/>
                </a:lnTo>
                <a:lnTo>
                  <a:pt x="154139" y="760730"/>
                </a:lnTo>
                <a:lnTo>
                  <a:pt x="150647" y="760730"/>
                </a:lnTo>
                <a:lnTo>
                  <a:pt x="149745" y="762000"/>
                </a:lnTo>
                <a:lnTo>
                  <a:pt x="149682" y="966470"/>
                </a:lnTo>
                <a:lnTo>
                  <a:pt x="149428" y="967740"/>
                </a:lnTo>
                <a:lnTo>
                  <a:pt x="149250" y="967740"/>
                </a:lnTo>
                <a:lnTo>
                  <a:pt x="148780" y="969010"/>
                </a:lnTo>
                <a:lnTo>
                  <a:pt x="146240" y="969010"/>
                </a:lnTo>
                <a:lnTo>
                  <a:pt x="144272" y="971550"/>
                </a:lnTo>
                <a:lnTo>
                  <a:pt x="141757" y="974090"/>
                </a:lnTo>
                <a:lnTo>
                  <a:pt x="141224" y="975360"/>
                </a:lnTo>
                <a:lnTo>
                  <a:pt x="140754" y="975360"/>
                </a:lnTo>
                <a:lnTo>
                  <a:pt x="138620" y="976630"/>
                </a:lnTo>
                <a:lnTo>
                  <a:pt x="137731" y="977900"/>
                </a:lnTo>
                <a:lnTo>
                  <a:pt x="134785" y="977900"/>
                </a:lnTo>
                <a:lnTo>
                  <a:pt x="135432" y="976630"/>
                </a:lnTo>
                <a:lnTo>
                  <a:pt x="133350" y="975360"/>
                </a:lnTo>
                <a:lnTo>
                  <a:pt x="134391" y="972820"/>
                </a:lnTo>
                <a:lnTo>
                  <a:pt x="135013" y="971550"/>
                </a:lnTo>
                <a:lnTo>
                  <a:pt x="136156" y="969010"/>
                </a:lnTo>
                <a:lnTo>
                  <a:pt x="136867" y="971550"/>
                </a:lnTo>
                <a:lnTo>
                  <a:pt x="138201" y="972820"/>
                </a:lnTo>
                <a:lnTo>
                  <a:pt x="138823" y="972820"/>
                </a:lnTo>
                <a:lnTo>
                  <a:pt x="139687" y="971550"/>
                </a:lnTo>
                <a:lnTo>
                  <a:pt x="139979" y="971550"/>
                </a:lnTo>
                <a:lnTo>
                  <a:pt x="140512" y="970280"/>
                </a:lnTo>
                <a:lnTo>
                  <a:pt x="141033" y="970280"/>
                </a:lnTo>
                <a:lnTo>
                  <a:pt x="143408" y="966470"/>
                </a:lnTo>
                <a:lnTo>
                  <a:pt x="144195" y="965200"/>
                </a:lnTo>
                <a:lnTo>
                  <a:pt x="146189" y="966470"/>
                </a:lnTo>
                <a:lnTo>
                  <a:pt x="149644" y="965200"/>
                </a:lnTo>
                <a:lnTo>
                  <a:pt x="149682" y="966470"/>
                </a:lnTo>
                <a:lnTo>
                  <a:pt x="149682" y="762088"/>
                </a:lnTo>
                <a:lnTo>
                  <a:pt x="148780" y="763270"/>
                </a:lnTo>
                <a:lnTo>
                  <a:pt x="147904" y="763270"/>
                </a:lnTo>
                <a:lnTo>
                  <a:pt x="145618" y="762139"/>
                </a:lnTo>
                <a:lnTo>
                  <a:pt x="147802" y="764540"/>
                </a:lnTo>
                <a:lnTo>
                  <a:pt x="147129" y="764540"/>
                </a:lnTo>
                <a:lnTo>
                  <a:pt x="148704" y="765810"/>
                </a:lnTo>
                <a:lnTo>
                  <a:pt x="149339" y="765810"/>
                </a:lnTo>
                <a:lnTo>
                  <a:pt x="147751" y="768350"/>
                </a:lnTo>
                <a:lnTo>
                  <a:pt x="145059" y="767080"/>
                </a:lnTo>
                <a:lnTo>
                  <a:pt x="144348" y="765810"/>
                </a:lnTo>
                <a:lnTo>
                  <a:pt x="145605" y="768350"/>
                </a:lnTo>
                <a:lnTo>
                  <a:pt x="145884" y="768350"/>
                </a:lnTo>
                <a:lnTo>
                  <a:pt x="146291" y="769620"/>
                </a:lnTo>
                <a:lnTo>
                  <a:pt x="145961" y="769620"/>
                </a:lnTo>
                <a:lnTo>
                  <a:pt x="146659" y="770890"/>
                </a:lnTo>
                <a:lnTo>
                  <a:pt x="146126" y="772160"/>
                </a:lnTo>
                <a:lnTo>
                  <a:pt x="143738" y="768350"/>
                </a:lnTo>
                <a:lnTo>
                  <a:pt x="143992" y="769620"/>
                </a:lnTo>
                <a:lnTo>
                  <a:pt x="144957" y="772160"/>
                </a:lnTo>
                <a:lnTo>
                  <a:pt x="146113" y="775970"/>
                </a:lnTo>
                <a:lnTo>
                  <a:pt x="145427" y="774700"/>
                </a:lnTo>
                <a:lnTo>
                  <a:pt x="142024" y="768350"/>
                </a:lnTo>
                <a:lnTo>
                  <a:pt x="142062" y="769620"/>
                </a:lnTo>
                <a:lnTo>
                  <a:pt x="143154" y="773430"/>
                </a:lnTo>
                <a:lnTo>
                  <a:pt x="143344" y="773430"/>
                </a:lnTo>
                <a:lnTo>
                  <a:pt x="143421" y="774700"/>
                </a:lnTo>
                <a:lnTo>
                  <a:pt x="142976" y="774700"/>
                </a:lnTo>
                <a:lnTo>
                  <a:pt x="142557" y="773430"/>
                </a:lnTo>
                <a:lnTo>
                  <a:pt x="141719" y="770890"/>
                </a:lnTo>
                <a:lnTo>
                  <a:pt x="142036" y="773430"/>
                </a:lnTo>
                <a:lnTo>
                  <a:pt x="141693" y="772198"/>
                </a:lnTo>
                <a:lnTo>
                  <a:pt x="140728" y="769620"/>
                </a:lnTo>
                <a:lnTo>
                  <a:pt x="141592" y="773430"/>
                </a:lnTo>
                <a:lnTo>
                  <a:pt x="141871" y="775970"/>
                </a:lnTo>
                <a:lnTo>
                  <a:pt x="141706" y="774700"/>
                </a:lnTo>
                <a:lnTo>
                  <a:pt x="141274" y="774700"/>
                </a:lnTo>
                <a:lnTo>
                  <a:pt x="140893" y="772160"/>
                </a:lnTo>
                <a:lnTo>
                  <a:pt x="141655" y="778510"/>
                </a:lnTo>
                <a:lnTo>
                  <a:pt x="141605" y="779780"/>
                </a:lnTo>
                <a:lnTo>
                  <a:pt x="141046" y="776605"/>
                </a:lnTo>
                <a:lnTo>
                  <a:pt x="141046" y="969010"/>
                </a:lnTo>
                <a:lnTo>
                  <a:pt x="140436" y="969010"/>
                </a:lnTo>
                <a:lnTo>
                  <a:pt x="140385" y="967740"/>
                </a:lnTo>
                <a:lnTo>
                  <a:pt x="140512" y="967740"/>
                </a:lnTo>
                <a:lnTo>
                  <a:pt x="140639" y="966470"/>
                </a:lnTo>
                <a:lnTo>
                  <a:pt x="141008" y="966470"/>
                </a:lnTo>
                <a:lnTo>
                  <a:pt x="141046" y="969010"/>
                </a:lnTo>
                <a:lnTo>
                  <a:pt x="141046" y="776605"/>
                </a:lnTo>
                <a:lnTo>
                  <a:pt x="140487" y="773430"/>
                </a:lnTo>
                <a:lnTo>
                  <a:pt x="140677" y="775970"/>
                </a:lnTo>
                <a:lnTo>
                  <a:pt x="140893" y="783590"/>
                </a:lnTo>
                <a:lnTo>
                  <a:pt x="140563" y="782320"/>
                </a:lnTo>
                <a:lnTo>
                  <a:pt x="139865" y="774382"/>
                </a:lnTo>
                <a:lnTo>
                  <a:pt x="139966" y="782320"/>
                </a:lnTo>
                <a:lnTo>
                  <a:pt x="139687" y="782320"/>
                </a:lnTo>
                <a:lnTo>
                  <a:pt x="139661" y="781050"/>
                </a:lnTo>
                <a:lnTo>
                  <a:pt x="139611" y="778510"/>
                </a:lnTo>
                <a:lnTo>
                  <a:pt x="139369" y="769950"/>
                </a:lnTo>
                <a:lnTo>
                  <a:pt x="138899" y="781050"/>
                </a:lnTo>
                <a:lnTo>
                  <a:pt x="138899" y="775970"/>
                </a:lnTo>
                <a:lnTo>
                  <a:pt x="138772" y="778510"/>
                </a:lnTo>
                <a:lnTo>
                  <a:pt x="138493" y="781050"/>
                </a:lnTo>
                <a:lnTo>
                  <a:pt x="138099" y="779780"/>
                </a:lnTo>
                <a:lnTo>
                  <a:pt x="138480" y="772198"/>
                </a:lnTo>
                <a:lnTo>
                  <a:pt x="137591" y="779780"/>
                </a:lnTo>
                <a:lnTo>
                  <a:pt x="137134" y="778510"/>
                </a:lnTo>
                <a:lnTo>
                  <a:pt x="136702" y="778510"/>
                </a:lnTo>
                <a:lnTo>
                  <a:pt x="135750" y="777240"/>
                </a:lnTo>
                <a:lnTo>
                  <a:pt x="135153" y="774700"/>
                </a:lnTo>
                <a:lnTo>
                  <a:pt x="135458" y="773430"/>
                </a:lnTo>
                <a:lnTo>
                  <a:pt x="135953" y="773430"/>
                </a:lnTo>
                <a:lnTo>
                  <a:pt x="138480" y="772198"/>
                </a:lnTo>
                <a:lnTo>
                  <a:pt x="138023" y="772160"/>
                </a:lnTo>
                <a:lnTo>
                  <a:pt x="137477" y="770890"/>
                </a:lnTo>
                <a:lnTo>
                  <a:pt x="136372" y="768350"/>
                </a:lnTo>
                <a:lnTo>
                  <a:pt x="135280" y="767080"/>
                </a:lnTo>
                <a:lnTo>
                  <a:pt x="134658" y="765810"/>
                </a:lnTo>
                <a:lnTo>
                  <a:pt x="134023" y="764540"/>
                </a:lnTo>
                <a:lnTo>
                  <a:pt x="134620" y="760730"/>
                </a:lnTo>
                <a:lnTo>
                  <a:pt x="135013" y="758190"/>
                </a:lnTo>
                <a:lnTo>
                  <a:pt x="133045" y="757402"/>
                </a:lnTo>
                <a:lnTo>
                  <a:pt x="133045" y="758190"/>
                </a:lnTo>
                <a:lnTo>
                  <a:pt x="132778" y="760247"/>
                </a:lnTo>
                <a:lnTo>
                  <a:pt x="132778" y="980440"/>
                </a:lnTo>
                <a:lnTo>
                  <a:pt x="132448" y="981710"/>
                </a:lnTo>
                <a:lnTo>
                  <a:pt x="132511" y="980440"/>
                </a:lnTo>
                <a:lnTo>
                  <a:pt x="132778" y="980440"/>
                </a:lnTo>
                <a:lnTo>
                  <a:pt x="132778" y="760247"/>
                </a:lnTo>
                <a:lnTo>
                  <a:pt x="132715" y="760730"/>
                </a:lnTo>
                <a:lnTo>
                  <a:pt x="132486" y="760514"/>
                </a:lnTo>
                <a:lnTo>
                  <a:pt x="132486" y="779780"/>
                </a:lnTo>
                <a:lnTo>
                  <a:pt x="131762" y="781050"/>
                </a:lnTo>
                <a:lnTo>
                  <a:pt x="131559" y="779780"/>
                </a:lnTo>
                <a:lnTo>
                  <a:pt x="132168" y="778510"/>
                </a:lnTo>
                <a:lnTo>
                  <a:pt x="132486" y="779780"/>
                </a:lnTo>
                <a:lnTo>
                  <a:pt x="132486" y="760514"/>
                </a:lnTo>
                <a:lnTo>
                  <a:pt x="131711" y="759460"/>
                </a:lnTo>
                <a:lnTo>
                  <a:pt x="131775" y="756920"/>
                </a:lnTo>
                <a:lnTo>
                  <a:pt x="132359" y="758190"/>
                </a:lnTo>
                <a:lnTo>
                  <a:pt x="133045" y="758190"/>
                </a:lnTo>
                <a:lnTo>
                  <a:pt x="133045" y="757402"/>
                </a:lnTo>
                <a:lnTo>
                  <a:pt x="131813" y="756920"/>
                </a:lnTo>
                <a:lnTo>
                  <a:pt x="134112" y="754380"/>
                </a:lnTo>
                <a:lnTo>
                  <a:pt x="131610" y="748030"/>
                </a:lnTo>
                <a:lnTo>
                  <a:pt x="134899" y="746760"/>
                </a:lnTo>
                <a:lnTo>
                  <a:pt x="134467" y="745490"/>
                </a:lnTo>
                <a:lnTo>
                  <a:pt x="135178" y="744220"/>
                </a:lnTo>
                <a:lnTo>
                  <a:pt x="133286" y="741680"/>
                </a:lnTo>
                <a:lnTo>
                  <a:pt x="132600" y="741680"/>
                </a:lnTo>
                <a:lnTo>
                  <a:pt x="130860" y="739140"/>
                </a:lnTo>
                <a:lnTo>
                  <a:pt x="129578" y="737870"/>
                </a:lnTo>
                <a:lnTo>
                  <a:pt x="131648" y="734060"/>
                </a:lnTo>
                <a:lnTo>
                  <a:pt x="132334" y="732790"/>
                </a:lnTo>
                <a:lnTo>
                  <a:pt x="131953" y="731520"/>
                </a:lnTo>
                <a:lnTo>
                  <a:pt x="128460" y="727710"/>
                </a:lnTo>
                <a:lnTo>
                  <a:pt x="127736" y="723900"/>
                </a:lnTo>
                <a:lnTo>
                  <a:pt x="131127" y="720090"/>
                </a:lnTo>
                <a:lnTo>
                  <a:pt x="129032" y="717550"/>
                </a:lnTo>
                <a:lnTo>
                  <a:pt x="128422" y="712470"/>
                </a:lnTo>
                <a:lnTo>
                  <a:pt x="127609" y="709930"/>
                </a:lnTo>
                <a:lnTo>
                  <a:pt x="124371" y="704850"/>
                </a:lnTo>
                <a:lnTo>
                  <a:pt x="124167" y="702310"/>
                </a:lnTo>
                <a:lnTo>
                  <a:pt x="128930" y="699770"/>
                </a:lnTo>
                <a:lnTo>
                  <a:pt x="127914" y="698500"/>
                </a:lnTo>
                <a:lnTo>
                  <a:pt x="126009" y="693420"/>
                </a:lnTo>
                <a:lnTo>
                  <a:pt x="49758" y="693420"/>
                </a:lnTo>
                <a:lnTo>
                  <a:pt x="49758" y="927100"/>
                </a:lnTo>
                <a:lnTo>
                  <a:pt x="49237" y="928370"/>
                </a:lnTo>
                <a:lnTo>
                  <a:pt x="48615" y="928370"/>
                </a:lnTo>
                <a:lnTo>
                  <a:pt x="48094" y="929640"/>
                </a:lnTo>
                <a:lnTo>
                  <a:pt x="47180" y="928370"/>
                </a:lnTo>
                <a:lnTo>
                  <a:pt x="47040" y="928370"/>
                </a:lnTo>
                <a:lnTo>
                  <a:pt x="48044" y="927100"/>
                </a:lnTo>
                <a:lnTo>
                  <a:pt x="48653" y="925830"/>
                </a:lnTo>
                <a:lnTo>
                  <a:pt x="49758" y="927100"/>
                </a:lnTo>
                <a:lnTo>
                  <a:pt x="49758" y="693420"/>
                </a:lnTo>
                <a:lnTo>
                  <a:pt x="36893" y="693420"/>
                </a:lnTo>
                <a:lnTo>
                  <a:pt x="36893" y="915670"/>
                </a:lnTo>
                <a:lnTo>
                  <a:pt x="36385" y="916940"/>
                </a:lnTo>
                <a:lnTo>
                  <a:pt x="35521" y="918210"/>
                </a:lnTo>
                <a:lnTo>
                  <a:pt x="35306" y="915670"/>
                </a:lnTo>
                <a:lnTo>
                  <a:pt x="34061" y="911860"/>
                </a:lnTo>
                <a:lnTo>
                  <a:pt x="35598" y="910590"/>
                </a:lnTo>
                <a:lnTo>
                  <a:pt x="36169" y="911860"/>
                </a:lnTo>
                <a:lnTo>
                  <a:pt x="36868" y="914400"/>
                </a:lnTo>
                <a:lnTo>
                  <a:pt x="36893" y="915670"/>
                </a:lnTo>
                <a:lnTo>
                  <a:pt x="36893" y="693420"/>
                </a:lnTo>
                <a:lnTo>
                  <a:pt x="21793" y="693420"/>
                </a:lnTo>
                <a:lnTo>
                  <a:pt x="21793" y="770890"/>
                </a:lnTo>
                <a:lnTo>
                  <a:pt x="21526" y="772160"/>
                </a:lnTo>
                <a:lnTo>
                  <a:pt x="20256" y="772160"/>
                </a:lnTo>
                <a:lnTo>
                  <a:pt x="20256" y="820420"/>
                </a:lnTo>
                <a:lnTo>
                  <a:pt x="20205" y="822960"/>
                </a:lnTo>
                <a:lnTo>
                  <a:pt x="19583" y="824230"/>
                </a:lnTo>
                <a:lnTo>
                  <a:pt x="19329" y="822960"/>
                </a:lnTo>
                <a:lnTo>
                  <a:pt x="18910" y="822960"/>
                </a:lnTo>
                <a:lnTo>
                  <a:pt x="18542" y="821690"/>
                </a:lnTo>
                <a:lnTo>
                  <a:pt x="18681" y="820420"/>
                </a:lnTo>
                <a:lnTo>
                  <a:pt x="19773" y="819150"/>
                </a:lnTo>
                <a:lnTo>
                  <a:pt x="20256" y="820420"/>
                </a:lnTo>
                <a:lnTo>
                  <a:pt x="20256" y="772160"/>
                </a:lnTo>
                <a:lnTo>
                  <a:pt x="20091" y="772160"/>
                </a:lnTo>
                <a:lnTo>
                  <a:pt x="20167" y="770890"/>
                </a:lnTo>
                <a:lnTo>
                  <a:pt x="21793" y="770890"/>
                </a:lnTo>
                <a:lnTo>
                  <a:pt x="21793" y="693420"/>
                </a:lnTo>
                <a:lnTo>
                  <a:pt x="21539" y="693420"/>
                </a:lnTo>
                <a:lnTo>
                  <a:pt x="21539" y="765810"/>
                </a:lnTo>
                <a:lnTo>
                  <a:pt x="21069" y="765810"/>
                </a:lnTo>
                <a:lnTo>
                  <a:pt x="20967" y="764540"/>
                </a:lnTo>
                <a:lnTo>
                  <a:pt x="21399" y="764540"/>
                </a:lnTo>
                <a:lnTo>
                  <a:pt x="21539" y="765810"/>
                </a:lnTo>
                <a:lnTo>
                  <a:pt x="21539" y="693420"/>
                </a:lnTo>
                <a:lnTo>
                  <a:pt x="15176" y="693420"/>
                </a:lnTo>
                <a:lnTo>
                  <a:pt x="15176" y="737870"/>
                </a:lnTo>
                <a:lnTo>
                  <a:pt x="15036" y="739140"/>
                </a:lnTo>
                <a:lnTo>
                  <a:pt x="12966" y="739140"/>
                </a:lnTo>
                <a:lnTo>
                  <a:pt x="12763" y="737870"/>
                </a:lnTo>
                <a:lnTo>
                  <a:pt x="15176" y="737870"/>
                </a:lnTo>
                <a:lnTo>
                  <a:pt x="15176" y="693420"/>
                </a:lnTo>
                <a:lnTo>
                  <a:pt x="8013" y="693420"/>
                </a:lnTo>
                <a:lnTo>
                  <a:pt x="8470" y="694690"/>
                </a:lnTo>
                <a:lnTo>
                  <a:pt x="7785" y="694690"/>
                </a:lnTo>
                <a:lnTo>
                  <a:pt x="5765" y="695960"/>
                </a:lnTo>
                <a:lnTo>
                  <a:pt x="3416" y="695960"/>
                </a:lnTo>
                <a:lnTo>
                  <a:pt x="7023" y="701040"/>
                </a:lnTo>
                <a:lnTo>
                  <a:pt x="5295" y="701040"/>
                </a:lnTo>
                <a:lnTo>
                  <a:pt x="2755" y="706120"/>
                </a:lnTo>
                <a:lnTo>
                  <a:pt x="1981" y="709930"/>
                </a:lnTo>
                <a:lnTo>
                  <a:pt x="7175" y="713740"/>
                </a:lnTo>
                <a:lnTo>
                  <a:pt x="3848" y="715010"/>
                </a:lnTo>
                <a:lnTo>
                  <a:pt x="3924" y="716280"/>
                </a:lnTo>
                <a:lnTo>
                  <a:pt x="3886" y="718820"/>
                </a:lnTo>
                <a:lnTo>
                  <a:pt x="4000" y="721360"/>
                </a:lnTo>
                <a:lnTo>
                  <a:pt x="4216" y="722630"/>
                </a:lnTo>
                <a:lnTo>
                  <a:pt x="50" y="725170"/>
                </a:lnTo>
                <a:lnTo>
                  <a:pt x="1384" y="726440"/>
                </a:lnTo>
                <a:lnTo>
                  <a:pt x="3302" y="728980"/>
                </a:lnTo>
                <a:lnTo>
                  <a:pt x="4114" y="728980"/>
                </a:lnTo>
                <a:lnTo>
                  <a:pt x="6845" y="734060"/>
                </a:lnTo>
                <a:lnTo>
                  <a:pt x="1041" y="732790"/>
                </a:lnTo>
                <a:lnTo>
                  <a:pt x="2667" y="737870"/>
                </a:lnTo>
                <a:lnTo>
                  <a:pt x="6997" y="737870"/>
                </a:lnTo>
                <a:lnTo>
                  <a:pt x="3073" y="746760"/>
                </a:lnTo>
                <a:lnTo>
                  <a:pt x="4318" y="751840"/>
                </a:lnTo>
                <a:lnTo>
                  <a:pt x="8597" y="755650"/>
                </a:lnTo>
                <a:lnTo>
                  <a:pt x="9220" y="756920"/>
                </a:lnTo>
                <a:lnTo>
                  <a:pt x="5524" y="759460"/>
                </a:lnTo>
                <a:lnTo>
                  <a:pt x="8356" y="764540"/>
                </a:lnTo>
                <a:lnTo>
                  <a:pt x="5524" y="769620"/>
                </a:lnTo>
                <a:lnTo>
                  <a:pt x="5397" y="772198"/>
                </a:lnTo>
                <a:lnTo>
                  <a:pt x="5778" y="774382"/>
                </a:lnTo>
                <a:lnTo>
                  <a:pt x="6096" y="775970"/>
                </a:lnTo>
                <a:lnTo>
                  <a:pt x="6743" y="777240"/>
                </a:lnTo>
                <a:lnTo>
                  <a:pt x="7061" y="778510"/>
                </a:lnTo>
                <a:lnTo>
                  <a:pt x="8763" y="782320"/>
                </a:lnTo>
                <a:lnTo>
                  <a:pt x="9029" y="786130"/>
                </a:lnTo>
                <a:lnTo>
                  <a:pt x="9563" y="788670"/>
                </a:lnTo>
                <a:lnTo>
                  <a:pt x="10312" y="795020"/>
                </a:lnTo>
                <a:lnTo>
                  <a:pt x="11176" y="808990"/>
                </a:lnTo>
                <a:lnTo>
                  <a:pt x="12001" y="815340"/>
                </a:lnTo>
                <a:lnTo>
                  <a:pt x="13804" y="821690"/>
                </a:lnTo>
                <a:lnTo>
                  <a:pt x="13487" y="830580"/>
                </a:lnTo>
                <a:lnTo>
                  <a:pt x="17437" y="835660"/>
                </a:lnTo>
                <a:lnTo>
                  <a:pt x="17348" y="836930"/>
                </a:lnTo>
                <a:lnTo>
                  <a:pt x="17399" y="839470"/>
                </a:lnTo>
                <a:lnTo>
                  <a:pt x="17792" y="843280"/>
                </a:lnTo>
                <a:lnTo>
                  <a:pt x="17208" y="845820"/>
                </a:lnTo>
                <a:lnTo>
                  <a:pt x="16941" y="852170"/>
                </a:lnTo>
                <a:lnTo>
                  <a:pt x="17030" y="855980"/>
                </a:lnTo>
                <a:lnTo>
                  <a:pt x="19050" y="858520"/>
                </a:lnTo>
                <a:lnTo>
                  <a:pt x="17856" y="863600"/>
                </a:lnTo>
                <a:lnTo>
                  <a:pt x="18440" y="866140"/>
                </a:lnTo>
                <a:lnTo>
                  <a:pt x="20561" y="869950"/>
                </a:lnTo>
                <a:lnTo>
                  <a:pt x="22098" y="872490"/>
                </a:lnTo>
                <a:lnTo>
                  <a:pt x="27190" y="885190"/>
                </a:lnTo>
                <a:lnTo>
                  <a:pt x="24726" y="897890"/>
                </a:lnTo>
                <a:lnTo>
                  <a:pt x="24053" y="899160"/>
                </a:lnTo>
                <a:lnTo>
                  <a:pt x="23253" y="901700"/>
                </a:lnTo>
                <a:lnTo>
                  <a:pt x="23126" y="902970"/>
                </a:lnTo>
                <a:lnTo>
                  <a:pt x="25146" y="906780"/>
                </a:lnTo>
                <a:lnTo>
                  <a:pt x="26936" y="906780"/>
                </a:lnTo>
                <a:lnTo>
                  <a:pt x="30899" y="902970"/>
                </a:lnTo>
                <a:lnTo>
                  <a:pt x="30899" y="905510"/>
                </a:lnTo>
                <a:lnTo>
                  <a:pt x="29972" y="913130"/>
                </a:lnTo>
                <a:lnTo>
                  <a:pt x="28803" y="916940"/>
                </a:lnTo>
                <a:lnTo>
                  <a:pt x="33413" y="922020"/>
                </a:lnTo>
                <a:lnTo>
                  <a:pt x="34048" y="924560"/>
                </a:lnTo>
                <a:lnTo>
                  <a:pt x="35356" y="929640"/>
                </a:lnTo>
                <a:lnTo>
                  <a:pt x="35852" y="932180"/>
                </a:lnTo>
                <a:lnTo>
                  <a:pt x="36499" y="933450"/>
                </a:lnTo>
                <a:lnTo>
                  <a:pt x="39395" y="933450"/>
                </a:lnTo>
                <a:lnTo>
                  <a:pt x="39408" y="934720"/>
                </a:lnTo>
                <a:lnTo>
                  <a:pt x="41440" y="939800"/>
                </a:lnTo>
                <a:lnTo>
                  <a:pt x="44170" y="943610"/>
                </a:lnTo>
                <a:lnTo>
                  <a:pt x="48425" y="946150"/>
                </a:lnTo>
                <a:lnTo>
                  <a:pt x="49695" y="947420"/>
                </a:lnTo>
                <a:lnTo>
                  <a:pt x="51320" y="949960"/>
                </a:lnTo>
                <a:lnTo>
                  <a:pt x="51803" y="951230"/>
                </a:lnTo>
                <a:lnTo>
                  <a:pt x="52476" y="952500"/>
                </a:lnTo>
                <a:lnTo>
                  <a:pt x="52692" y="952500"/>
                </a:lnTo>
                <a:lnTo>
                  <a:pt x="53187" y="955040"/>
                </a:lnTo>
                <a:lnTo>
                  <a:pt x="53479" y="955040"/>
                </a:lnTo>
                <a:lnTo>
                  <a:pt x="54051" y="957580"/>
                </a:lnTo>
                <a:lnTo>
                  <a:pt x="54521" y="961390"/>
                </a:lnTo>
                <a:lnTo>
                  <a:pt x="56807" y="962660"/>
                </a:lnTo>
                <a:lnTo>
                  <a:pt x="60706" y="963930"/>
                </a:lnTo>
                <a:lnTo>
                  <a:pt x="60198" y="957580"/>
                </a:lnTo>
                <a:lnTo>
                  <a:pt x="61620" y="955040"/>
                </a:lnTo>
                <a:lnTo>
                  <a:pt x="61937" y="953770"/>
                </a:lnTo>
                <a:lnTo>
                  <a:pt x="66001" y="957580"/>
                </a:lnTo>
                <a:lnTo>
                  <a:pt x="67716" y="965200"/>
                </a:lnTo>
                <a:lnTo>
                  <a:pt x="66128" y="974090"/>
                </a:lnTo>
                <a:lnTo>
                  <a:pt x="66408" y="974090"/>
                </a:lnTo>
                <a:lnTo>
                  <a:pt x="66586" y="975360"/>
                </a:lnTo>
                <a:lnTo>
                  <a:pt x="67564" y="975360"/>
                </a:lnTo>
                <a:lnTo>
                  <a:pt x="71462" y="976630"/>
                </a:lnTo>
                <a:lnTo>
                  <a:pt x="74688" y="979170"/>
                </a:lnTo>
                <a:lnTo>
                  <a:pt x="77838" y="974090"/>
                </a:lnTo>
                <a:lnTo>
                  <a:pt x="78651" y="972820"/>
                </a:lnTo>
                <a:lnTo>
                  <a:pt x="80441" y="974090"/>
                </a:lnTo>
                <a:lnTo>
                  <a:pt x="80264" y="975360"/>
                </a:lnTo>
                <a:lnTo>
                  <a:pt x="79248" y="980440"/>
                </a:lnTo>
                <a:lnTo>
                  <a:pt x="81534" y="980440"/>
                </a:lnTo>
                <a:lnTo>
                  <a:pt x="84378" y="981710"/>
                </a:lnTo>
                <a:lnTo>
                  <a:pt x="89141" y="981710"/>
                </a:lnTo>
                <a:lnTo>
                  <a:pt x="108292" y="981710"/>
                </a:lnTo>
                <a:lnTo>
                  <a:pt x="108140" y="980440"/>
                </a:lnTo>
                <a:lnTo>
                  <a:pt x="110820" y="984250"/>
                </a:lnTo>
                <a:lnTo>
                  <a:pt x="115874" y="984250"/>
                </a:lnTo>
                <a:lnTo>
                  <a:pt x="118300" y="986790"/>
                </a:lnTo>
                <a:lnTo>
                  <a:pt x="119608" y="986790"/>
                </a:lnTo>
                <a:lnTo>
                  <a:pt x="119481" y="984250"/>
                </a:lnTo>
                <a:lnTo>
                  <a:pt x="118567" y="984250"/>
                </a:lnTo>
                <a:lnTo>
                  <a:pt x="120980" y="982980"/>
                </a:lnTo>
                <a:lnTo>
                  <a:pt x="121183" y="984250"/>
                </a:lnTo>
                <a:lnTo>
                  <a:pt x="121869" y="985520"/>
                </a:lnTo>
                <a:lnTo>
                  <a:pt x="121526" y="989330"/>
                </a:lnTo>
                <a:lnTo>
                  <a:pt x="124015" y="988060"/>
                </a:lnTo>
                <a:lnTo>
                  <a:pt x="127596" y="985520"/>
                </a:lnTo>
                <a:lnTo>
                  <a:pt x="130670" y="986790"/>
                </a:lnTo>
                <a:lnTo>
                  <a:pt x="132918" y="985520"/>
                </a:lnTo>
                <a:lnTo>
                  <a:pt x="135178" y="984250"/>
                </a:lnTo>
                <a:lnTo>
                  <a:pt x="136804" y="982980"/>
                </a:lnTo>
                <a:lnTo>
                  <a:pt x="139255" y="981710"/>
                </a:lnTo>
                <a:lnTo>
                  <a:pt x="146024" y="981710"/>
                </a:lnTo>
                <a:lnTo>
                  <a:pt x="147256" y="977900"/>
                </a:lnTo>
                <a:lnTo>
                  <a:pt x="149326" y="971550"/>
                </a:lnTo>
                <a:lnTo>
                  <a:pt x="155727" y="965200"/>
                </a:lnTo>
                <a:lnTo>
                  <a:pt x="160705" y="969010"/>
                </a:lnTo>
                <a:lnTo>
                  <a:pt x="161493" y="966470"/>
                </a:lnTo>
                <a:lnTo>
                  <a:pt x="162090" y="965200"/>
                </a:lnTo>
                <a:lnTo>
                  <a:pt x="163296" y="962660"/>
                </a:lnTo>
                <a:lnTo>
                  <a:pt x="163677" y="961390"/>
                </a:lnTo>
                <a:lnTo>
                  <a:pt x="164934" y="961390"/>
                </a:lnTo>
                <a:lnTo>
                  <a:pt x="166192" y="960120"/>
                </a:lnTo>
                <a:lnTo>
                  <a:pt x="170929" y="956310"/>
                </a:lnTo>
                <a:lnTo>
                  <a:pt x="173012" y="955040"/>
                </a:lnTo>
                <a:lnTo>
                  <a:pt x="174053" y="955040"/>
                </a:lnTo>
                <a:lnTo>
                  <a:pt x="175094" y="953770"/>
                </a:lnTo>
                <a:lnTo>
                  <a:pt x="176149" y="953770"/>
                </a:lnTo>
                <a:lnTo>
                  <a:pt x="177863" y="952500"/>
                </a:lnTo>
                <a:lnTo>
                  <a:pt x="178701" y="951230"/>
                </a:lnTo>
                <a:lnTo>
                  <a:pt x="179273" y="952500"/>
                </a:lnTo>
                <a:lnTo>
                  <a:pt x="180009" y="952500"/>
                </a:lnTo>
                <a:lnTo>
                  <a:pt x="180670" y="951230"/>
                </a:lnTo>
                <a:lnTo>
                  <a:pt x="181330" y="949960"/>
                </a:lnTo>
                <a:lnTo>
                  <a:pt x="182638" y="947420"/>
                </a:lnTo>
                <a:lnTo>
                  <a:pt x="184048" y="944880"/>
                </a:lnTo>
                <a:lnTo>
                  <a:pt x="183083" y="943610"/>
                </a:lnTo>
                <a:lnTo>
                  <a:pt x="191363" y="932180"/>
                </a:lnTo>
                <a:lnTo>
                  <a:pt x="195795" y="932180"/>
                </a:lnTo>
                <a:lnTo>
                  <a:pt x="197345" y="933450"/>
                </a:lnTo>
                <a:lnTo>
                  <a:pt x="197916" y="932180"/>
                </a:lnTo>
                <a:lnTo>
                  <a:pt x="198475" y="930910"/>
                </a:lnTo>
                <a:lnTo>
                  <a:pt x="198958" y="929640"/>
                </a:lnTo>
                <a:lnTo>
                  <a:pt x="199758" y="928370"/>
                </a:lnTo>
                <a:lnTo>
                  <a:pt x="200317" y="927100"/>
                </a:lnTo>
                <a:lnTo>
                  <a:pt x="201066" y="927100"/>
                </a:lnTo>
                <a:lnTo>
                  <a:pt x="201206" y="925830"/>
                </a:lnTo>
                <a:lnTo>
                  <a:pt x="202374" y="923290"/>
                </a:lnTo>
                <a:lnTo>
                  <a:pt x="205320" y="918210"/>
                </a:lnTo>
                <a:lnTo>
                  <a:pt x="207530" y="914400"/>
                </a:lnTo>
                <a:lnTo>
                  <a:pt x="209423" y="910590"/>
                </a:lnTo>
                <a:lnTo>
                  <a:pt x="210045" y="909320"/>
                </a:lnTo>
                <a:lnTo>
                  <a:pt x="211099" y="904240"/>
                </a:lnTo>
                <a:lnTo>
                  <a:pt x="211861" y="902970"/>
                </a:lnTo>
                <a:lnTo>
                  <a:pt x="213334" y="902970"/>
                </a:lnTo>
                <a:lnTo>
                  <a:pt x="214134" y="905510"/>
                </a:lnTo>
                <a:lnTo>
                  <a:pt x="215049" y="902970"/>
                </a:lnTo>
                <a:lnTo>
                  <a:pt x="216890" y="897890"/>
                </a:lnTo>
                <a:lnTo>
                  <a:pt x="217639" y="896620"/>
                </a:lnTo>
                <a:lnTo>
                  <a:pt x="217805" y="895350"/>
                </a:lnTo>
                <a:lnTo>
                  <a:pt x="221716" y="897890"/>
                </a:lnTo>
                <a:lnTo>
                  <a:pt x="221843" y="895350"/>
                </a:lnTo>
                <a:lnTo>
                  <a:pt x="222034" y="891540"/>
                </a:lnTo>
                <a:lnTo>
                  <a:pt x="223494" y="885190"/>
                </a:lnTo>
                <a:lnTo>
                  <a:pt x="223139" y="883920"/>
                </a:lnTo>
                <a:lnTo>
                  <a:pt x="226009" y="882650"/>
                </a:lnTo>
                <a:lnTo>
                  <a:pt x="229146" y="881380"/>
                </a:lnTo>
                <a:lnTo>
                  <a:pt x="232664" y="872490"/>
                </a:lnTo>
                <a:lnTo>
                  <a:pt x="236258" y="873760"/>
                </a:lnTo>
                <a:lnTo>
                  <a:pt x="236562" y="873760"/>
                </a:lnTo>
                <a:lnTo>
                  <a:pt x="237121" y="872490"/>
                </a:lnTo>
                <a:lnTo>
                  <a:pt x="237134" y="866140"/>
                </a:lnTo>
                <a:lnTo>
                  <a:pt x="238899" y="862330"/>
                </a:lnTo>
                <a:lnTo>
                  <a:pt x="243827" y="855980"/>
                </a:lnTo>
                <a:lnTo>
                  <a:pt x="244665" y="854710"/>
                </a:lnTo>
                <a:lnTo>
                  <a:pt x="245503" y="852170"/>
                </a:lnTo>
                <a:lnTo>
                  <a:pt x="246227" y="852170"/>
                </a:lnTo>
                <a:lnTo>
                  <a:pt x="247789" y="849630"/>
                </a:lnTo>
                <a:lnTo>
                  <a:pt x="249250" y="845820"/>
                </a:lnTo>
                <a:lnTo>
                  <a:pt x="250634" y="843280"/>
                </a:lnTo>
                <a:lnTo>
                  <a:pt x="253022" y="840740"/>
                </a:lnTo>
                <a:lnTo>
                  <a:pt x="254749" y="840740"/>
                </a:lnTo>
                <a:lnTo>
                  <a:pt x="255016" y="839470"/>
                </a:lnTo>
                <a:lnTo>
                  <a:pt x="254355" y="836930"/>
                </a:lnTo>
                <a:lnTo>
                  <a:pt x="255282" y="834390"/>
                </a:lnTo>
                <a:lnTo>
                  <a:pt x="260908" y="828040"/>
                </a:lnTo>
                <a:lnTo>
                  <a:pt x="262331" y="824230"/>
                </a:lnTo>
                <a:lnTo>
                  <a:pt x="264236" y="819150"/>
                </a:lnTo>
                <a:lnTo>
                  <a:pt x="265188" y="816610"/>
                </a:lnTo>
                <a:lnTo>
                  <a:pt x="265493" y="816610"/>
                </a:lnTo>
                <a:lnTo>
                  <a:pt x="266700" y="812800"/>
                </a:lnTo>
                <a:lnTo>
                  <a:pt x="269074" y="811530"/>
                </a:lnTo>
                <a:lnTo>
                  <a:pt x="267766" y="808990"/>
                </a:lnTo>
                <a:lnTo>
                  <a:pt x="268617" y="807720"/>
                </a:lnTo>
                <a:lnTo>
                  <a:pt x="269722" y="807720"/>
                </a:lnTo>
                <a:lnTo>
                  <a:pt x="270459" y="806450"/>
                </a:lnTo>
                <a:lnTo>
                  <a:pt x="272884" y="806450"/>
                </a:lnTo>
                <a:lnTo>
                  <a:pt x="272186" y="801370"/>
                </a:lnTo>
                <a:lnTo>
                  <a:pt x="276288" y="797560"/>
                </a:lnTo>
                <a:lnTo>
                  <a:pt x="277406" y="796290"/>
                </a:lnTo>
                <a:lnTo>
                  <a:pt x="278053" y="795020"/>
                </a:lnTo>
                <a:lnTo>
                  <a:pt x="282270" y="793750"/>
                </a:lnTo>
                <a:lnTo>
                  <a:pt x="281622" y="789940"/>
                </a:lnTo>
                <a:lnTo>
                  <a:pt x="281343" y="787400"/>
                </a:lnTo>
                <a:lnTo>
                  <a:pt x="282448" y="786130"/>
                </a:lnTo>
                <a:lnTo>
                  <a:pt x="283667" y="784860"/>
                </a:lnTo>
                <a:lnTo>
                  <a:pt x="285572" y="783590"/>
                </a:lnTo>
                <a:lnTo>
                  <a:pt x="286334" y="783590"/>
                </a:lnTo>
                <a:lnTo>
                  <a:pt x="286905" y="782320"/>
                </a:lnTo>
                <a:lnTo>
                  <a:pt x="287629" y="782320"/>
                </a:lnTo>
                <a:lnTo>
                  <a:pt x="287667" y="781050"/>
                </a:lnTo>
                <a:lnTo>
                  <a:pt x="288594" y="779780"/>
                </a:lnTo>
                <a:lnTo>
                  <a:pt x="288645" y="778510"/>
                </a:lnTo>
                <a:lnTo>
                  <a:pt x="288836" y="775970"/>
                </a:lnTo>
                <a:lnTo>
                  <a:pt x="288975" y="774700"/>
                </a:lnTo>
                <a:lnTo>
                  <a:pt x="290106" y="774700"/>
                </a:lnTo>
                <a:lnTo>
                  <a:pt x="290029" y="773430"/>
                </a:lnTo>
                <a:lnTo>
                  <a:pt x="289763" y="773430"/>
                </a:lnTo>
                <a:lnTo>
                  <a:pt x="290296" y="772160"/>
                </a:lnTo>
                <a:lnTo>
                  <a:pt x="294017" y="772160"/>
                </a:lnTo>
                <a:lnTo>
                  <a:pt x="294551" y="770890"/>
                </a:lnTo>
                <a:lnTo>
                  <a:pt x="294525" y="768350"/>
                </a:lnTo>
                <a:lnTo>
                  <a:pt x="294665" y="767080"/>
                </a:lnTo>
                <a:lnTo>
                  <a:pt x="297053" y="767080"/>
                </a:lnTo>
                <a:lnTo>
                  <a:pt x="296684" y="765810"/>
                </a:lnTo>
                <a:lnTo>
                  <a:pt x="295973" y="764540"/>
                </a:lnTo>
                <a:lnTo>
                  <a:pt x="296354" y="764540"/>
                </a:lnTo>
                <a:lnTo>
                  <a:pt x="297484" y="763270"/>
                </a:lnTo>
                <a:lnTo>
                  <a:pt x="297383" y="762000"/>
                </a:lnTo>
                <a:lnTo>
                  <a:pt x="296976" y="760730"/>
                </a:lnTo>
                <a:lnTo>
                  <a:pt x="297129" y="759460"/>
                </a:lnTo>
                <a:lnTo>
                  <a:pt x="297586" y="758190"/>
                </a:lnTo>
                <a:lnTo>
                  <a:pt x="299923" y="758190"/>
                </a:lnTo>
                <a:lnTo>
                  <a:pt x="299097" y="756920"/>
                </a:lnTo>
                <a:lnTo>
                  <a:pt x="300101" y="756920"/>
                </a:lnTo>
                <a:lnTo>
                  <a:pt x="304609" y="755650"/>
                </a:lnTo>
                <a:lnTo>
                  <a:pt x="303339" y="754380"/>
                </a:lnTo>
                <a:lnTo>
                  <a:pt x="303047" y="753110"/>
                </a:lnTo>
                <a:lnTo>
                  <a:pt x="302463" y="750570"/>
                </a:lnTo>
                <a:lnTo>
                  <a:pt x="302361" y="749300"/>
                </a:lnTo>
                <a:lnTo>
                  <a:pt x="303301" y="749300"/>
                </a:lnTo>
                <a:lnTo>
                  <a:pt x="302920" y="751840"/>
                </a:lnTo>
                <a:lnTo>
                  <a:pt x="305638" y="750570"/>
                </a:lnTo>
                <a:lnTo>
                  <a:pt x="305879" y="749300"/>
                </a:lnTo>
                <a:lnTo>
                  <a:pt x="305638" y="748030"/>
                </a:lnTo>
                <a:lnTo>
                  <a:pt x="305473" y="746760"/>
                </a:lnTo>
                <a:lnTo>
                  <a:pt x="307340" y="746760"/>
                </a:lnTo>
                <a:lnTo>
                  <a:pt x="306362" y="745490"/>
                </a:lnTo>
                <a:lnTo>
                  <a:pt x="305790" y="744220"/>
                </a:lnTo>
                <a:lnTo>
                  <a:pt x="306006" y="744220"/>
                </a:lnTo>
                <a:lnTo>
                  <a:pt x="308152" y="745490"/>
                </a:lnTo>
                <a:lnTo>
                  <a:pt x="309930" y="744220"/>
                </a:lnTo>
                <a:lnTo>
                  <a:pt x="311988" y="742950"/>
                </a:lnTo>
                <a:lnTo>
                  <a:pt x="310718" y="741680"/>
                </a:lnTo>
                <a:lnTo>
                  <a:pt x="309537" y="739140"/>
                </a:lnTo>
                <a:lnTo>
                  <a:pt x="309372" y="739140"/>
                </a:lnTo>
                <a:lnTo>
                  <a:pt x="309791" y="737870"/>
                </a:lnTo>
                <a:lnTo>
                  <a:pt x="310108" y="737870"/>
                </a:lnTo>
                <a:lnTo>
                  <a:pt x="310349" y="736600"/>
                </a:lnTo>
                <a:lnTo>
                  <a:pt x="310718" y="736600"/>
                </a:lnTo>
                <a:lnTo>
                  <a:pt x="310756" y="737870"/>
                </a:lnTo>
                <a:lnTo>
                  <a:pt x="311010" y="739140"/>
                </a:lnTo>
                <a:lnTo>
                  <a:pt x="310489" y="740410"/>
                </a:lnTo>
                <a:lnTo>
                  <a:pt x="312661" y="739140"/>
                </a:lnTo>
                <a:lnTo>
                  <a:pt x="313016" y="737870"/>
                </a:lnTo>
                <a:lnTo>
                  <a:pt x="313093" y="736600"/>
                </a:lnTo>
                <a:lnTo>
                  <a:pt x="312877" y="735330"/>
                </a:lnTo>
                <a:lnTo>
                  <a:pt x="313753" y="735330"/>
                </a:lnTo>
                <a:lnTo>
                  <a:pt x="314452" y="734060"/>
                </a:lnTo>
                <a:lnTo>
                  <a:pt x="315163" y="732790"/>
                </a:lnTo>
                <a:lnTo>
                  <a:pt x="317055" y="732790"/>
                </a:lnTo>
                <a:lnTo>
                  <a:pt x="317906" y="731520"/>
                </a:lnTo>
                <a:lnTo>
                  <a:pt x="321132" y="730250"/>
                </a:lnTo>
                <a:lnTo>
                  <a:pt x="320776" y="728980"/>
                </a:lnTo>
                <a:lnTo>
                  <a:pt x="319468" y="726440"/>
                </a:lnTo>
                <a:lnTo>
                  <a:pt x="319227" y="725170"/>
                </a:lnTo>
                <a:lnTo>
                  <a:pt x="320268" y="725170"/>
                </a:lnTo>
                <a:lnTo>
                  <a:pt x="321894" y="722630"/>
                </a:lnTo>
                <a:lnTo>
                  <a:pt x="322961" y="722630"/>
                </a:lnTo>
                <a:lnTo>
                  <a:pt x="323938" y="721360"/>
                </a:lnTo>
                <a:lnTo>
                  <a:pt x="323494" y="721360"/>
                </a:lnTo>
                <a:lnTo>
                  <a:pt x="323761" y="720090"/>
                </a:lnTo>
                <a:lnTo>
                  <a:pt x="324015" y="720090"/>
                </a:lnTo>
                <a:lnTo>
                  <a:pt x="327393" y="718820"/>
                </a:lnTo>
                <a:lnTo>
                  <a:pt x="327380" y="717550"/>
                </a:lnTo>
                <a:lnTo>
                  <a:pt x="326796" y="715010"/>
                </a:lnTo>
                <a:lnTo>
                  <a:pt x="327304" y="715010"/>
                </a:lnTo>
                <a:lnTo>
                  <a:pt x="327533" y="713740"/>
                </a:lnTo>
                <a:lnTo>
                  <a:pt x="326644" y="713740"/>
                </a:lnTo>
                <a:lnTo>
                  <a:pt x="326656" y="712470"/>
                </a:lnTo>
                <a:lnTo>
                  <a:pt x="327228" y="712470"/>
                </a:lnTo>
                <a:lnTo>
                  <a:pt x="329869" y="711200"/>
                </a:lnTo>
                <a:lnTo>
                  <a:pt x="331139" y="709930"/>
                </a:lnTo>
                <a:lnTo>
                  <a:pt x="330250" y="708660"/>
                </a:lnTo>
                <a:lnTo>
                  <a:pt x="329920" y="708660"/>
                </a:lnTo>
                <a:lnTo>
                  <a:pt x="330771" y="706120"/>
                </a:lnTo>
                <a:lnTo>
                  <a:pt x="333438" y="704850"/>
                </a:lnTo>
                <a:lnTo>
                  <a:pt x="332486" y="702310"/>
                </a:lnTo>
                <a:lnTo>
                  <a:pt x="333857" y="702310"/>
                </a:lnTo>
                <a:lnTo>
                  <a:pt x="333489" y="703580"/>
                </a:lnTo>
                <a:lnTo>
                  <a:pt x="334454" y="703580"/>
                </a:lnTo>
                <a:lnTo>
                  <a:pt x="334721" y="702310"/>
                </a:lnTo>
                <a:lnTo>
                  <a:pt x="334708" y="699770"/>
                </a:lnTo>
                <a:lnTo>
                  <a:pt x="334860" y="699770"/>
                </a:lnTo>
                <a:lnTo>
                  <a:pt x="335343" y="698500"/>
                </a:lnTo>
                <a:lnTo>
                  <a:pt x="336994" y="698500"/>
                </a:lnTo>
                <a:lnTo>
                  <a:pt x="337070" y="697230"/>
                </a:lnTo>
                <a:lnTo>
                  <a:pt x="337781" y="695960"/>
                </a:lnTo>
                <a:lnTo>
                  <a:pt x="338531" y="695960"/>
                </a:lnTo>
                <a:lnTo>
                  <a:pt x="338975" y="694690"/>
                </a:lnTo>
                <a:lnTo>
                  <a:pt x="342226" y="694690"/>
                </a:lnTo>
                <a:lnTo>
                  <a:pt x="343268" y="690880"/>
                </a:lnTo>
                <a:lnTo>
                  <a:pt x="342480" y="688340"/>
                </a:lnTo>
                <a:lnTo>
                  <a:pt x="343077" y="687070"/>
                </a:lnTo>
                <a:lnTo>
                  <a:pt x="344055" y="684530"/>
                </a:lnTo>
                <a:lnTo>
                  <a:pt x="349542" y="681990"/>
                </a:lnTo>
                <a:lnTo>
                  <a:pt x="350862" y="676910"/>
                </a:lnTo>
                <a:lnTo>
                  <a:pt x="349542" y="675640"/>
                </a:lnTo>
                <a:lnTo>
                  <a:pt x="350316" y="673100"/>
                </a:lnTo>
                <a:lnTo>
                  <a:pt x="349999" y="673100"/>
                </a:lnTo>
                <a:lnTo>
                  <a:pt x="349034" y="671830"/>
                </a:lnTo>
                <a:lnTo>
                  <a:pt x="350532" y="671830"/>
                </a:lnTo>
                <a:lnTo>
                  <a:pt x="354634" y="670560"/>
                </a:lnTo>
                <a:lnTo>
                  <a:pt x="355993" y="666750"/>
                </a:lnTo>
                <a:lnTo>
                  <a:pt x="358279" y="661670"/>
                </a:lnTo>
                <a:lnTo>
                  <a:pt x="356146" y="661670"/>
                </a:lnTo>
                <a:lnTo>
                  <a:pt x="356603" y="660400"/>
                </a:lnTo>
                <a:lnTo>
                  <a:pt x="357047" y="659130"/>
                </a:lnTo>
                <a:lnTo>
                  <a:pt x="358101" y="657860"/>
                </a:lnTo>
                <a:lnTo>
                  <a:pt x="359308" y="656590"/>
                </a:lnTo>
                <a:lnTo>
                  <a:pt x="360083" y="657860"/>
                </a:lnTo>
                <a:lnTo>
                  <a:pt x="361454" y="656590"/>
                </a:lnTo>
                <a:lnTo>
                  <a:pt x="362191" y="655320"/>
                </a:lnTo>
                <a:lnTo>
                  <a:pt x="362521" y="654050"/>
                </a:lnTo>
                <a:lnTo>
                  <a:pt x="363867" y="652780"/>
                </a:lnTo>
                <a:lnTo>
                  <a:pt x="366725" y="650240"/>
                </a:lnTo>
                <a:lnTo>
                  <a:pt x="370306" y="648970"/>
                </a:lnTo>
                <a:lnTo>
                  <a:pt x="368782" y="645160"/>
                </a:lnTo>
                <a:lnTo>
                  <a:pt x="369912" y="643890"/>
                </a:lnTo>
                <a:lnTo>
                  <a:pt x="371106" y="642620"/>
                </a:lnTo>
                <a:lnTo>
                  <a:pt x="374408" y="638810"/>
                </a:lnTo>
                <a:lnTo>
                  <a:pt x="377837" y="636270"/>
                </a:lnTo>
                <a:lnTo>
                  <a:pt x="376567" y="632460"/>
                </a:lnTo>
                <a:lnTo>
                  <a:pt x="376745" y="632460"/>
                </a:lnTo>
                <a:lnTo>
                  <a:pt x="376910" y="631190"/>
                </a:lnTo>
                <a:lnTo>
                  <a:pt x="377063" y="629920"/>
                </a:lnTo>
                <a:lnTo>
                  <a:pt x="377609" y="628650"/>
                </a:lnTo>
                <a:lnTo>
                  <a:pt x="380974" y="628650"/>
                </a:lnTo>
                <a:lnTo>
                  <a:pt x="381927" y="626110"/>
                </a:lnTo>
                <a:lnTo>
                  <a:pt x="382308" y="624840"/>
                </a:lnTo>
                <a:lnTo>
                  <a:pt x="385521" y="624840"/>
                </a:lnTo>
                <a:lnTo>
                  <a:pt x="386003" y="623570"/>
                </a:lnTo>
                <a:lnTo>
                  <a:pt x="384822" y="622300"/>
                </a:lnTo>
                <a:lnTo>
                  <a:pt x="384594" y="622300"/>
                </a:lnTo>
                <a:lnTo>
                  <a:pt x="384403" y="621030"/>
                </a:lnTo>
                <a:lnTo>
                  <a:pt x="384721" y="621030"/>
                </a:lnTo>
                <a:lnTo>
                  <a:pt x="385000" y="619760"/>
                </a:lnTo>
                <a:lnTo>
                  <a:pt x="385940" y="615950"/>
                </a:lnTo>
                <a:lnTo>
                  <a:pt x="387527" y="613410"/>
                </a:lnTo>
                <a:lnTo>
                  <a:pt x="392569" y="613410"/>
                </a:lnTo>
                <a:lnTo>
                  <a:pt x="393268" y="610870"/>
                </a:lnTo>
                <a:lnTo>
                  <a:pt x="391845" y="609600"/>
                </a:lnTo>
                <a:lnTo>
                  <a:pt x="392010" y="608330"/>
                </a:lnTo>
                <a:lnTo>
                  <a:pt x="392010" y="605790"/>
                </a:lnTo>
                <a:lnTo>
                  <a:pt x="393471" y="605790"/>
                </a:lnTo>
                <a:lnTo>
                  <a:pt x="394258" y="604520"/>
                </a:lnTo>
                <a:lnTo>
                  <a:pt x="394855" y="604520"/>
                </a:lnTo>
                <a:lnTo>
                  <a:pt x="399567" y="603250"/>
                </a:lnTo>
                <a:lnTo>
                  <a:pt x="400050" y="603250"/>
                </a:lnTo>
                <a:lnTo>
                  <a:pt x="399707" y="601980"/>
                </a:lnTo>
                <a:lnTo>
                  <a:pt x="398665" y="598170"/>
                </a:lnTo>
                <a:lnTo>
                  <a:pt x="398233" y="596900"/>
                </a:lnTo>
                <a:lnTo>
                  <a:pt x="398259" y="595630"/>
                </a:lnTo>
                <a:lnTo>
                  <a:pt x="399580" y="595630"/>
                </a:lnTo>
                <a:lnTo>
                  <a:pt x="402196" y="593090"/>
                </a:lnTo>
                <a:lnTo>
                  <a:pt x="403796" y="593090"/>
                </a:lnTo>
                <a:lnTo>
                  <a:pt x="406717" y="591820"/>
                </a:lnTo>
                <a:lnTo>
                  <a:pt x="407200" y="590550"/>
                </a:lnTo>
                <a:lnTo>
                  <a:pt x="406933" y="586740"/>
                </a:lnTo>
                <a:lnTo>
                  <a:pt x="408076" y="585470"/>
                </a:lnTo>
                <a:lnTo>
                  <a:pt x="409130" y="584200"/>
                </a:lnTo>
                <a:lnTo>
                  <a:pt x="409308" y="581660"/>
                </a:lnTo>
                <a:lnTo>
                  <a:pt x="411137" y="581660"/>
                </a:lnTo>
                <a:lnTo>
                  <a:pt x="411708" y="580390"/>
                </a:lnTo>
                <a:lnTo>
                  <a:pt x="412496" y="577850"/>
                </a:lnTo>
                <a:lnTo>
                  <a:pt x="414070" y="576580"/>
                </a:lnTo>
                <a:lnTo>
                  <a:pt x="415442" y="574040"/>
                </a:lnTo>
                <a:lnTo>
                  <a:pt x="416674" y="574040"/>
                </a:lnTo>
                <a:lnTo>
                  <a:pt x="417791" y="572770"/>
                </a:lnTo>
                <a:lnTo>
                  <a:pt x="419201" y="568960"/>
                </a:lnTo>
                <a:lnTo>
                  <a:pt x="420598" y="566420"/>
                </a:lnTo>
                <a:lnTo>
                  <a:pt x="421894" y="563880"/>
                </a:lnTo>
                <a:lnTo>
                  <a:pt x="423494" y="562610"/>
                </a:lnTo>
                <a:lnTo>
                  <a:pt x="425259" y="561340"/>
                </a:lnTo>
                <a:lnTo>
                  <a:pt x="426212" y="558800"/>
                </a:lnTo>
                <a:lnTo>
                  <a:pt x="428307" y="553720"/>
                </a:lnTo>
                <a:lnTo>
                  <a:pt x="431863" y="549910"/>
                </a:lnTo>
                <a:lnTo>
                  <a:pt x="434568" y="542290"/>
                </a:lnTo>
                <a:lnTo>
                  <a:pt x="439699" y="539750"/>
                </a:lnTo>
                <a:lnTo>
                  <a:pt x="438607" y="535940"/>
                </a:lnTo>
                <a:lnTo>
                  <a:pt x="439305" y="535940"/>
                </a:lnTo>
                <a:lnTo>
                  <a:pt x="439953" y="534670"/>
                </a:lnTo>
                <a:lnTo>
                  <a:pt x="440563" y="533400"/>
                </a:lnTo>
                <a:lnTo>
                  <a:pt x="446024" y="528320"/>
                </a:lnTo>
                <a:lnTo>
                  <a:pt x="448792" y="521970"/>
                </a:lnTo>
                <a:lnTo>
                  <a:pt x="452043" y="516890"/>
                </a:lnTo>
                <a:lnTo>
                  <a:pt x="453669" y="515620"/>
                </a:lnTo>
                <a:lnTo>
                  <a:pt x="454888" y="514350"/>
                </a:lnTo>
                <a:lnTo>
                  <a:pt x="454533" y="508000"/>
                </a:lnTo>
                <a:lnTo>
                  <a:pt x="457327" y="508000"/>
                </a:lnTo>
                <a:lnTo>
                  <a:pt x="460857" y="506730"/>
                </a:lnTo>
                <a:lnTo>
                  <a:pt x="462686" y="508000"/>
                </a:lnTo>
                <a:lnTo>
                  <a:pt x="461975" y="502920"/>
                </a:lnTo>
                <a:lnTo>
                  <a:pt x="465543" y="501650"/>
                </a:lnTo>
                <a:lnTo>
                  <a:pt x="464997" y="497840"/>
                </a:lnTo>
                <a:lnTo>
                  <a:pt x="465937" y="496570"/>
                </a:lnTo>
                <a:lnTo>
                  <a:pt x="467258" y="496570"/>
                </a:lnTo>
                <a:lnTo>
                  <a:pt x="469328" y="495300"/>
                </a:lnTo>
                <a:lnTo>
                  <a:pt x="470623" y="495300"/>
                </a:lnTo>
                <a:lnTo>
                  <a:pt x="470890" y="491490"/>
                </a:lnTo>
                <a:lnTo>
                  <a:pt x="473964" y="488950"/>
                </a:lnTo>
                <a:lnTo>
                  <a:pt x="474103" y="485140"/>
                </a:lnTo>
                <a:lnTo>
                  <a:pt x="477634" y="485140"/>
                </a:lnTo>
                <a:lnTo>
                  <a:pt x="477278" y="482600"/>
                </a:lnTo>
                <a:lnTo>
                  <a:pt x="477418" y="481330"/>
                </a:lnTo>
                <a:lnTo>
                  <a:pt x="478586" y="480060"/>
                </a:lnTo>
                <a:lnTo>
                  <a:pt x="479742" y="480060"/>
                </a:lnTo>
                <a:lnTo>
                  <a:pt x="479221" y="477520"/>
                </a:lnTo>
                <a:lnTo>
                  <a:pt x="482434" y="477520"/>
                </a:lnTo>
                <a:lnTo>
                  <a:pt x="482168" y="476250"/>
                </a:lnTo>
                <a:lnTo>
                  <a:pt x="482066" y="473710"/>
                </a:lnTo>
                <a:lnTo>
                  <a:pt x="482612" y="473710"/>
                </a:lnTo>
                <a:lnTo>
                  <a:pt x="483336" y="472440"/>
                </a:lnTo>
                <a:lnTo>
                  <a:pt x="485914" y="472440"/>
                </a:lnTo>
                <a:lnTo>
                  <a:pt x="486016" y="471170"/>
                </a:lnTo>
                <a:lnTo>
                  <a:pt x="486651" y="468630"/>
                </a:lnTo>
                <a:lnTo>
                  <a:pt x="486702" y="466090"/>
                </a:lnTo>
                <a:lnTo>
                  <a:pt x="491185" y="466090"/>
                </a:lnTo>
                <a:lnTo>
                  <a:pt x="490931" y="463550"/>
                </a:lnTo>
                <a:lnTo>
                  <a:pt x="491312" y="461010"/>
                </a:lnTo>
                <a:lnTo>
                  <a:pt x="491693" y="461010"/>
                </a:lnTo>
                <a:lnTo>
                  <a:pt x="491604" y="459740"/>
                </a:lnTo>
                <a:lnTo>
                  <a:pt x="491934" y="459740"/>
                </a:lnTo>
                <a:lnTo>
                  <a:pt x="494030" y="458470"/>
                </a:lnTo>
                <a:lnTo>
                  <a:pt x="494931" y="457200"/>
                </a:lnTo>
                <a:lnTo>
                  <a:pt x="495731" y="455930"/>
                </a:lnTo>
                <a:lnTo>
                  <a:pt x="498373" y="454660"/>
                </a:lnTo>
                <a:lnTo>
                  <a:pt x="498779" y="450850"/>
                </a:lnTo>
                <a:lnTo>
                  <a:pt x="502424" y="448310"/>
                </a:lnTo>
                <a:lnTo>
                  <a:pt x="501497" y="447040"/>
                </a:lnTo>
                <a:lnTo>
                  <a:pt x="500468" y="445770"/>
                </a:lnTo>
                <a:lnTo>
                  <a:pt x="500507" y="444500"/>
                </a:lnTo>
                <a:lnTo>
                  <a:pt x="506183" y="444500"/>
                </a:lnTo>
                <a:lnTo>
                  <a:pt x="505815" y="441960"/>
                </a:lnTo>
                <a:lnTo>
                  <a:pt x="507479" y="440690"/>
                </a:lnTo>
                <a:lnTo>
                  <a:pt x="508406" y="438150"/>
                </a:lnTo>
                <a:lnTo>
                  <a:pt x="511822" y="435610"/>
                </a:lnTo>
                <a:lnTo>
                  <a:pt x="510438" y="434340"/>
                </a:lnTo>
                <a:lnTo>
                  <a:pt x="509714" y="433070"/>
                </a:lnTo>
                <a:lnTo>
                  <a:pt x="511657" y="430530"/>
                </a:lnTo>
                <a:lnTo>
                  <a:pt x="511733" y="431800"/>
                </a:lnTo>
                <a:lnTo>
                  <a:pt x="511886" y="433070"/>
                </a:lnTo>
                <a:lnTo>
                  <a:pt x="513118" y="433070"/>
                </a:lnTo>
                <a:lnTo>
                  <a:pt x="515378" y="431800"/>
                </a:lnTo>
                <a:lnTo>
                  <a:pt x="514819" y="430530"/>
                </a:lnTo>
                <a:lnTo>
                  <a:pt x="515327" y="427990"/>
                </a:lnTo>
                <a:lnTo>
                  <a:pt x="515785" y="426720"/>
                </a:lnTo>
                <a:lnTo>
                  <a:pt x="516331" y="425450"/>
                </a:lnTo>
                <a:lnTo>
                  <a:pt x="517347" y="425450"/>
                </a:lnTo>
                <a:lnTo>
                  <a:pt x="518236" y="424180"/>
                </a:lnTo>
                <a:lnTo>
                  <a:pt x="518883" y="421640"/>
                </a:lnTo>
                <a:lnTo>
                  <a:pt x="519709" y="421640"/>
                </a:lnTo>
                <a:lnTo>
                  <a:pt x="522262" y="417830"/>
                </a:lnTo>
                <a:lnTo>
                  <a:pt x="524014" y="416560"/>
                </a:lnTo>
                <a:lnTo>
                  <a:pt x="524916" y="416560"/>
                </a:lnTo>
                <a:lnTo>
                  <a:pt x="525500" y="415290"/>
                </a:lnTo>
                <a:lnTo>
                  <a:pt x="525310" y="414020"/>
                </a:lnTo>
                <a:lnTo>
                  <a:pt x="527278" y="412750"/>
                </a:lnTo>
                <a:lnTo>
                  <a:pt x="529056" y="410210"/>
                </a:lnTo>
                <a:lnTo>
                  <a:pt x="530288" y="405130"/>
                </a:lnTo>
                <a:lnTo>
                  <a:pt x="530948" y="403860"/>
                </a:lnTo>
                <a:lnTo>
                  <a:pt x="535000" y="403860"/>
                </a:lnTo>
                <a:lnTo>
                  <a:pt x="534924" y="402590"/>
                </a:lnTo>
                <a:lnTo>
                  <a:pt x="534835" y="401320"/>
                </a:lnTo>
                <a:lnTo>
                  <a:pt x="535114" y="400050"/>
                </a:lnTo>
                <a:lnTo>
                  <a:pt x="536600" y="400050"/>
                </a:lnTo>
                <a:lnTo>
                  <a:pt x="536778" y="397510"/>
                </a:lnTo>
                <a:lnTo>
                  <a:pt x="540156" y="397510"/>
                </a:lnTo>
                <a:lnTo>
                  <a:pt x="539724" y="396240"/>
                </a:lnTo>
                <a:lnTo>
                  <a:pt x="538861" y="393700"/>
                </a:lnTo>
                <a:lnTo>
                  <a:pt x="539038" y="393700"/>
                </a:lnTo>
                <a:lnTo>
                  <a:pt x="539102" y="392430"/>
                </a:lnTo>
                <a:lnTo>
                  <a:pt x="540156" y="391160"/>
                </a:lnTo>
                <a:lnTo>
                  <a:pt x="542861" y="389890"/>
                </a:lnTo>
                <a:lnTo>
                  <a:pt x="543458" y="388620"/>
                </a:lnTo>
                <a:lnTo>
                  <a:pt x="544055" y="387350"/>
                </a:lnTo>
                <a:lnTo>
                  <a:pt x="546328" y="387350"/>
                </a:lnTo>
                <a:lnTo>
                  <a:pt x="546798" y="386080"/>
                </a:lnTo>
                <a:lnTo>
                  <a:pt x="549554" y="384810"/>
                </a:lnTo>
                <a:lnTo>
                  <a:pt x="549059" y="382270"/>
                </a:lnTo>
                <a:lnTo>
                  <a:pt x="549033" y="381000"/>
                </a:lnTo>
                <a:lnTo>
                  <a:pt x="549592" y="381000"/>
                </a:lnTo>
                <a:lnTo>
                  <a:pt x="552399" y="379730"/>
                </a:lnTo>
                <a:lnTo>
                  <a:pt x="552361" y="378460"/>
                </a:lnTo>
                <a:lnTo>
                  <a:pt x="551764" y="377190"/>
                </a:lnTo>
                <a:lnTo>
                  <a:pt x="551167" y="375920"/>
                </a:lnTo>
                <a:lnTo>
                  <a:pt x="551865" y="375920"/>
                </a:lnTo>
                <a:lnTo>
                  <a:pt x="552691" y="374650"/>
                </a:lnTo>
                <a:lnTo>
                  <a:pt x="554126" y="373380"/>
                </a:lnTo>
                <a:lnTo>
                  <a:pt x="557072" y="373380"/>
                </a:lnTo>
                <a:lnTo>
                  <a:pt x="557936" y="372110"/>
                </a:lnTo>
                <a:lnTo>
                  <a:pt x="558431" y="369570"/>
                </a:lnTo>
                <a:lnTo>
                  <a:pt x="559435" y="369570"/>
                </a:lnTo>
                <a:lnTo>
                  <a:pt x="562203" y="367030"/>
                </a:lnTo>
                <a:lnTo>
                  <a:pt x="562457" y="365760"/>
                </a:lnTo>
                <a:lnTo>
                  <a:pt x="560590" y="363220"/>
                </a:lnTo>
                <a:lnTo>
                  <a:pt x="561949" y="361950"/>
                </a:lnTo>
                <a:lnTo>
                  <a:pt x="562889" y="360680"/>
                </a:lnTo>
                <a:lnTo>
                  <a:pt x="567245" y="360680"/>
                </a:lnTo>
                <a:lnTo>
                  <a:pt x="568198" y="359410"/>
                </a:lnTo>
                <a:lnTo>
                  <a:pt x="569175" y="355600"/>
                </a:lnTo>
                <a:lnTo>
                  <a:pt x="569506" y="354330"/>
                </a:lnTo>
                <a:lnTo>
                  <a:pt x="569887" y="354330"/>
                </a:lnTo>
                <a:lnTo>
                  <a:pt x="570242" y="353060"/>
                </a:lnTo>
                <a:lnTo>
                  <a:pt x="570649" y="351790"/>
                </a:lnTo>
                <a:lnTo>
                  <a:pt x="571309" y="350520"/>
                </a:lnTo>
                <a:lnTo>
                  <a:pt x="571690" y="350520"/>
                </a:lnTo>
                <a:lnTo>
                  <a:pt x="572096" y="349250"/>
                </a:lnTo>
                <a:lnTo>
                  <a:pt x="577684" y="349250"/>
                </a:lnTo>
                <a:lnTo>
                  <a:pt x="579145" y="342900"/>
                </a:lnTo>
                <a:lnTo>
                  <a:pt x="582942" y="337820"/>
                </a:lnTo>
                <a:lnTo>
                  <a:pt x="583933" y="335280"/>
                </a:lnTo>
                <a:lnTo>
                  <a:pt x="586016" y="334010"/>
                </a:lnTo>
                <a:lnTo>
                  <a:pt x="585863" y="332740"/>
                </a:lnTo>
                <a:lnTo>
                  <a:pt x="587235" y="331470"/>
                </a:lnTo>
                <a:lnTo>
                  <a:pt x="587870" y="331470"/>
                </a:lnTo>
                <a:lnTo>
                  <a:pt x="588264" y="332740"/>
                </a:lnTo>
                <a:lnTo>
                  <a:pt x="589495" y="331470"/>
                </a:lnTo>
                <a:lnTo>
                  <a:pt x="590613" y="330200"/>
                </a:lnTo>
                <a:lnTo>
                  <a:pt x="590981" y="327660"/>
                </a:lnTo>
                <a:lnTo>
                  <a:pt x="591235" y="327660"/>
                </a:lnTo>
                <a:lnTo>
                  <a:pt x="591566" y="326390"/>
                </a:lnTo>
                <a:lnTo>
                  <a:pt x="592848" y="326390"/>
                </a:lnTo>
                <a:lnTo>
                  <a:pt x="592886" y="325120"/>
                </a:lnTo>
                <a:lnTo>
                  <a:pt x="593001" y="323850"/>
                </a:lnTo>
                <a:lnTo>
                  <a:pt x="595388" y="321310"/>
                </a:lnTo>
                <a:lnTo>
                  <a:pt x="598970" y="318770"/>
                </a:lnTo>
                <a:lnTo>
                  <a:pt x="600417" y="314960"/>
                </a:lnTo>
                <a:lnTo>
                  <a:pt x="601332" y="314960"/>
                </a:lnTo>
                <a:lnTo>
                  <a:pt x="602830" y="313690"/>
                </a:lnTo>
                <a:lnTo>
                  <a:pt x="603478" y="313690"/>
                </a:lnTo>
                <a:lnTo>
                  <a:pt x="604024" y="311150"/>
                </a:lnTo>
                <a:lnTo>
                  <a:pt x="605040" y="309880"/>
                </a:lnTo>
                <a:lnTo>
                  <a:pt x="605904" y="308610"/>
                </a:lnTo>
                <a:lnTo>
                  <a:pt x="606717" y="307340"/>
                </a:lnTo>
                <a:lnTo>
                  <a:pt x="607390" y="306070"/>
                </a:lnTo>
                <a:lnTo>
                  <a:pt x="607250" y="304800"/>
                </a:lnTo>
                <a:lnTo>
                  <a:pt x="608177" y="304800"/>
                </a:lnTo>
                <a:lnTo>
                  <a:pt x="608761" y="303530"/>
                </a:lnTo>
                <a:lnTo>
                  <a:pt x="608418" y="302260"/>
                </a:lnTo>
                <a:lnTo>
                  <a:pt x="613270" y="302260"/>
                </a:lnTo>
                <a:lnTo>
                  <a:pt x="613752" y="297180"/>
                </a:lnTo>
                <a:lnTo>
                  <a:pt x="615911" y="292100"/>
                </a:lnTo>
                <a:lnTo>
                  <a:pt x="616064" y="292100"/>
                </a:lnTo>
                <a:lnTo>
                  <a:pt x="619226" y="293370"/>
                </a:lnTo>
                <a:lnTo>
                  <a:pt x="620737" y="292100"/>
                </a:lnTo>
                <a:lnTo>
                  <a:pt x="619023" y="288290"/>
                </a:lnTo>
                <a:lnTo>
                  <a:pt x="619429" y="287020"/>
                </a:lnTo>
                <a:lnTo>
                  <a:pt x="623824" y="287020"/>
                </a:lnTo>
                <a:lnTo>
                  <a:pt x="624763" y="281940"/>
                </a:lnTo>
                <a:lnTo>
                  <a:pt x="626973" y="279400"/>
                </a:lnTo>
                <a:lnTo>
                  <a:pt x="628980" y="276860"/>
                </a:lnTo>
                <a:lnTo>
                  <a:pt x="630377" y="276860"/>
                </a:lnTo>
                <a:lnTo>
                  <a:pt x="630821" y="275590"/>
                </a:lnTo>
                <a:lnTo>
                  <a:pt x="631126" y="273050"/>
                </a:lnTo>
                <a:lnTo>
                  <a:pt x="630974" y="270510"/>
                </a:lnTo>
                <a:lnTo>
                  <a:pt x="631405" y="269240"/>
                </a:lnTo>
                <a:lnTo>
                  <a:pt x="632142" y="269240"/>
                </a:lnTo>
                <a:lnTo>
                  <a:pt x="632434" y="267970"/>
                </a:lnTo>
                <a:lnTo>
                  <a:pt x="632904" y="267970"/>
                </a:lnTo>
                <a:lnTo>
                  <a:pt x="633336" y="266700"/>
                </a:lnTo>
                <a:lnTo>
                  <a:pt x="633831" y="266700"/>
                </a:lnTo>
                <a:lnTo>
                  <a:pt x="635774" y="270510"/>
                </a:lnTo>
                <a:lnTo>
                  <a:pt x="638302" y="266700"/>
                </a:lnTo>
                <a:lnTo>
                  <a:pt x="640524" y="265430"/>
                </a:lnTo>
                <a:lnTo>
                  <a:pt x="643623" y="264160"/>
                </a:lnTo>
                <a:lnTo>
                  <a:pt x="643089" y="261620"/>
                </a:lnTo>
                <a:lnTo>
                  <a:pt x="644118" y="259080"/>
                </a:lnTo>
                <a:lnTo>
                  <a:pt x="645274" y="259080"/>
                </a:lnTo>
                <a:lnTo>
                  <a:pt x="646201" y="257810"/>
                </a:lnTo>
                <a:lnTo>
                  <a:pt x="647128" y="255270"/>
                </a:lnTo>
                <a:lnTo>
                  <a:pt x="647065" y="254000"/>
                </a:lnTo>
                <a:lnTo>
                  <a:pt x="646023" y="252730"/>
                </a:lnTo>
                <a:lnTo>
                  <a:pt x="646353" y="252730"/>
                </a:lnTo>
                <a:lnTo>
                  <a:pt x="646874" y="251460"/>
                </a:lnTo>
                <a:lnTo>
                  <a:pt x="648411" y="251460"/>
                </a:lnTo>
                <a:lnTo>
                  <a:pt x="650011" y="250190"/>
                </a:lnTo>
                <a:lnTo>
                  <a:pt x="651395" y="248920"/>
                </a:lnTo>
                <a:lnTo>
                  <a:pt x="652932" y="247650"/>
                </a:lnTo>
                <a:lnTo>
                  <a:pt x="654202" y="246380"/>
                </a:lnTo>
                <a:lnTo>
                  <a:pt x="655320" y="245110"/>
                </a:lnTo>
                <a:lnTo>
                  <a:pt x="655497" y="245110"/>
                </a:lnTo>
                <a:lnTo>
                  <a:pt x="656831" y="247650"/>
                </a:lnTo>
                <a:lnTo>
                  <a:pt x="658164" y="246380"/>
                </a:lnTo>
                <a:lnTo>
                  <a:pt x="659587" y="243840"/>
                </a:lnTo>
                <a:lnTo>
                  <a:pt x="659752" y="242570"/>
                </a:lnTo>
                <a:lnTo>
                  <a:pt x="659066" y="241300"/>
                </a:lnTo>
                <a:lnTo>
                  <a:pt x="660019" y="240030"/>
                </a:lnTo>
                <a:lnTo>
                  <a:pt x="660603" y="238760"/>
                </a:lnTo>
                <a:lnTo>
                  <a:pt x="665276" y="236220"/>
                </a:lnTo>
                <a:lnTo>
                  <a:pt x="667816" y="233680"/>
                </a:lnTo>
                <a:lnTo>
                  <a:pt x="670039" y="231140"/>
                </a:lnTo>
                <a:lnTo>
                  <a:pt x="671677" y="231140"/>
                </a:lnTo>
                <a:lnTo>
                  <a:pt x="671957" y="228600"/>
                </a:lnTo>
                <a:lnTo>
                  <a:pt x="679094" y="220980"/>
                </a:lnTo>
                <a:lnTo>
                  <a:pt x="679348" y="219710"/>
                </a:lnTo>
                <a:lnTo>
                  <a:pt x="679843" y="218440"/>
                </a:lnTo>
                <a:lnTo>
                  <a:pt x="680199" y="218440"/>
                </a:lnTo>
                <a:lnTo>
                  <a:pt x="680478" y="217170"/>
                </a:lnTo>
                <a:lnTo>
                  <a:pt x="680808" y="217170"/>
                </a:lnTo>
                <a:lnTo>
                  <a:pt x="683729" y="219710"/>
                </a:lnTo>
                <a:lnTo>
                  <a:pt x="684199" y="217170"/>
                </a:lnTo>
                <a:lnTo>
                  <a:pt x="685380" y="214630"/>
                </a:lnTo>
                <a:lnTo>
                  <a:pt x="686752" y="212090"/>
                </a:lnTo>
                <a:lnTo>
                  <a:pt x="686930" y="208280"/>
                </a:lnTo>
                <a:lnTo>
                  <a:pt x="692886" y="207010"/>
                </a:lnTo>
                <a:lnTo>
                  <a:pt x="693483" y="205740"/>
                </a:lnTo>
                <a:lnTo>
                  <a:pt x="693051" y="203200"/>
                </a:lnTo>
                <a:lnTo>
                  <a:pt x="694728" y="203200"/>
                </a:lnTo>
                <a:lnTo>
                  <a:pt x="696531" y="201930"/>
                </a:lnTo>
                <a:lnTo>
                  <a:pt x="697496" y="200660"/>
                </a:lnTo>
                <a:lnTo>
                  <a:pt x="697852" y="200660"/>
                </a:lnTo>
                <a:lnTo>
                  <a:pt x="698588" y="198120"/>
                </a:lnTo>
                <a:lnTo>
                  <a:pt x="699236" y="196850"/>
                </a:lnTo>
                <a:lnTo>
                  <a:pt x="699274" y="195580"/>
                </a:lnTo>
                <a:lnTo>
                  <a:pt x="703237" y="194310"/>
                </a:lnTo>
                <a:lnTo>
                  <a:pt x="704951" y="194310"/>
                </a:lnTo>
                <a:lnTo>
                  <a:pt x="703516" y="191770"/>
                </a:lnTo>
                <a:lnTo>
                  <a:pt x="704926" y="190500"/>
                </a:lnTo>
                <a:lnTo>
                  <a:pt x="708279" y="190500"/>
                </a:lnTo>
                <a:lnTo>
                  <a:pt x="710158" y="189230"/>
                </a:lnTo>
                <a:lnTo>
                  <a:pt x="713219" y="181610"/>
                </a:lnTo>
                <a:lnTo>
                  <a:pt x="718464" y="177800"/>
                </a:lnTo>
                <a:lnTo>
                  <a:pt x="720636" y="175260"/>
                </a:lnTo>
                <a:lnTo>
                  <a:pt x="722820" y="172720"/>
                </a:lnTo>
                <a:lnTo>
                  <a:pt x="724128" y="171450"/>
                </a:lnTo>
                <a:lnTo>
                  <a:pt x="726173" y="168910"/>
                </a:lnTo>
                <a:lnTo>
                  <a:pt x="726884" y="167640"/>
                </a:lnTo>
                <a:lnTo>
                  <a:pt x="726554" y="166370"/>
                </a:lnTo>
                <a:lnTo>
                  <a:pt x="727849" y="166370"/>
                </a:lnTo>
                <a:lnTo>
                  <a:pt x="728484" y="165100"/>
                </a:lnTo>
                <a:lnTo>
                  <a:pt x="728992" y="163830"/>
                </a:lnTo>
                <a:lnTo>
                  <a:pt x="732574" y="163830"/>
                </a:lnTo>
                <a:lnTo>
                  <a:pt x="734047" y="161290"/>
                </a:lnTo>
                <a:lnTo>
                  <a:pt x="735812" y="156210"/>
                </a:lnTo>
                <a:lnTo>
                  <a:pt x="737590" y="154940"/>
                </a:lnTo>
                <a:lnTo>
                  <a:pt x="742213" y="154940"/>
                </a:lnTo>
                <a:lnTo>
                  <a:pt x="742810" y="152400"/>
                </a:lnTo>
                <a:lnTo>
                  <a:pt x="745693" y="147320"/>
                </a:lnTo>
                <a:lnTo>
                  <a:pt x="745413" y="144780"/>
                </a:lnTo>
                <a:lnTo>
                  <a:pt x="749515" y="144780"/>
                </a:lnTo>
                <a:lnTo>
                  <a:pt x="749973" y="143510"/>
                </a:lnTo>
                <a:lnTo>
                  <a:pt x="751535" y="140970"/>
                </a:lnTo>
                <a:lnTo>
                  <a:pt x="752259" y="139700"/>
                </a:lnTo>
                <a:lnTo>
                  <a:pt x="755827" y="138430"/>
                </a:lnTo>
                <a:lnTo>
                  <a:pt x="755434" y="138430"/>
                </a:lnTo>
                <a:lnTo>
                  <a:pt x="756475" y="134620"/>
                </a:lnTo>
                <a:lnTo>
                  <a:pt x="758621" y="133350"/>
                </a:lnTo>
                <a:lnTo>
                  <a:pt x="761834" y="129540"/>
                </a:lnTo>
                <a:lnTo>
                  <a:pt x="759421" y="135890"/>
                </a:lnTo>
                <a:lnTo>
                  <a:pt x="762876" y="129540"/>
                </a:lnTo>
                <a:lnTo>
                  <a:pt x="766381" y="125730"/>
                </a:lnTo>
                <a:lnTo>
                  <a:pt x="768121" y="123190"/>
                </a:lnTo>
                <a:lnTo>
                  <a:pt x="769823" y="121920"/>
                </a:lnTo>
                <a:lnTo>
                  <a:pt x="771359" y="118110"/>
                </a:lnTo>
                <a:lnTo>
                  <a:pt x="771867" y="118110"/>
                </a:lnTo>
                <a:lnTo>
                  <a:pt x="774026" y="119380"/>
                </a:lnTo>
                <a:lnTo>
                  <a:pt x="774026" y="118110"/>
                </a:lnTo>
                <a:lnTo>
                  <a:pt x="774026" y="115570"/>
                </a:lnTo>
                <a:lnTo>
                  <a:pt x="774750" y="115570"/>
                </a:lnTo>
                <a:lnTo>
                  <a:pt x="777709" y="113030"/>
                </a:lnTo>
                <a:lnTo>
                  <a:pt x="778230" y="111760"/>
                </a:lnTo>
                <a:lnTo>
                  <a:pt x="775576" y="109220"/>
                </a:lnTo>
                <a:lnTo>
                  <a:pt x="778611" y="109220"/>
                </a:lnTo>
                <a:lnTo>
                  <a:pt x="779754" y="107950"/>
                </a:lnTo>
                <a:lnTo>
                  <a:pt x="779348" y="107950"/>
                </a:lnTo>
                <a:lnTo>
                  <a:pt x="779360" y="106680"/>
                </a:lnTo>
                <a:lnTo>
                  <a:pt x="780084" y="106680"/>
                </a:lnTo>
                <a:lnTo>
                  <a:pt x="781519" y="105410"/>
                </a:lnTo>
                <a:lnTo>
                  <a:pt x="782459" y="105410"/>
                </a:lnTo>
                <a:lnTo>
                  <a:pt x="782802" y="104140"/>
                </a:lnTo>
                <a:lnTo>
                  <a:pt x="783932" y="104140"/>
                </a:lnTo>
                <a:lnTo>
                  <a:pt x="784136" y="106680"/>
                </a:lnTo>
                <a:lnTo>
                  <a:pt x="787184" y="104140"/>
                </a:lnTo>
                <a:lnTo>
                  <a:pt x="788670" y="102870"/>
                </a:lnTo>
                <a:lnTo>
                  <a:pt x="792353" y="99060"/>
                </a:lnTo>
                <a:lnTo>
                  <a:pt x="795667" y="96520"/>
                </a:lnTo>
                <a:lnTo>
                  <a:pt x="798791" y="92710"/>
                </a:lnTo>
                <a:lnTo>
                  <a:pt x="802411" y="90170"/>
                </a:lnTo>
                <a:lnTo>
                  <a:pt x="807224" y="83820"/>
                </a:lnTo>
                <a:lnTo>
                  <a:pt x="809396" y="81280"/>
                </a:lnTo>
                <a:lnTo>
                  <a:pt x="811644" y="80010"/>
                </a:lnTo>
                <a:lnTo>
                  <a:pt x="817397" y="74930"/>
                </a:lnTo>
                <a:lnTo>
                  <a:pt x="822998" y="71120"/>
                </a:lnTo>
                <a:lnTo>
                  <a:pt x="828408" y="66040"/>
                </a:lnTo>
                <a:lnTo>
                  <a:pt x="831875" y="63500"/>
                </a:lnTo>
                <a:lnTo>
                  <a:pt x="833602" y="62230"/>
                </a:lnTo>
                <a:lnTo>
                  <a:pt x="834275" y="60960"/>
                </a:lnTo>
                <a:lnTo>
                  <a:pt x="837882" y="60960"/>
                </a:lnTo>
                <a:lnTo>
                  <a:pt x="834517" y="58420"/>
                </a:lnTo>
                <a:lnTo>
                  <a:pt x="838974" y="58420"/>
                </a:lnTo>
                <a:lnTo>
                  <a:pt x="840206" y="57150"/>
                </a:lnTo>
                <a:lnTo>
                  <a:pt x="841616" y="55880"/>
                </a:lnTo>
                <a:lnTo>
                  <a:pt x="843457" y="54610"/>
                </a:lnTo>
                <a:lnTo>
                  <a:pt x="846328" y="52070"/>
                </a:lnTo>
                <a:lnTo>
                  <a:pt x="848309" y="50800"/>
                </a:lnTo>
                <a:lnTo>
                  <a:pt x="851281" y="49530"/>
                </a:lnTo>
                <a:lnTo>
                  <a:pt x="853960" y="46990"/>
                </a:lnTo>
                <a:lnTo>
                  <a:pt x="856259" y="45720"/>
                </a:lnTo>
                <a:lnTo>
                  <a:pt x="858621" y="44450"/>
                </a:lnTo>
                <a:lnTo>
                  <a:pt x="859802" y="43180"/>
                </a:lnTo>
                <a:lnTo>
                  <a:pt x="860983" y="41910"/>
                </a:lnTo>
                <a:lnTo>
                  <a:pt x="863307" y="40640"/>
                </a:lnTo>
                <a:lnTo>
                  <a:pt x="864984" y="39370"/>
                </a:lnTo>
                <a:lnTo>
                  <a:pt x="866673" y="38100"/>
                </a:lnTo>
                <a:lnTo>
                  <a:pt x="867321" y="38100"/>
                </a:lnTo>
                <a:lnTo>
                  <a:pt x="866165" y="36830"/>
                </a:lnTo>
                <a:lnTo>
                  <a:pt x="865733" y="36830"/>
                </a:lnTo>
                <a:lnTo>
                  <a:pt x="864057" y="38100"/>
                </a:lnTo>
                <a:lnTo>
                  <a:pt x="863295" y="38100"/>
                </a:lnTo>
                <a:lnTo>
                  <a:pt x="863574" y="37922"/>
                </a:lnTo>
                <a:lnTo>
                  <a:pt x="863701" y="37388"/>
                </a:lnTo>
                <a:lnTo>
                  <a:pt x="862723" y="36207"/>
                </a:lnTo>
                <a:lnTo>
                  <a:pt x="861796" y="36487"/>
                </a:lnTo>
                <a:lnTo>
                  <a:pt x="860894" y="36880"/>
                </a:lnTo>
                <a:lnTo>
                  <a:pt x="861644" y="37287"/>
                </a:lnTo>
                <a:lnTo>
                  <a:pt x="862444" y="37706"/>
                </a:lnTo>
                <a:lnTo>
                  <a:pt x="862634" y="38100"/>
                </a:lnTo>
                <a:lnTo>
                  <a:pt x="857211" y="39370"/>
                </a:lnTo>
                <a:lnTo>
                  <a:pt x="857783" y="38100"/>
                </a:lnTo>
                <a:lnTo>
                  <a:pt x="860298" y="38100"/>
                </a:lnTo>
                <a:lnTo>
                  <a:pt x="860729" y="36830"/>
                </a:lnTo>
                <a:lnTo>
                  <a:pt x="861441" y="35560"/>
                </a:lnTo>
                <a:lnTo>
                  <a:pt x="862101" y="34290"/>
                </a:lnTo>
                <a:lnTo>
                  <a:pt x="864158" y="33020"/>
                </a:lnTo>
                <a:lnTo>
                  <a:pt x="867422" y="34290"/>
                </a:lnTo>
                <a:lnTo>
                  <a:pt x="868426" y="35560"/>
                </a:lnTo>
                <a:lnTo>
                  <a:pt x="869924" y="34290"/>
                </a:lnTo>
                <a:lnTo>
                  <a:pt x="871461" y="33020"/>
                </a:lnTo>
                <a:lnTo>
                  <a:pt x="868591" y="33020"/>
                </a:lnTo>
                <a:lnTo>
                  <a:pt x="868032" y="32105"/>
                </a:lnTo>
                <a:lnTo>
                  <a:pt x="872807" y="30645"/>
                </a:lnTo>
                <a:lnTo>
                  <a:pt x="874229" y="25971"/>
                </a:lnTo>
                <a:lnTo>
                  <a:pt x="874204" y="25704"/>
                </a:lnTo>
                <a:lnTo>
                  <a:pt x="875309" y="25209"/>
                </a:lnTo>
                <a:lnTo>
                  <a:pt x="876312" y="25819"/>
                </a:lnTo>
                <a:close/>
              </a:path>
            </a:pathLst>
          </a:custGeom>
          <a:solidFill>
            <a:srgbClr val="D02929"/>
          </a:solidFill>
        </p:spPr>
        <p:txBody>
          <a:bodyPr wrap="square" lIns="0" tIns="0" rIns="0" bIns="0" rtlCol="0"/>
          <a:lstStyle/>
          <a:p>
            <a:endParaRPr/>
          </a:p>
        </p:txBody>
      </p:sp>
      <p:sp>
        <p:nvSpPr>
          <p:cNvPr id="19" name="object 19"/>
          <p:cNvSpPr/>
          <p:nvPr/>
        </p:nvSpPr>
        <p:spPr>
          <a:xfrm>
            <a:off x="10934205" y="7197940"/>
            <a:ext cx="18415" cy="26034"/>
          </a:xfrm>
          <a:custGeom>
            <a:avLst/>
            <a:gdLst/>
            <a:ahLst/>
            <a:cxnLst/>
            <a:rect l="l" t="t" r="r" b="b"/>
            <a:pathLst>
              <a:path w="18415" h="26034">
                <a:moveTo>
                  <a:pt x="1371" y="25133"/>
                </a:moveTo>
                <a:lnTo>
                  <a:pt x="1079" y="24726"/>
                </a:lnTo>
                <a:lnTo>
                  <a:pt x="596" y="24777"/>
                </a:lnTo>
                <a:lnTo>
                  <a:pt x="254" y="24714"/>
                </a:lnTo>
                <a:lnTo>
                  <a:pt x="203" y="25082"/>
                </a:lnTo>
                <a:lnTo>
                  <a:pt x="0" y="25539"/>
                </a:lnTo>
                <a:lnTo>
                  <a:pt x="266" y="25971"/>
                </a:lnTo>
                <a:lnTo>
                  <a:pt x="774" y="25908"/>
                </a:lnTo>
                <a:lnTo>
                  <a:pt x="1104" y="25971"/>
                </a:lnTo>
                <a:lnTo>
                  <a:pt x="1168" y="25615"/>
                </a:lnTo>
                <a:lnTo>
                  <a:pt x="1371" y="25133"/>
                </a:lnTo>
                <a:close/>
              </a:path>
              <a:path w="18415" h="26034">
                <a:moveTo>
                  <a:pt x="17907" y="850"/>
                </a:moveTo>
                <a:lnTo>
                  <a:pt x="17665" y="444"/>
                </a:lnTo>
                <a:lnTo>
                  <a:pt x="17576" y="139"/>
                </a:lnTo>
                <a:lnTo>
                  <a:pt x="16598" y="0"/>
                </a:lnTo>
                <a:lnTo>
                  <a:pt x="16598" y="342"/>
                </a:lnTo>
                <a:lnTo>
                  <a:pt x="16484" y="749"/>
                </a:lnTo>
                <a:lnTo>
                  <a:pt x="16916" y="1612"/>
                </a:lnTo>
                <a:lnTo>
                  <a:pt x="17424" y="1587"/>
                </a:lnTo>
                <a:lnTo>
                  <a:pt x="17792" y="1028"/>
                </a:lnTo>
                <a:lnTo>
                  <a:pt x="17907" y="850"/>
                </a:lnTo>
                <a:close/>
              </a:path>
            </a:pathLst>
          </a:custGeom>
          <a:solidFill>
            <a:srgbClr val="D02929"/>
          </a:solidFill>
        </p:spPr>
        <p:txBody>
          <a:bodyPr wrap="square" lIns="0" tIns="0" rIns="0" bIns="0" rtlCol="0"/>
          <a:lstStyle/>
          <a:p>
            <a:endParaRPr/>
          </a:p>
        </p:txBody>
      </p:sp>
      <p:sp>
        <p:nvSpPr>
          <p:cNvPr id="20" name="object 20"/>
          <p:cNvSpPr/>
          <p:nvPr/>
        </p:nvSpPr>
        <p:spPr>
          <a:xfrm>
            <a:off x="10899064" y="7275524"/>
            <a:ext cx="1270" cy="1905"/>
          </a:xfrm>
          <a:custGeom>
            <a:avLst/>
            <a:gdLst/>
            <a:ahLst/>
            <a:cxnLst/>
            <a:rect l="l" t="t" r="r" b="b"/>
            <a:pathLst>
              <a:path w="1270" h="1904">
                <a:moveTo>
                  <a:pt x="1181" y="76"/>
                </a:moveTo>
                <a:lnTo>
                  <a:pt x="241" y="0"/>
                </a:lnTo>
                <a:lnTo>
                  <a:pt x="165" y="355"/>
                </a:lnTo>
                <a:lnTo>
                  <a:pt x="0" y="749"/>
                </a:lnTo>
                <a:lnTo>
                  <a:pt x="215" y="1524"/>
                </a:lnTo>
                <a:lnTo>
                  <a:pt x="609" y="1524"/>
                </a:lnTo>
                <a:lnTo>
                  <a:pt x="876" y="1079"/>
                </a:lnTo>
                <a:lnTo>
                  <a:pt x="1054" y="787"/>
                </a:lnTo>
                <a:lnTo>
                  <a:pt x="1079" y="419"/>
                </a:lnTo>
                <a:lnTo>
                  <a:pt x="1181" y="76"/>
                </a:lnTo>
                <a:close/>
              </a:path>
            </a:pathLst>
          </a:custGeom>
          <a:solidFill>
            <a:srgbClr val="D02929"/>
          </a:solidFill>
        </p:spPr>
        <p:txBody>
          <a:bodyPr wrap="square" lIns="0" tIns="0" rIns="0" bIns="0" rtlCol="0"/>
          <a:lstStyle/>
          <a:p>
            <a:endParaRPr/>
          </a:p>
        </p:txBody>
      </p:sp>
      <p:sp>
        <p:nvSpPr>
          <p:cNvPr id="21" name="object 21"/>
          <p:cNvSpPr/>
          <p:nvPr/>
        </p:nvSpPr>
        <p:spPr>
          <a:xfrm>
            <a:off x="10738294" y="6544855"/>
            <a:ext cx="876935" cy="989330"/>
          </a:xfrm>
          <a:custGeom>
            <a:avLst/>
            <a:gdLst/>
            <a:ahLst/>
            <a:cxnLst/>
            <a:rect l="l" t="t" r="r" b="b"/>
            <a:pathLst>
              <a:path w="876934" h="989329">
                <a:moveTo>
                  <a:pt x="101828" y="580910"/>
                </a:moveTo>
                <a:lnTo>
                  <a:pt x="101714" y="580059"/>
                </a:lnTo>
                <a:lnTo>
                  <a:pt x="101333" y="579869"/>
                </a:lnTo>
                <a:lnTo>
                  <a:pt x="101053" y="580110"/>
                </a:lnTo>
                <a:lnTo>
                  <a:pt x="100761" y="580339"/>
                </a:lnTo>
                <a:lnTo>
                  <a:pt x="100482" y="580859"/>
                </a:lnTo>
                <a:lnTo>
                  <a:pt x="100279" y="581964"/>
                </a:lnTo>
                <a:lnTo>
                  <a:pt x="100672" y="582650"/>
                </a:lnTo>
                <a:lnTo>
                  <a:pt x="101346" y="582168"/>
                </a:lnTo>
                <a:lnTo>
                  <a:pt x="101574" y="581380"/>
                </a:lnTo>
                <a:lnTo>
                  <a:pt x="101828" y="580910"/>
                </a:lnTo>
                <a:close/>
              </a:path>
              <a:path w="876934" h="989329">
                <a:moveTo>
                  <a:pt x="108458" y="982980"/>
                </a:moveTo>
                <a:lnTo>
                  <a:pt x="89814" y="982980"/>
                </a:lnTo>
                <a:lnTo>
                  <a:pt x="91833" y="986790"/>
                </a:lnTo>
                <a:lnTo>
                  <a:pt x="93472" y="986790"/>
                </a:lnTo>
                <a:lnTo>
                  <a:pt x="95580" y="988060"/>
                </a:lnTo>
                <a:lnTo>
                  <a:pt x="99618" y="988060"/>
                </a:lnTo>
                <a:lnTo>
                  <a:pt x="106845" y="989330"/>
                </a:lnTo>
                <a:lnTo>
                  <a:pt x="106400" y="985520"/>
                </a:lnTo>
                <a:lnTo>
                  <a:pt x="107543" y="984250"/>
                </a:lnTo>
                <a:lnTo>
                  <a:pt x="108458" y="982980"/>
                </a:lnTo>
                <a:close/>
              </a:path>
              <a:path w="876934" h="989329">
                <a:moveTo>
                  <a:pt x="110388" y="577786"/>
                </a:moveTo>
                <a:lnTo>
                  <a:pt x="110109" y="576249"/>
                </a:lnTo>
                <a:lnTo>
                  <a:pt x="109855" y="575754"/>
                </a:lnTo>
                <a:lnTo>
                  <a:pt x="109283" y="574827"/>
                </a:lnTo>
                <a:lnTo>
                  <a:pt x="108902" y="574929"/>
                </a:lnTo>
                <a:lnTo>
                  <a:pt x="108102" y="578167"/>
                </a:lnTo>
                <a:lnTo>
                  <a:pt x="107276" y="580542"/>
                </a:lnTo>
                <a:lnTo>
                  <a:pt x="106006" y="583247"/>
                </a:lnTo>
                <a:lnTo>
                  <a:pt x="105943" y="583742"/>
                </a:lnTo>
                <a:lnTo>
                  <a:pt x="106464" y="583907"/>
                </a:lnTo>
                <a:lnTo>
                  <a:pt x="107111" y="583958"/>
                </a:lnTo>
                <a:lnTo>
                  <a:pt x="110388" y="577786"/>
                </a:lnTo>
                <a:close/>
              </a:path>
              <a:path w="876934" h="989329">
                <a:moveTo>
                  <a:pt x="126809" y="683183"/>
                </a:moveTo>
                <a:lnTo>
                  <a:pt x="124053" y="681990"/>
                </a:lnTo>
                <a:lnTo>
                  <a:pt x="123634" y="680720"/>
                </a:lnTo>
                <a:lnTo>
                  <a:pt x="125882" y="678180"/>
                </a:lnTo>
                <a:lnTo>
                  <a:pt x="124244" y="675640"/>
                </a:lnTo>
                <a:lnTo>
                  <a:pt x="122593" y="671830"/>
                </a:lnTo>
                <a:lnTo>
                  <a:pt x="120383" y="669836"/>
                </a:lnTo>
                <a:lnTo>
                  <a:pt x="120383" y="688340"/>
                </a:lnTo>
                <a:lnTo>
                  <a:pt x="119735" y="689610"/>
                </a:lnTo>
                <a:lnTo>
                  <a:pt x="118859" y="689610"/>
                </a:lnTo>
                <a:lnTo>
                  <a:pt x="118046" y="687070"/>
                </a:lnTo>
                <a:lnTo>
                  <a:pt x="117919" y="686663"/>
                </a:lnTo>
                <a:lnTo>
                  <a:pt x="119253" y="684530"/>
                </a:lnTo>
                <a:lnTo>
                  <a:pt x="119697" y="685800"/>
                </a:lnTo>
                <a:lnTo>
                  <a:pt x="120002" y="687070"/>
                </a:lnTo>
                <a:lnTo>
                  <a:pt x="120383" y="688340"/>
                </a:lnTo>
                <a:lnTo>
                  <a:pt x="120383" y="669836"/>
                </a:lnTo>
                <a:lnTo>
                  <a:pt x="119786" y="669290"/>
                </a:lnTo>
                <a:lnTo>
                  <a:pt x="122936" y="664210"/>
                </a:lnTo>
                <a:lnTo>
                  <a:pt x="122301" y="662940"/>
                </a:lnTo>
                <a:lnTo>
                  <a:pt x="121500" y="661670"/>
                </a:lnTo>
                <a:lnTo>
                  <a:pt x="121945" y="660400"/>
                </a:lnTo>
                <a:lnTo>
                  <a:pt x="123355" y="660400"/>
                </a:lnTo>
                <a:lnTo>
                  <a:pt x="121488" y="657313"/>
                </a:lnTo>
                <a:lnTo>
                  <a:pt x="121488" y="660400"/>
                </a:lnTo>
                <a:lnTo>
                  <a:pt x="121437" y="661644"/>
                </a:lnTo>
                <a:lnTo>
                  <a:pt x="121170" y="660400"/>
                </a:lnTo>
                <a:lnTo>
                  <a:pt x="121488" y="660400"/>
                </a:lnTo>
                <a:lnTo>
                  <a:pt x="121488" y="657313"/>
                </a:lnTo>
                <a:lnTo>
                  <a:pt x="121056" y="656590"/>
                </a:lnTo>
                <a:lnTo>
                  <a:pt x="120904" y="654050"/>
                </a:lnTo>
                <a:lnTo>
                  <a:pt x="118198" y="650240"/>
                </a:lnTo>
                <a:lnTo>
                  <a:pt x="119608" y="648970"/>
                </a:lnTo>
                <a:lnTo>
                  <a:pt x="121005" y="647700"/>
                </a:lnTo>
                <a:lnTo>
                  <a:pt x="122504" y="645160"/>
                </a:lnTo>
                <a:lnTo>
                  <a:pt x="117271" y="641578"/>
                </a:lnTo>
                <a:lnTo>
                  <a:pt x="117271" y="690880"/>
                </a:lnTo>
                <a:lnTo>
                  <a:pt x="116090" y="689610"/>
                </a:lnTo>
                <a:lnTo>
                  <a:pt x="114769" y="689610"/>
                </a:lnTo>
                <a:lnTo>
                  <a:pt x="113411" y="688340"/>
                </a:lnTo>
                <a:lnTo>
                  <a:pt x="113207" y="688340"/>
                </a:lnTo>
                <a:lnTo>
                  <a:pt x="113131" y="687070"/>
                </a:lnTo>
                <a:lnTo>
                  <a:pt x="117132" y="687070"/>
                </a:lnTo>
                <a:lnTo>
                  <a:pt x="117195" y="689610"/>
                </a:lnTo>
                <a:lnTo>
                  <a:pt x="117271" y="690880"/>
                </a:lnTo>
                <a:lnTo>
                  <a:pt x="117271" y="641578"/>
                </a:lnTo>
                <a:lnTo>
                  <a:pt x="116954" y="641350"/>
                </a:lnTo>
                <a:lnTo>
                  <a:pt x="116979" y="635000"/>
                </a:lnTo>
                <a:lnTo>
                  <a:pt x="116344" y="632460"/>
                </a:lnTo>
                <a:lnTo>
                  <a:pt x="116027" y="631190"/>
                </a:lnTo>
                <a:lnTo>
                  <a:pt x="115392" y="628650"/>
                </a:lnTo>
                <a:lnTo>
                  <a:pt x="115176" y="627380"/>
                </a:lnTo>
                <a:lnTo>
                  <a:pt x="114960" y="626110"/>
                </a:lnTo>
                <a:lnTo>
                  <a:pt x="112331" y="626110"/>
                </a:lnTo>
                <a:lnTo>
                  <a:pt x="111671" y="627380"/>
                </a:lnTo>
                <a:lnTo>
                  <a:pt x="111556" y="624840"/>
                </a:lnTo>
                <a:lnTo>
                  <a:pt x="112128" y="624840"/>
                </a:lnTo>
                <a:lnTo>
                  <a:pt x="113487" y="623570"/>
                </a:lnTo>
                <a:lnTo>
                  <a:pt x="114782" y="623570"/>
                </a:lnTo>
                <a:lnTo>
                  <a:pt x="115735" y="617220"/>
                </a:lnTo>
                <a:lnTo>
                  <a:pt x="115836" y="612140"/>
                </a:lnTo>
                <a:lnTo>
                  <a:pt x="116217" y="608330"/>
                </a:lnTo>
                <a:lnTo>
                  <a:pt x="116344" y="607060"/>
                </a:lnTo>
                <a:lnTo>
                  <a:pt x="115557" y="605790"/>
                </a:lnTo>
                <a:lnTo>
                  <a:pt x="114757" y="604520"/>
                </a:lnTo>
                <a:lnTo>
                  <a:pt x="109588" y="604520"/>
                </a:lnTo>
                <a:lnTo>
                  <a:pt x="108127" y="605523"/>
                </a:lnTo>
                <a:lnTo>
                  <a:pt x="108127" y="612140"/>
                </a:lnTo>
                <a:lnTo>
                  <a:pt x="106540" y="612140"/>
                </a:lnTo>
                <a:lnTo>
                  <a:pt x="106565" y="610870"/>
                </a:lnTo>
                <a:lnTo>
                  <a:pt x="106591" y="609600"/>
                </a:lnTo>
                <a:lnTo>
                  <a:pt x="106730" y="608330"/>
                </a:lnTo>
                <a:lnTo>
                  <a:pt x="108089" y="608330"/>
                </a:lnTo>
                <a:lnTo>
                  <a:pt x="108026" y="609600"/>
                </a:lnTo>
                <a:lnTo>
                  <a:pt x="108127" y="612140"/>
                </a:lnTo>
                <a:lnTo>
                  <a:pt x="108127" y="605523"/>
                </a:lnTo>
                <a:lnTo>
                  <a:pt x="107734" y="605790"/>
                </a:lnTo>
                <a:lnTo>
                  <a:pt x="106819" y="605790"/>
                </a:lnTo>
                <a:lnTo>
                  <a:pt x="107048" y="604520"/>
                </a:lnTo>
                <a:lnTo>
                  <a:pt x="107492" y="601980"/>
                </a:lnTo>
                <a:lnTo>
                  <a:pt x="108737" y="600710"/>
                </a:lnTo>
                <a:lnTo>
                  <a:pt x="111734" y="600710"/>
                </a:lnTo>
                <a:lnTo>
                  <a:pt x="113487" y="599440"/>
                </a:lnTo>
                <a:lnTo>
                  <a:pt x="115290" y="601980"/>
                </a:lnTo>
                <a:lnTo>
                  <a:pt x="114681" y="604520"/>
                </a:lnTo>
                <a:lnTo>
                  <a:pt x="117525" y="601980"/>
                </a:lnTo>
                <a:lnTo>
                  <a:pt x="117538" y="600710"/>
                </a:lnTo>
                <a:lnTo>
                  <a:pt x="117081" y="599440"/>
                </a:lnTo>
                <a:lnTo>
                  <a:pt x="116624" y="598170"/>
                </a:lnTo>
                <a:lnTo>
                  <a:pt x="115252" y="594360"/>
                </a:lnTo>
                <a:lnTo>
                  <a:pt x="111734" y="593090"/>
                </a:lnTo>
                <a:lnTo>
                  <a:pt x="108508" y="596900"/>
                </a:lnTo>
                <a:lnTo>
                  <a:pt x="107721" y="596900"/>
                </a:lnTo>
                <a:lnTo>
                  <a:pt x="107010" y="598170"/>
                </a:lnTo>
                <a:lnTo>
                  <a:pt x="106591" y="596900"/>
                </a:lnTo>
                <a:lnTo>
                  <a:pt x="106121" y="596900"/>
                </a:lnTo>
                <a:lnTo>
                  <a:pt x="105587" y="595630"/>
                </a:lnTo>
                <a:lnTo>
                  <a:pt x="106819" y="594360"/>
                </a:lnTo>
                <a:lnTo>
                  <a:pt x="107657" y="591820"/>
                </a:lnTo>
                <a:lnTo>
                  <a:pt x="107645" y="590550"/>
                </a:lnTo>
                <a:lnTo>
                  <a:pt x="107619" y="589280"/>
                </a:lnTo>
                <a:lnTo>
                  <a:pt x="107708" y="586740"/>
                </a:lnTo>
                <a:lnTo>
                  <a:pt x="107823" y="585470"/>
                </a:lnTo>
                <a:lnTo>
                  <a:pt x="104673" y="589280"/>
                </a:lnTo>
                <a:lnTo>
                  <a:pt x="104673" y="600710"/>
                </a:lnTo>
                <a:lnTo>
                  <a:pt x="104203" y="601980"/>
                </a:lnTo>
                <a:lnTo>
                  <a:pt x="103644" y="600710"/>
                </a:lnTo>
                <a:lnTo>
                  <a:pt x="104673" y="600710"/>
                </a:lnTo>
                <a:lnTo>
                  <a:pt x="104673" y="589280"/>
                </a:lnTo>
                <a:lnTo>
                  <a:pt x="103263" y="588010"/>
                </a:lnTo>
                <a:lnTo>
                  <a:pt x="101206" y="585470"/>
                </a:lnTo>
                <a:lnTo>
                  <a:pt x="101193" y="601980"/>
                </a:lnTo>
                <a:lnTo>
                  <a:pt x="100939" y="601980"/>
                </a:lnTo>
                <a:lnTo>
                  <a:pt x="100749" y="603250"/>
                </a:lnTo>
                <a:lnTo>
                  <a:pt x="100380" y="604520"/>
                </a:lnTo>
                <a:lnTo>
                  <a:pt x="99847" y="604520"/>
                </a:lnTo>
                <a:lnTo>
                  <a:pt x="99974" y="603250"/>
                </a:lnTo>
                <a:lnTo>
                  <a:pt x="99745" y="601980"/>
                </a:lnTo>
                <a:lnTo>
                  <a:pt x="100609" y="600710"/>
                </a:lnTo>
                <a:lnTo>
                  <a:pt x="101193" y="601980"/>
                </a:lnTo>
                <a:lnTo>
                  <a:pt x="101193" y="585457"/>
                </a:lnTo>
                <a:lnTo>
                  <a:pt x="99161" y="582930"/>
                </a:lnTo>
                <a:lnTo>
                  <a:pt x="98933" y="580390"/>
                </a:lnTo>
                <a:lnTo>
                  <a:pt x="98818" y="579120"/>
                </a:lnTo>
                <a:lnTo>
                  <a:pt x="97396" y="575310"/>
                </a:lnTo>
                <a:lnTo>
                  <a:pt x="96964" y="574040"/>
                </a:lnTo>
                <a:lnTo>
                  <a:pt x="98120" y="572770"/>
                </a:lnTo>
                <a:lnTo>
                  <a:pt x="98818" y="572770"/>
                </a:lnTo>
                <a:lnTo>
                  <a:pt x="100317" y="575310"/>
                </a:lnTo>
                <a:lnTo>
                  <a:pt x="102133" y="576580"/>
                </a:lnTo>
                <a:lnTo>
                  <a:pt x="104559" y="580390"/>
                </a:lnTo>
                <a:lnTo>
                  <a:pt x="105867" y="579120"/>
                </a:lnTo>
                <a:lnTo>
                  <a:pt x="107188" y="575310"/>
                </a:lnTo>
                <a:lnTo>
                  <a:pt x="107632" y="574040"/>
                </a:lnTo>
                <a:lnTo>
                  <a:pt x="105714" y="575310"/>
                </a:lnTo>
                <a:lnTo>
                  <a:pt x="104368" y="574040"/>
                </a:lnTo>
                <a:lnTo>
                  <a:pt x="103568" y="572770"/>
                </a:lnTo>
                <a:lnTo>
                  <a:pt x="100342" y="572770"/>
                </a:lnTo>
                <a:lnTo>
                  <a:pt x="100469" y="571500"/>
                </a:lnTo>
                <a:lnTo>
                  <a:pt x="100596" y="570230"/>
                </a:lnTo>
                <a:lnTo>
                  <a:pt x="101231" y="567690"/>
                </a:lnTo>
                <a:lnTo>
                  <a:pt x="101879" y="565150"/>
                </a:lnTo>
                <a:lnTo>
                  <a:pt x="102514" y="562610"/>
                </a:lnTo>
                <a:lnTo>
                  <a:pt x="101815" y="560070"/>
                </a:lnTo>
                <a:lnTo>
                  <a:pt x="97866" y="557530"/>
                </a:lnTo>
                <a:lnTo>
                  <a:pt x="97510" y="557530"/>
                </a:lnTo>
                <a:lnTo>
                  <a:pt x="96507" y="554990"/>
                </a:lnTo>
                <a:lnTo>
                  <a:pt x="95453" y="553720"/>
                </a:lnTo>
                <a:lnTo>
                  <a:pt x="94081" y="554507"/>
                </a:lnTo>
                <a:lnTo>
                  <a:pt x="94081" y="610870"/>
                </a:lnTo>
                <a:lnTo>
                  <a:pt x="93840" y="612140"/>
                </a:lnTo>
                <a:lnTo>
                  <a:pt x="92468" y="612140"/>
                </a:lnTo>
                <a:lnTo>
                  <a:pt x="92862" y="610870"/>
                </a:lnTo>
                <a:lnTo>
                  <a:pt x="94081" y="610870"/>
                </a:lnTo>
                <a:lnTo>
                  <a:pt x="94081" y="554507"/>
                </a:lnTo>
                <a:lnTo>
                  <a:pt x="93230" y="554990"/>
                </a:lnTo>
                <a:lnTo>
                  <a:pt x="92659" y="557530"/>
                </a:lnTo>
                <a:lnTo>
                  <a:pt x="93065" y="561340"/>
                </a:lnTo>
                <a:lnTo>
                  <a:pt x="93891" y="562610"/>
                </a:lnTo>
                <a:lnTo>
                  <a:pt x="93878" y="586740"/>
                </a:lnTo>
                <a:lnTo>
                  <a:pt x="93865" y="588010"/>
                </a:lnTo>
                <a:lnTo>
                  <a:pt x="93751" y="586740"/>
                </a:lnTo>
                <a:lnTo>
                  <a:pt x="93878" y="586740"/>
                </a:lnTo>
                <a:lnTo>
                  <a:pt x="93878" y="562635"/>
                </a:lnTo>
                <a:lnTo>
                  <a:pt x="93548" y="563029"/>
                </a:lnTo>
                <a:lnTo>
                  <a:pt x="93548" y="586740"/>
                </a:lnTo>
                <a:lnTo>
                  <a:pt x="92075" y="586740"/>
                </a:lnTo>
                <a:lnTo>
                  <a:pt x="92087" y="585470"/>
                </a:lnTo>
                <a:lnTo>
                  <a:pt x="93408" y="585470"/>
                </a:lnTo>
                <a:lnTo>
                  <a:pt x="93548" y="586740"/>
                </a:lnTo>
                <a:lnTo>
                  <a:pt x="93548" y="563029"/>
                </a:lnTo>
                <a:lnTo>
                  <a:pt x="92824" y="563880"/>
                </a:lnTo>
                <a:lnTo>
                  <a:pt x="92608" y="565150"/>
                </a:lnTo>
                <a:lnTo>
                  <a:pt x="91236" y="565150"/>
                </a:lnTo>
                <a:lnTo>
                  <a:pt x="91249" y="560070"/>
                </a:lnTo>
                <a:lnTo>
                  <a:pt x="91389" y="557530"/>
                </a:lnTo>
                <a:lnTo>
                  <a:pt x="89801" y="557530"/>
                </a:lnTo>
                <a:lnTo>
                  <a:pt x="88773" y="556577"/>
                </a:lnTo>
                <a:lnTo>
                  <a:pt x="88773" y="588010"/>
                </a:lnTo>
                <a:lnTo>
                  <a:pt x="87198" y="588010"/>
                </a:lnTo>
                <a:lnTo>
                  <a:pt x="87274" y="585470"/>
                </a:lnTo>
                <a:lnTo>
                  <a:pt x="86296" y="586740"/>
                </a:lnTo>
                <a:lnTo>
                  <a:pt x="85674" y="586740"/>
                </a:lnTo>
                <a:lnTo>
                  <a:pt x="83616" y="585470"/>
                </a:lnTo>
                <a:lnTo>
                  <a:pt x="82791" y="584200"/>
                </a:lnTo>
                <a:lnTo>
                  <a:pt x="82105" y="582930"/>
                </a:lnTo>
                <a:lnTo>
                  <a:pt x="82588" y="582930"/>
                </a:lnTo>
                <a:lnTo>
                  <a:pt x="83096" y="581660"/>
                </a:lnTo>
                <a:lnTo>
                  <a:pt x="84340" y="581660"/>
                </a:lnTo>
                <a:lnTo>
                  <a:pt x="85572" y="580390"/>
                </a:lnTo>
                <a:lnTo>
                  <a:pt x="86715" y="581660"/>
                </a:lnTo>
                <a:lnTo>
                  <a:pt x="87960" y="584200"/>
                </a:lnTo>
                <a:lnTo>
                  <a:pt x="88328" y="585470"/>
                </a:lnTo>
                <a:lnTo>
                  <a:pt x="88595" y="586740"/>
                </a:lnTo>
                <a:lnTo>
                  <a:pt x="88773" y="588010"/>
                </a:lnTo>
                <a:lnTo>
                  <a:pt x="88773" y="556577"/>
                </a:lnTo>
                <a:lnTo>
                  <a:pt x="87071" y="554990"/>
                </a:lnTo>
                <a:lnTo>
                  <a:pt x="86182" y="554990"/>
                </a:lnTo>
                <a:lnTo>
                  <a:pt x="84264" y="558800"/>
                </a:lnTo>
                <a:lnTo>
                  <a:pt x="82892" y="560070"/>
                </a:lnTo>
                <a:lnTo>
                  <a:pt x="82105" y="560070"/>
                </a:lnTo>
                <a:lnTo>
                  <a:pt x="81089" y="558800"/>
                </a:lnTo>
                <a:lnTo>
                  <a:pt x="78892" y="558800"/>
                </a:lnTo>
                <a:lnTo>
                  <a:pt x="78333" y="557530"/>
                </a:lnTo>
                <a:lnTo>
                  <a:pt x="76822" y="554990"/>
                </a:lnTo>
                <a:lnTo>
                  <a:pt x="75209" y="553720"/>
                </a:lnTo>
                <a:lnTo>
                  <a:pt x="71907" y="554990"/>
                </a:lnTo>
                <a:lnTo>
                  <a:pt x="71069" y="557530"/>
                </a:lnTo>
                <a:lnTo>
                  <a:pt x="71729" y="561340"/>
                </a:lnTo>
                <a:lnTo>
                  <a:pt x="72974" y="562610"/>
                </a:lnTo>
                <a:lnTo>
                  <a:pt x="72351" y="563118"/>
                </a:lnTo>
                <a:lnTo>
                  <a:pt x="72351" y="586740"/>
                </a:lnTo>
                <a:lnTo>
                  <a:pt x="70891" y="586740"/>
                </a:lnTo>
                <a:lnTo>
                  <a:pt x="70739" y="585470"/>
                </a:lnTo>
                <a:lnTo>
                  <a:pt x="72034" y="585470"/>
                </a:lnTo>
                <a:lnTo>
                  <a:pt x="72351" y="586740"/>
                </a:lnTo>
                <a:lnTo>
                  <a:pt x="72351" y="563118"/>
                </a:lnTo>
                <a:lnTo>
                  <a:pt x="71386" y="563880"/>
                </a:lnTo>
                <a:lnTo>
                  <a:pt x="71094" y="565150"/>
                </a:lnTo>
                <a:lnTo>
                  <a:pt x="69037" y="565150"/>
                </a:lnTo>
                <a:lnTo>
                  <a:pt x="69202" y="563880"/>
                </a:lnTo>
                <a:lnTo>
                  <a:pt x="69062" y="562610"/>
                </a:lnTo>
                <a:lnTo>
                  <a:pt x="68897" y="561340"/>
                </a:lnTo>
                <a:lnTo>
                  <a:pt x="69176" y="557530"/>
                </a:lnTo>
                <a:lnTo>
                  <a:pt x="66789" y="557530"/>
                </a:lnTo>
                <a:lnTo>
                  <a:pt x="65138" y="556514"/>
                </a:lnTo>
                <a:lnTo>
                  <a:pt x="65138" y="586740"/>
                </a:lnTo>
                <a:lnTo>
                  <a:pt x="64096" y="586740"/>
                </a:lnTo>
                <a:lnTo>
                  <a:pt x="64503" y="589280"/>
                </a:lnTo>
                <a:lnTo>
                  <a:pt x="64757" y="590550"/>
                </a:lnTo>
                <a:lnTo>
                  <a:pt x="63754" y="590550"/>
                </a:lnTo>
                <a:lnTo>
                  <a:pt x="63042" y="589280"/>
                </a:lnTo>
                <a:lnTo>
                  <a:pt x="63258" y="585470"/>
                </a:lnTo>
                <a:lnTo>
                  <a:pt x="61760" y="586740"/>
                </a:lnTo>
                <a:lnTo>
                  <a:pt x="59931" y="586740"/>
                </a:lnTo>
                <a:lnTo>
                  <a:pt x="59410" y="588010"/>
                </a:lnTo>
                <a:lnTo>
                  <a:pt x="58826" y="589280"/>
                </a:lnTo>
                <a:lnTo>
                  <a:pt x="58051" y="590550"/>
                </a:lnTo>
                <a:lnTo>
                  <a:pt x="54927" y="590550"/>
                </a:lnTo>
                <a:lnTo>
                  <a:pt x="55829" y="589280"/>
                </a:lnTo>
                <a:lnTo>
                  <a:pt x="54927" y="586740"/>
                </a:lnTo>
                <a:lnTo>
                  <a:pt x="54368" y="585470"/>
                </a:lnTo>
                <a:lnTo>
                  <a:pt x="53746" y="584200"/>
                </a:lnTo>
                <a:lnTo>
                  <a:pt x="55194" y="582930"/>
                </a:lnTo>
                <a:lnTo>
                  <a:pt x="57124" y="581660"/>
                </a:lnTo>
                <a:lnTo>
                  <a:pt x="58928" y="581660"/>
                </a:lnTo>
                <a:lnTo>
                  <a:pt x="60655" y="580390"/>
                </a:lnTo>
                <a:lnTo>
                  <a:pt x="62369" y="581660"/>
                </a:lnTo>
                <a:lnTo>
                  <a:pt x="64249" y="584200"/>
                </a:lnTo>
                <a:lnTo>
                  <a:pt x="64795" y="585470"/>
                </a:lnTo>
                <a:lnTo>
                  <a:pt x="65138" y="586740"/>
                </a:lnTo>
                <a:lnTo>
                  <a:pt x="65138" y="556514"/>
                </a:lnTo>
                <a:lnTo>
                  <a:pt x="62674" y="554990"/>
                </a:lnTo>
                <a:lnTo>
                  <a:pt x="61328" y="554990"/>
                </a:lnTo>
                <a:lnTo>
                  <a:pt x="57492" y="560070"/>
                </a:lnTo>
                <a:lnTo>
                  <a:pt x="55105" y="561340"/>
                </a:lnTo>
                <a:lnTo>
                  <a:pt x="54711" y="561809"/>
                </a:lnTo>
                <a:lnTo>
                  <a:pt x="54711" y="568960"/>
                </a:lnTo>
                <a:lnTo>
                  <a:pt x="54102" y="568960"/>
                </a:lnTo>
                <a:lnTo>
                  <a:pt x="53454" y="570230"/>
                </a:lnTo>
                <a:lnTo>
                  <a:pt x="51689" y="570230"/>
                </a:lnTo>
                <a:lnTo>
                  <a:pt x="51955" y="567690"/>
                </a:lnTo>
                <a:lnTo>
                  <a:pt x="54571" y="567690"/>
                </a:lnTo>
                <a:lnTo>
                  <a:pt x="54711" y="568960"/>
                </a:lnTo>
                <a:lnTo>
                  <a:pt x="54711" y="561809"/>
                </a:lnTo>
                <a:lnTo>
                  <a:pt x="51904" y="565150"/>
                </a:lnTo>
                <a:lnTo>
                  <a:pt x="51384" y="565150"/>
                </a:lnTo>
                <a:lnTo>
                  <a:pt x="47078" y="560070"/>
                </a:lnTo>
                <a:lnTo>
                  <a:pt x="44157" y="561340"/>
                </a:lnTo>
                <a:lnTo>
                  <a:pt x="43307" y="568960"/>
                </a:lnTo>
                <a:lnTo>
                  <a:pt x="43141" y="571500"/>
                </a:lnTo>
                <a:lnTo>
                  <a:pt x="36347" y="570230"/>
                </a:lnTo>
                <a:lnTo>
                  <a:pt x="36715" y="572770"/>
                </a:lnTo>
                <a:lnTo>
                  <a:pt x="38798" y="575310"/>
                </a:lnTo>
                <a:lnTo>
                  <a:pt x="40652" y="584200"/>
                </a:lnTo>
                <a:lnTo>
                  <a:pt x="40322" y="585470"/>
                </a:lnTo>
                <a:lnTo>
                  <a:pt x="40881" y="586740"/>
                </a:lnTo>
                <a:lnTo>
                  <a:pt x="39230" y="586740"/>
                </a:lnTo>
                <a:lnTo>
                  <a:pt x="38430" y="585470"/>
                </a:lnTo>
                <a:lnTo>
                  <a:pt x="37846" y="581660"/>
                </a:lnTo>
                <a:lnTo>
                  <a:pt x="37134" y="579120"/>
                </a:lnTo>
                <a:lnTo>
                  <a:pt x="33718" y="576580"/>
                </a:lnTo>
                <a:lnTo>
                  <a:pt x="32994" y="574040"/>
                </a:lnTo>
                <a:lnTo>
                  <a:pt x="30568" y="575310"/>
                </a:lnTo>
                <a:lnTo>
                  <a:pt x="30454" y="580390"/>
                </a:lnTo>
                <a:lnTo>
                  <a:pt x="30276" y="581660"/>
                </a:lnTo>
                <a:lnTo>
                  <a:pt x="35826" y="584200"/>
                </a:lnTo>
                <a:lnTo>
                  <a:pt x="32131" y="584200"/>
                </a:lnTo>
                <a:lnTo>
                  <a:pt x="31521" y="586740"/>
                </a:lnTo>
                <a:lnTo>
                  <a:pt x="28143" y="586740"/>
                </a:lnTo>
                <a:lnTo>
                  <a:pt x="30543" y="593090"/>
                </a:lnTo>
                <a:lnTo>
                  <a:pt x="30480" y="596900"/>
                </a:lnTo>
                <a:lnTo>
                  <a:pt x="29806" y="600710"/>
                </a:lnTo>
                <a:lnTo>
                  <a:pt x="29337" y="604520"/>
                </a:lnTo>
                <a:lnTo>
                  <a:pt x="29629" y="607060"/>
                </a:lnTo>
                <a:lnTo>
                  <a:pt x="24053" y="609600"/>
                </a:lnTo>
                <a:lnTo>
                  <a:pt x="19659" y="610870"/>
                </a:lnTo>
                <a:lnTo>
                  <a:pt x="20231" y="615950"/>
                </a:lnTo>
                <a:lnTo>
                  <a:pt x="17805" y="617220"/>
                </a:lnTo>
                <a:lnTo>
                  <a:pt x="16129" y="618769"/>
                </a:lnTo>
                <a:lnTo>
                  <a:pt x="16129" y="632460"/>
                </a:lnTo>
                <a:lnTo>
                  <a:pt x="15125" y="632460"/>
                </a:lnTo>
                <a:lnTo>
                  <a:pt x="15125" y="645160"/>
                </a:lnTo>
                <a:lnTo>
                  <a:pt x="15087" y="646430"/>
                </a:lnTo>
                <a:lnTo>
                  <a:pt x="14719" y="647700"/>
                </a:lnTo>
                <a:lnTo>
                  <a:pt x="13779" y="648970"/>
                </a:lnTo>
                <a:lnTo>
                  <a:pt x="11442" y="648970"/>
                </a:lnTo>
                <a:lnTo>
                  <a:pt x="11074" y="647700"/>
                </a:lnTo>
                <a:lnTo>
                  <a:pt x="10807" y="645160"/>
                </a:lnTo>
                <a:lnTo>
                  <a:pt x="15125" y="645160"/>
                </a:lnTo>
                <a:lnTo>
                  <a:pt x="15125" y="632460"/>
                </a:lnTo>
                <a:lnTo>
                  <a:pt x="14947" y="632460"/>
                </a:lnTo>
                <a:lnTo>
                  <a:pt x="14439" y="631190"/>
                </a:lnTo>
                <a:lnTo>
                  <a:pt x="15900" y="631190"/>
                </a:lnTo>
                <a:lnTo>
                  <a:pt x="16129" y="632460"/>
                </a:lnTo>
                <a:lnTo>
                  <a:pt x="16129" y="618769"/>
                </a:lnTo>
                <a:lnTo>
                  <a:pt x="13677" y="621030"/>
                </a:lnTo>
                <a:lnTo>
                  <a:pt x="12331" y="623570"/>
                </a:lnTo>
                <a:lnTo>
                  <a:pt x="10350" y="629920"/>
                </a:lnTo>
                <a:lnTo>
                  <a:pt x="7416" y="632460"/>
                </a:lnTo>
                <a:lnTo>
                  <a:pt x="4495" y="636270"/>
                </a:lnTo>
                <a:lnTo>
                  <a:pt x="2108" y="636270"/>
                </a:lnTo>
                <a:lnTo>
                  <a:pt x="3149" y="640080"/>
                </a:lnTo>
                <a:lnTo>
                  <a:pt x="10680" y="640080"/>
                </a:lnTo>
                <a:lnTo>
                  <a:pt x="8026" y="642620"/>
                </a:lnTo>
                <a:lnTo>
                  <a:pt x="8483" y="643890"/>
                </a:lnTo>
                <a:lnTo>
                  <a:pt x="3530" y="648970"/>
                </a:lnTo>
                <a:lnTo>
                  <a:pt x="7200" y="657860"/>
                </a:lnTo>
                <a:lnTo>
                  <a:pt x="5321" y="662940"/>
                </a:lnTo>
                <a:lnTo>
                  <a:pt x="6794" y="668020"/>
                </a:lnTo>
                <a:lnTo>
                  <a:pt x="4089" y="669290"/>
                </a:lnTo>
                <a:lnTo>
                  <a:pt x="6235" y="673100"/>
                </a:lnTo>
                <a:lnTo>
                  <a:pt x="7048" y="673100"/>
                </a:lnTo>
                <a:lnTo>
                  <a:pt x="8585" y="671830"/>
                </a:lnTo>
                <a:lnTo>
                  <a:pt x="8864" y="674370"/>
                </a:lnTo>
                <a:lnTo>
                  <a:pt x="6413" y="674370"/>
                </a:lnTo>
                <a:lnTo>
                  <a:pt x="6934" y="679450"/>
                </a:lnTo>
                <a:lnTo>
                  <a:pt x="7886" y="685800"/>
                </a:lnTo>
                <a:lnTo>
                  <a:pt x="0" y="689610"/>
                </a:lnTo>
                <a:lnTo>
                  <a:pt x="254" y="689610"/>
                </a:lnTo>
                <a:lnTo>
                  <a:pt x="2717" y="692150"/>
                </a:lnTo>
                <a:lnTo>
                  <a:pt x="6743" y="692150"/>
                </a:lnTo>
                <a:lnTo>
                  <a:pt x="7569" y="692150"/>
                </a:lnTo>
                <a:lnTo>
                  <a:pt x="124675" y="692150"/>
                </a:lnTo>
                <a:lnTo>
                  <a:pt x="123342" y="690880"/>
                </a:lnTo>
                <a:lnTo>
                  <a:pt x="121983" y="689610"/>
                </a:lnTo>
                <a:lnTo>
                  <a:pt x="120624" y="688340"/>
                </a:lnTo>
                <a:lnTo>
                  <a:pt x="125514" y="688340"/>
                </a:lnTo>
                <a:lnTo>
                  <a:pt x="126466" y="684530"/>
                </a:lnTo>
                <a:lnTo>
                  <a:pt x="126809" y="683183"/>
                </a:lnTo>
                <a:close/>
              </a:path>
              <a:path w="876934" h="989329">
                <a:moveTo>
                  <a:pt x="127101" y="681990"/>
                </a:moveTo>
                <a:lnTo>
                  <a:pt x="126809" y="683183"/>
                </a:lnTo>
                <a:lnTo>
                  <a:pt x="126974" y="683260"/>
                </a:lnTo>
                <a:lnTo>
                  <a:pt x="127101" y="681990"/>
                </a:lnTo>
                <a:close/>
              </a:path>
              <a:path w="876934" h="989329">
                <a:moveTo>
                  <a:pt x="132753" y="726224"/>
                </a:moveTo>
                <a:lnTo>
                  <a:pt x="132372" y="725678"/>
                </a:lnTo>
                <a:lnTo>
                  <a:pt x="132232" y="725551"/>
                </a:lnTo>
                <a:lnTo>
                  <a:pt x="131826" y="725424"/>
                </a:lnTo>
                <a:lnTo>
                  <a:pt x="131622" y="725678"/>
                </a:lnTo>
                <a:lnTo>
                  <a:pt x="131813" y="726338"/>
                </a:lnTo>
                <a:lnTo>
                  <a:pt x="132130" y="726452"/>
                </a:lnTo>
                <a:lnTo>
                  <a:pt x="132334" y="726617"/>
                </a:lnTo>
                <a:lnTo>
                  <a:pt x="132702" y="726503"/>
                </a:lnTo>
                <a:lnTo>
                  <a:pt x="132753" y="726224"/>
                </a:lnTo>
                <a:close/>
              </a:path>
              <a:path w="876934" h="989329">
                <a:moveTo>
                  <a:pt x="139865" y="774382"/>
                </a:moveTo>
                <a:lnTo>
                  <a:pt x="139852" y="773430"/>
                </a:lnTo>
                <a:lnTo>
                  <a:pt x="139865" y="774382"/>
                </a:lnTo>
                <a:close/>
              </a:path>
              <a:path w="876934" h="989329">
                <a:moveTo>
                  <a:pt x="145618" y="762139"/>
                </a:moveTo>
                <a:lnTo>
                  <a:pt x="145491" y="762000"/>
                </a:lnTo>
                <a:lnTo>
                  <a:pt x="145313" y="762000"/>
                </a:lnTo>
                <a:lnTo>
                  <a:pt x="145618" y="762139"/>
                </a:lnTo>
                <a:close/>
              </a:path>
              <a:path w="876934" h="989329">
                <a:moveTo>
                  <a:pt x="145961" y="769620"/>
                </a:moveTo>
                <a:lnTo>
                  <a:pt x="145262" y="768350"/>
                </a:lnTo>
                <a:lnTo>
                  <a:pt x="145669" y="769620"/>
                </a:lnTo>
                <a:lnTo>
                  <a:pt x="145961" y="769620"/>
                </a:lnTo>
                <a:close/>
              </a:path>
              <a:path w="876934" h="989329">
                <a:moveTo>
                  <a:pt x="245135" y="600837"/>
                </a:moveTo>
                <a:lnTo>
                  <a:pt x="244386" y="600710"/>
                </a:lnTo>
                <a:lnTo>
                  <a:pt x="245021" y="601218"/>
                </a:lnTo>
                <a:lnTo>
                  <a:pt x="245135" y="600837"/>
                </a:lnTo>
                <a:close/>
              </a:path>
              <a:path w="876934" h="989329">
                <a:moveTo>
                  <a:pt x="367766" y="651535"/>
                </a:moveTo>
                <a:lnTo>
                  <a:pt x="367360" y="651294"/>
                </a:lnTo>
                <a:lnTo>
                  <a:pt x="366941" y="651573"/>
                </a:lnTo>
                <a:lnTo>
                  <a:pt x="366610" y="652081"/>
                </a:lnTo>
                <a:lnTo>
                  <a:pt x="366356" y="652462"/>
                </a:lnTo>
                <a:lnTo>
                  <a:pt x="366483" y="652729"/>
                </a:lnTo>
                <a:lnTo>
                  <a:pt x="367118" y="652614"/>
                </a:lnTo>
                <a:lnTo>
                  <a:pt x="367423" y="652475"/>
                </a:lnTo>
                <a:lnTo>
                  <a:pt x="367703" y="652373"/>
                </a:lnTo>
                <a:lnTo>
                  <a:pt x="367766" y="651535"/>
                </a:lnTo>
                <a:close/>
              </a:path>
              <a:path w="876934" h="989329">
                <a:moveTo>
                  <a:pt x="586206" y="334441"/>
                </a:moveTo>
                <a:lnTo>
                  <a:pt x="586117" y="334264"/>
                </a:lnTo>
                <a:lnTo>
                  <a:pt x="586041" y="334391"/>
                </a:lnTo>
                <a:lnTo>
                  <a:pt x="586206" y="334441"/>
                </a:lnTo>
                <a:close/>
              </a:path>
              <a:path w="876934" h="989329">
                <a:moveTo>
                  <a:pt x="587908" y="333565"/>
                </a:moveTo>
                <a:lnTo>
                  <a:pt x="587400" y="334086"/>
                </a:lnTo>
                <a:lnTo>
                  <a:pt x="586790" y="334187"/>
                </a:lnTo>
                <a:lnTo>
                  <a:pt x="586206" y="334441"/>
                </a:lnTo>
                <a:lnTo>
                  <a:pt x="587082" y="336105"/>
                </a:lnTo>
                <a:lnTo>
                  <a:pt x="587451" y="334556"/>
                </a:lnTo>
                <a:lnTo>
                  <a:pt x="587908" y="333565"/>
                </a:lnTo>
                <a:close/>
              </a:path>
              <a:path w="876934" h="989329">
                <a:moveTo>
                  <a:pt x="588314" y="333019"/>
                </a:moveTo>
                <a:lnTo>
                  <a:pt x="588124" y="333133"/>
                </a:lnTo>
                <a:lnTo>
                  <a:pt x="588022" y="333336"/>
                </a:lnTo>
                <a:lnTo>
                  <a:pt x="587908" y="333565"/>
                </a:lnTo>
                <a:lnTo>
                  <a:pt x="588048" y="333425"/>
                </a:lnTo>
                <a:lnTo>
                  <a:pt x="588187" y="333248"/>
                </a:lnTo>
                <a:lnTo>
                  <a:pt x="588314" y="333019"/>
                </a:lnTo>
                <a:close/>
              </a:path>
              <a:path w="876934" h="989329">
                <a:moveTo>
                  <a:pt x="783094" y="109220"/>
                </a:moveTo>
                <a:lnTo>
                  <a:pt x="781964" y="106680"/>
                </a:lnTo>
                <a:lnTo>
                  <a:pt x="779805" y="107950"/>
                </a:lnTo>
                <a:lnTo>
                  <a:pt x="780072" y="109220"/>
                </a:lnTo>
                <a:lnTo>
                  <a:pt x="781088" y="109220"/>
                </a:lnTo>
                <a:lnTo>
                  <a:pt x="780669" y="110490"/>
                </a:lnTo>
                <a:lnTo>
                  <a:pt x="783094" y="109220"/>
                </a:lnTo>
                <a:close/>
              </a:path>
              <a:path w="876934" h="989329">
                <a:moveTo>
                  <a:pt x="862584" y="8496"/>
                </a:moveTo>
                <a:lnTo>
                  <a:pt x="862457" y="8102"/>
                </a:lnTo>
                <a:lnTo>
                  <a:pt x="862139" y="7988"/>
                </a:lnTo>
                <a:lnTo>
                  <a:pt x="861923" y="7823"/>
                </a:lnTo>
                <a:lnTo>
                  <a:pt x="861847" y="8077"/>
                </a:lnTo>
                <a:lnTo>
                  <a:pt x="861669" y="8356"/>
                </a:lnTo>
                <a:lnTo>
                  <a:pt x="861809" y="8737"/>
                </a:lnTo>
                <a:lnTo>
                  <a:pt x="862114" y="8851"/>
                </a:lnTo>
                <a:lnTo>
                  <a:pt x="862317" y="9017"/>
                </a:lnTo>
                <a:lnTo>
                  <a:pt x="862393" y="8775"/>
                </a:lnTo>
                <a:lnTo>
                  <a:pt x="862584" y="8496"/>
                </a:lnTo>
                <a:close/>
              </a:path>
              <a:path w="876934" h="989329">
                <a:moveTo>
                  <a:pt x="876312" y="25819"/>
                </a:moveTo>
                <a:lnTo>
                  <a:pt x="876198" y="24257"/>
                </a:lnTo>
                <a:lnTo>
                  <a:pt x="875677" y="23888"/>
                </a:lnTo>
                <a:lnTo>
                  <a:pt x="874877" y="24028"/>
                </a:lnTo>
                <a:lnTo>
                  <a:pt x="873493" y="24257"/>
                </a:lnTo>
                <a:lnTo>
                  <a:pt x="871969" y="24942"/>
                </a:lnTo>
                <a:lnTo>
                  <a:pt x="872185" y="27203"/>
                </a:lnTo>
                <a:lnTo>
                  <a:pt x="871524" y="27635"/>
                </a:lnTo>
                <a:lnTo>
                  <a:pt x="867879" y="28333"/>
                </a:lnTo>
                <a:lnTo>
                  <a:pt x="866889" y="29032"/>
                </a:lnTo>
                <a:lnTo>
                  <a:pt x="866381" y="30568"/>
                </a:lnTo>
                <a:lnTo>
                  <a:pt x="866800" y="31419"/>
                </a:lnTo>
                <a:lnTo>
                  <a:pt x="867029" y="31750"/>
                </a:lnTo>
                <a:lnTo>
                  <a:pt x="863219" y="31750"/>
                </a:lnTo>
                <a:lnTo>
                  <a:pt x="864704" y="29210"/>
                </a:lnTo>
                <a:lnTo>
                  <a:pt x="865492" y="27940"/>
                </a:lnTo>
                <a:lnTo>
                  <a:pt x="865073" y="26670"/>
                </a:lnTo>
                <a:lnTo>
                  <a:pt x="860158" y="27940"/>
                </a:lnTo>
                <a:lnTo>
                  <a:pt x="857999" y="26670"/>
                </a:lnTo>
                <a:lnTo>
                  <a:pt x="860640" y="22860"/>
                </a:lnTo>
                <a:lnTo>
                  <a:pt x="865047" y="20358"/>
                </a:lnTo>
                <a:lnTo>
                  <a:pt x="865441" y="20904"/>
                </a:lnTo>
                <a:lnTo>
                  <a:pt x="865708" y="21628"/>
                </a:lnTo>
                <a:lnTo>
                  <a:pt x="867587" y="20358"/>
                </a:lnTo>
                <a:lnTo>
                  <a:pt x="867359" y="19824"/>
                </a:lnTo>
                <a:lnTo>
                  <a:pt x="866648" y="19075"/>
                </a:lnTo>
                <a:lnTo>
                  <a:pt x="866127" y="18834"/>
                </a:lnTo>
                <a:lnTo>
                  <a:pt x="865263" y="19100"/>
                </a:lnTo>
                <a:lnTo>
                  <a:pt x="864527" y="19646"/>
                </a:lnTo>
                <a:lnTo>
                  <a:pt x="864831" y="20053"/>
                </a:lnTo>
                <a:lnTo>
                  <a:pt x="864984" y="20281"/>
                </a:lnTo>
                <a:lnTo>
                  <a:pt x="861606" y="19050"/>
                </a:lnTo>
                <a:lnTo>
                  <a:pt x="864806" y="16510"/>
                </a:lnTo>
                <a:lnTo>
                  <a:pt x="863574" y="15240"/>
                </a:lnTo>
                <a:lnTo>
                  <a:pt x="864247" y="13970"/>
                </a:lnTo>
                <a:lnTo>
                  <a:pt x="864920" y="12700"/>
                </a:lnTo>
                <a:lnTo>
                  <a:pt x="865454" y="11430"/>
                </a:lnTo>
                <a:lnTo>
                  <a:pt x="867625" y="11430"/>
                </a:lnTo>
                <a:lnTo>
                  <a:pt x="868781" y="12700"/>
                </a:lnTo>
                <a:lnTo>
                  <a:pt x="869442" y="10160"/>
                </a:lnTo>
                <a:lnTo>
                  <a:pt x="868629" y="8890"/>
                </a:lnTo>
                <a:lnTo>
                  <a:pt x="866990" y="8890"/>
                </a:lnTo>
                <a:lnTo>
                  <a:pt x="864108" y="10160"/>
                </a:lnTo>
                <a:lnTo>
                  <a:pt x="858215" y="10160"/>
                </a:lnTo>
                <a:lnTo>
                  <a:pt x="857250" y="11430"/>
                </a:lnTo>
                <a:lnTo>
                  <a:pt x="857046" y="11430"/>
                </a:lnTo>
                <a:lnTo>
                  <a:pt x="857046" y="34290"/>
                </a:lnTo>
                <a:lnTo>
                  <a:pt x="856716" y="35560"/>
                </a:lnTo>
                <a:lnTo>
                  <a:pt x="856361" y="35560"/>
                </a:lnTo>
                <a:lnTo>
                  <a:pt x="856094" y="34290"/>
                </a:lnTo>
                <a:lnTo>
                  <a:pt x="857046" y="34290"/>
                </a:lnTo>
                <a:lnTo>
                  <a:pt x="857046" y="11430"/>
                </a:lnTo>
                <a:lnTo>
                  <a:pt x="856081" y="11430"/>
                </a:lnTo>
                <a:lnTo>
                  <a:pt x="855192" y="10160"/>
                </a:lnTo>
                <a:lnTo>
                  <a:pt x="854316" y="8890"/>
                </a:lnTo>
                <a:lnTo>
                  <a:pt x="853554" y="8890"/>
                </a:lnTo>
                <a:lnTo>
                  <a:pt x="853554" y="40640"/>
                </a:lnTo>
                <a:lnTo>
                  <a:pt x="849693" y="40640"/>
                </a:lnTo>
                <a:lnTo>
                  <a:pt x="848982" y="41910"/>
                </a:lnTo>
                <a:lnTo>
                  <a:pt x="848766" y="43180"/>
                </a:lnTo>
                <a:lnTo>
                  <a:pt x="847686" y="43180"/>
                </a:lnTo>
                <a:lnTo>
                  <a:pt x="848106" y="41910"/>
                </a:lnTo>
                <a:lnTo>
                  <a:pt x="847737" y="41910"/>
                </a:lnTo>
                <a:lnTo>
                  <a:pt x="847153" y="40640"/>
                </a:lnTo>
                <a:lnTo>
                  <a:pt x="847394" y="40640"/>
                </a:lnTo>
                <a:lnTo>
                  <a:pt x="847801" y="39370"/>
                </a:lnTo>
                <a:lnTo>
                  <a:pt x="849896" y="39370"/>
                </a:lnTo>
                <a:lnTo>
                  <a:pt x="852220" y="38100"/>
                </a:lnTo>
                <a:lnTo>
                  <a:pt x="853554" y="40640"/>
                </a:lnTo>
                <a:lnTo>
                  <a:pt x="853554" y="8890"/>
                </a:lnTo>
                <a:lnTo>
                  <a:pt x="849820" y="8890"/>
                </a:lnTo>
                <a:lnTo>
                  <a:pt x="849820" y="12700"/>
                </a:lnTo>
                <a:lnTo>
                  <a:pt x="849464" y="13970"/>
                </a:lnTo>
                <a:lnTo>
                  <a:pt x="848499" y="13970"/>
                </a:lnTo>
                <a:lnTo>
                  <a:pt x="848715" y="12700"/>
                </a:lnTo>
                <a:lnTo>
                  <a:pt x="849820" y="12700"/>
                </a:lnTo>
                <a:lnTo>
                  <a:pt x="849820" y="8890"/>
                </a:lnTo>
                <a:lnTo>
                  <a:pt x="849109" y="8890"/>
                </a:lnTo>
                <a:lnTo>
                  <a:pt x="845934" y="6350"/>
                </a:lnTo>
                <a:lnTo>
                  <a:pt x="844194" y="7620"/>
                </a:lnTo>
                <a:lnTo>
                  <a:pt x="842429" y="7620"/>
                </a:lnTo>
                <a:lnTo>
                  <a:pt x="842098" y="6350"/>
                </a:lnTo>
                <a:lnTo>
                  <a:pt x="833793" y="6350"/>
                </a:lnTo>
                <a:lnTo>
                  <a:pt x="830757" y="7620"/>
                </a:lnTo>
                <a:lnTo>
                  <a:pt x="828560" y="7620"/>
                </a:lnTo>
                <a:lnTo>
                  <a:pt x="827938" y="6350"/>
                </a:lnTo>
                <a:lnTo>
                  <a:pt x="826681" y="3810"/>
                </a:lnTo>
                <a:lnTo>
                  <a:pt x="826058" y="2540"/>
                </a:lnTo>
                <a:lnTo>
                  <a:pt x="821956" y="3479"/>
                </a:lnTo>
                <a:lnTo>
                  <a:pt x="821956" y="8890"/>
                </a:lnTo>
                <a:lnTo>
                  <a:pt x="821651" y="8890"/>
                </a:lnTo>
                <a:lnTo>
                  <a:pt x="820915" y="10160"/>
                </a:lnTo>
                <a:lnTo>
                  <a:pt x="820445" y="10160"/>
                </a:lnTo>
                <a:lnTo>
                  <a:pt x="820559" y="8890"/>
                </a:lnTo>
                <a:lnTo>
                  <a:pt x="820699" y="8890"/>
                </a:lnTo>
                <a:lnTo>
                  <a:pt x="821029" y="7620"/>
                </a:lnTo>
                <a:lnTo>
                  <a:pt x="821715" y="7620"/>
                </a:lnTo>
                <a:lnTo>
                  <a:pt x="821956" y="8890"/>
                </a:lnTo>
                <a:lnTo>
                  <a:pt x="821956" y="3479"/>
                </a:lnTo>
                <a:lnTo>
                  <a:pt x="820496" y="3810"/>
                </a:lnTo>
                <a:lnTo>
                  <a:pt x="816495" y="0"/>
                </a:lnTo>
                <a:lnTo>
                  <a:pt x="814641" y="0"/>
                </a:lnTo>
                <a:lnTo>
                  <a:pt x="809840" y="1270"/>
                </a:lnTo>
                <a:lnTo>
                  <a:pt x="801598" y="5080"/>
                </a:lnTo>
                <a:lnTo>
                  <a:pt x="798703" y="6350"/>
                </a:lnTo>
                <a:lnTo>
                  <a:pt x="794816" y="5080"/>
                </a:lnTo>
                <a:lnTo>
                  <a:pt x="793724" y="5080"/>
                </a:lnTo>
                <a:lnTo>
                  <a:pt x="790321" y="7620"/>
                </a:lnTo>
                <a:lnTo>
                  <a:pt x="782993" y="11430"/>
                </a:lnTo>
                <a:lnTo>
                  <a:pt x="780415" y="12700"/>
                </a:lnTo>
                <a:lnTo>
                  <a:pt x="777303" y="12700"/>
                </a:lnTo>
                <a:lnTo>
                  <a:pt x="773442" y="13970"/>
                </a:lnTo>
                <a:lnTo>
                  <a:pt x="766330" y="19050"/>
                </a:lnTo>
                <a:lnTo>
                  <a:pt x="762876" y="21590"/>
                </a:lnTo>
                <a:lnTo>
                  <a:pt x="759320" y="24130"/>
                </a:lnTo>
                <a:lnTo>
                  <a:pt x="755573" y="25400"/>
                </a:lnTo>
                <a:lnTo>
                  <a:pt x="749046" y="29210"/>
                </a:lnTo>
                <a:lnTo>
                  <a:pt x="743750" y="34290"/>
                </a:lnTo>
                <a:lnTo>
                  <a:pt x="732929" y="39370"/>
                </a:lnTo>
                <a:lnTo>
                  <a:pt x="727621" y="40640"/>
                </a:lnTo>
                <a:lnTo>
                  <a:pt x="725665" y="45720"/>
                </a:lnTo>
                <a:lnTo>
                  <a:pt x="723887" y="48260"/>
                </a:lnTo>
                <a:lnTo>
                  <a:pt x="721372" y="50800"/>
                </a:lnTo>
                <a:lnTo>
                  <a:pt x="718096" y="52374"/>
                </a:lnTo>
                <a:lnTo>
                  <a:pt x="718096" y="175260"/>
                </a:lnTo>
                <a:lnTo>
                  <a:pt x="717956" y="176530"/>
                </a:lnTo>
                <a:lnTo>
                  <a:pt x="717143" y="176530"/>
                </a:lnTo>
                <a:lnTo>
                  <a:pt x="716089" y="177800"/>
                </a:lnTo>
                <a:lnTo>
                  <a:pt x="714908" y="177800"/>
                </a:lnTo>
                <a:lnTo>
                  <a:pt x="713994" y="176530"/>
                </a:lnTo>
                <a:lnTo>
                  <a:pt x="714235" y="175260"/>
                </a:lnTo>
                <a:lnTo>
                  <a:pt x="718096" y="175260"/>
                </a:lnTo>
                <a:lnTo>
                  <a:pt x="718096" y="52374"/>
                </a:lnTo>
                <a:lnTo>
                  <a:pt x="713422" y="54610"/>
                </a:lnTo>
                <a:lnTo>
                  <a:pt x="709485" y="59690"/>
                </a:lnTo>
                <a:lnTo>
                  <a:pt x="704964" y="61798"/>
                </a:lnTo>
                <a:lnTo>
                  <a:pt x="704964" y="63500"/>
                </a:lnTo>
                <a:lnTo>
                  <a:pt x="704240" y="63500"/>
                </a:lnTo>
                <a:lnTo>
                  <a:pt x="704291" y="62230"/>
                </a:lnTo>
                <a:lnTo>
                  <a:pt x="704964" y="63500"/>
                </a:lnTo>
                <a:lnTo>
                  <a:pt x="704964" y="61798"/>
                </a:lnTo>
                <a:lnTo>
                  <a:pt x="704011" y="62230"/>
                </a:lnTo>
                <a:lnTo>
                  <a:pt x="701001" y="62230"/>
                </a:lnTo>
                <a:lnTo>
                  <a:pt x="698766" y="64770"/>
                </a:lnTo>
                <a:lnTo>
                  <a:pt x="697039" y="69850"/>
                </a:lnTo>
                <a:lnTo>
                  <a:pt x="694855" y="71120"/>
                </a:lnTo>
                <a:lnTo>
                  <a:pt x="689927" y="76200"/>
                </a:lnTo>
                <a:lnTo>
                  <a:pt x="686536" y="77470"/>
                </a:lnTo>
                <a:lnTo>
                  <a:pt x="680504" y="82550"/>
                </a:lnTo>
                <a:lnTo>
                  <a:pt x="674370" y="83820"/>
                </a:lnTo>
                <a:lnTo>
                  <a:pt x="673239" y="90170"/>
                </a:lnTo>
                <a:lnTo>
                  <a:pt x="668439" y="92710"/>
                </a:lnTo>
                <a:lnTo>
                  <a:pt x="664870" y="96520"/>
                </a:lnTo>
                <a:lnTo>
                  <a:pt x="657707" y="102870"/>
                </a:lnTo>
                <a:lnTo>
                  <a:pt x="653110" y="104140"/>
                </a:lnTo>
                <a:lnTo>
                  <a:pt x="647560" y="113030"/>
                </a:lnTo>
                <a:lnTo>
                  <a:pt x="643686" y="116840"/>
                </a:lnTo>
                <a:lnTo>
                  <a:pt x="640588" y="118618"/>
                </a:lnTo>
                <a:lnTo>
                  <a:pt x="640588" y="264160"/>
                </a:lnTo>
                <a:lnTo>
                  <a:pt x="640334" y="265430"/>
                </a:lnTo>
                <a:lnTo>
                  <a:pt x="639457" y="265430"/>
                </a:lnTo>
                <a:lnTo>
                  <a:pt x="639394" y="264160"/>
                </a:lnTo>
                <a:lnTo>
                  <a:pt x="640588" y="264160"/>
                </a:lnTo>
                <a:lnTo>
                  <a:pt x="640588" y="118618"/>
                </a:lnTo>
                <a:lnTo>
                  <a:pt x="637032" y="120650"/>
                </a:lnTo>
                <a:lnTo>
                  <a:pt x="634809" y="120650"/>
                </a:lnTo>
                <a:lnTo>
                  <a:pt x="635914" y="125730"/>
                </a:lnTo>
                <a:lnTo>
                  <a:pt x="630986" y="125730"/>
                </a:lnTo>
                <a:lnTo>
                  <a:pt x="630986" y="264160"/>
                </a:lnTo>
                <a:lnTo>
                  <a:pt x="630682" y="265430"/>
                </a:lnTo>
                <a:lnTo>
                  <a:pt x="630148" y="265430"/>
                </a:lnTo>
                <a:lnTo>
                  <a:pt x="630072" y="264160"/>
                </a:lnTo>
                <a:lnTo>
                  <a:pt x="630986" y="264160"/>
                </a:lnTo>
                <a:lnTo>
                  <a:pt x="630986" y="125730"/>
                </a:lnTo>
                <a:lnTo>
                  <a:pt x="629348" y="125730"/>
                </a:lnTo>
                <a:lnTo>
                  <a:pt x="628154" y="127000"/>
                </a:lnTo>
                <a:lnTo>
                  <a:pt x="623811" y="135890"/>
                </a:lnTo>
                <a:lnTo>
                  <a:pt x="617118" y="138430"/>
                </a:lnTo>
                <a:lnTo>
                  <a:pt x="610895" y="147320"/>
                </a:lnTo>
                <a:lnTo>
                  <a:pt x="608203" y="149860"/>
                </a:lnTo>
                <a:lnTo>
                  <a:pt x="598703" y="153670"/>
                </a:lnTo>
                <a:lnTo>
                  <a:pt x="598106" y="161290"/>
                </a:lnTo>
                <a:lnTo>
                  <a:pt x="592531" y="163830"/>
                </a:lnTo>
                <a:lnTo>
                  <a:pt x="592543" y="165100"/>
                </a:lnTo>
                <a:lnTo>
                  <a:pt x="592137" y="166370"/>
                </a:lnTo>
                <a:lnTo>
                  <a:pt x="591451" y="167640"/>
                </a:lnTo>
                <a:lnTo>
                  <a:pt x="587133" y="167640"/>
                </a:lnTo>
                <a:lnTo>
                  <a:pt x="585927" y="168910"/>
                </a:lnTo>
                <a:lnTo>
                  <a:pt x="585343" y="173990"/>
                </a:lnTo>
                <a:lnTo>
                  <a:pt x="583438" y="175260"/>
                </a:lnTo>
                <a:lnTo>
                  <a:pt x="578269" y="177800"/>
                </a:lnTo>
                <a:lnTo>
                  <a:pt x="574319" y="180340"/>
                </a:lnTo>
                <a:lnTo>
                  <a:pt x="570230" y="186690"/>
                </a:lnTo>
                <a:lnTo>
                  <a:pt x="567067" y="189230"/>
                </a:lnTo>
                <a:lnTo>
                  <a:pt x="565061" y="195580"/>
                </a:lnTo>
                <a:lnTo>
                  <a:pt x="562686" y="195580"/>
                </a:lnTo>
                <a:lnTo>
                  <a:pt x="557860" y="200660"/>
                </a:lnTo>
                <a:lnTo>
                  <a:pt x="552462" y="204470"/>
                </a:lnTo>
                <a:lnTo>
                  <a:pt x="547979" y="208280"/>
                </a:lnTo>
                <a:lnTo>
                  <a:pt x="544995" y="213360"/>
                </a:lnTo>
                <a:lnTo>
                  <a:pt x="539953" y="218440"/>
                </a:lnTo>
                <a:lnTo>
                  <a:pt x="526516" y="231140"/>
                </a:lnTo>
                <a:lnTo>
                  <a:pt x="525183" y="234950"/>
                </a:lnTo>
                <a:lnTo>
                  <a:pt x="524548" y="236220"/>
                </a:lnTo>
                <a:lnTo>
                  <a:pt x="518756" y="234950"/>
                </a:lnTo>
                <a:lnTo>
                  <a:pt x="520433" y="238760"/>
                </a:lnTo>
                <a:lnTo>
                  <a:pt x="520217" y="243840"/>
                </a:lnTo>
                <a:lnTo>
                  <a:pt x="519150" y="245110"/>
                </a:lnTo>
                <a:lnTo>
                  <a:pt x="514858" y="243840"/>
                </a:lnTo>
                <a:lnTo>
                  <a:pt x="513816" y="243840"/>
                </a:lnTo>
                <a:lnTo>
                  <a:pt x="513270" y="247650"/>
                </a:lnTo>
                <a:lnTo>
                  <a:pt x="511657" y="248920"/>
                </a:lnTo>
                <a:lnTo>
                  <a:pt x="509993" y="251460"/>
                </a:lnTo>
                <a:lnTo>
                  <a:pt x="508381" y="252730"/>
                </a:lnTo>
                <a:lnTo>
                  <a:pt x="506691" y="254000"/>
                </a:lnTo>
                <a:lnTo>
                  <a:pt x="505637" y="257810"/>
                </a:lnTo>
                <a:lnTo>
                  <a:pt x="499592" y="260350"/>
                </a:lnTo>
                <a:lnTo>
                  <a:pt x="496252" y="261620"/>
                </a:lnTo>
                <a:lnTo>
                  <a:pt x="498424" y="266700"/>
                </a:lnTo>
                <a:lnTo>
                  <a:pt x="498094" y="267970"/>
                </a:lnTo>
                <a:lnTo>
                  <a:pt x="492696" y="271780"/>
                </a:lnTo>
                <a:lnTo>
                  <a:pt x="490308" y="279400"/>
                </a:lnTo>
                <a:lnTo>
                  <a:pt x="480326" y="281940"/>
                </a:lnTo>
                <a:lnTo>
                  <a:pt x="477685" y="284480"/>
                </a:lnTo>
                <a:lnTo>
                  <a:pt x="479158" y="288290"/>
                </a:lnTo>
                <a:lnTo>
                  <a:pt x="479323" y="289560"/>
                </a:lnTo>
                <a:lnTo>
                  <a:pt x="474535" y="289560"/>
                </a:lnTo>
                <a:lnTo>
                  <a:pt x="471551" y="290830"/>
                </a:lnTo>
                <a:lnTo>
                  <a:pt x="474484" y="295910"/>
                </a:lnTo>
                <a:lnTo>
                  <a:pt x="473202" y="295910"/>
                </a:lnTo>
                <a:lnTo>
                  <a:pt x="468134" y="300990"/>
                </a:lnTo>
                <a:lnTo>
                  <a:pt x="464705" y="303530"/>
                </a:lnTo>
                <a:lnTo>
                  <a:pt x="460057" y="306070"/>
                </a:lnTo>
                <a:lnTo>
                  <a:pt x="459752" y="313690"/>
                </a:lnTo>
                <a:lnTo>
                  <a:pt x="458304" y="314960"/>
                </a:lnTo>
                <a:lnTo>
                  <a:pt x="454583" y="313918"/>
                </a:lnTo>
                <a:lnTo>
                  <a:pt x="454583" y="363220"/>
                </a:lnTo>
                <a:lnTo>
                  <a:pt x="452831" y="365760"/>
                </a:lnTo>
                <a:lnTo>
                  <a:pt x="451967" y="365760"/>
                </a:lnTo>
                <a:lnTo>
                  <a:pt x="449872" y="364490"/>
                </a:lnTo>
                <a:lnTo>
                  <a:pt x="451294" y="363220"/>
                </a:lnTo>
                <a:lnTo>
                  <a:pt x="451434" y="361950"/>
                </a:lnTo>
                <a:lnTo>
                  <a:pt x="452158" y="361950"/>
                </a:lnTo>
                <a:lnTo>
                  <a:pt x="452831" y="360680"/>
                </a:lnTo>
                <a:lnTo>
                  <a:pt x="453961" y="361950"/>
                </a:lnTo>
                <a:lnTo>
                  <a:pt x="454583" y="363220"/>
                </a:lnTo>
                <a:lnTo>
                  <a:pt x="454583" y="313918"/>
                </a:lnTo>
                <a:lnTo>
                  <a:pt x="453809" y="313690"/>
                </a:lnTo>
                <a:lnTo>
                  <a:pt x="452247" y="314960"/>
                </a:lnTo>
                <a:lnTo>
                  <a:pt x="452043" y="323850"/>
                </a:lnTo>
                <a:lnTo>
                  <a:pt x="450862" y="324700"/>
                </a:lnTo>
                <a:lnTo>
                  <a:pt x="450862" y="359410"/>
                </a:lnTo>
                <a:lnTo>
                  <a:pt x="447992" y="359410"/>
                </a:lnTo>
                <a:lnTo>
                  <a:pt x="447001" y="360680"/>
                </a:lnTo>
                <a:lnTo>
                  <a:pt x="446303" y="361759"/>
                </a:lnTo>
                <a:lnTo>
                  <a:pt x="446303" y="378460"/>
                </a:lnTo>
                <a:lnTo>
                  <a:pt x="445833" y="378460"/>
                </a:lnTo>
                <a:lnTo>
                  <a:pt x="444906" y="379730"/>
                </a:lnTo>
                <a:lnTo>
                  <a:pt x="444296" y="379730"/>
                </a:lnTo>
                <a:lnTo>
                  <a:pt x="443547" y="378460"/>
                </a:lnTo>
                <a:lnTo>
                  <a:pt x="443877" y="378460"/>
                </a:lnTo>
                <a:lnTo>
                  <a:pt x="444512" y="377190"/>
                </a:lnTo>
                <a:lnTo>
                  <a:pt x="445985" y="377190"/>
                </a:lnTo>
                <a:lnTo>
                  <a:pt x="446303" y="378460"/>
                </a:lnTo>
                <a:lnTo>
                  <a:pt x="446303" y="361759"/>
                </a:lnTo>
                <a:lnTo>
                  <a:pt x="446176" y="361950"/>
                </a:lnTo>
                <a:lnTo>
                  <a:pt x="445528" y="359410"/>
                </a:lnTo>
                <a:lnTo>
                  <a:pt x="447001" y="358140"/>
                </a:lnTo>
                <a:lnTo>
                  <a:pt x="447560" y="356870"/>
                </a:lnTo>
                <a:lnTo>
                  <a:pt x="447941" y="355600"/>
                </a:lnTo>
                <a:lnTo>
                  <a:pt x="448767" y="356870"/>
                </a:lnTo>
                <a:lnTo>
                  <a:pt x="449427" y="356870"/>
                </a:lnTo>
                <a:lnTo>
                  <a:pt x="450862" y="359410"/>
                </a:lnTo>
                <a:lnTo>
                  <a:pt x="450862" y="324700"/>
                </a:lnTo>
                <a:lnTo>
                  <a:pt x="446722" y="327660"/>
                </a:lnTo>
                <a:lnTo>
                  <a:pt x="441286" y="332740"/>
                </a:lnTo>
                <a:lnTo>
                  <a:pt x="440067" y="332740"/>
                </a:lnTo>
                <a:lnTo>
                  <a:pt x="440626" y="337820"/>
                </a:lnTo>
                <a:lnTo>
                  <a:pt x="433819" y="337820"/>
                </a:lnTo>
                <a:lnTo>
                  <a:pt x="432092" y="339090"/>
                </a:lnTo>
                <a:lnTo>
                  <a:pt x="434086" y="345440"/>
                </a:lnTo>
                <a:lnTo>
                  <a:pt x="430390" y="347980"/>
                </a:lnTo>
                <a:lnTo>
                  <a:pt x="428828" y="353060"/>
                </a:lnTo>
                <a:lnTo>
                  <a:pt x="427723" y="353060"/>
                </a:lnTo>
                <a:lnTo>
                  <a:pt x="428117" y="358140"/>
                </a:lnTo>
                <a:lnTo>
                  <a:pt x="419303" y="356870"/>
                </a:lnTo>
                <a:lnTo>
                  <a:pt x="418668" y="357797"/>
                </a:lnTo>
                <a:lnTo>
                  <a:pt x="418668" y="388620"/>
                </a:lnTo>
                <a:lnTo>
                  <a:pt x="418465" y="389890"/>
                </a:lnTo>
                <a:lnTo>
                  <a:pt x="417588" y="389890"/>
                </a:lnTo>
                <a:lnTo>
                  <a:pt x="416890" y="391160"/>
                </a:lnTo>
                <a:lnTo>
                  <a:pt x="415594" y="389890"/>
                </a:lnTo>
                <a:lnTo>
                  <a:pt x="415912" y="389890"/>
                </a:lnTo>
                <a:lnTo>
                  <a:pt x="416369" y="388620"/>
                </a:lnTo>
                <a:lnTo>
                  <a:pt x="418668" y="388620"/>
                </a:lnTo>
                <a:lnTo>
                  <a:pt x="418668" y="357797"/>
                </a:lnTo>
                <a:lnTo>
                  <a:pt x="417550" y="359410"/>
                </a:lnTo>
                <a:lnTo>
                  <a:pt x="418198" y="367030"/>
                </a:lnTo>
                <a:lnTo>
                  <a:pt x="415810" y="368300"/>
                </a:lnTo>
                <a:lnTo>
                  <a:pt x="410210" y="368300"/>
                </a:lnTo>
                <a:lnTo>
                  <a:pt x="410603" y="369570"/>
                </a:lnTo>
                <a:lnTo>
                  <a:pt x="410133" y="375920"/>
                </a:lnTo>
                <a:lnTo>
                  <a:pt x="406869" y="381000"/>
                </a:lnTo>
                <a:lnTo>
                  <a:pt x="404139" y="381977"/>
                </a:lnTo>
                <a:lnTo>
                  <a:pt x="404139" y="397510"/>
                </a:lnTo>
                <a:lnTo>
                  <a:pt x="403161" y="400050"/>
                </a:lnTo>
                <a:lnTo>
                  <a:pt x="402501" y="402590"/>
                </a:lnTo>
                <a:lnTo>
                  <a:pt x="399503" y="401320"/>
                </a:lnTo>
                <a:lnTo>
                  <a:pt x="402297" y="401320"/>
                </a:lnTo>
                <a:lnTo>
                  <a:pt x="401523" y="398780"/>
                </a:lnTo>
                <a:lnTo>
                  <a:pt x="403186" y="396240"/>
                </a:lnTo>
                <a:lnTo>
                  <a:pt x="404025" y="396240"/>
                </a:lnTo>
                <a:lnTo>
                  <a:pt x="404139" y="397510"/>
                </a:lnTo>
                <a:lnTo>
                  <a:pt x="404139" y="381977"/>
                </a:lnTo>
                <a:lnTo>
                  <a:pt x="399719" y="383540"/>
                </a:lnTo>
                <a:lnTo>
                  <a:pt x="399021" y="386080"/>
                </a:lnTo>
                <a:lnTo>
                  <a:pt x="401002" y="388620"/>
                </a:lnTo>
                <a:lnTo>
                  <a:pt x="399453" y="389890"/>
                </a:lnTo>
                <a:lnTo>
                  <a:pt x="396798" y="393700"/>
                </a:lnTo>
                <a:lnTo>
                  <a:pt x="396481" y="396240"/>
                </a:lnTo>
                <a:lnTo>
                  <a:pt x="392747" y="400050"/>
                </a:lnTo>
                <a:lnTo>
                  <a:pt x="393649" y="405130"/>
                </a:lnTo>
                <a:lnTo>
                  <a:pt x="398348" y="405130"/>
                </a:lnTo>
                <a:lnTo>
                  <a:pt x="397268" y="402590"/>
                </a:lnTo>
                <a:lnTo>
                  <a:pt x="399059" y="401320"/>
                </a:lnTo>
                <a:lnTo>
                  <a:pt x="399313" y="401320"/>
                </a:lnTo>
                <a:lnTo>
                  <a:pt x="399465" y="402590"/>
                </a:lnTo>
                <a:lnTo>
                  <a:pt x="401370" y="403860"/>
                </a:lnTo>
                <a:lnTo>
                  <a:pt x="397433" y="406400"/>
                </a:lnTo>
                <a:lnTo>
                  <a:pt x="395071" y="410210"/>
                </a:lnTo>
                <a:lnTo>
                  <a:pt x="388670" y="410210"/>
                </a:lnTo>
                <a:lnTo>
                  <a:pt x="388454" y="407670"/>
                </a:lnTo>
                <a:lnTo>
                  <a:pt x="386956" y="405130"/>
                </a:lnTo>
                <a:lnTo>
                  <a:pt x="386016" y="403860"/>
                </a:lnTo>
                <a:lnTo>
                  <a:pt x="383463" y="405130"/>
                </a:lnTo>
                <a:lnTo>
                  <a:pt x="382397" y="405130"/>
                </a:lnTo>
                <a:lnTo>
                  <a:pt x="382892" y="410210"/>
                </a:lnTo>
                <a:lnTo>
                  <a:pt x="380352" y="411480"/>
                </a:lnTo>
                <a:lnTo>
                  <a:pt x="376262" y="416560"/>
                </a:lnTo>
                <a:lnTo>
                  <a:pt x="371894" y="417830"/>
                </a:lnTo>
                <a:lnTo>
                  <a:pt x="374789" y="422910"/>
                </a:lnTo>
                <a:lnTo>
                  <a:pt x="374218" y="422910"/>
                </a:lnTo>
                <a:lnTo>
                  <a:pt x="368503" y="427990"/>
                </a:lnTo>
                <a:lnTo>
                  <a:pt x="364604" y="433070"/>
                </a:lnTo>
                <a:lnTo>
                  <a:pt x="359930" y="440690"/>
                </a:lnTo>
                <a:lnTo>
                  <a:pt x="357416" y="443230"/>
                </a:lnTo>
                <a:lnTo>
                  <a:pt x="352945" y="445770"/>
                </a:lnTo>
                <a:lnTo>
                  <a:pt x="350240" y="447040"/>
                </a:lnTo>
                <a:lnTo>
                  <a:pt x="352856" y="453390"/>
                </a:lnTo>
                <a:lnTo>
                  <a:pt x="350329" y="457200"/>
                </a:lnTo>
                <a:lnTo>
                  <a:pt x="343877" y="461010"/>
                </a:lnTo>
                <a:lnTo>
                  <a:pt x="341337" y="466090"/>
                </a:lnTo>
                <a:lnTo>
                  <a:pt x="334314" y="469900"/>
                </a:lnTo>
                <a:lnTo>
                  <a:pt x="333654" y="469900"/>
                </a:lnTo>
                <a:lnTo>
                  <a:pt x="333489" y="477520"/>
                </a:lnTo>
                <a:lnTo>
                  <a:pt x="332752" y="478904"/>
                </a:lnTo>
                <a:lnTo>
                  <a:pt x="332752" y="699770"/>
                </a:lnTo>
                <a:lnTo>
                  <a:pt x="332651" y="701040"/>
                </a:lnTo>
                <a:lnTo>
                  <a:pt x="332473" y="702310"/>
                </a:lnTo>
                <a:lnTo>
                  <a:pt x="331685" y="702310"/>
                </a:lnTo>
                <a:lnTo>
                  <a:pt x="332028" y="701040"/>
                </a:lnTo>
                <a:lnTo>
                  <a:pt x="332384" y="699770"/>
                </a:lnTo>
                <a:lnTo>
                  <a:pt x="332752" y="699770"/>
                </a:lnTo>
                <a:lnTo>
                  <a:pt x="332752" y="478904"/>
                </a:lnTo>
                <a:lnTo>
                  <a:pt x="330771" y="482600"/>
                </a:lnTo>
                <a:lnTo>
                  <a:pt x="331228" y="488950"/>
                </a:lnTo>
                <a:lnTo>
                  <a:pt x="330060" y="488950"/>
                </a:lnTo>
                <a:lnTo>
                  <a:pt x="327240" y="490220"/>
                </a:lnTo>
                <a:lnTo>
                  <a:pt x="327469" y="491490"/>
                </a:lnTo>
                <a:lnTo>
                  <a:pt x="325970" y="495300"/>
                </a:lnTo>
                <a:lnTo>
                  <a:pt x="323913" y="490220"/>
                </a:lnTo>
                <a:lnTo>
                  <a:pt x="323418" y="494982"/>
                </a:lnTo>
                <a:lnTo>
                  <a:pt x="323418" y="699770"/>
                </a:lnTo>
                <a:lnTo>
                  <a:pt x="323037" y="701040"/>
                </a:lnTo>
                <a:lnTo>
                  <a:pt x="322846" y="701040"/>
                </a:lnTo>
                <a:lnTo>
                  <a:pt x="322440" y="699770"/>
                </a:lnTo>
                <a:lnTo>
                  <a:pt x="323418" y="699770"/>
                </a:lnTo>
                <a:lnTo>
                  <a:pt x="323418" y="494982"/>
                </a:lnTo>
                <a:lnTo>
                  <a:pt x="323253" y="496570"/>
                </a:lnTo>
                <a:lnTo>
                  <a:pt x="320128" y="497840"/>
                </a:lnTo>
                <a:lnTo>
                  <a:pt x="318008" y="500380"/>
                </a:lnTo>
                <a:lnTo>
                  <a:pt x="316395" y="501650"/>
                </a:lnTo>
                <a:lnTo>
                  <a:pt x="314604" y="500380"/>
                </a:lnTo>
                <a:lnTo>
                  <a:pt x="310718" y="502920"/>
                </a:lnTo>
                <a:lnTo>
                  <a:pt x="314820" y="504190"/>
                </a:lnTo>
                <a:lnTo>
                  <a:pt x="313270" y="506730"/>
                </a:lnTo>
                <a:lnTo>
                  <a:pt x="313093" y="506730"/>
                </a:lnTo>
                <a:lnTo>
                  <a:pt x="310273" y="508000"/>
                </a:lnTo>
                <a:lnTo>
                  <a:pt x="310349" y="510540"/>
                </a:lnTo>
                <a:lnTo>
                  <a:pt x="309943" y="515620"/>
                </a:lnTo>
                <a:lnTo>
                  <a:pt x="309867" y="516890"/>
                </a:lnTo>
                <a:lnTo>
                  <a:pt x="306692" y="515620"/>
                </a:lnTo>
                <a:lnTo>
                  <a:pt x="303580" y="516890"/>
                </a:lnTo>
                <a:lnTo>
                  <a:pt x="305955" y="523240"/>
                </a:lnTo>
                <a:lnTo>
                  <a:pt x="303352" y="524510"/>
                </a:lnTo>
                <a:lnTo>
                  <a:pt x="298246" y="527050"/>
                </a:lnTo>
                <a:lnTo>
                  <a:pt x="293522" y="532130"/>
                </a:lnTo>
                <a:lnTo>
                  <a:pt x="291439" y="534670"/>
                </a:lnTo>
                <a:lnTo>
                  <a:pt x="290817" y="538480"/>
                </a:lnTo>
                <a:lnTo>
                  <a:pt x="284251" y="538480"/>
                </a:lnTo>
                <a:lnTo>
                  <a:pt x="286016" y="544830"/>
                </a:lnTo>
                <a:lnTo>
                  <a:pt x="283159" y="549910"/>
                </a:lnTo>
                <a:lnTo>
                  <a:pt x="282282" y="552450"/>
                </a:lnTo>
                <a:lnTo>
                  <a:pt x="277228" y="552450"/>
                </a:lnTo>
                <a:lnTo>
                  <a:pt x="278511" y="558800"/>
                </a:lnTo>
                <a:lnTo>
                  <a:pt x="274853" y="561340"/>
                </a:lnTo>
                <a:lnTo>
                  <a:pt x="275463" y="565150"/>
                </a:lnTo>
                <a:lnTo>
                  <a:pt x="271665" y="565150"/>
                </a:lnTo>
                <a:lnTo>
                  <a:pt x="264617" y="567690"/>
                </a:lnTo>
                <a:lnTo>
                  <a:pt x="263639" y="568960"/>
                </a:lnTo>
                <a:lnTo>
                  <a:pt x="264934" y="576580"/>
                </a:lnTo>
                <a:lnTo>
                  <a:pt x="265582" y="579120"/>
                </a:lnTo>
                <a:lnTo>
                  <a:pt x="261137" y="580390"/>
                </a:lnTo>
                <a:lnTo>
                  <a:pt x="261327" y="588010"/>
                </a:lnTo>
                <a:lnTo>
                  <a:pt x="259219" y="589280"/>
                </a:lnTo>
                <a:lnTo>
                  <a:pt x="252374" y="590550"/>
                </a:lnTo>
                <a:lnTo>
                  <a:pt x="249212" y="590550"/>
                </a:lnTo>
                <a:lnTo>
                  <a:pt x="252806" y="596900"/>
                </a:lnTo>
                <a:lnTo>
                  <a:pt x="250774" y="599440"/>
                </a:lnTo>
                <a:lnTo>
                  <a:pt x="251536" y="601980"/>
                </a:lnTo>
                <a:lnTo>
                  <a:pt x="245186" y="600849"/>
                </a:lnTo>
                <a:lnTo>
                  <a:pt x="245237" y="601383"/>
                </a:lnTo>
                <a:lnTo>
                  <a:pt x="247535" y="603250"/>
                </a:lnTo>
                <a:lnTo>
                  <a:pt x="245872" y="608330"/>
                </a:lnTo>
                <a:lnTo>
                  <a:pt x="245237" y="601383"/>
                </a:lnTo>
                <a:lnTo>
                  <a:pt x="245021" y="601218"/>
                </a:lnTo>
                <a:lnTo>
                  <a:pt x="243649" y="605790"/>
                </a:lnTo>
                <a:lnTo>
                  <a:pt x="243992" y="605790"/>
                </a:lnTo>
                <a:lnTo>
                  <a:pt x="245694" y="613410"/>
                </a:lnTo>
                <a:lnTo>
                  <a:pt x="236461" y="618490"/>
                </a:lnTo>
                <a:lnTo>
                  <a:pt x="235267" y="619760"/>
                </a:lnTo>
                <a:lnTo>
                  <a:pt x="234657" y="626110"/>
                </a:lnTo>
                <a:lnTo>
                  <a:pt x="234086" y="631190"/>
                </a:lnTo>
                <a:lnTo>
                  <a:pt x="227545" y="629920"/>
                </a:lnTo>
                <a:lnTo>
                  <a:pt x="225526" y="629920"/>
                </a:lnTo>
                <a:lnTo>
                  <a:pt x="226072" y="636270"/>
                </a:lnTo>
                <a:lnTo>
                  <a:pt x="224282" y="640080"/>
                </a:lnTo>
                <a:lnTo>
                  <a:pt x="223913" y="646430"/>
                </a:lnTo>
                <a:lnTo>
                  <a:pt x="221475" y="648970"/>
                </a:lnTo>
                <a:lnTo>
                  <a:pt x="215785" y="648970"/>
                </a:lnTo>
                <a:lnTo>
                  <a:pt x="217652" y="654050"/>
                </a:lnTo>
                <a:lnTo>
                  <a:pt x="213537" y="655320"/>
                </a:lnTo>
                <a:lnTo>
                  <a:pt x="211988" y="660400"/>
                </a:lnTo>
                <a:lnTo>
                  <a:pt x="208978" y="659130"/>
                </a:lnTo>
                <a:lnTo>
                  <a:pt x="208965" y="662940"/>
                </a:lnTo>
                <a:lnTo>
                  <a:pt x="203263" y="665480"/>
                </a:lnTo>
                <a:lnTo>
                  <a:pt x="207721" y="669290"/>
                </a:lnTo>
                <a:lnTo>
                  <a:pt x="207352" y="669290"/>
                </a:lnTo>
                <a:lnTo>
                  <a:pt x="203657" y="673100"/>
                </a:lnTo>
                <a:lnTo>
                  <a:pt x="201803" y="675640"/>
                </a:lnTo>
                <a:lnTo>
                  <a:pt x="200545" y="680720"/>
                </a:lnTo>
                <a:lnTo>
                  <a:pt x="199593" y="683260"/>
                </a:lnTo>
                <a:lnTo>
                  <a:pt x="195884" y="683260"/>
                </a:lnTo>
                <a:lnTo>
                  <a:pt x="191731" y="692150"/>
                </a:lnTo>
                <a:lnTo>
                  <a:pt x="190461" y="694690"/>
                </a:lnTo>
                <a:lnTo>
                  <a:pt x="182676" y="699770"/>
                </a:lnTo>
                <a:lnTo>
                  <a:pt x="182549" y="701040"/>
                </a:lnTo>
                <a:lnTo>
                  <a:pt x="182765" y="706120"/>
                </a:lnTo>
                <a:lnTo>
                  <a:pt x="181762" y="706120"/>
                </a:lnTo>
                <a:lnTo>
                  <a:pt x="178473" y="712470"/>
                </a:lnTo>
                <a:lnTo>
                  <a:pt x="177165" y="713740"/>
                </a:lnTo>
                <a:lnTo>
                  <a:pt x="172821" y="713740"/>
                </a:lnTo>
                <a:lnTo>
                  <a:pt x="172885" y="715010"/>
                </a:lnTo>
                <a:lnTo>
                  <a:pt x="175107" y="715010"/>
                </a:lnTo>
                <a:lnTo>
                  <a:pt x="174332" y="716280"/>
                </a:lnTo>
                <a:lnTo>
                  <a:pt x="179374" y="718820"/>
                </a:lnTo>
                <a:lnTo>
                  <a:pt x="174650" y="719772"/>
                </a:lnTo>
                <a:lnTo>
                  <a:pt x="174650" y="949960"/>
                </a:lnTo>
                <a:lnTo>
                  <a:pt x="172669" y="952500"/>
                </a:lnTo>
                <a:lnTo>
                  <a:pt x="171589" y="952500"/>
                </a:lnTo>
                <a:lnTo>
                  <a:pt x="170497" y="953770"/>
                </a:lnTo>
                <a:lnTo>
                  <a:pt x="169113" y="953770"/>
                </a:lnTo>
                <a:lnTo>
                  <a:pt x="170967" y="952500"/>
                </a:lnTo>
                <a:lnTo>
                  <a:pt x="172923" y="951230"/>
                </a:lnTo>
                <a:lnTo>
                  <a:pt x="174650" y="949960"/>
                </a:lnTo>
                <a:lnTo>
                  <a:pt x="174650" y="719772"/>
                </a:lnTo>
                <a:lnTo>
                  <a:pt x="173062" y="720090"/>
                </a:lnTo>
                <a:lnTo>
                  <a:pt x="171653" y="720090"/>
                </a:lnTo>
                <a:lnTo>
                  <a:pt x="172046" y="725170"/>
                </a:lnTo>
                <a:lnTo>
                  <a:pt x="168325" y="728980"/>
                </a:lnTo>
                <a:lnTo>
                  <a:pt x="169875" y="732790"/>
                </a:lnTo>
                <a:lnTo>
                  <a:pt x="169062" y="734060"/>
                </a:lnTo>
                <a:lnTo>
                  <a:pt x="163296" y="732790"/>
                </a:lnTo>
                <a:lnTo>
                  <a:pt x="158559" y="737870"/>
                </a:lnTo>
                <a:lnTo>
                  <a:pt x="162483" y="745490"/>
                </a:lnTo>
                <a:lnTo>
                  <a:pt x="158267" y="746760"/>
                </a:lnTo>
                <a:lnTo>
                  <a:pt x="158318" y="753110"/>
                </a:lnTo>
                <a:lnTo>
                  <a:pt x="156552" y="751840"/>
                </a:lnTo>
                <a:lnTo>
                  <a:pt x="152882" y="753110"/>
                </a:lnTo>
                <a:lnTo>
                  <a:pt x="152323" y="754380"/>
                </a:lnTo>
                <a:lnTo>
                  <a:pt x="153073" y="758190"/>
                </a:lnTo>
                <a:lnTo>
                  <a:pt x="154152" y="760730"/>
                </a:lnTo>
                <a:lnTo>
                  <a:pt x="150647" y="760730"/>
                </a:lnTo>
                <a:lnTo>
                  <a:pt x="149745" y="762000"/>
                </a:lnTo>
                <a:lnTo>
                  <a:pt x="149682" y="966470"/>
                </a:lnTo>
                <a:lnTo>
                  <a:pt x="149428" y="967740"/>
                </a:lnTo>
                <a:lnTo>
                  <a:pt x="149250" y="967740"/>
                </a:lnTo>
                <a:lnTo>
                  <a:pt x="148780" y="969010"/>
                </a:lnTo>
                <a:lnTo>
                  <a:pt x="146240" y="969010"/>
                </a:lnTo>
                <a:lnTo>
                  <a:pt x="144272" y="971550"/>
                </a:lnTo>
                <a:lnTo>
                  <a:pt x="141757" y="974090"/>
                </a:lnTo>
                <a:lnTo>
                  <a:pt x="141224" y="975360"/>
                </a:lnTo>
                <a:lnTo>
                  <a:pt x="140754" y="975360"/>
                </a:lnTo>
                <a:lnTo>
                  <a:pt x="138620" y="976630"/>
                </a:lnTo>
                <a:lnTo>
                  <a:pt x="137731" y="977900"/>
                </a:lnTo>
                <a:lnTo>
                  <a:pt x="134785" y="977900"/>
                </a:lnTo>
                <a:lnTo>
                  <a:pt x="135432" y="976630"/>
                </a:lnTo>
                <a:lnTo>
                  <a:pt x="133350" y="975360"/>
                </a:lnTo>
                <a:lnTo>
                  <a:pt x="134391" y="972820"/>
                </a:lnTo>
                <a:lnTo>
                  <a:pt x="135013" y="971550"/>
                </a:lnTo>
                <a:lnTo>
                  <a:pt x="136156" y="969010"/>
                </a:lnTo>
                <a:lnTo>
                  <a:pt x="136867" y="971550"/>
                </a:lnTo>
                <a:lnTo>
                  <a:pt x="138201" y="972820"/>
                </a:lnTo>
                <a:lnTo>
                  <a:pt x="138823" y="972820"/>
                </a:lnTo>
                <a:lnTo>
                  <a:pt x="139687" y="971550"/>
                </a:lnTo>
                <a:lnTo>
                  <a:pt x="139979" y="971550"/>
                </a:lnTo>
                <a:lnTo>
                  <a:pt x="140512" y="970280"/>
                </a:lnTo>
                <a:lnTo>
                  <a:pt x="141033" y="970280"/>
                </a:lnTo>
                <a:lnTo>
                  <a:pt x="143408" y="966470"/>
                </a:lnTo>
                <a:lnTo>
                  <a:pt x="144195" y="965200"/>
                </a:lnTo>
                <a:lnTo>
                  <a:pt x="146202" y="966470"/>
                </a:lnTo>
                <a:lnTo>
                  <a:pt x="149644" y="965200"/>
                </a:lnTo>
                <a:lnTo>
                  <a:pt x="149682" y="966470"/>
                </a:lnTo>
                <a:lnTo>
                  <a:pt x="149682" y="762088"/>
                </a:lnTo>
                <a:lnTo>
                  <a:pt x="148793" y="763270"/>
                </a:lnTo>
                <a:lnTo>
                  <a:pt x="147904" y="763270"/>
                </a:lnTo>
                <a:lnTo>
                  <a:pt x="145618" y="762139"/>
                </a:lnTo>
                <a:lnTo>
                  <a:pt x="147802" y="764540"/>
                </a:lnTo>
                <a:lnTo>
                  <a:pt x="147129" y="764540"/>
                </a:lnTo>
                <a:lnTo>
                  <a:pt x="148704" y="765810"/>
                </a:lnTo>
                <a:lnTo>
                  <a:pt x="149339" y="765810"/>
                </a:lnTo>
                <a:lnTo>
                  <a:pt x="147764" y="768350"/>
                </a:lnTo>
                <a:lnTo>
                  <a:pt x="145059" y="767080"/>
                </a:lnTo>
                <a:lnTo>
                  <a:pt x="144348" y="765810"/>
                </a:lnTo>
                <a:lnTo>
                  <a:pt x="145618" y="768350"/>
                </a:lnTo>
                <a:lnTo>
                  <a:pt x="145884" y="768350"/>
                </a:lnTo>
                <a:lnTo>
                  <a:pt x="146291" y="769620"/>
                </a:lnTo>
                <a:lnTo>
                  <a:pt x="145961" y="769620"/>
                </a:lnTo>
                <a:lnTo>
                  <a:pt x="146659" y="770890"/>
                </a:lnTo>
                <a:lnTo>
                  <a:pt x="146126" y="772160"/>
                </a:lnTo>
                <a:lnTo>
                  <a:pt x="143738" y="768350"/>
                </a:lnTo>
                <a:lnTo>
                  <a:pt x="143992" y="769620"/>
                </a:lnTo>
                <a:lnTo>
                  <a:pt x="144957" y="772160"/>
                </a:lnTo>
                <a:lnTo>
                  <a:pt x="146113" y="775970"/>
                </a:lnTo>
                <a:lnTo>
                  <a:pt x="145427" y="774700"/>
                </a:lnTo>
                <a:lnTo>
                  <a:pt x="142024" y="768350"/>
                </a:lnTo>
                <a:lnTo>
                  <a:pt x="142062" y="769620"/>
                </a:lnTo>
                <a:lnTo>
                  <a:pt x="143154" y="773430"/>
                </a:lnTo>
                <a:lnTo>
                  <a:pt x="143344" y="773430"/>
                </a:lnTo>
                <a:lnTo>
                  <a:pt x="143421" y="774700"/>
                </a:lnTo>
                <a:lnTo>
                  <a:pt x="142976" y="774700"/>
                </a:lnTo>
                <a:lnTo>
                  <a:pt x="142557" y="773430"/>
                </a:lnTo>
                <a:lnTo>
                  <a:pt x="141719" y="770890"/>
                </a:lnTo>
                <a:lnTo>
                  <a:pt x="142036" y="773430"/>
                </a:lnTo>
                <a:lnTo>
                  <a:pt x="141693" y="772198"/>
                </a:lnTo>
                <a:lnTo>
                  <a:pt x="140728" y="769620"/>
                </a:lnTo>
                <a:lnTo>
                  <a:pt x="141592" y="773430"/>
                </a:lnTo>
                <a:lnTo>
                  <a:pt x="141871" y="775970"/>
                </a:lnTo>
                <a:lnTo>
                  <a:pt x="141706" y="774700"/>
                </a:lnTo>
                <a:lnTo>
                  <a:pt x="141274" y="774700"/>
                </a:lnTo>
                <a:lnTo>
                  <a:pt x="140893" y="772160"/>
                </a:lnTo>
                <a:lnTo>
                  <a:pt x="141655" y="778510"/>
                </a:lnTo>
                <a:lnTo>
                  <a:pt x="141605" y="779780"/>
                </a:lnTo>
                <a:lnTo>
                  <a:pt x="141046" y="776605"/>
                </a:lnTo>
                <a:lnTo>
                  <a:pt x="141046" y="969010"/>
                </a:lnTo>
                <a:lnTo>
                  <a:pt x="140436" y="969010"/>
                </a:lnTo>
                <a:lnTo>
                  <a:pt x="140385" y="967740"/>
                </a:lnTo>
                <a:lnTo>
                  <a:pt x="140512" y="967740"/>
                </a:lnTo>
                <a:lnTo>
                  <a:pt x="140639" y="966470"/>
                </a:lnTo>
                <a:lnTo>
                  <a:pt x="141008" y="966470"/>
                </a:lnTo>
                <a:lnTo>
                  <a:pt x="141046" y="969010"/>
                </a:lnTo>
                <a:lnTo>
                  <a:pt x="141046" y="776605"/>
                </a:lnTo>
                <a:lnTo>
                  <a:pt x="140487" y="773430"/>
                </a:lnTo>
                <a:lnTo>
                  <a:pt x="140677" y="775970"/>
                </a:lnTo>
                <a:lnTo>
                  <a:pt x="140906" y="783590"/>
                </a:lnTo>
                <a:lnTo>
                  <a:pt x="140563" y="782320"/>
                </a:lnTo>
                <a:lnTo>
                  <a:pt x="139865" y="774382"/>
                </a:lnTo>
                <a:lnTo>
                  <a:pt x="139966" y="782320"/>
                </a:lnTo>
                <a:lnTo>
                  <a:pt x="139687" y="782320"/>
                </a:lnTo>
                <a:lnTo>
                  <a:pt x="139674" y="781050"/>
                </a:lnTo>
                <a:lnTo>
                  <a:pt x="139611" y="778510"/>
                </a:lnTo>
                <a:lnTo>
                  <a:pt x="139369" y="769950"/>
                </a:lnTo>
                <a:lnTo>
                  <a:pt x="138899" y="781050"/>
                </a:lnTo>
                <a:lnTo>
                  <a:pt x="138899" y="775970"/>
                </a:lnTo>
                <a:lnTo>
                  <a:pt x="138772" y="778510"/>
                </a:lnTo>
                <a:lnTo>
                  <a:pt x="138506" y="781050"/>
                </a:lnTo>
                <a:lnTo>
                  <a:pt x="138099" y="779780"/>
                </a:lnTo>
                <a:lnTo>
                  <a:pt x="138480" y="772198"/>
                </a:lnTo>
                <a:lnTo>
                  <a:pt x="137591" y="779780"/>
                </a:lnTo>
                <a:lnTo>
                  <a:pt x="137134" y="778510"/>
                </a:lnTo>
                <a:lnTo>
                  <a:pt x="136702" y="778510"/>
                </a:lnTo>
                <a:lnTo>
                  <a:pt x="135750" y="777240"/>
                </a:lnTo>
                <a:lnTo>
                  <a:pt x="135166" y="774700"/>
                </a:lnTo>
                <a:lnTo>
                  <a:pt x="135458" y="773430"/>
                </a:lnTo>
                <a:lnTo>
                  <a:pt x="135953" y="773430"/>
                </a:lnTo>
                <a:lnTo>
                  <a:pt x="138480" y="772198"/>
                </a:lnTo>
                <a:lnTo>
                  <a:pt x="138036" y="772160"/>
                </a:lnTo>
                <a:lnTo>
                  <a:pt x="137477" y="770890"/>
                </a:lnTo>
                <a:lnTo>
                  <a:pt x="136372" y="768350"/>
                </a:lnTo>
                <a:lnTo>
                  <a:pt x="135280" y="767080"/>
                </a:lnTo>
                <a:lnTo>
                  <a:pt x="134658" y="765810"/>
                </a:lnTo>
                <a:lnTo>
                  <a:pt x="134035" y="764540"/>
                </a:lnTo>
                <a:lnTo>
                  <a:pt x="134620" y="760730"/>
                </a:lnTo>
                <a:lnTo>
                  <a:pt x="135013" y="758190"/>
                </a:lnTo>
                <a:lnTo>
                  <a:pt x="133045" y="757402"/>
                </a:lnTo>
                <a:lnTo>
                  <a:pt x="133045" y="758190"/>
                </a:lnTo>
                <a:lnTo>
                  <a:pt x="132778" y="760247"/>
                </a:lnTo>
                <a:lnTo>
                  <a:pt x="132778" y="980440"/>
                </a:lnTo>
                <a:lnTo>
                  <a:pt x="132448" y="981710"/>
                </a:lnTo>
                <a:lnTo>
                  <a:pt x="132511" y="980440"/>
                </a:lnTo>
                <a:lnTo>
                  <a:pt x="132778" y="980440"/>
                </a:lnTo>
                <a:lnTo>
                  <a:pt x="132778" y="760247"/>
                </a:lnTo>
                <a:lnTo>
                  <a:pt x="132715" y="760730"/>
                </a:lnTo>
                <a:lnTo>
                  <a:pt x="132486" y="760514"/>
                </a:lnTo>
                <a:lnTo>
                  <a:pt x="132486" y="779780"/>
                </a:lnTo>
                <a:lnTo>
                  <a:pt x="131762" y="781050"/>
                </a:lnTo>
                <a:lnTo>
                  <a:pt x="131572" y="779780"/>
                </a:lnTo>
                <a:lnTo>
                  <a:pt x="132168" y="778510"/>
                </a:lnTo>
                <a:lnTo>
                  <a:pt x="132486" y="779780"/>
                </a:lnTo>
                <a:lnTo>
                  <a:pt x="132486" y="760514"/>
                </a:lnTo>
                <a:lnTo>
                  <a:pt x="131711" y="759460"/>
                </a:lnTo>
                <a:lnTo>
                  <a:pt x="131775" y="756920"/>
                </a:lnTo>
                <a:lnTo>
                  <a:pt x="132359" y="758190"/>
                </a:lnTo>
                <a:lnTo>
                  <a:pt x="133045" y="758190"/>
                </a:lnTo>
                <a:lnTo>
                  <a:pt x="133045" y="757402"/>
                </a:lnTo>
                <a:lnTo>
                  <a:pt x="131813" y="756920"/>
                </a:lnTo>
                <a:lnTo>
                  <a:pt x="134112" y="754380"/>
                </a:lnTo>
                <a:lnTo>
                  <a:pt x="131610" y="748030"/>
                </a:lnTo>
                <a:lnTo>
                  <a:pt x="134899" y="746760"/>
                </a:lnTo>
                <a:lnTo>
                  <a:pt x="134467" y="745490"/>
                </a:lnTo>
                <a:lnTo>
                  <a:pt x="135178" y="744220"/>
                </a:lnTo>
                <a:lnTo>
                  <a:pt x="133286" y="741680"/>
                </a:lnTo>
                <a:lnTo>
                  <a:pt x="132600" y="741680"/>
                </a:lnTo>
                <a:lnTo>
                  <a:pt x="130860" y="739140"/>
                </a:lnTo>
                <a:lnTo>
                  <a:pt x="129578" y="737870"/>
                </a:lnTo>
                <a:lnTo>
                  <a:pt x="131648" y="734060"/>
                </a:lnTo>
                <a:lnTo>
                  <a:pt x="132334" y="732790"/>
                </a:lnTo>
                <a:lnTo>
                  <a:pt x="131965" y="731520"/>
                </a:lnTo>
                <a:lnTo>
                  <a:pt x="128460" y="727710"/>
                </a:lnTo>
                <a:lnTo>
                  <a:pt x="127736" y="723900"/>
                </a:lnTo>
                <a:lnTo>
                  <a:pt x="131127" y="720090"/>
                </a:lnTo>
                <a:lnTo>
                  <a:pt x="129032" y="717550"/>
                </a:lnTo>
                <a:lnTo>
                  <a:pt x="128422" y="712470"/>
                </a:lnTo>
                <a:lnTo>
                  <a:pt x="127609" y="709930"/>
                </a:lnTo>
                <a:lnTo>
                  <a:pt x="124371" y="704850"/>
                </a:lnTo>
                <a:lnTo>
                  <a:pt x="124167" y="702310"/>
                </a:lnTo>
                <a:lnTo>
                  <a:pt x="128930" y="699770"/>
                </a:lnTo>
                <a:lnTo>
                  <a:pt x="127914" y="698500"/>
                </a:lnTo>
                <a:lnTo>
                  <a:pt x="126009" y="693420"/>
                </a:lnTo>
                <a:lnTo>
                  <a:pt x="49758" y="693420"/>
                </a:lnTo>
                <a:lnTo>
                  <a:pt x="49758" y="927100"/>
                </a:lnTo>
                <a:lnTo>
                  <a:pt x="49237" y="928370"/>
                </a:lnTo>
                <a:lnTo>
                  <a:pt x="48615" y="928370"/>
                </a:lnTo>
                <a:lnTo>
                  <a:pt x="48094" y="929640"/>
                </a:lnTo>
                <a:lnTo>
                  <a:pt x="47180" y="928370"/>
                </a:lnTo>
                <a:lnTo>
                  <a:pt x="47040" y="928370"/>
                </a:lnTo>
                <a:lnTo>
                  <a:pt x="48044" y="927100"/>
                </a:lnTo>
                <a:lnTo>
                  <a:pt x="48666" y="925830"/>
                </a:lnTo>
                <a:lnTo>
                  <a:pt x="49758" y="927100"/>
                </a:lnTo>
                <a:lnTo>
                  <a:pt x="49758" y="693420"/>
                </a:lnTo>
                <a:lnTo>
                  <a:pt x="36906" y="693420"/>
                </a:lnTo>
                <a:lnTo>
                  <a:pt x="36906" y="915670"/>
                </a:lnTo>
                <a:lnTo>
                  <a:pt x="36385" y="916940"/>
                </a:lnTo>
                <a:lnTo>
                  <a:pt x="35534" y="918210"/>
                </a:lnTo>
                <a:lnTo>
                  <a:pt x="35306" y="915670"/>
                </a:lnTo>
                <a:lnTo>
                  <a:pt x="34061" y="911860"/>
                </a:lnTo>
                <a:lnTo>
                  <a:pt x="35610" y="910590"/>
                </a:lnTo>
                <a:lnTo>
                  <a:pt x="36182" y="911860"/>
                </a:lnTo>
                <a:lnTo>
                  <a:pt x="36868" y="914400"/>
                </a:lnTo>
                <a:lnTo>
                  <a:pt x="36906" y="915670"/>
                </a:lnTo>
                <a:lnTo>
                  <a:pt x="36906" y="693420"/>
                </a:lnTo>
                <a:lnTo>
                  <a:pt x="21793" y="693420"/>
                </a:lnTo>
                <a:lnTo>
                  <a:pt x="21793" y="770890"/>
                </a:lnTo>
                <a:lnTo>
                  <a:pt x="21526" y="772160"/>
                </a:lnTo>
                <a:lnTo>
                  <a:pt x="20256" y="772160"/>
                </a:lnTo>
                <a:lnTo>
                  <a:pt x="20256" y="820420"/>
                </a:lnTo>
                <a:lnTo>
                  <a:pt x="20218" y="822960"/>
                </a:lnTo>
                <a:lnTo>
                  <a:pt x="19583" y="824230"/>
                </a:lnTo>
                <a:lnTo>
                  <a:pt x="19342" y="822960"/>
                </a:lnTo>
                <a:lnTo>
                  <a:pt x="18910" y="822960"/>
                </a:lnTo>
                <a:lnTo>
                  <a:pt x="18542" y="821690"/>
                </a:lnTo>
                <a:lnTo>
                  <a:pt x="18681" y="820420"/>
                </a:lnTo>
                <a:lnTo>
                  <a:pt x="19773" y="819150"/>
                </a:lnTo>
                <a:lnTo>
                  <a:pt x="20256" y="820420"/>
                </a:lnTo>
                <a:lnTo>
                  <a:pt x="20256" y="772160"/>
                </a:lnTo>
                <a:lnTo>
                  <a:pt x="20091" y="772160"/>
                </a:lnTo>
                <a:lnTo>
                  <a:pt x="20167" y="770890"/>
                </a:lnTo>
                <a:lnTo>
                  <a:pt x="21793" y="770890"/>
                </a:lnTo>
                <a:lnTo>
                  <a:pt x="21793" y="693420"/>
                </a:lnTo>
                <a:lnTo>
                  <a:pt x="21539" y="693420"/>
                </a:lnTo>
                <a:lnTo>
                  <a:pt x="21539" y="765810"/>
                </a:lnTo>
                <a:lnTo>
                  <a:pt x="21069" y="765810"/>
                </a:lnTo>
                <a:lnTo>
                  <a:pt x="20967" y="764540"/>
                </a:lnTo>
                <a:lnTo>
                  <a:pt x="21399" y="764540"/>
                </a:lnTo>
                <a:lnTo>
                  <a:pt x="21539" y="765810"/>
                </a:lnTo>
                <a:lnTo>
                  <a:pt x="21539" y="693420"/>
                </a:lnTo>
                <a:lnTo>
                  <a:pt x="15176" y="693420"/>
                </a:lnTo>
                <a:lnTo>
                  <a:pt x="15176" y="737870"/>
                </a:lnTo>
                <a:lnTo>
                  <a:pt x="15036" y="739140"/>
                </a:lnTo>
                <a:lnTo>
                  <a:pt x="12966" y="739140"/>
                </a:lnTo>
                <a:lnTo>
                  <a:pt x="12776" y="737870"/>
                </a:lnTo>
                <a:lnTo>
                  <a:pt x="15176" y="737870"/>
                </a:lnTo>
                <a:lnTo>
                  <a:pt x="15176" y="693420"/>
                </a:lnTo>
                <a:lnTo>
                  <a:pt x="8013" y="693420"/>
                </a:lnTo>
                <a:lnTo>
                  <a:pt x="8470" y="694690"/>
                </a:lnTo>
                <a:lnTo>
                  <a:pt x="7797" y="694690"/>
                </a:lnTo>
                <a:lnTo>
                  <a:pt x="5765" y="695960"/>
                </a:lnTo>
                <a:lnTo>
                  <a:pt x="3416" y="695960"/>
                </a:lnTo>
                <a:lnTo>
                  <a:pt x="7023" y="701040"/>
                </a:lnTo>
                <a:lnTo>
                  <a:pt x="5295" y="701040"/>
                </a:lnTo>
                <a:lnTo>
                  <a:pt x="2755" y="706120"/>
                </a:lnTo>
                <a:lnTo>
                  <a:pt x="1981" y="709930"/>
                </a:lnTo>
                <a:lnTo>
                  <a:pt x="7175" y="713740"/>
                </a:lnTo>
                <a:lnTo>
                  <a:pt x="3848" y="715010"/>
                </a:lnTo>
                <a:lnTo>
                  <a:pt x="3924" y="716280"/>
                </a:lnTo>
                <a:lnTo>
                  <a:pt x="3886" y="718820"/>
                </a:lnTo>
                <a:lnTo>
                  <a:pt x="4000" y="721360"/>
                </a:lnTo>
                <a:lnTo>
                  <a:pt x="4216" y="722630"/>
                </a:lnTo>
                <a:lnTo>
                  <a:pt x="50" y="725170"/>
                </a:lnTo>
                <a:lnTo>
                  <a:pt x="1384" y="726440"/>
                </a:lnTo>
                <a:lnTo>
                  <a:pt x="3302" y="728980"/>
                </a:lnTo>
                <a:lnTo>
                  <a:pt x="4127" y="728980"/>
                </a:lnTo>
                <a:lnTo>
                  <a:pt x="6845" y="734060"/>
                </a:lnTo>
                <a:lnTo>
                  <a:pt x="1041" y="732790"/>
                </a:lnTo>
                <a:lnTo>
                  <a:pt x="2667" y="737870"/>
                </a:lnTo>
                <a:lnTo>
                  <a:pt x="6997" y="737870"/>
                </a:lnTo>
                <a:lnTo>
                  <a:pt x="3073" y="746760"/>
                </a:lnTo>
                <a:lnTo>
                  <a:pt x="4318" y="751840"/>
                </a:lnTo>
                <a:lnTo>
                  <a:pt x="8597" y="755650"/>
                </a:lnTo>
                <a:lnTo>
                  <a:pt x="9220" y="756920"/>
                </a:lnTo>
                <a:lnTo>
                  <a:pt x="5524" y="759460"/>
                </a:lnTo>
                <a:lnTo>
                  <a:pt x="8356" y="764540"/>
                </a:lnTo>
                <a:lnTo>
                  <a:pt x="5524" y="769620"/>
                </a:lnTo>
                <a:lnTo>
                  <a:pt x="5397" y="772198"/>
                </a:lnTo>
                <a:lnTo>
                  <a:pt x="5778" y="774382"/>
                </a:lnTo>
                <a:lnTo>
                  <a:pt x="6096" y="775970"/>
                </a:lnTo>
                <a:lnTo>
                  <a:pt x="6743" y="777240"/>
                </a:lnTo>
                <a:lnTo>
                  <a:pt x="7061" y="778510"/>
                </a:lnTo>
                <a:lnTo>
                  <a:pt x="8763" y="782320"/>
                </a:lnTo>
                <a:lnTo>
                  <a:pt x="9029" y="786130"/>
                </a:lnTo>
                <a:lnTo>
                  <a:pt x="9563" y="788670"/>
                </a:lnTo>
                <a:lnTo>
                  <a:pt x="10312" y="795020"/>
                </a:lnTo>
                <a:lnTo>
                  <a:pt x="11176" y="808990"/>
                </a:lnTo>
                <a:lnTo>
                  <a:pt x="12001" y="815340"/>
                </a:lnTo>
                <a:lnTo>
                  <a:pt x="13804" y="821690"/>
                </a:lnTo>
                <a:lnTo>
                  <a:pt x="13487" y="830580"/>
                </a:lnTo>
                <a:lnTo>
                  <a:pt x="17437" y="835660"/>
                </a:lnTo>
                <a:lnTo>
                  <a:pt x="17348" y="836930"/>
                </a:lnTo>
                <a:lnTo>
                  <a:pt x="17399" y="839470"/>
                </a:lnTo>
                <a:lnTo>
                  <a:pt x="17792" y="843280"/>
                </a:lnTo>
                <a:lnTo>
                  <a:pt x="17208" y="845820"/>
                </a:lnTo>
                <a:lnTo>
                  <a:pt x="16941" y="852170"/>
                </a:lnTo>
                <a:lnTo>
                  <a:pt x="17030" y="855980"/>
                </a:lnTo>
                <a:lnTo>
                  <a:pt x="19050" y="858520"/>
                </a:lnTo>
                <a:lnTo>
                  <a:pt x="17856" y="863600"/>
                </a:lnTo>
                <a:lnTo>
                  <a:pt x="18440" y="866140"/>
                </a:lnTo>
                <a:lnTo>
                  <a:pt x="20561" y="869950"/>
                </a:lnTo>
                <a:lnTo>
                  <a:pt x="22098" y="872490"/>
                </a:lnTo>
                <a:lnTo>
                  <a:pt x="27190" y="885190"/>
                </a:lnTo>
                <a:lnTo>
                  <a:pt x="24726" y="897890"/>
                </a:lnTo>
                <a:lnTo>
                  <a:pt x="24053" y="899160"/>
                </a:lnTo>
                <a:lnTo>
                  <a:pt x="23266" y="901700"/>
                </a:lnTo>
                <a:lnTo>
                  <a:pt x="23126" y="902970"/>
                </a:lnTo>
                <a:lnTo>
                  <a:pt x="25146" y="906780"/>
                </a:lnTo>
                <a:lnTo>
                  <a:pt x="26936" y="906780"/>
                </a:lnTo>
                <a:lnTo>
                  <a:pt x="30899" y="902970"/>
                </a:lnTo>
                <a:lnTo>
                  <a:pt x="30899" y="905510"/>
                </a:lnTo>
                <a:lnTo>
                  <a:pt x="29972" y="913130"/>
                </a:lnTo>
                <a:lnTo>
                  <a:pt x="28803" y="916940"/>
                </a:lnTo>
                <a:lnTo>
                  <a:pt x="33413" y="922020"/>
                </a:lnTo>
                <a:lnTo>
                  <a:pt x="34048" y="924560"/>
                </a:lnTo>
                <a:lnTo>
                  <a:pt x="35356" y="929640"/>
                </a:lnTo>
                <a:lnTo>
                  <a:pt x="35852" y="932180"/>
                </a:lnTo>
                <a:lnTo>
                  <a:pt x="36499" y="933450"/>
                </a:lnTo>
                <a:lnTo>
                  <a:pt x="39395" y="933450"/>
                </a:lnTo>
                <a:lnTo>
                  <a:pt x="39408" y="934720"/>
                </a:lnTo>
                <a:lnTo>
                  <a:pt x="41440" y="939800"/>
                </a:lnTo>
                <a:lnTo>
                  <a:pt x="44170" y="943610"/>
                </a:lnTo>
                <a:lnTo>
                  <a:pt x="48425" y="946150"/>
                </a:lnTo>
                <a:lnTo>
                  <a:pt x="49695" y="947420"/>
                </a:lnTo>
                <a:lnTo>
                  <a:pt x="51320" y="949960"/>
                </a:lnTo>
                <a:lnTo>
                  <a:pt x="51803" y="951230"/>
                </a:lnTo>
                <a:lnTo>
                  <a:pt x="52476" y="952500"/>
                </a:lnTo>
                <a:lnTo>
                  <a:pt x="52692" y="952500"/>
                </a:lnTo>
                <a:lnTo>
                  <a:pt x="53187" y="955040"/>
                </a:lnTo>
                <a:lnTo>
                  <a:pt x="53479" y="955040"/>
                </a:lnTo>
                <a:lnTo>
                  <a:pt x="54051" y="957580"/>
                </a:lnTo>
                <a:lnTo>
                  <a:pt x="54521" y="961390"/>
                </a:lnTo>
                <a:lnTo>
                  <a:pt x="56807" y="962660"/>
                </a:lnTo>
                <a:lnTo>
                  <a:pt x="60706" y="963930"/>
                </a:lnTo>
                <a:lnTo>
                  <a:pt x="60198" y="957580"/>
                </a:lnTo>
                <a:lnTo>
                  <a:pt x="61633" y="955040"/>
                </a:lnTo>
                <a:lnTo>
                  <a:pt x="61937" y="953770"/>
                </a:lnTo>
                <a:lnTo>
                  <a:pt x="66014" y="957580"/>
                </a:lnTo>
                <a:lnTo>
                  <a:pt x="67716" y="965200"/>
                </a:lnTo>
                <a:lnTo>
                  <a:pt x="66128" y="974090"/>
                </a:lnTo>
                <a:lnTo>
                  <a:pt x="66408" y="974090"/>
                </a:lnTo>
                <a:lnTo>
                  <a:pt x="66586" y="975360"/>
                </a:lnTo>
                <a:lnTo>
                  <a:pt x="67564" y="975360"/>
                </a:lnTo>
                <a:lnTo>
                  <a:pt x="71462" y="976630"/>
                </a:lnTo>
                <a:lnTo>
                  <a:pt x="74688" y="979170"/>
                </a:lnTo>
                <a:lnTo>
                  <a:pt x="77838" y="974090"/>
                </a:lnTo>
                <a:lnTo>
                  <a:pt x="78651" y="972820"/>
                </a:lnTo>
                <a:lnTo>
                  <a:pt x="80441" y="974090"/>
                </a:lnTo>
                <a:lnTo>
                  <a:pt x="80264" y="975360"/>
                </a:lnTo>
                <a:lnTo>
                  <a:pt x="79248" y="980440"/>
                </a:lnTo>
                <a:lnTo>
                  <a:pt x="81534" y="980440"/>
                </a:lnTo>
                <a:lnTo>
                  <a:pt x="84378" y="981710"/>
                </a:lnTo>
                <a:lnTo>
                  <a:pt x="89141" y="981710"/>
                </a:lnTo>
                <a:lnTo>
                  <a:pt x="108292" y="981710"/>
                </a:lnTo>
                <a:lnTo>
                  <a:pt x="108140" y="980440"/>
                </a:lnTo>
                <a:lnTo>
                  <a:pt x="110820" y="984250"/>
                </a:lnTo>
                <a:lnTo>
                  <a:pt x="115874" y="984250"/>
                </a:lnTo>
                <a:lnTo>
                  <a:pt x="118300" y="986790"/>
                </a:lnTo>
                <a:lnTo>
                  <a:pt x="119608" y="986790"/>
                </a:lnTo>
                <a:lnTo>
                  <a:pt x="119481" y="984250"/>
                </a:lnTo>
                <a:lnTo>
                  <a:pt x="118567" y="984250"/>
                </a:lnTo>
                <a:lnTo>
                  <a:pt x="120980" y="982980"/>
                </a:lnTo>
                <a:lnTo>
                  <a:pt x="121183" y="984250"/>
                </a:lnTo>
                <a:lnTo>
                  <a:pt x="121869" y="985520"/>
                </a:lnTo>
                <a:lnTo>
                  <a:pt x="121526" y="989330"/>
                </a:lnTo>
                <a:lnTo>
                  <a:pt x="124015" y="988060"/>
                </a:lnTo>
                <a:lnTo>
                  <a:pt x="127596" y="985520"/>
                </a:lnTo>
                <a:lnTo>
                  <a:pt x="130670" y="986790"/>
                </a:lnTo>
                <a:lnTo>
                  <a:pt x="132930" y="985520"/>
                </a:lnTo>
                <a:lnTo>
                  <a:pt x="135178" y="984250"/>
                </a:lnTo>
                <a:lnTo>
                  <a:pt x="136804" y="982980"/>
                </a:lnTo>
                <a:lnTo>
                  <a:pt x="139255" y="981710"/>
                </a:lnTo>
                <a:lnTo>
                  <a:pt x="146024" y="981710"/>
                </a:lnTo>
                <a:lnTo>
                  <a:pt x="147256" y="977900"/>
                </a:lnTo>
                <a:lnTo>
                  <a:pt x="149326" y="971550"/>
                </a:lnTo>
                <a:lnTo>
                  <a:pt x="155727" y="965200"/>
                </a:lnTo>
                <a:lnTo>
                  <a:pt x="160705" y="969010"/>
                </a:lnTo>
                <a:lnTo>
                  <a:pt x="161493" y="966470"/>
                </a:lnTo>
                <a:lnTo>
                  <a:pt x="162090" y="965200"/>
                </a:lnTo>
                <a:lnTo>
                  <a:pt x="163296" y="962660"/>
                </a:lnTo>
                <a:lnTo>
                  <a:pt x="163677" y="961390"/>
                </a:lnTo>
                <a:lnTo>
                  <a:pt x="164934" y="961390"/>
                </a:lnTo>
                <a:lnTo>
                  <a:pt x="166192" y="960120"/>
                </a:lnTo>
                <a:lnTo>
                  <a:pt x="170929" y="956310"/>
                </a:lnTo>
                <a:lnTo>
                  <a:pt x="173012" y="955040"/>
                </a:lnTo>
                <a:lnTo>
                  <a:pt x="174053" y="955040"/>
                </a:lnTo>
                <a:lnTo>
                  <a:pt x="175094" y="953770"/>
                </a:lnTo>
                <a:lnTo>
                  <a:pt x="176149" y="953770"/>
                </a:lnTo>
                <a:lnTo>
                  <a:pt x="177876" y="952500"/>
                </a:lnTo>
                <a:lnTo>
                  <a:pt x="178701" y="951230"/>
                </a:lnTo>
                <a:lnTo>
                  <a:pt x="179273" y="952500"/>
                </a:lnTo>
                <a:lnTo>
                  <a:pt x="180022" y="952500"/>
                </a:lnTo>
                <a:lnTo>
                  <a:pt x="180670" y="951230"/>
                </a:lnTo>
                <a:lnTo>
                  <a:pt x="181330" y="949960"/>
                </a:lnTo>
                <a:lnTo>
                  <a:pt x="182638" y="947420"/>
                </a:lnTo>
                <a:lnTo>
                  <a:pt x="184061" y="944880"/>
                </a:lnTo>
                <a:lnTo>
                  <a:pt x="183095" y="943610"/>
                </a:lnTo>
                <a:lnTo>
                  <a:pt x="184391" y="939800"/>
                </a:lnTo>
                <a:lnTo>
                  <a:pt x="185343" y="938530"/>
                </a:lnTo>
                <a:lnTo>
                  <a:pt x="187236" y="935990"/>
                </a:lnTo>
                <a:lnTo>
                  <a:pt x="189776" y="933450"/>
                </a:lnTo>
                <a:lnTo>
                  <a:pt x="191363" y="932180"/>
                </a:lnTo>
                <a:lnTo>
                  <a:pt x="195795" y="932180"/>
                </a:lnTo>
                <a:lnTo>
                  <a:pt x="197345" y="933450"/>
                </a:lnTo>
                <a:lnTo>
                  <a:pt x="197916" y="932180"/>
                </a:lnTo>
                <a:lnTo>
                  <a:pt x="198488" y="930910"/>
                </a:lnTo>
                <a:lnTo>
                  <a:pt x="198958" y="929640"/>
                </a:lnTo>
                <a:lnTo>
                  <a:pt x="199758" y="928370"/>
                </a:lnTo>
                <a:lnTo>
                  <a:pt x="200317" y="927100"/>
                </a:lnTo>
                <a:lnTo>
                  <a:pt x="201066" y="927100"/>
                </a:lnTo>
                <a:lnTo>
                  <a:pt x="201206" y="925830"/>
                </a:lnTo>
                <a:lnTo>
                  <a:pt x="202374" y="923290"/>
                </a:lnTo>
                <a:lnTo>
                  <a:pt x="205320" y="918210"/>
                </a:lnTo>
                <a:lnTo>
                  <a:pt x="207543" y="914400"/>
                </a:lnTo>
                <a:lnTo>
                  <a:pt x="209423" y="910590"/>
                </a:lnTo>
                <a:lnTo>
                  <a:pt x="210045" y="909320"/>
                </a:lnTo>
                <a:lnTo>
                  <a:pt x="211099" y="904240"/>
                </a:lnTo>
                <a:lnTo>
                  <a:pt x="211861" y="902970"/>
                </a:lnTo>
                <a:lnTo>
                  <a:pt x="213347" y="902970"/>
                </a:lnTo>
                <a:lnTo>
                  <a:pt x="214134" y="905510"/>
                </a:lnTo>
                <a:lnTo>
                  <a:pt x="215049" y="902970"/>
                </a:lnTo>
                <a:lnTo>
                  <a:pt x="216903" y="897890"/>
                </a:lnTo>
                <a:lnTo>
                  <a:pt x="217639" y="896620"/>
                </a:lnTo>
                <a:lnTo>
                  <a:pt x="217805" y="895350"/>
                </a:lnTo>
                <a:lnTo>
                  <a:pt x="221716" y="897890"/>
                </a:lnTo>
                <a:lnTo>
                  <a:pt x="221843" y="895350"/>
                </a:lnTo>
                <a:lnTo>
                  <a:pt x="222034" y="891540"/>
                </a:lnTo>
                <a:lnTo>
                  <a:pt x="223507" y="885190"/>
                </a:lnTo>
                <a:lnTo>
                  <a:pt x="223151" y="883920"/>
                </a:lnTo>
                <a:lnTo>
                  <a:pt x="226009" y="882650"/>
                </a:lnTo>
                <a:lnTo>
                  <a:pt x="229146" y="881380"/>
                </a:lnTo>
                <a:lnTo>
                  <a:pt x="232664" y="872490"/>
                </a:lnTo>
                <a:lnTo>
                  <a:pt x="236258" y="873760"/>
                </a:lnTo>
                <a:lnTo>
                  <a:pt x="236562" y="873760"/>
                </a:lnTo>
                <a:lnTo>
                  <a:pt x="237121" y="872490"/>
                </a:lnTo>
                <a:lnTo>
                  <a:pt x="237134" y="866140"/>
                </a:lnTo>
                <a:lnTo>
                  <a:pt x="238899" y="862330"/>
                </a:lnTo>
                <a:lnTo>
                  <a:pt x="243827" y="855980"/>
                </a:lnTo>
                <a:lnTo>
                  <a:pt x="244678" y="854710"/>
                </a:lnTo>
                <a:lnTo>
                  <a:pt x="245503" y="852170"/>
                </a:lnTo>
                <a:lnTo>
                  <a:pt x="246227" y="852170"/>
                </a:lnTo>
                <a:lnTo>
                  <a:pt x="247789" y="849630"/>
                </a:lnTo>
                <a:lnTo>
                  <a:pt x="249250" y="845820"/>
                </a:lnTo>
                <a:lnTo>
                  <a:pt x="250634" y="843280"/>
                </a:lnTo>
                <a:lnTo>
                  <a:pt x="253022" y="840740"/>
                </a:lnTo>
                <a:lnTo>
                  <a:pt x="254762" y="840740"/>
                </a:lnTo>
                <a:lnTo>
                  <a:pt x="255016" y="839470"/>
                </a:lnTo>
                <a:lnTo>
                  <a:pt x="254355" y="836930"/>
                </a:lnTo>
                <a:lnTo>
                  <a:pt x="255282" y="834390"/>
                </a:lnTo>
                <a:lnTo>
                  <a:pt x="260908" y="828040"/>
                </a:lnTo>
                <a:lnTo>
                  <a:pt x="262331" y="824230"/>
                </a:lnTo>
                <a:lnTo>
                  <a:pt x="264236" y="819150"/>
                </a:lnTo>
                <a:lnTo>
                  <a:pt x="265188" y="816610"/>
                </a:lnTo>
                <a:lnTo>
                  <a:pt x="265493" y="816610"/>
                </a:lnTo>
                <a:lnTo>
                  <a:pt x="266700" y="812800"/>
                </a:lnTo>
                <a:lnTo>
                  <a:pt x="269074" y="811530"/>
                </a:lnTo>
                <a:lnTo>
                  <a:pt x="267766" y="808990"/>
                </a:lnTo>
                <a:lnTo>
                  <a:pt x="268617" y="807720"/>
                </a:lnTo>
                <a:lnTo>
                  <a:pt x="269722" y="807720"/>
                </a:lnTo>
                <a:lnTo>
                  <a:pt x="270459" y="806450"/>
                </a:lnTo>
                <a:lnTo>
                  <a:pt x="272897" y="806450"/>
                </a:lnTo>
                <a:lnTo>
                  <a:pt x="272186" y="801370"/>
                </a:lnTo>
                <a:lnTo>
                  <a:pt x="276288" y="797560"/>
                </a:lnTo>
                <a:lnTo>
                  <a:pt x="277406" y="796290"/>
                </a:lnTo>
                <a:lnTo>
                  <a:pt x="278053" y="795020"/>
                </a:lnTo>
                <a:lnTo>
                  <a:pt x="282282" y="793750"/>
                </a:lnTo>
                <a:lnTo>
                  <a:pt x="281622" y="789940"/>
                </a:lnTo>
                <a:lnTo>
                  <a:pt x="281343" y="787400"/>
                </a:lnTo>
                <a:lnTo>
                  <a:pt x="282448" y="786130"/>
                </a:lnTo>
                <a:lnTo>
                  <a:pt x="283667" y="784860"/>
                </a:lnTo>
                <a:lnTo>
                  <a:pt x="285572" y="783590"/>
                </a:lnTo>
                <a:lnTo>
                  <a:pt x="286334" y="783590"/>
                </a:lnTo>
                <a:lnTo>
                  <a:pt x="286905" y="782320"/>
                </a:lnTo>
                <a:lnTo>
                  <a:pt x="287629" y="782320"/>
                </a:lnTo>
                <a:lnTo>
                  <a:pt x="287667" y="781050"/>
                </a:lnTo>
                <a:lnTo>
                  <a:pt x="288594" y="779780"/>
                </a:lnTo>
                <a:lnTo>
                  <a:pt x="288645" y="778510"/>
                </a:lnTo>
                <a:lnTo>
                  <a:pt x="288836" y="775970"/>
                </a:lnTo>
                <a:lnTo>
                  <a:pt x="288975" y="774700"/>
                </a:lnTo>
                <a:lnTo>
                  <a:pt x="290106" y="774700"/>
                </a:lnTo>
                <a:lnTo>
                  <a:pt x="290029" y="773430"/>
                </a:lnTo>
                <a:lnTo>
                  <a:pt x="289763" y="773430"/>
                </a:lnTo>
                <a:lnTo>
                  <a:pt x="290296" y="772160"/>
                </a:lnTo>
                <a:lnTo>
                  <a:pt x="294030" y="772160"/>
                </a:lnTo>
                <a:lnTo>
                  <a:pt x="294551" y="770890"/>
                </a:lnTo>
                <a:lnTo>
                  <a:pt x="294525" y="768350"/>
                </a:lnTo>
                <a:lnTo>
                  <a:pt x="294665" y="767080"/>
                </a:lnTo>
                <a:lnTo>
                  <a:pt x="297053" y="767080"/>
                </a:lnTo>
                <a:lnTo>
                  <a:pt x="296684" y="765810"/>
                </a:lnTo>
                <a:lnTo>
                  <a:pt x="295986" y="764540"/>
                </a:lnTo>
                <a:lnTo>
                  <a:pt x="296354" y="764540"/>
                </a:lnTo>
                <a:lnTo>
                  <a:pt x="297497" y="763270"/>
                </a:lnTo>
                <a:lnTo>
                  <a:pt x="297383" y="762000"/>
                </a:lnTo>
                <a:lnTo>
                  <a:pt x="296976" y="760730"/>
                </a:lnTo>
                <a:lnTo>
                  <a:pt x="297129" y="759460"/>
                </a:lnTo>
                <a:lnTo>
                  <a:pt x="297586" y="758190"/>
                </a:lnTo>
                <a:lnTo>
                  <a:pt x="299935" y="758190"/>
                </a:lnTo>
                <a:lnTo>
                  <a:pt x="299097" y="756920"/>
                </a:lnTo>
                <a:lnTo>
                  <a:pt x="300101" y="756920"/>
                </a:lnTo>
                <a:lnTo>
                  <a:pt x="304609" y="755650"/>
                </a:lnTo>
                <a:lnTo>
                  <a:pt x="303339" y="754380"/>
                </a:lnTo>
                <a:lnTo>
                  <a:pt x="303047" y="753110"/>
                </a:lnTo>
                <a:lnTo>
                  <a:pt x="302475" y="750570"/>
                </a:lnTo>
                <a:lnTo>
                  <a:pt x="302361" y="749300"/>
                </a:lnTo>
                <a:lnTo>
                  <a:pt x="303301" y="749300"/>
                </a:lnTo>
                <a:lnTo>
                  <a:pt x="302920" y="751840"/>
                </a:lnTo>
                <a:lnTo>
                  <a:pt x="305638" y="750570"/>
                </a:lnTo>
                <a:lnTo>
                  <a:pt x="305879" y="749300"/>
                </a:lnTo>
                <a:lnTo>
                  <a:pt x="305638" y="748030"/>
                </a:lnTo>
                <a:lnTo>
                  <a:pt x="305485" y="746760"/>
                </a:lnTo>
                <a:lnTo>
                  <a:pt x="307340" y="746760"/>
                </a:lnTo>
                <a:lnTo>
                  <a:pt x="306362" y="745490"/>
                </a:lnTo>
                <a:lnTo>
                  <a:pt x="305790" y="744220"/>
                </a:lnTo>
                <a:lnTo>
                  <a:pt x="306006" y="744220"/>
                </a:lnTo>
                <a:lnTo>
                  <a:pt x="308152" y="745490"/>
                </a:lnTo>
                <a:lnTo>
                  <a:pt x="309943" y="744220"/>
                </a:lnTo>
                <a:lnTo>
                  <a:pt x="311988" y="742950"/>
                </a:lnTo>
                <a:lnTo>
                  <a:pt x="310718" y="741680"/>
                </a:lnTo>
                <a:lnTo>
                  <a:pt x="309537" y="739140"/>
                </a:lnTo>
                <a:lnTo>
                  <a:pt x="309372" y="739140"/>
                </a:lnTo>
                <a:lnTo>
                  <a:pt x="309791" y="737870"/>
                </a:lnTo>
                <a:lnTo>
                  <a:pt x="310108" y="737870"/>
                </a:lnTo>
                <a:lnTo>
                  <a:pt x="310349" y="736600"/>
                </a:lnTo>
                <a:lnTo>
                  <a:pt x="310718" y="736600"/>
                </a:lnTo>
                <a:lnTo>
                  <a:pt x="310769" y="737870"/>
                </a:lnTo>
                <a:lnTo>
                  <a:pt x="311010" y="739140"/>
                </a:lnTo>
                <a:lnTo>
                  <a:pt x="310489" y="740410"/>
                </a:lnTo>
                <a:lnTo>
                  <a:pt x="312661" y="739140"/>
                </a:lnTo>
                <a:lnTo>
                  <a:pt x="313016" y="737870"/>
                </a:lnTo>
                <a:lnTo>
                  <a:pt x="313093" y="736600"/>
                </a:lnTo>
                <a:lnTo>
                  <a:pt x="312877" y="735330"/>
                </a:lnTo>
                <a:lnTo>
                  <a:pt x="313753" y="735330"/>
                </a:lnTo>
                <a:lnTo>
                  <a:pt x="314464" y="734060"/>
                </a:lnTo>
                <a:lnTo>
                  <a:pt x="315163" y="732790"/>
                </a:lnTo>
                <a:lnTo>
                  <a:pt x="317055" y="732790"/>
                </a:lnTo>
                <a:lnTo>
                  <a:pt x="317906" y="731520"/>
                </a:lnTo>
                <a:lnTo>
                  <a:pt x="321132" y="730250"/>
                </a:lnTo>
                <a:lnTo>
                  <a:pt x="320776" y="728980"/>
                </a:lnTo>
                <a:lnTo>
                  <a:pt x="319468" y="726440"/>
                </a:lnTo>
                <a:lnTo>
                  <a:pt x="319227" y="725170"/>
                </a:lnTo>
                <a:lnTo>
                  <a:pt x="320268" y="725170"/>
                </a:lnTo>
                <a:lnTo>
                  <a:pt x="321894" y="722630"/>
                </a:lnTo>
                <a:lnTo>
                  <a:pt x="322961" y="722630"/>
                </a:lnTo>
                <a:lnTo>
                  <a:pt x="323951" y="721360"/>
                </a:lnTo>
                <a:lnTo>
                  <a:pt x="323494" y="721360"/>
                </a:lnTo>
                <a:lnTo>
                  <a:pt x="323761" y="720090"/>
                </a:lnTo>
                <a:lnTo>
                  <a:pt x="324015" y="720090"/>
                </a:lnTo>
                <a:lnTo>
                  <a:pt x="327393" y="718820"/>
                </a:lnTo>
                <a:lnTo>
                  <a:pt x="327380" y="717550"/>
                </a:lnTo>
                <a:lnTo>
                  <a:pt x="326796" y="715010"/>
                </a:lnTo>
                <a:lnTo>
                  <a:pt x="327304" y="715010"/>
                </a:lnTo>
                <a:lnTo>
                  <a:pt x="327545" y="713740"/>
                </a:lnTo>
                <a:lnTo>
                  <a:pt x="326644" y="713740"/>
                </a:lnTo>
                <a:lnTo>
                  <a:pt x="326669" y="712470"/>
                </a:lnTo>
                <a:lnTo>
                  <a:pt x="327228" y="712470"/>
                </a:lnTo>
                <a:lnTo>
                  <a:pt x="329869" y="711200"/>
                </a:lnTo>
                <a:lnTo>
                  <a:pt x="331139" y="709930"/>
                </a:lnTo>
                <a:lnTo>
                  <a:pt x="330263" y="708660"/>
                </a:lnTo>
                <a:lnTo>
                  <a:pt x="329920" y="708660"/>
                </a:lnTo>
                <a:lnTo>
                  <a:pt x="330771" y="706120"/>
                </a:lnTo>
                <a:lnTo>
                  <a:pt x="333438" y="704850"/>
                </a:lnTo>
                <a:lnTo>
                  <a:pt x="332486" y="702310"/>
                </a:lnTo>
                <a:lnTo>
                  <a:pt x="333857" y="702310"/>
                </a:lnTo>
                <a:lnTo>
                  <a:pt x="333489" y="703580"/>
                </a:lnTo>
                <a:lnTo>
                  <a:pt x="334454" y="703580"/>
                </a:lnTo>
                <a:lnTo>
                  <a:pt x="334721" y="702310"/>
                </a:lnTo>
                <a:lnTo>
                  <a:pt x="334708" y="699770"/>
                </a:lnTo>
                <a:lnTo>
                  <a:pt x="334860" y="699770"/>
                </a:lnTo>
                <a:lnTo>
                  <a:pt x="335343" y="698500"/>
                </a:lnTo>
                <a:lnTo>
                  <a:pt x="336994" y="698500"/>
                </a:lnTo>
                <a:lnTo>
                  <a:pt x="337070" y="697230"/>
                </a:lnTo>
                <a:lnTo>
                  <a:pt x="337781" y="695960"/>
                </a:lnTo>
                <a:lnTo>
                  <a:pt x="338531" y="695960"/>
                </a:lnTo>
                <a:lnTo>
                  <a:pt x="338975" y="694690"/>
                </a:lnTo>
                <a:lnTo>
                  <a:pt x="342226" y="694690"/>
                </a:lnTo>
                <a:lnTo>
                  <a:pt x="343268" y="690880"/>
                </a:lnTo>
                <a:lnTo>
                  <a:pt x="342493" y="688340"/>
                </a:lnTo>
                <a:lnTo>
                  <a:pt x="343077" y="687070"/>
                </a:lnTo>
                <a:lnTo>
                  <a:pt x="344068" y="684530"/>
                </a:lnTo>
                <a:lnTo>
                  <a:pt x="349542" y="681990"/>
                </a:lnTo>
                <a:lnTo>
                  <a:pt x="350862" y="676910"/>
                </a:lnTo>
                <a:lnTo>
                  <a:pt x="349542" y="675640"/>
                </a:lnTo>
                <a:lnTo>
                  <a:pt x="350316" y="673100"/>
                </a:lnTo>
                <a:lnTo>
                  <a:pt x="349999" y="673100"/>
                </a:lnTo>
                <a:lnTo>
                  <a:pt x="349034" y="671830"/>
                </a:lnTo>
                <a:lnTo>
                  <a:pt x="350532" y="671830"/>
                </a:lnTo>
                <a:lnTo>
                  <a:pt x="354634" y="670560"/>
                </a:lnTo>
                <a:lnTo>
                  <a:pt x="355993" y="666750"/>
                </a:lnTo>
                <a:lnTo>
                  <a:pt x="358279" y="661670"/>
                </a:lnTo>
                <a:lnTo>
                  <a:pt x="356146" y="661670"/>
                </a:lnTo>
                <a:lnTo>
                  <a:pt x="356603" y="660400"/>
                </a:lnTo>
                <a:lnTo>
                  <a:pt x="357047" y="659130"/>
                </a:lnTo>
                <a:lnTo>
                  <a:pt x="358101" y="657860"/>
                </a:lnTo>
                <a:lnTo>
                  <a:pt x="359308" y="656590"/>
                </a:lnTo>
                <a:lnTo>
                  <a:pt x="360083" y="657860"/>
                </a:lnTo>
                <a:lnTo>
                  <a:pt x="361454" y="656590"/>
                </a:lnTo>
                <a:lnTo>
                  <a:pt x="362191" y="655320"/>
                </a:lnTo>
                <a:lnTo>
                  <a:pt x="362521" y="654050"/>
                </a:lnTo>
                <a:lnTo>
                  <a:pt x="363867" y="652780"/>
                </a:lnTo>
                <a:lnTo>
                  <a:pt x="366737" y="650240"/>
                </a:lnTo>
                <a:lnTo>
                  <a:pt x="370306" y="648970"/>
                </a:lnTo>
                <a:lnTo>
                  <a:pt x="368782" y="645160"/>
                </a:lnTo>
                <a:lnTo>
                  <a:pt x="369912" y="643890"/>
                </a:lnTo>
                <a:lnTo>
                  <a:pt x="371106" y="642620"/>
                </a:lnTo>
                <a:lnTo>
                  <a:pt x="374408" y="638810"/>
                </a:lnTo>
                <a:lnTo>
                  <a:pt x="377837" y="636270"/>
                </a:lnTo>
                <a:lnTo>
                  <a:pt x="376567" y="632460"/>
                </a:lnTo>
                <a:lnTo>
                  <a:pt x="376758" y="632460"/>
                </a:lnTo>
                <a:lnTo>
                  <a:pt x="376910" y="631190"/>
                </a:lnTo>
                <a:lnTo>
                  <a:pt x="377063" y="629920"/>
                </a:lnTo>
                <a:lnTo>
                  <a:pt x="377609" y="628650"/>
                </a:lnTo>
                <a:lnTo>
                  <a:pt x="380974" y="628650"/>
                </a:lnTo>
                <a:lnTo>
                  <a:pt x="381927" y="626110"/>
                </a:lnTo>
                <a:lnTo>
                  <a:pt x="382308" y="624840"/>
                </a:lnTo>
                <a:lnTo>
                  <a:pt x="385521" y="624840"/>
                </a:lnTo>
                <a:lnTo>
                  <a:pt x="386003" y="623570"/>
                </a:lnTo>
                <a:lnTo>
                  <a:pt x="384822" y="622300"/>
                </a:lnTo>
                <a:lnTo>
                  <a:pt x="384606" y="622300"/>
                </a:lnTo>
                <a:lnTo>
                  <a:pt x="384403" y="621030"/>
                </a:lnTo>
                <a:lnTo>
                  <a:pt x="384721" y="621030"/>
                </a:lnTo>
                <a:lnTo>
                  <a:pt x="385000" y="619760"/>
                </a:lnTo>
                <a:lnTo>
                  <a:pt x="385940" y="615950"/>
                </a:lnTo>
                <a:lnTo>
                  <a:pt x="387527" y="613410"/>
                </a:lnTo>
                <a:lnTo>
                  <a:pt x="392569" y="613410"/>
                </a:lnTo>
                <a:lnTo>
                  <a:pt x="393268" y="610870"/>
                </a:lnTo>
                <a:lnTo>
                  <a:pt x="391845" y="609600"/>
                </a:lnTo>
                <a:lnTo>
                  <a:pt x="392010" y="608330"/>
                </a:lnTo>
                <a:lnTo>
                  <a:pt x="392010" y="605790"/>
                </a:lnTo>
                <a:lnTo>
                  <a:pt x="393471" y="605790"/>
                </a:lnTo>
                <a:lnTo>
                  <a:pt x="394258" y="604520"/>
                </a:lnTo>
                <a:lnTo>
                  <a:pt x="394855" y="604520"/>
                </a:lnTo>
                <a:lnTo>
                  <a:pt x="399567" y="603250"/>
                </a:lnTo>
                <a:lnTo>
                  <a:pt x="400050" y="603250"/>
                </a:lnTo>
                <a:lnTo>
                  <a:pt x="399707" y="601980"/>
                </a:lnTo>
                <a:lnTo>
                  <a:pt x="398665" y="598170"/>
                </a:lnTo>
                <a:lnTo>
                  <a:pt x="398233" y="596900"/>
                </a:lnTo>
                <a:lnTo>
                  <a:pt x="398259" y="595630"/>
                </a:lnTo>
                <a:lnTo>
                  <a:pt x="399592" y="595630"/>
                </a:lnTo>
                <a:lnTo>
                  <a:pt x="402196" y="593090"/>
                </a:lnTo>
                <a:lnTo>
                  <a:pt x="403796" y="593090"/>
                </a:lnTo>
                <a:lnTo>
                  <a:pt x="406717" y="591820"/>
                </a:lnTo>
                <a:lnTo>
                  <a:pt x="407200" y="590550"/>
                </a:lnTo>
                <a:lnTo>
                  <a:pt x="406933" y="586740"/>
                </a:lnTo>
                <a:lnTo>
                  <a:pt x="408076" y="585470"/>
                </a:lnTo>
                <a:lnTo>
                  <a:pt x="409130" y="584200"/>
                </a:lnTo>
                <a:lnTo>
                  <a:pt x="409308" y="581660"/>
                </a:lnTo>
                <a:lnTo>
                  <a:pt x="411137" y="581660"/>
                </a:lnTo>
                <a:lnTo>
                  <a:pt x="411708" y="580390"/>
                </a:lnTo>
                <a:lnTo>
                  <a:pt x="412508" y="577850"/>
                </a:lnTo>
                <a:lnTo>
                  <a:pt x="414070" y="576580"/>
                </a:lnTo>
                <a:lnTo>
                  <a:pt x="415442" y="574040"/>
                </a:lnTo>
                <a:lnTo>
                  <a:pt x="416674" y="574040"/>
                </a:lnTo>
                <a:lnTo>
                  <a:pt x="417791" y="572770"/>
                </a:lnTo>
                <a:lnTo>
                  <a:pt x="419201" y="568960"/>
                </a:lnTo>
                <a:lnTo>
                  <a:pt x="420598" y="566420"/>
                </a:lnTo>
                <a:lnTo>
                  <a:pt x="421894" y="563880"/>
                </a:lnTo>
                <a:lnTo>
                  <a:pt x="423494" y="562610"/>
                </a:lnTo>
                <a:lnTo>
                  <a:pt x="425259" y="561340"/>
                </a:lnTo>
                <a:lnTo>
                  <a:pt x="426212" y="558800"/>
                </a:lnTo>
                <a:lnTo>
                  <a:pt x="428307" y="553720"/>
                </a:lnTo>
                <a:lnTo>
                  <a:pt x="431863" y="549910"/>
                </a:lnTo>
                <a:lnTo>
                  <a:pt x="434568" y="542290"/>
                </a:lnTo>
                <a:lnTo>
                  <a:pt x="439712" y="539750"/>
                </a:lnTo>
                <a:lnTo>
                  <a:pt x="438607" y="535940"/>
                </a:lnTo>
                <a:lnTo>
                  <a:pt x="439305" y="535940"/>
                </a:lnTo>
                <a:lnTo>
                  <a:pt x="439953" y="534670"/>
                </a:lnTo>
                <a:lnTo>
                  <a:pt x="440563" y="533400"/>
                </a:lnTo>
                <a:lnTo>
                  <a:pt x="446024" y="528320"/>
                </a:lnTo>
                <a:lnTo>
                  <a:pt x="448792" y="521970"/>
                </a:lnTo>
                <a:lnTo>
                  <a:pt x="452043" y="516890"/>
                </a:lnTo>
                <a:lnTo>
                  <a:pt x="453669" y="515620"/>
                </a:lnTo>
                <a:lnTo>
                  <a:pt x="454901" y="514350"/>
                </a:lnTo>
                <a:lnTo>
                  <a:pt x="454533" y="508000"/>
                </a:lnTo>
                <a:lnTo>
                  <a:pt x="457327" y="508000"/>
                </a:lnTo>
                <a:lnTo>
                  <a:pt x="460857" y="506730"/>
                </a:lnTo>
                <a:lnTo>
                  <a:pt x="462686" y="508000"/>
                </a:lnTo>
                <a:lnTo>
                  <a:pt x="461975" y="502920"/>
                </a:lnTo>
                <a:lnTo>
                  <a:pt x="465543" y="501650"/>
                </a:lnTo>
                <a:lnTo>
                  <a:pt x="464997" y="497840"/>
                </a:lnTo>
                <a:lnTo>
                  <a:pt x="465937" y="496570"/>
                </a:lnTo>
                <a:lnTo>
                  <a:pt x="467258" y="496570"/>
                </a:lnTo>
                <a:lnTo>
                  <a:pt x="469341" y="495300"/>
                </a:lnTo>
                <a:lnTo>
                  <a:pt x="470623" y="495300"/>
                </a:lnTo>
                <a:lnTo>
                  <a:pt x="470903" y="491490"/>
                </a:lnTo>
                <a:lnTo>
                  <a:pt x="473964" y="488950"/>
                </a:lnTo>
                <a:lnTo>
                  <a:pt x="474103" y="485140"/>
                </a:lnTo>
                <a:lnTo>
                  <a:pt x="477634" y="485140"/>
                </a:lnTo>
                <a:lnTo>
                  <a:pt x="477278" y="482600"/>
                </a:lnTo>
                <a:lnTo>
                  <a:pt x="477418" y="481330"/>
                </a:lnTo>
                <a:lnTo>
                  <a:pt x="478586" y="480060"/>
                </a:lnTo>
                <a:lnTo>
                  <a:pt x="479742" y="480060"/>
                </a:lnTo>
                <a:lnTo>
                  <a:pt x="479221" y="477520"/>
                </a:lnTo>
                <a:lnTo>
                  <a:pt x="482434" y="477520"/>
                </a:lnTo>
                <a:lnTo>
                  <a:pt x="482168" y="476250"/>
                </a:lnTo>
                <a:lnTo>
                  <a:pt x="482066" y="473710"/>
                </a:lnTo>
                <a:lnTo>
                  <a:pt x="482612" y="473710"/>
                </a:lnTo>
                <a:lnTo>
                  <a:pt x="483349" y="472440"/>
                </a:lnTo>
                <a:lnTo>
                  <a:pt x="485914" y="472440"/>
                </a:lnTo>
                <a:lnTo>
                  <a:pt x="486016" y="471170"/>
                </a:lnTo>
                <a:lnTo>
                  <a:pt x="486651" y="468630"/>
                </a:lnTo>
                <a:lnTo>
                  <a:pt x="486702" y="466090"/>
                </a:lnTo>
                <a:lnTo>
                  <a:pt x="491185" y="466090"/>
                </a:lnTo>
                <a:lnTo>
                  <a:pt x="490931" y="463550"/>
                </a:lnTo>
                <a:lnTo>
                  <a:pt x="491312" y="461010"/>
                </a:lnTo>
                <a:lnTo>
                  <a:pt x="491693" y="461010"/>
                </a:lnTo>
                <a:lnTo>
                  <a:pt x="491604" y="459740"/>
                </a:lnTo>
                <a:lnTo>
                  <a:pt x="491934" y="459740"/>
                </a:lnTo>
                <a:lnTo>
                  <a:pt x="494042" y="458470"/>
                </a:lnTo>
                <a:lnTo>
                  <a:pt x="494931" y="457200"/>
                </a:lnTo>
                <a:lnTo>
                  <a:pt x="495731" y="455930"/>
                </a:lnTo>
                <a:lnTo>
                  <a:pt x="498386" y="454660"/>
                </a:lnTo>
                <a:lnTo>
                  <a:pt x="498779" y="450850"/>
                </a:lnTo>
                <a:lnTo>
                  <a:pt x="502424" y="448310"/>
                </a:lnTo>
                <a:lnTo>
                  <a:pt x="501497" y="447040"/>
                </a:lnTo>
                <a:lnTo>
                  <a:pt x="500468" y="445770"/>
                </a:lnTo>
                <a:lnTo>
                  <a:pt x="500507" y="444500"/>
                </a:lnTo>
                <a:lnTo>
                  <a:pt x="506183" y="444500"/>
                </a:lnTo>
                <a:lnTo>
                  <a:pt x="505815" y="441960"/>
                </a:lnTo>
                <a:lnTo>
                  <a:pt x="507492" y="440690"/>
                </a:lnTo>
                <a:lnTo>
                  <a:pt x="508406" y="438150"/>
                </a:lnTo>
                <a:lnTo>
                  <a:pt x="511822" y="435610"/>
                </a:lnTo>
                <a:lnTo>
                  <a:pt x="510438" y="434340"/>
                </a:lnTo>
                <a:lnTo>
                  <a:pt x="509714" y="433070"/>
                </a:lnTo>
                <a:lnTo>
                  <a:pt x="511657" y="430530"/>
                </a:lnTo>
                <a:lnTo>
                  <a:pt x="511733" y="431800"/>
                </a:lnTo>
                <a:lnTo>
                  <a:pt x="511886" y="433070"/>
                </a:lnTo>
                <a:lnTo>
                  <a:pt x="513130" y="433070"/>
                </a:lnTo>
                <a:lnTo>
                  <a:pt x="515378" y="431800"/>
                </a:lnTo>
                <a:lnTo>
                  <a:pt x="514819" y="430530"/>
                </a:lnTo>
                <a:lnTo>
                  <a:pt x="515327" y="427990"/>
                </a:lnTo>
                <a:lnTo>
                  <a:pt x="515785" y="426720"/>
                </a:lnTo>
                <a:lnTo>
                  <a:pt x="516331" y="425450"/>
                </a:lnTo>
                <a:lnTo>
                  <a:pt x="517347" y="425450"/>
                </a:lnTo>
                <a:lnTo>
                  <a:pt x="518236" y="424180"/>
                </a:lnTo>
                <a:lnTo>
                  <a:pt x="518896" y="421640"/>
                </a:lnTo>
                <a:lnTo>
                  <a:pt x="519709" y="421640"/>
                </a:lnTo>
                <a:lnTo>
                  <a:pt x="522262" y="417830"/>
                </a:lnTo>
                <a:lnTo>
                  <a:pt x="524014" y="416560"/>
                </a:lnTo>
                <a:lnTo>
                  <a:pt x="524929" y="416560"/>
                </a:lnTo>
                <a:lnTo>
                  <a:pt x="525500" y="415290"/>
                </a:lnTo>
                <a:lnTo>
                  <a:pt x="525310" y="414020"/>
                </a:lnTo>
                <a:lnTo>
                  <a:pt x="527278" y="412750"/>
                </a:lnTo>
                <a:lnTo>
                  <a:pt x="529056" y="410210"/>
                </a:lnTo>
                <a:lnTo>
                  <a:pt x="530288" y="405130"/>
                </a:lnTo>
                <a:lnTo>
                  <a:pt x="530948" y="403860"/>
                </a:lnTo>
                <a:lnTo>
                  <a:pt x="535000" y="403860"/>
                </a:lnTo>
                <a:lnTo>
                  <a:pt x="534924" y="402590"/>
                </a:lnTo>
                <a:lnTo>
                  <a:pt x="534835" y="401320"/>
                </a:lnTo>
                <a:lnTo>
                  <a:pt x="535114" y="400050"/>
                </a:lnTo>
                <a:lnTo>
                  <a:pt x="536600" y="400050"/>
                </a:lnTo>
                <a:lnTo>
                  <a:pt x="536778" y="397510"/>
                </a:lnTo>
                <a:lnTo>
                  <a:pt x="540156" y="397510"/>
                </a:lnTo>
                <a:lnTo>
                  <a:pt x="539724" y="396240"/>
                </a:lnTo>
                <a:lnTo>
                  <a:pt x="538861" y="393700"/>
                </a:lnTo>
                <a:lnTo>
                  <a:pt x="539038" y="393700"/>
                </a:lnTo>
                <a:lnTo>
                  <a:pt x="539115" y="392430"/>
                </a:lnTo>
                <a:lnTo>
                  <a:pt x="540156" y="391160"/>
                </a:lnTo>
                <a:lnTo>
                  <a:pt x="542861" y="389890"/>
                </a:lnTo>
                <a:lnTo>
                  <a:pt x="543458" y="388620"/>
                </a:lnTo>
                <a:lnTo>
                  <a:pt x="544055" y="387350"/>
                </a:lnTo>
                <a:lnTo>
                  <a:pt x="546328" y="387350"/>
                </a:lnTo>
                <a:lnTo>
                  <a:pt x="546798" y="386080"/>
                </a:lnTo>
                <a:lnTo>
                  <a:pt x="549554" y="384810"/>
                </a:lnTo>
                <a:lnTo>
                  <a:pt x="549059" y="382270"/>
                </a:lnTo>
                <a:lnTo>
                  <a:pt x="549033" y="381000"/>
                </a:lnTo>
                <a:lnTo>
                  <a:pt x="549592" y="381000"/>
                </a:lnTo>
                <a:lnTo>
                  <a:pt x="552399" y="379730"/>
                </a:lnTo>
                <a:lnTo>
                  <a:pt x="552373" y="378460"/>
                </a:lnTo>
                <a:lnTo>
                  <a:pt x="551764" y="377190"/>
                </a:lnTo>
                <a:lnTo>
                  <a:pt x="551167" y="375920"/>
                </a:lnTo>
                <a:lnTo>
                  <a:pt x="551865" y="375920"/>
                </a:lnTo>
                <a:lnTo>
                  <a:pt x="552691" y="374650"/>
                </a:lnTo>
                <a:lnTo>
                  <a:pt x="554126" y="373380"/>
                </a:lnTo>
                <a:lnTo>
                  <a:pt x="557072" y="373380"/>
                </a:lnTo>
                <a:lnTo>
                  <a:pt x="557936" y="372110"/>
                </a:lnTo>
                <a:lnTo>
                  <a:pt x="558431" y="369570"/>
                </a:lnTo>
                <a:lnTo>
                  <a:pt x="559435" y="369570"/>
                </a:lnTo>
                <a:lnTo>
                  <a:pt x="562203" y="367030"/>
                </a:lnTo>
                <a:lnTo>
                  <a:pt x="562457" y="365760"/>
                </a:lnTo>
                <a:lnTo>
                  <a:pt x="560590" y="363220"/>
                </a:lnTo>
                <a:lnTo>
                  <a:pt x="561949" y="361950"/>
                </a:lnTo>
                <a:lnTo>
                  <a:pt x="562889" y="360680"/>
                </a:lnTo>
                <a:lnTo>
                  <a:pt x="567245" y="360680"/>
                </a:lnTo>
                <a:lnTo>
                  <a:pt x="568198" y="359410"/>
                </a:lnTo>
                <a:lnTo>
                  <a:pt x="569188" y="355600"/>
                </a:lnTo>
                <a:lnTo>
                  <a:pt x="569506" y="354330"/>
                </a:lnTo>
                <a:lnTo>
                  <a:pt x="569887" y="354330"/>
                </a:lnTo>
                <a:lnTo>
                  <a:pt x="570242" y="353060"/>
                </a:lnTo>
                <a:lnTo>
                  <a:pt x="570649" y="351790"/>
                </a:lnTo>
                <a:lnTo>
                  <a:pt x="571309" y="350520"/>
                </a:lnTo>
                <a:lnTo>
                  <a:pt x="571690" y="350520"/>
                </a:lnTo>
                <a:lnTo>
                  <a:pt x="572096" y="349250"/>
                </a:lnTo>
                <a:lnTo>
                  <a:pt x="577684" y="349250"/>
                </a:lnTo>
                <a:lnTo>
                  <a:pt x="579145" y="342900"/>
                </a:lnTo>
                <a:lnTo>
                  <a:pt x="582942" y="337820"/>
                </a:lnTo>
                <a:lnTo>
                  <a:pt x="583933" y="335280"/>
                </a:lnTo>
                <a:lnTo>
                  <a:pt x="586016" y="334010"/>
                </a:lnTo>
                <a:lnTo>
                  <a:pt x="585863" y="332740"/>
                </a:lnTo>
                <a:lnTo>
                  <a:pt x="587235" y="331470"/>
                </a:lnTo>
                <a:lnTo>
                  <a:pt x="587870" y="331470"/>
                </a:lnTo>
                <a:lnTo>
                  <a:pt x="588264" y="332740"/>
                </a:lnTo>
                <a:lnTo>
                  <a:pt x="589495" y="331470"/>
                </a:lnTo>
                <a:lnTo>
                  <a:pt x="590613" y="330200"/>
                </a:lnTo>
                <a:lnTo>
                  <a:pt x="590981" y="327660"/>
                </a:lnTo>
                <a:lnTo>
                  <a:pt x="591235" y="327660"/>
                </a:lnTo>
                <a:lnTo>
                  <a:pt x="591566" y="326390"/>
                </a:lnTo>
                <a:lnTo>
                  <a:pt x="592848" y="326390"/>
                </a:lnTo>
                <a:lnTo>
                  <a:pt x="592886" y="325120"/>
                </a:lnTo>
                <a:lnTo>
                  <a:pt x="593001" y="323850"/>
                </a:lnTo>
                <a:lnTo>
                  <a:pt x="595388" y="321310"/>
                </a:lnTo>
                <a:lnTo>
                  <a:pt x="598970" y="318770"/>
                </a:lnTo>
                <a:lnTo>
                  <a:pt x="600417" y="314960"/>
                </a:lnTo>
                <a:lnTo>
                  <a:pt x="601332" y="314960"/>
                </a:lnTo>
                <a:lnTo>
                  <a:pt x="602830" y="313690"/>
                </a:lnTo>
                <a:lnTo>
                  <a:pt x="603491" y="313690"/>
                </a:lnTo>
                <a:lnTo>
                  <a:pt x="604024" y="311150"/>
                </a:lnTo>
                <a:lnTo>
                  <a:pt x="605040" y="309880"/>
                </a:lnTo>
                <a:lnTo>
                  <a:pt x="605904" y="308610"/>
                </a:lnTo>
                <a:lnTo>
                  <a:pt x="606717" y="307340"/>
                </a:lnTo>
                <a:lnTo>
                  <a:pt x="607390" y="306070"/>
                </a:lnTo>
                <a:lnTo>
                  <a:pt x="607250" y="304800"/>
                </a:lnTo>
                <a:lnTo>
                  <a:pt x="608177" y="304800"/>
                </a:lnTo>
                <a:lnTo>
                  <a:pt x="608774" y="303530"/>
                </a:lnTo>
                <a:lnTo>
                  <a:pt x="608418" y="302260"/>
                </a:lnTo>
                <a:lnTo>
                  <a:pt x="613270" y="302260"/>
                </a:lnTo>
                <a:lnTo>
                  <a:pt x="613765" y="297180"/>
                </a:lnTo>
                <a:lnTo>
                  <a:pt x="615911" y="292100"/>
                </a:lnTo>
                <a:lnTo>
                  <a:pt x="616064" y="292100"/>
                </a:lnTo>
                <a:lnTo>
                  <a:pt x="619226" y="293370"/>
                </a:lnTo>
                <a:lnTo>
                  <a:pt x="620737" y="292100"/>
                </a:lnTo>
                <a:lnTo>
                  <a:pt x="619023" y="288290"/>
                </a:lnTo>
                <a:lnTo>
                  <a:pt x="619429" y="287020"/>
                </a:lnTo>
                <a:lnTo>
                  <a:pt x="623824" y="287020"/>
                </a:lnTo>
                <a:lnTo>
                  <a:pt x="624763" y="281940"/>
                </a:lnTo>
                <a:lnTo>
                  <a:pt x="626973" y="279400"/>
                </a:lnTo>
                <a:lnTo>
                  <a:pt x="628980" y="276860"/>
                </a:lnTo>
                <a:lnTo>
                  <a:pt x="630377" y="276860"/>
                </a:lnTo>
                <a:lnTo>
                  <a:pt x="630821" y="275590"/>
                </a:lnTo>
                <a:lnTo>
                  <a:pt x="631126" y="273050"/>
                </a:lnTo>
                <a:lnTo>
                  <a:pt x="630974" y="270510"/>
                </a:lnTo>
                <a:lnTo>
                  <a:pt x="631405" y="269240"/>
                </a:lnTo>
                <a:lnTo>
                  <a:pt x="632142" y="269240"/>
                </a:lnTo>
                <a:lnTo>
                  <a:pt x="632434" y="267970"/>
                </a:lnTo>
                <a:lnTo>
                  <a:pt x="632904" y="267970"/>
                </a:lnTo>
                <a:lnTo>
                  <a:pt x="633336" y="266700"/>
                </a:lnTo>
                <a:lnTo>
                  <a:pt x="633831" y="266700"/>
                </a:lnTo>
                <a:lnTo>
                  <a:pt x="635774" y="270510"/>
                </a:lnTo>
                <a:lnTo>
                  <a:pt x="638302" y="266700"/>
                </a:lnTo>
                <a:lnTo>
                  <a:pt x="640524" y="265430"/>
                </a:lnTo>
                <a:lnTo>
                  <a:pt x="643623" y="264160"/>
                </a:lnTo>
                <a:lnTo>
                  <a:pt x="643089" y="261620"/>
                </a:lnTo>
                <a:lnTo>
                  <a:pt x="644131" y="259080"/>
                </a:lnTo>
                <a:lnTo>
                  <a:pt x="645274" y="259080"/>
                </a:lnTo>
                <a:lnTo>
                  <a:pt x="646201" y="257810"/>
                </a:lnTo>
                <a:lnTo>
                  <a:pt x="647128" y="255270"/>
                </a:lnTo>
                <a:lnTo>
                  <a:pt x="647065" y="254000"/>
                </a:lnTo>
                <a:lnTo>
                  <a:pt x="646023" y="252730"/>
                </a:lnTo>
                <a:lnTo>
                  <a:pt x="646353" y="252730"/>
                </a:lnTo>
                <a:lnTo>
                  <a:pt x="646887" y="251460"/>
                </a:lnTo>
                <a:lnTo>
                  <a:pt x="648411" y="251460"/>
                </a:lnTo>
                <a:lnTo>
                  <a:pt x="650011" y="250190"/>
                </a:lnTo>
                <a:lnTo>
                  <a:pt x="651395" y="248920"/>
                </a:lnTo>
                <a:lnTo>
                  <a:pt x="652932" y="247650"/>
                </a:lnTo>
                <a:lnTo>
                  <a:pt x="654215" y="246380"/>
                </a:lnTo>
                <a:lnTo>
                  <a:pt x="655320" y="245110"/>
                </a:lnTo>
                <a:lnTo>
                  <a:pt x="655497" y="245110"/>
                </a:lnTo>
                <a:lnTo>
                  <a:pt x="656831" y="247650"/>
                </a:lnTo>
                <a:lnTo>
                  <a:pt x="658164" y="246380"/>
                </a:lnTo>
                <a:lnTo>
                  <a:pt x="659587" y="243840"/>
                </a:lnTo>
                <a:lnTo>
                  <a:pt x="659752" y="242570"/>
                </a:lnTo>
                <a:lnTo>
                  <a:pt x="659066" y="241300"/>
                </a:lnTo>
                <a:lnTo>
                  <a:pt x="660019" y="240030"/>
                </a:lnTo>
                <a:lnTo>
                  <a:pt x="660603" y="238760"/>
                </a:lnTo>
                <a:lnTo>
                  <a:pt x="665276" y="236220"/>
                </a:lnTo>
                <a:lnTo>
                  <a:pt x="667816" y="233680"/>
                </a:lnTo>
                <a:lnTo>
                  <a:pt x="670039" y="231140"/>
                </a:lnTo>
                <a:lnTo>
                  <a:pt x="671677" y="231140"/>
                </a:lnTo>
                <a:lnTo>
                  <a:pt x="671957" y="228600"/>
                </a:lnTo>
                <a:lnTo>
                  <a:pt x="679094" y="220980"/>
                </a:lnTo>
                <a:lnTo>
                  <a:pt x="679348" y="219710"/>
                </a:lnTo>
                <a:lnTo>
                  <a:pt x="679843" y="218440"/>
                </a:lnTo>
                <a:lnTo>
                  <a:pt x="680212" y="218440"/>
                </a:lnTo>
                <a:lnTo>
                  <a:pt x="680478" y="217170"/>
                </a:lnTo>
                <a:lnTo>
                  <a:pt x="680808" y="217170"/>
                </a:lnTo>
                <a:lnTo>
                  <a:pt x="683729" y="219710"/>
                </a:lnTo>
                <a:lnTo>
                  <a:pt x="684199" y="217170"/>
                </a:lnTo>
                <a:lnTo>
                  <a:pt x="685380" y="214630"/>
                </a:lnTo>
                <a:lnTo>
                  <a:pt x="686752" y="212090"/>
                </a:lnTo>
                <a:lnTo>
                  <a:pt x="686930" y="208280"/>
                </a:lnTo>
                <a:lnTo>
                  <a:pt x="692886" y="207010"/>
                </a:lnTo>
                <a:lnTo>
                  <a:pt x="693483" y="205740"/>
                </a:lnTo>
                <a:lnTo>
                  <a:pt x="693051" y="203200"/>
                </a:lnTo>
                <a:lnTo>
                  <a:pt x="694728" y="203200"/>
                </a:lnTo>
                <a:lnTo>
                  <a:pt x="696531" y="201930"/>
                </a:lnTo>
                <a:lnTo>
                  <a:pt x="697496" y="200660"/>
                </a:lnTo>
                <a:lnTo>
                  <a:pt x="697852" y="200660"/>
                </a:lnTo>
                <a:lnTo>
                  <a:pt x="698588" y="198120"/>
                </a:lnTo>
                <a:lnTo>
                  <a:pt x="699236" y="196850"/>
                </a:lnTo>
                <a:lnTo>
                  <a:pt x="699274" y="195580"/>
                </a:lnTo>
                <a:lnTo>
                  <a:pt x="703237" y="194310"/>
                </a:lnTo>
                <a:lnTo>
                  <a:pt x="704964" y="194310"/>
                </a:lnTo>
                <a:lnTo>
                  <a:pt x="703529" y="191770"/>
                </a:lnTo>
                <a:lnTo>
                  <a:pt x="704926" y="190500"/>
                </a:lnTo>
                <a:lnTo>
                  <a:pt x="708279" y="190500"/>
                </a:lnTo>
                <a:lnTo>
                  <a:pt x="710171" y="189230"/>
                </a:lnTo>
                <a:lnTo>
                  <a:pt x="713219" y="181610"/>
                </a:lnTo>
                <a:lnTo>
                  <a:pt x="718464" y="177800"/>
                </a:lnTo>
                <a:lnTo>
                  <a:pt x="720636" y="175260"/>
                </a:lnTo>
                <a:lnTo>
                  <a:pt x="722820" y="172720"/>
                </a:lnTo>
                <a:lnTo>
                  <a:pt x="724128" y="171450"/>
                </a:lnTo>
                <a:lnTo>
                  <a:pt x="726173" y="168910"/>
                </a:lnTo>
                <a:lnTo>
                  <a:pt x="726884" y="167640"/>
                </a:lnTo>
                <a:lnTo>
                  <a:pt x="726554" y="166370"/>
                </a:lnTo>
                <a:lnTo>
                  <a:pt x="727849" y="166370"/>
                </a:lnTo>
                <a:lnTo>
                  <a:pt x="728484" y="165100"/>
                </a:lnTo>
                <a:lnTo>
                  <a:pt x="728992" y="163830"/>
                </a:lnTo>
                <a:lnTo>
                  <a:pt x="732574" y="163830"/>
                </a:lnTo>
                <a:lnTo>
                  <a:pt x="734047" y="161290"/>
                </a:lnTo>
                <a:lnTo>
                  <a:pt x="735812" y="156210"/>
                </a:lnTo>
                <a:lnTo>
                  <a:pt x="737590" y="154940"/>
                </a:lnTo>
                <a:lnTo>
                  <a:pt x="742213" y="154940"/>
                </a:lnTo>
                <a:lnTo>
                  <a:pt x="742810" y="152400"/>
                </a:lnTo>
                <a:lnTo>
                  <a:pt x="745693" y="147320"/>
                </a:lnTo>
                <a:lnTo>
                  <a:pt x="745413" y="144780"/>
                </a:lnTo>
                <a:lnTo>
                  <a:pt x="749528" y="144780"/>
                </a:lnTo>
                <a:lnTo>
                  <a:pt x="749973" y="143510"/>
                </a:lnTo>
                <a:lnTo>
                  <a:pt x="751547" y="140970"/>
                </a:lnTo>
                <a:lnTo>
                  <a:pt x="752259" y="139700"/>
                </a:lnTo>
                <a:lnTo>
                  <a:pt x="755827" y="138430"/>
                </a:lnTo>
                <a:lnTo>
                  <a:pt x="755434" y="138430"/>
                </a:lnTo>
                <a:lnTo>
                  <a:pt x="756475" y="134620"/>
                </a:lnTo>
                <a:lnTo>
                  <a:pt x="758621" y="133350"/>
                </a:lnTo>
                <a:lnTo>
                  <a:pt x="761834" y="129540"/>
                </a:lnTo>
                <a:lnTo>
                  <a:pt x="759421" y="135890"/>
                </a:lnTo>
                <a:lnTo>
                  <a:pt x="762876" y="129540"/>
                </a:lnTo>
                <a:lnTo>
                  <a:pt x="766381" y="125730"/>
                </a:lnTo>
                <a:lnTo>
                  <a:pt x="768134" y="123190"/>
                </a:lnTo>
                <a:lnTo>
                  <a:pt x="769823" y="121920"/>
                </a:lnTo>
                <a:lnTo>
                  <a:pt x="771372" y="118110"/>
                </a:lnTo>
                <a:lnTo>
                  <a:pt x="771880" y="118110"/>
                </a:lnTo>
                <a:lnTo>
                  <a:pt x="774026" y="119380"/>
                </a:lnTo>
                <a:lnTo>
                  <a:pt x="774026" y="118110"/>
                </a:lnTo>
                <a:lnTo>
                  <a:pt x="774026" y="115570"/>
                </a:lnTo>
                <a:lnTo>
                  <a:pt x="774750" y="115570"/>
                </a:lnTo>
                <a:lnTo>
                  <a:pt x="777709" y="113030"/>
                </a:lnTo>
                <a:lnTo>
                  <a:pt x="778230" y="111760"/>
                </a:lnTo>
                <a:lnTo>
                  <a:pt x="775576" y="109220"/>
                </a:lnTo>
                <a:lnTo>
                  <a:pt x="778611" y="109220"/>
                </a:lnTo>
                <a:lnTo>
                  <a:pt x="779754" y="107950"/>
                </a:lnTo>
                <a:lnTo>
                  <a:pt x="779348" y="107950"/>
                </a:lnTo>
                <a:lnTo>
                  <a:pt x="779360" y="106680"/>
                </a:lnTo>
                <a:lnTo>
                  <a:pt x="780084" y="106680"/>
                </a:lnTo>
                <a:lnTo>
                  <a:pt x="781519" y="105410"/>
                </a:lnTo>
                <a:lnTo>
                  <a:pt x="782459" y="105410"/>
                </a:lnTo>
                <a:lnTo>
                  <a:pt x="782802" y="104140"/>
                </a:lnTo>
                <a:lnTo>
                  <a:pt x="783932" y="104140"/>
                </a:lnTo>
                <a:lnTo>
                  <a:pt x="784136" y="106680"/>
                </a:lnTo>
                <a:lnTo>
                  <a:pt x="787184" y="104140"/>
                </a:lnTo>
                <a:lnTo>
                  <a:pt x="788682" y="102870"/>
                </a:lnTo>
                <a:lnTo>
                  <a:pt x="792353" y="99060"/>
                </a:lnTo>
                <a:lnTo>
                  <a:pt x="795667" y="96520"/>
                </a:lnTo>
                <a:lnTo>
                  <a:pt x="798804" y="92710"/>
                </a:lnTo>
                <a:lnTo>
                  <a:pt x="802411" y="90170"/>
                </a:lnTo>
                <a:lnTo>
                  <a:pt x="807224" y="83820"/>
                </a:lnTo>
                <a:lnTo>
                  <a:pt x="809396" y="81280"/>
                </a:lnTo>
                <a:lnTo>
                  <a:pt x="811644" y="80010"/>
                </a:lnTo>
                <a:lnTo>
                  <a:pt x="817397" y="74930"/>
                </a:lnTo>
                <a:lnTo>
                  <a:pt x="822998" y="71120"/>
                </a:lnTo>
                <a:lnTo>
                  <a:pt x="828408" y="66040"/>
                </a:lnTo>
                <a:lnTo>
                  <a:pt x="831875" y="63500"/>
                </a:lnTo>
                <a:lnTo>
                  <a:pt x="833602" y="62230"/>
                </a:lnTo>
                <a:lnTo>
                  <a:pt x="834275" y="60960"/>
                </a:lnTo>
                <a:lnTo>
                  <a:pt x="837882" y="60960"/>
                </a:lnTo>
                <a:lnTo>
                  <a:pt x="834517" y="58420"/>
                </a:lnTo>
                <a:lnTo>
                  <a:pt x="838974" y="58420"/>
                </a:lnTo>
                <a:lnTo>
                  <a:pt x="840206" y="57150"/>
                </a:lnTo>
                <a:lnTo>
                  <a:pt x="841616" y="55880"/>
                </a:lnTo>
                <a:lnTo>
                  <a:pt x="843457" y="54610"/>
                </a:lnTo>
                <a:lnTo>
                  <a:pt x="846328" y="52070"/>
                </a:lnTo>
                <a:lnTo>
                  <a:pt x="848309" y="50800"/>
                </a:lnTo>
                <a:lnTo>
                  <a:pt x="851281" y="49530"/>
                </a:lnTo>
                <a:lnTo>
                  <a:pt x="853960" y="46990"/>
                </a:lnTo>
                <a:lnTo>
                  <a:pt x="856259" y="45720"/>
                </a:lnTo>
                <a:lnTo>
                  <a:pt x="858634" y="44450"/>
                </a:lnTo>
                <a:lnTo>
                  <a:pt x="859802" y="43180"/>
                </a:lnTo>
                <a:lnTo>
                  <a:pt x="860983" y="41910"/>
                </a:lnTo>
                <a:lnTo>
                  <a:pt x="863307" y="40640"/>
                </a:lnTo>
                <a:lnTo>
                  <a:pt x="864984" y="39370"/>
                </a:lnTo>
                <a:lnTo>
                  <a:pt x="866673" y="38100"/>
                </a:lnTo>
                <a:lnTo>
                  <a:pt x="867321" y="38100"/>
                </a:lnTo>
                <a:lnTo>
                  <a:pt x="866165" y="36830"/>
                </a:lnTo>
                <a:lnTo>
                  <a:pt x="865733" y="36830"/>
                </a:lnTo>
                <a:lnTo>
                  <a:pt x="864057" y="38100"/>
                </a:lnTo>
                <a:lnTo>
                  <a:pt x="863295" y="38100"/>
                </a:lnTo>
                <a:lnTo>
                  <a:pt x="863574" y="37922"/>
                </a:lnTo>
                <a:lnTo>
                  <a:pt x="863701" y="37388"/>
                </a:lnTo>
                <a:lnTo>
                  <a:pt x="862723" y="36207"/>
                </a:lnTo>
                <a:lnTo>
                  <a:pt x="861796" y="36487"/>
                </a:lnTo>
                <a:lnTo>
                  <a:pt x="860894" y="36880"/>
                </a:lnTo>
                <a:lnTo>
                  <a:pt x="861644" y="37287"/>
                </a:lnTo>
                <a:lnTo>
                  <a:pt x="862444" y="37706"/>
                </a:lnTo>
                <a:lnTo>
                  <a:pt x="862634" y="38100"/>
                </a:lnTo>
                <a:lnTo>
                  <a:pt x="857211" y="39370"/>
                </a:lnTo>
                <a:lnTo>
                  <a:pt x="857783" y="38100"/>
                </a:lnTo>
                <a:lnTo>
                  <a:pt x="860298" y="38100"/>
                </a:lnTo>
                <a:lnTo>
                  <a:pt x="860729" y="36830"/>
                </a:lnTo>
                <a:lnTo>
                  <a:pt x="861441" y="35560"/>
                </a:lnTo>
                <a:lnTo>
                  <a:pt x="862101" y="34290"/>
                </a:lnTo>
                <a:lnTo>
                  <a:pt x="864171" y="33020"/>
                </a:lnTo>
                <a:lnTo>
                  <a:pt x="867422" y="34290"/>
                </a:lnTo>
                <a:lnTo>
                  <a:pt x="868426" y="35560"/>
                </a:lnTo>
                <a:lnTo>
                  <a:pt x="869924" y="34290"/>
                </a:lnTo>
                <a:lnTo>
                  <a:pt x="871461" y="33020"/>
                </a:lnTo>
                <a:lnTo>
                  <a:pt x="868591" y="33020"/>
                </a:lnTo>
                <a:lnTo>
                  <a:pt x="868032" y="32105"/>
                </a:lnTo>
                <a:lnTo>
                  <a:pt x="872807" y="30645"/>
                </a:lnTo>
                <a:lnTo>
                  <a:pt x="874229" y="25971"/>
                </a:lnTo>
                <a:lnTo>
                  <a:pt x="874204" y="25704"/>
                </a:lnTo>
                <a:lnTo>
                  <a:pt x="875309" y="25209"/>
                </a:lnTo>
                <a:lnTo>
                  <a:pt x="876312" y="25819"/>
                </a:lnTo>
                <a:close/>
              </a:path>
            </a:pathLst>
          </a:custGeom>
          <a:solidFill>
            <a:srgbClr val="D02929"/>
          </a:solidFill>
        </p:spPr>
        <p:txBody>
          <a:bodyPr wrap="square" lIns="0" tIns="0" rIns="0" bIns="0" rtlCol="0"/>
          <a:lstStyle/>
          <a:p>
            <a:endParaRPr/>
          </a:p>
        </p:txBody>
      </p:sp>
      <p:sp>
        <p:nvSpPr>
          <p:cNvPr id="22" name="object 22"/>
          <p:cNvSpPr txBox="1"/>
          <p:nvPr/>
        </p:nvSpPr>
        <p:spPr>
          <a:xfrm>
            <a:off x="637985" y="384153"/>
            <a:ext cx="5284470"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2.</a:t>
            </a:r>
            <a:r>
              <a:rPr sz="3000" spc="-85" dirty="0">
                <a:solidFill>
                  <a:srgbClr val="FFFFFF"/>
                </a:solidFill>
                <a:latin typeface="Roboto"/>
                <a:cs typeface="Roboto"/>
              </a:rPr>
              <a:t> </a:t>
            </a:r>
            <a:r>
              <a:rPr sz="3000" dirty="0">
                <a:solidFill>
                  <a:srgbClr val="FFFFFF"/>
                </a:solidFill>
                <a:latin typeface="Roboto"/>
                <a:cs typeface="Roboto"/>
              </a:rPr>
              <a:t>¿Cómo</a:t>
            </a:r>
            <a:r>
              <a:rPr sz="3000" spc="-75" dirty="0">
                <a:solidFill>
                  <a:srgbClr val="FFFFFF"/>
                </a:solidFill>
                <a:latin typeface="Roboto"/>
                <a:cs typeface="Roboto"/>
              </a:rPr>
              <a:t> </a:t>
            </a:r>
            <a:r>
              <a:rPr sz="3000" spc="-10" dirty="0">
                <a:solidFill>
                  <a:srgbClr val="FFFFFF"/>
                </a:solidFill>
                <a:latin typeface="Roboto"/>
                <a:cs typeface="Roboto"/>
              </a:rPr>
              <a:t>recuperar</a:t>
            </a:r>
            <a:r>
              <a:rPr sz="3000" spc="-75" dirty="0">
                <a:solidFill>
                  <a:srgbClr val="FFFFFF"/>
                </a:solidFill>
                <a:latin typeface="Roboto"/>
                <a:cs typeface="Roboto"/>
              </a:rPr>
              <a:t> </a:t>
            </a:r>
            <a:r>
              <a:rPr sz="3000" spc="-10" dirty="0">
                <a:solidFill>
                  <a:srgbClr val="FFFFFF"/>
                </a:solidFill>
                <a:latin typeface="Roboto"/>
                <a:cs typeface="Roboto"/>
              </a:rPr>
              <a:t>volumen?</a:t>
            </a:r>
            <a:endParaRPr sz="3000">
              <a:latin typeface="Roboto"/>
              <a:cs typeface="Roboto"/>
            </a:endParaRPr>
          </a:p>
        </p:txBody>
      </p:sp>
      <p:sp>
        <p:nvSpPr>
          <p:cNvPr id="23" name="object 23"/>
          <p:cNvSpPr txBox="1"/>
          <p:nvPr/>
        </p:nvSpPr>
        <p:spPr>
          <a:xfrm>
            <a:off x="5343064" y="4308634"/>
            <a:ext cx="7504430" cy="561340"/>
          </a:xfrm>
          <a:prstGeom prst="rect">
            <a:avLst/>
          </a:prstGeom>
        </p:spPr>
        <p:txBody>
          <a:bodyPr vert="horz" wrap="square" lIns="0" tIns="14604" rIns="0" bIns="0" rtlCol="0">
            <a:spAutoFit/>
          </a:bodyPr>
          <a:lstStyle/>
          <a:p>
            <a:pPr marL="12700">
              <a:lnSpc>
                <a:spcPct val="100000"/>
              </a:lnSpc>
              <a:spcBef>
                <a:spcPts val="114"/>
              </a:spcBef>
            </a:pPr>
            <a:r>
              <a:rPr sz="3500" dirty="0">
                <a:solidFill>
                  <a:srgbClr val="737373"/>
                </a:solidFill>
                <a:latin typeface="Roboto"/>
                <a:cs typeface="Roboto"/>
              </a:rPr>
              <a:t>¿Cuáles</a:t>
            </a:r>
            <a:r>
              <a:rPr sz="3500" spc="-110" dirty="0">
                <a:solidFill>
                  <a:srgbClr val="737373"/>
                </a:solidFill>
                <a:latin typeface="Roboto"/>
                <a:cs typeface="Roboto"/>
              </a:rPr>
              <a:t> </a:t>
            </a:r>
            <a:r>
              <a:rPr sz="3500" dirty="0">
                <a:solidFill>
                  <a:srgbClr val="737373"/>
                </a:solidFill>
                <a:latin typeface="Roboto"/>
                <a:cs typeface="Roboto"/>
              </a:rPr>
              <a:t>son</a:t>
            </a:r>
            <a:r>
              <a:rPr sz="3500" spc="-110" dirty="0">
                <a:solidFill>
                  <a:srgbClr val="737373"/>
                </a:solidFill>
                <a:latin typeface="Roboto"/>
                <a:cs typeface="Roboto"/>
              </a:rPr>
              <a:t> </a:t>
            </a:r>
            <a:r>
              <a:rPr sz="3500" dirty="0">
                <a:solidFill>
                  <a:srgbClr val="737373"/>
                </a:solidFill>
                <a:latin typeface="Roboto"/>
                <a:cs typeface="Roboto"/>
              </a:rPr>
              <a:t>los</a:t>
            </a:r>
            <a:r>
              <a:rPr sz="3500" spc="-105" dirty="0">
                <a:solidFill>
                  <a:srgbClr val="737373"/>
                </a:solidFill>
                <a:latin typeface="Roboto"/>
                <a:cs typeface="Roboto"/>
              </a:rPr>
              <a:t> </a:t>
            </a:r>
            <a:r>
              <a:rPr sz="3500" spc="-10" dirty="0">
                <a:solidFill>
                  <a:srgbClr val="737373"/>
                </a:solidFill>
                <a:latin typeface="Roboto"/>
                <a:cs typeface="Roboto"/>
              </a:rPr>
              <a:t>principios</a:t>
            </a:r>
            <a:r>
              <a:rPr sz="3500" spc="-110" dirty="0">
                <a:solidFill>
                  <a:srgbClr val="737373"/>
                </a:solidFill>
                <a:latin typeface="Roboto"/>
                <a:cs typeface="Roboto"/>
              </a:rPr>
              <a:t> </a:t>
            </a:r>
            <a:r>
              <a:rPr sz="3500" dirty="0">
                <a:solidFill>
                  <a:srgbClr val="737373"/>
                </a:solidFill>
                <a:latin typeface="Roboto"/>
                <a:cs typeface="Roboto"/>
              </a:rPr>
              <a:t>de</a:t>
            </a:r>
            <a:r>
              <a:rPr sz="3500" spc="-110" dirty="0">
                <a:solidFill>
                  <a:srgbClr val="737373"/>
                </a:solidFill>
                <a:latin typeface="Roboto"/>
                <a:cs typeface="Roboto"/>
              </a:rPr>
              <a:t> </a:t>
            </a:r>
            <a:r>
              <a:rPr sz="3500" spc="-10" dirty="0">
                <a:solidFill>
                  <a:srgbClr val="737373"/>
                </a:solidFill>
                <a:latin typeface="Roboto"/>
                <a:cs typeface="Roboto"/>
              </a:rPr>
              <a:t>trabajo?</a:t>
            </a:r>
            <a:endParaRPr sz="3500">
              <a:latin typeface="Roboto"/>
              <a:cs typeface="Roboto"/>
            </a:endParaRPr>
          </a:p>
        </p:txBody>
      </p:sp>
      <p:sp>
        <p:nvSpPr>
          <p:cNvPr id="24" name="object 24"/>
          <p:cNvSpPr txBox="1"/>
          <p:nvPr/>
        </p:nvSpPr>
        <p:spPr>
          <a:xfrm>
            <a:off x="4705062" y="7853202"/>
            <a:ext cx="2595880" cy="427990"/>
          </a:xfrm>
          <a:prstGeom prst="rect">
            <a:avLst/>
          </a:prstGeom>
        </p:spPr>
        <p:txBody>
          <a:bodyPr vert="horz" wrap="square" lIns="0" tIns="17780" rIns="0" bIns="0" rtlCol="0">
            <a:spAutoFit/>
          </a:bodyPr>
          <a:lstStyle/>
          <a:p>
            <a:pPr marL="12700">
              <a:lnSpc>
                <a:spcPct val="100000"/>
              </a:lnSpc>
              <a:spcBef>
                <a:spcPts val="140"/>
              </a:spcBef>
            </a:pPr>
            <a:r>
              <a:rPr sz="2600" b="1" dirty="0">
                <a:solidFill>
                  <a:srgbClr val="737373"/>
                </a:solidFill>
                <a:latin typeface="Roboto"/>
                <a:cs typeface="Roboto"/>
              </a:rPr>
              <a:t>Optimizar</a:t>
            </a:r>
            <a:r>
              <a:rPr sz="2600" b="1" spc="90" dirty="0">
                <a:solidFill>
                  <a:srgbClr val="737373"/>
                </a:solidFill>
                <a:latin typeface="Roboto"/>
                <a:cs typeface="Roboto"/>
              </a:rPr>
              <a:t> </a:t>
            </a:r>
            <a:r>
              <a:rPr sz="2600" spc="-10" dirty="0">
                <a:solidFill>
                  <a:srgbClr val="737373"/>
                </a:solidFill>
                <a:latin typeface="Roboto"/>
                <a:cs typeface="Roboto"/>
              </a:rPr>
              <a:t>costos</a:t>
            </a:r>
            <a:endParaRPr sz="2600">
              <a:latin typeface="Roboto"/>
              <a:cs typeface="Roboto"/>
            </a:endParaRPr>
          </a:p>
        </p:txBody>
      </p:sp>
      <p:sp>
        <p:nvSpPr>
          <p:cNvPr id="25" name="object 25"/>
          <p:cNvSpPr txBox="1"/>
          <p:nvPr/>
        </p:nvSpPr>
        <p:spPr>
          <a:xfrm>
            <a:off x="10460830" y="7853202"/>
            <a:ext cx="4907280" cy="427990"/>
          </a:xfrm>
          <a:prstGeom prst="rect">
            <a:avLst/>
          </a:prstGeom>
        </p:spPr>
        <p:txBody>
          <a:bodyPr vert="horz" wrap="square" lIns="0" tIns="17780" rIns="0" bIns="0" rtlCol="0">
            <a:spAutoFit/>
          </a:bodyPr>
          <a:lstStyle/>
          <a:p>
            <a:pPr marL="12700">
              <a:lnSpc>
                <a:spcPct val="100000"/>
              </a:lnSpc>
              <a:spcBef>
                <a:spcPts val="140"/>
              </a:spcBef>
            </a:pPr>
            <a:r>
              <a:rPr sz="2600" dirty="0">
                <a:solidFill>
                  <a:srgbClr val="737373"/>
                </a:solidFill>
                <a:latin typeface="Roboto"/>
                <a:cs typeface="Roboto"/>
              </a:rPr>
              <a:t>Aumentar</a:t>
            </a:r>
            <a:r>
              <a:rPr sz="2600" spc="-40" dirty="0">
                <a:solidFill>
                  <a:srgbClr val="737373"/>
                </a:solidFill>
                <a:latin typeface="Roboto"/>
                <a:cs typeface="Roboto"/>
              </a:rPr>
              <a:t> </a:t>
            </a:r>
            <a:r>
              <a:rPr sz="2600" spc="-10" dirty="0">
                <a:solidFill>
                  <a:srgbClr val="737373"/>
                </a:solidFill>
                <a:latin typeface="Roboto"/>
                <a:cs typeface="Roboto"/>
              </a:rPr>
              <a:t>participación</a:t>
            </a:r>
            <a:r>
              <a:rPr sz="2600" spc="-40" dirty="0">
                <a:solidFill>
                  <a:srgbClr val="737373"/>
                </a:solidFill>
                <a:latin typeface="Roboto"/>
                <a:cs typeface="Roboto"/>
              </a:rPr>
              <a:t> </a:t>
            </a:r>
            <a:r>
              <a:rPr sz="2600" dirty="0">
                <a:solidFill>
                  <a:srgbClr val="737373"/>
                </a:solidFill>
                <a:latin typeface="Roboto"/>
                <a:cs typeface="Roboto"/>
              </a:rPr>
              <a:t>del</a:t>
            </a:r>
            <a:r>
              <a:rPr sz="2600" spc="-40" dirty="0">
                <a:solidFill>
                  <a:srgbClr val="737373"/>
                </a:solidFill>
                <a:latin typeface="Roboto"/>
                <a:cs typeface="Roboto"/>
              </a:rPr>
              <a:t> </a:t>
            </a:r>
            <a:r>
              <a:rPr sz="2600" b="1" spc="-10" dirty="0">
                <a:solidFill>
                  <a:srgbClr val="737373"/>
                </a:solidFill>
                <a:latin typeface="Roboto"/>
                <a:cs typeface="Roboto"/>
              </a:rPr>
              <a:t>trade</a:t>
            </a:r>
            <a:endParaRPr sz="2600">
              <a:latin typeface="Roboto"/>
              <a:cs typeface="Roboto"/>
            </a:endParaRPr>
          </a:p>
        </p:txBody>
      </p:sp>
      <p:sp>
        <p:nvSpPr>
          <p:cNvPr id="26" name="object 26"/>
          <p:cNvSpPr txBox="1">
            <a:spLocks noGrp="1"/>
          </p:cNvSpPr>
          <p:nvPr>
            <p:ph type="title"/>
          </p:nvPr>
        </p:nvSpPr>
        <p:spPr>
          <a:xfrm>
            <a:off x="5289120" y="2330384"/>
            <a:ext cx="9848215" cy="1253490"/>
          </a:xfrm>
          <a:prstGeom prst="rect">
            <a:avLst/>
          </a:prstGeom>
        </p:spPr>
        <p:txBody>
          <a:bodyPr vert="horz" wrap="square" lIns="0" tIns="33655" rIns="0" bIns="0" rtlCol="0">
            <a:spAutoFit/>
          </a:bodyPr>
          <a:lstStyle/>
          <a:p>
            <a:pPr marL="12700" marR="5080">
              <a:lnSpc>
                <a:spcPts val="4800"/>
              </a:lnSpc>
              <a:spcBef>
                <a:spcPts val="265"/>
              </a:spcBef>
            </a:pPr>
            <a:r>
              <a:rPr sz="4050" b="1" dirty="0">
                <a:solidFill>
                  <a:srgbClr val="E3112B"/>
                </a:solidFill>
                <a:latin typeface="Roboto"/>
                <a:cs typeface="Roboto"/>
              </a:rPr>
              <a:t>Cambio</a:t>
            </a:r>
            <a:r>
              <a:rPr sz="4050" b="1" spc="-60" dirty="0">
                <a:solidFill>
                  <a:srgbClr val="E3112B"/>
                </a:solidFill>
                <a:latin typeface="Roboto"/>
                <a:cs typeface="Roboto"/>
              </a:rPr>
              <a:t> </a:t>
            </a:r>
            <a:r>
              <a:rPr sz="4050" b="1" dirty="0">
                <a:solidFill>
                  <a:srgbClr val="E3112B"/>
                </a:solidFill>
                <a:latin typeface="Roboto"/>
                <a:cs typeface="Roboto"/>
              </a:rPr>
              <a:t>de</a:t>
            </a:r>
            <a:r>
              <a:rPr sz="4050" b="1" spc="-55" dirty="0">
                <a:solidFill>
                  <a:srgbClr val="E3112B"/>
                </a:solidFill>
                <a:latin typeface="Roboto"/>
                <a:cs typeface="Roboto"/>
              </a:rPr>
              <a:t> </a:t>
            </a:r>
            <a:r>
              <a:rPr sz="4050" b="1" dirty="0">
                <a:solidFill>
                  <a:srgbClr val="E3112B"/>
                </a:solidFill>
                <a:latin typeface="Roboto"/>
                <a:cs typeface="Roboto"/>
              </a:rPr>
              <a:t>formatos</a:t>
            </a:r>
            <a:r>
              <a:rPr sz="4050" b="1" spc="-60" dirty="0">
                <a:solidFill>
                  <a:srgbClr val="E3112B"/>
                </a:solidFill>
                <a:latin typeface="Roboto"/>
                <a:cs typeface="Roboto"/>
              </a:rPr>
              <a:t> </a:t>
            </a:r>
            <a:r>
              <a:rPr sz="4050" b="1" dirty="0">
                <a:solidFill>
                  <a:srgbClr val="E3112B"/>
                </a:solidFill>
                <a:latin typeface="Roboto"/>
                <a:cs typeface="Roboto"/>
              </a:rPr>
              <a:t>promocionales</a:t>
            </a:r>
            <a:r>
              <a:rPr sz="4050" b="1" spc="-65" dirty="0">
                <a:solidFill>
                  <a:srgbClr val="E3112B"/>
                </a:solidFill>
                <a:latin typeface="Roboto"/>
                <a:cs typeface="Roboto"/>
              </a:rPr>
              <a:t> </a:t>
            </a:r>
            <a:r>
              <a:rPr sz="4050" dirty="0">
                <a:solidFill>
                  <a:srgbClr val="E3112B"/>
                </a:solidFill>
              </a:rPr>
              <a:t>y</a:t>
            </a:r>
            <a:r>
              <a:rPr sz="4050" spc="-60" dirty="0">
                <a:solidFill>
                  <a:srgbClr val="E3112B"/>
                </a:solidFill>
              </a:rPr>
              <a:t> </a:t>
            </a:r>
            <a:r>
              <a:rPr sz="4050" spc="-20" dirty="0">
                <a:solidFill>
                  <a:srgbClr val="E3112B"/>
                </a:solidFill>
              </a:rPr>
              <a:t>foco </a:t>
            </a:r>
            <a:r>
              <a:rPr sz="4050" dirty="0">
                <a:solidFill>
                  <a:srgbClr val="E3112B"/>
                </a:solidFill>
              </a:rPr>
              <a:t>en</a:t>
            </a:r>
            <a:r>
              <a:rPr sz="4050" spc="-100" dirty="0">
                <a:solidFill>
                  <a:srgbClr val="E3112B"/>
                </a:solidFill>
              </a:rPr>
              <a:t> </a:t>
            </a:r>
            <a:r>
              <a:rPr sz="4050" dirty="0">
                <a:solidFill>
                  <a:srgbClr val="E3112B"/>
                </a:solidFill>
              </a:rPr>
              <a:t>soporte</a:t>
            </a:r>
            <a:r>
              <a:rPr sz="4050" spc="-95" dirty="0">
                <a:solidFill>
                  <a:srgbClr val="E3112B"/>
                </a:solidFill>
              </a:rPr>
              <a:t> </a:t>
            </a:r>
            <a:r>
              <a:rPr sz="4050" dirty="0">
                <a:solidFill>
                  <a:srgbClr val="E3112B"/>
                </a:solidFill>
              </a:rPr>
              <a:t>al</a:t>
            </a:r>
            <a:r>
              <a:rPr sz="4050" spc="-95" dirty="0">
                <a:solidFill>
                  <a:srgbClr val="E3112B"/>
                </a:solidFill>
              </a:rPr>
              <a:t> </a:t>
            </a:r>
            <a:r>
              <a:rPr sz="4050" b="1" dirty="0">
                <a:solidFill>
                  <a:srgbClr val="E3112B"/>
                </a:solidFill>
                <a:latin typeface="Roboto"/>
                <a:cs typeface="Roboto"/>
              </a:rPr>
              <a:t>canal</a:t>
            </a:r>
            <a:r>
              <a:rPr sz="4050" b="1" spc="-90" dirty="0">
                <a:solidFill>
                  <a:srgbClr val="E3112B"/>
                </a:solidFill>
                <a:latin typeface="Roboto"/>
                <a:cs typeface="Roboto"/>
              </a:rPr>
              <a:t> </a:t>
            </a:r>
            <a:r>
              <a:rPr sz="4050" b="1" dirty="0">
                <a:solidFill>
                  <a:srgbClr val="E3112B"/>
                </a:solidFill>
                <a:latin typeface="Roboto"/>
                <a:cs typeface="Roboto"/>
              </a:rPr>
              <a:t>comercial</a:t>
            </a:r>
            <a:r>
              <a:rPr sz="4050" b="1" spc="-90" dirty="0">
                <a:solidFill>
                  <a:srgbClr val="E3112B"/>
                </a:solidFill>
                <a:latin typeface="Roboto"/>
                <a:cs typeface="Roboto"/>
              </a:rPr>
              <a:t> </a:t>
            </a:r>
            <a:r>
              <a:rPr sz="4050" b="1" spc="-10" dirty="0">
                <a:solidFill>
                  <a:srgbClr val="E3112B"/>
                </a:solidFill>
                <a:latin typeface="Roboto"/>
                <a:cs typeface="Roboto"/>
              </a:rPr>
              <a:t>(trade)</a:t>
            </a:r>
            <a:endParaRPr sz="4050">
              <a:latin typeface="Roboto"/>
              <a:cs typeface="Roboto"/>
            </a:endParaRPr>
          </a:p>
        </p:txBody>
      </p:sp>
      <p:sp>
        <p:nvSpPr>
          <p:cNvPr id="27" name="object 27"/>
          <p:cNvSpPr txBox="1"/>
          <p:nvPr/>
        </p:nvSpPr>
        <p:spPr>
          <a:xfrm>
            <a:off x="3928880" y="2734414"/>
            <a:ext cx="742315" cy="643890"/>
          </a:xfrm>
          <a:prstGeom prst="rect">
            <a:avLst/>
          </a:prstGeom>
        </p:spPr>
        <p:txBody>
          <a:bodyPr vert="horz" wrap="square" lIns="0" tIns="13335" rIns="0" bIns="0" rtlCol="0">
            <a:spAutoFit/>
          </a:bodyPr>
          <a:lstStyle/>
          <a:p>
            <a:pPr marL="12700">
              <a:lnSpc>
                <a:spcPct val="100000"/>
              </a:lnSpc>
              <a:spcBef>
                <a:spcPts val="105"/>
              </a:spcBef>
            </a:pPr>
            <a:r>
              <a:rPr sz="4050" b="1" spc="520" dirty="0">
                <a:solidFill>
                  <a:srgbClr val="FFFFFF"/>
                </a:solidFill>
                <a:latin typeface="Arial"/>
                <a:cs typeface="Arial"/>
              </a:rPr>
              <a:t>03</a:t>
            </a:r>
            <a:endParaRPr sz="4050">
              <a:latin typeface="Arial"/>
              <a:cs typeface="Arial"/>
            </a:endParaRPr>
          </a:p>
        </p:txBody>
      </p:sp>
      <p:pic>
        <p:nvPicPr>
          <p:cNvPr id="28" name="object 28"/>
          <p:cNvPicPr/>
          <p:nvPr/>
        </p:nvPicPr>
        <p:blipFill>
          <a:blip r:embed="rId4" cstate="print"/>
          <a:stretch>
            <a:fillRect/>
          </a:stretch>
        </p:blipFill>
        <p:spPr>
          <a:xfrm>
            <a:off x="17316450" y="237496"/>
            <a:ext cx="742949" cy="819149"/>
          </a:xfrm>
          <a:prstGeom prst="rect">
            <a:avLst/>
          </a:prstGeom>
        </p:spPr>
      </p:pic>
      <p:sp>
        <p:nvSpPr>
          <p:cNvPr id="29" name="object 29"/>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30" name="object 30"/>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22</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2"/>
            <a:ext cx="17954625" cy="2925445"/>
          </a:xfrm>
          <a:custGeom>
            <a:avLst/>
            <a:gdLst/>
            <a:ahLst/>
            <a:cxnLst/>
            <a:rect l="l" t="t" r="r" b="b"/>
            <a:pathLst>
              <a:path w="17954625" h="2925445">
                <a:moveTo>
                  <a:pt x="0" y="2924938"/>
                </a:moveTo>
                <a:lnTo>
                  <a:pt x="17954029" y="2924938"/>
                </a:lnTo>
                <a:lnTo>
                  <a:pt x="17954029" y="0"/>
                </a:lnTo>
                <a:lnTo>
                  <a:pt x="0" y="0"/>
                </a:lnTo>
                <a:lnTo>
                  <a:pt x="0" y="2924938"/>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3"/>
            <a:ext cx="17954625" cy="1394460"/>
            <a:chOff x="166956" y="171493"/>
            <a:chExt cx="17954625" cy="1394460"/>
          </a:xfrm>
        </p:grpSpPr>
        <p:sp>
          <p:nvSpPr>
            <p:cNvPr id="4" name="object 4"/>
            <p:cNvSpPr/>
            <p:nvPr/>
          </p:nvSpPr>
          <p:spPr>
            <a:xfrm>
              <a:off x="166956" y="171493"/>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grpSp>
      <p:sp>
        <p:nvSpPr>
          <p:cNvPr id="6" name="object 6"/>
          <p:cNvSpPr/>
          <p:nvPr/>
        </p:nvSpPr>
        <p:spPr>
          <a:xfrm>
            <a:off x="3612788" y="2388699"/>
            <a:ext cx="1374775" cy="1374775"/>
          </a:xfrm>
          <a:custGeom>
            <a:avLst/>
            <a:gdLst/>
            <a:ahLst/>
            <a:cxnLst/>
            <a:rect l="l" t="t" r="r" b="b"/>
            <a:pathLst>
              <a:path w="1374775" h="1374775">
                <a:moveTo>
                  <a:pt x="687142" y="1374285"/>
                </a:moveTo>
                <a:lnTo>
                  <a:pt x="640096" y="1372700"/>
                </a:lnTo>
                <a:lnTo>
                  <a:pt x="593901" y="1368013"/>
                </a:lnTo>
                <a:lnTo>
                  <a:pt x="548659" y="1360325"/>
                </a:lnTo>
                <a:lnTo>
                  <a:pt x="504473" y="1349740"/>
                </a:lnTo>
                <a:lnTo>
                  <a:pt x="461444" y="1336360"/>
                </a:lnTo>
                <a:lnTo>
                  <a:pt x="419675" y="1320286"/>
                </a:lnTo>
                <a:lnTo>
                  <a:pt x="379269" y="1301622"/>
                </a:lnTo>
                <a:lnTo>
                  <a:pt x="340328" y="1280470"/>
                </a:lnTo>
                <a:lnTo>
                  <a:pt x="302954" y="1256932"/>
                </a:lnTo>
                <a:lnTo>
                  <a:pt x="267250" y="1231111"/>
                </a:lnTo>
                <a:lnTo>
                  <a:pt x="233317" y="1203108"/>
                </a:lnTo>
                <a:lnTo>
                  <a:pt x="201259" y="1173026"/>
                </a:lnTo>
                <a:lnTo>
                  <a:pt x="171177" y="1140968"/>
                </a:lnTo>
                <a:lnTo>
                  <a:pt x="143174" y="1107035"/>
                </a:lnTo>
                <a:lnTo>
                  <a:pt x="117353" y="1071331"/>
                </a:lnTo>
                <a:lnTo>
                  <a:pt x="93814" y="1033957"/>
                </a:lnTo>
                <a:lnTo>
                  <a:pt x="72662" y="995015"/>
                </a:lnTo>
                <a:lnTo>
                  <a:pt x="53998" y="954609"/>
                </a:lnTo>
                <a:lnTo>
                  <a:pt x="37925" y="912841"/>
                </a:lnTo>
                <a:lnTo>
                  <a:pt x="24545" y="869812"/>
                </a:lnTo>
                <a:lnTo>
                  <a:pt x="13960" y="825626"/>
                </a:lnTo>
                <a:lnTo>
                  <a:pt x="6272" y="780383"/>
                </a:lnTo>
                <a:lnTo>
                  <a:pt x="1585" y="734188"/>
                </a:lnTo>
                <a:lnTo>
                  <a:pt x="0" y="687148"/>
                </a:lnTo>
                <a:lnTo>
                  <a:pt x="1585" y="640096"/>
                </a:lnTo>
                <a:lnTo>
                  <a:pt x="6272" y="593901"/>
                </a:lnTo>
                <a:lnTo>
                  <a:pt x="13960" y="548659"/>
                </a:lnTo>
                <a:lnTo>
                  <a:pt x="24545" y="504472"/>
                </a:lnTo>
                <a:lnTo>
                  <a:pt x="37925" y="461444"/>
                </a:lnTo>
                <a:lnTo>
                  <a:pt x="53998" y="419675"/>
                </a:lnTo>
                <a:lnTo>
                  <a:pt x="72662" y="379269"/>
                </a:lnTo>
                <a:lnTo>
                  <a:pt x="93814" y="340328"/>
                </a:lnTo>
                <a:lnTo>
                  <a:pt x="117353" y="302954"/>
                </a:lnTo>
                <a:lnTo>
                  <a:pt x="143174" y="267249"/>
                </a:lnTo>
                <a:lnTo>
                  <a:pt x="171177" y="233317"/>
                </a:lnTo>
                <a:lnTo>
                  <a:pt x="201259" y="201259"/>
                </a:lnTo>
                <a:lnTo>
                  <a:pt x="233317" y="171177"/>
                </a:lnTo>
                <a:lnTo>
                  <a:pt x="267250" y="143174"/>
                </a:lnTo>
                <a:lnTo>
                  <a:pt x="302954" y="117352"/>
                </a:lnTo>
                <a:lnTo>
                  <a:pt x="340328" y="93814"/>
                </a:lnTo>
                <a:lnTo>
                  <a:pt x="379269" y="72662"/>
                </a:lnTo>
                <a:lnTo>
                  <a:pt x="419675" y="53998"/>
                </a:lnTo>
                <a:lnTo>
                  <a:pt x="461444" y="37925"/>
                </a:lnTo>
                <a:lnTo>
                  <a:pt x="504473" y="24544"/>
                </a:lnTo>
                <a:lnTo>
                  <a:pt x="548659" y="13959"/>
                </a:lnTo>
                <a:lnTo>
                  <a:pt x="593901" y="6272"/>
                </a:lnTo>
                <a:lnTo>
                  <a:pt x="640096" y="1584"/>
                </a:lnTo>
                <a:lnTo>
                  <a:pt x="687126" y="0"/>
                </a:lnTo>
                <a:lnTo>
                  <a:pt x="734189" y="1584"/>
                </a:lnTo>
                <a:lnTo>
                  <a:pt x="780384" y="6272"/>
                </a:lnTo>
                <a:lnTo>
                  <a:pt x="825626" y="13959"/>
                </a:lnTo>
                <a:lnTo>
                  <a:pt x="869812" y="24544"/>
                </a:lnTo>
                <a:lnTo>
                  <a:pt x="912841" y="37925"/>
                </a:lnTo>
                <a:lnTo>
                  <a:pt x="954610" y="53998"/>
                </a:lnTo>
                <a:lnTo>
                  <a:pt x="995016" y="72662"/>
                </a:lnTo>
                <a:lnTo>
                  <a:pt x="1033957" y="93814"/>
                </a:lnTo>
                <a:lnTo>
                  <a:pt x="1071331" y="117352"/>
                </a:lnTo>
                <a:lnTo>
                  <a:pt x="1107035" y="143174"/>
                </a:lnTo>
                <a:lnTo>
                  <a:pt x="1140968" y="171177"/>
                </a:lnTo>
                <a:lnTo>
                  <a:pt x="1173026" y="201259"/>
                </a:lnTo>
                <a:lnTo>
                  <a:pt x="1203108" y="233317"/>
                </a:lnTo>
                <a:lnTo>
                  <a:pt x="1231111" y="267249"/>
                </a:lnTo>
                <a:lnTo>
                  <a:pt x="1256932" y="302954"/>
                </a:lnTo>
                <a:lnTo>
                  <a:pt x="1280470" y="340328"/>
                </a:lnTo>
                <a:lnTo>
                  <a:pt x="1301623" y="379269"/>
                </a:lnTo>
                <a:lnTo>
                  <a:pt x="1320287" y="419675"/>
                </a:lnTo>
                <a:lnTo>
                  <a:pt x="1336360" y="461444"/>
                </a:lnTo>
                <a:lnTo>
                  <a:pt x="1349740" y="504472"/>
                </a:lnTo>
                <a:lnTo>
                  <a:pt x="1360325" y="548659"/>
                </a:lnTo>
                <a:lnTo>
                  <a:pt x="1368013" y="593901"/>
                </a:lnTo>
                <a:lnTo>
                  <a:pt x="1372700" y="640096"/>
                </a:lnTo>
                <a:lnTo>
                  <a:pt x="1374285" y="687137"/>
                </a:lnTo>
                <a:lnTo>
                  <a:pt x="1372700" y="734188"/>
                </a:lnTo>
                <a:lnTo>
                  <a:pt x="1368013" y="780383"/>
                </a:lnTo>
                <a:lnTo>
                  <a:pt x="1360325" y="825626"/>
                </a:lnTo>
                <a:lnTo>
                  <a:pt x="1349740" y="869812"/>
                </a:lnTo>
                <a:lnTo>
                  <a:pt x="1336360" y="912841"/>
                </a:lnTo>
                <a:lnTo>
                  <a:pt x="1320287" y="954609"/>
                </a:lnTo>
                <a:lnTo>
                  <a:pt x="1301623" y="995015"/>
                </a:lnTo>
                <a:lnTo>
                  <a:pt x="1280470" y="1033957"/>
                </a:lnTo>
                <a:lnTo>
                  <a:pt x="1256932" y="1071331"/>
                </a:lnTo>
                <a:lnTo>
                  <a:pt x="1231111" y="1107035"/>
                </a:lnTo>
                <a:lnTo>
                  <a:pt x="1203108" y="1140968"/>
                </a:lnTo>
                <a:lnTo>
                  <a:pt x="1173026" y="1173026"/>
                </a:lnTo>
                <a:lnTo>
                  <a:pt x="1140968" y="1203108"/>
                </a:lnTo>
                <a:lnTo>
                  <a:pt x="1107035" y="1231111"/>
                </a:lnTo>
                <a:lnTo>
                  <a:pt x="1071331" y="1256932"/>
                </a:lnTo>
                <a:lnTo>
                  <a:pt x="1033957" y="1280470"/>
                </a:lnTo>
                <a:lnTo>
                  <a:pt x="995016" y="1301622"/>
                </a:lnTo>
                <a:lnTo>
                  <a:pt x="954610" y="1320286"/>
                </a:lnTo>
                <a:lnTo>
                  <a:pt x="912841" y="1336360"/>
                </a:lnTo>
                <a:lnTo>
                  <a:pt x="869812" y="1349740"/>
                </a:lnTo>
                <a:lnTo>
                  <a:pt x="825626" y="1360325"/>
                </a:lnTo>
                <a:lnTo>
                  <a:pt x="780384" y="1368013"/>
                </a:lnTo>
                <a:lnTo>
                  <a:pt x="734189" y="1372700"/>
                </a:lnTo>
                <a:lnTo>
                  <a:pt x="687142" y="1374285"/>
                </a:lnTo>
                <a:close/>
              </a:path>
            </a:pathLst>
          </a:custGeom>
          <a:solidFill>
            <a:srgbClr val="21408B"/>
          </a:solidFill>
        </p:spPr>
        <p:txBody>
          <a:bodyPr wrap="square" lIns="0" tIns="0" rIns="0" bIns="0" rtlCol="0"/>
          <a:lstStyle/>
          <a:p>
            <a:endParaRPr/>
          </a:p>
        </p:txBody>
      </p:sp>
      <p:sp>
        <p:nvSpPr>
          <p:cNvPr id="7" name="object 7"/>
          <p:cNvSpPr/>
          <p:nvPr/>
        </p:nvSpPr>
        <p:spPr>
          <a:xfrm>
            <a:off x="15" y="5143398"/>
            <a:ext cx="4460875" cy="3580765"/>
          </a:xfrm>
          <a:custGeom>
            <a:avLst/>
            <a:gdLst/>
            <a:ahLst/>
            <a:cxnLst/>
            <a:rect l="l" t="t" r="r" b="b"/>
            <a:pathLst>
              <a:path w="4460875" h="3580765">
                <a:moveTo>
                  <a:pt x="4460378" y="1776995"/>
                </a:moveTo>
                <a:lnTo>
                  <a:pt x="4460378" y="1803746"/>
                </a:lnTo>
                <a:lnTo>
                  <a:pt x="4029638" y="3580741"/>
                </a:lnTo>
                <a:lnTo>
                  <a:pt x="0" y="3580741"/>
                </a:lnTo>
                <a:lnTo>
                  <a:pt x="0" y="0"/>
                </a:lnTo>
                <a:lnTo>
                  <a:pt x="4029638" y="0"/>
                </a:lnTo>
                <a:lnTo>
                  <a:pt x="4460378" y="1776995"/>
                </a:lnTo>
                <a:close/>
              </a:path>
            </a:pathLst>
          </a:custGeom>
          <a:solidFill>
            <a:srgbClr val="21408B"/>
          </a:solidFill>
        </p:spPr>
        <p:txBody>
          <a:bodyPr wrap="square" lIns="0" tIns="0" rIns="0" bIns="0" rtlCol="0"/>
          <a:lstStyle/>
          <a:p>
            <a:endParaRPr/>
          </a:p>
        </p:txBody>
      </p:sp>
      <p:pic>
        <p:nvPicPr>
          <p:cNvPr id="8" name="object 8"/>
          <p:cNvPicPr/>
          <p:nvPr/>
        </p:nvPicPr>
        <p:blipFill>
          <a:blip r:embed="rId2" cstate="print"/>
          <a:stretch>
            <a:fillRect/>
          </a:stretch>
        </p:blipFill>
        <p:spPr>
          <a:xfrm>
            <a:off x="5301820" y="4351851"/>
            <a:ext cx="9796016" cy="5234992"/>
          </a:xfrm>
          <a:prstGeom prst="rect">
            <a:avLst/>
          </a:prstGeom>
        </p:spPr>
      </p:pic>
      <p:sp>
        <p:nvSpPr>
          <p:cNvPr id="9" name="object 9"/>
          <p:cNvSpPr txBox="1"/>
          <p:nvPr/>
        </p:nvSpPr>
        <p:spPr>
          <a:xfrm>
            <a:off x="166956" y="384149"/>
            <a:ext cx="17954625" cy="482600"/>
          </a:xfrm>
          <a:prstGeom prst="rect">
            <a:avLst/>
          </a:prstGeom>
        </p:spPr>
        <p:txBody>
          <a:bodyPr vert="horz" wrap="square" lIns="0" tIns="12700" rIns="0" bIns="0" rtlCol="0">
            <a:spAutoFit/>
          </a:bodyPr>
          <a:lstStyle/>
          <a:p>
            <a:pPr marL="483234">
              <a:lnSpc>
                <a:spcPct val="100000"/>
              </a:lnSpc>
              <a:spcBef>
                <a:spcPts val="100"/>
              </a:spcBef>
            </a:pPr>
            <a:r>
              <a:rPr sz="3000" dirty="0">
                <a:solidFill>
                  <a:srgbClr val="FFFFFF"/>
                </a:solidFill>
                <a:latin typeface="Roboto"/>
                <a:cs typeface="Roboto"/>
              </a:rPr>
              <a:t>02.</a:t>
            </a:r>
            <a:r>
              <a:rPr sz="3000" spc="-85" dirty="0">
                <a:solidFill>
                  <a:srgbClr val="FFFFFF"/>
                </a:solidFill>
                <a:latin typeface="Roboto"/>
                <a:cs typeface="Roboto"/>
              </a:rPr>
              <a:t> </a:t>
            </a:r>
            <a:r>
              <a:rPr sz="3000" dirty="0">
                <a:solidFill>
                  <a:srgbClr val="FFFFFF"/>
                </a:solidFill>
                <a:latin typeface="Roboto"/>
                <a:cs typeface="Roboto"/>
              </a:rPr>
              <a:t>¿Cómo</a:t>
            </a:r>
            <a:r>
              <a:rPr sz="3000" spc="-75" dirty="0">
                <a:solidFill>
                  <a:srgbClr val="FFFFFF"/>
                </a:solidFill>
                <a:latin typeface="Roboto"/>
                <a:cs typeface="Roboto"/>
              </a:rPr>
              <a:t> </a:t>
            </a:r>
            <a:r>
              <a:rPr sz="3000" spc="-10" dirty="0">
                <a:solidFill>
                  <a:srgbClr val="FFFFFF"/>
                </a:solidFill>
                <a:latin typeface="Roboto"/>
                <a:cs typeface="Roboto"/>
              </a:rPr>
              <a:t>recuperar</a:t>
            </a:r>
            <a:r>
              <a:rPr sz="3000" spc="-75" dirty="0">
                <a:solidFill>
                  <a:srgbClr val="FFFFFF"/>
                </a:solidFill>
                <a:latin typeface="Roboto"/>
                <a:cs typeface="Roboto"/>
              </a:rPr>
              <a:t> </a:t>
            </a:r>
            <a:r>
              <a:rPr sz="3000" spc="-10" dirty="0">
                <a:solidFill>
                  <a:srgbClr val="FFFFFF"/>
                </a:solidFill>
                <a:latin typeface="Roboto"/>
                <a:cs typeface="Roboto"/>
              </a:rPr>
              <a:t>volumen?</a:t>
            </a:r>
            <a:endParaRPr sz="3000">
              <a:latin typeface="Roboto"/>
              <a:cs typeface="Roboto"/>
            </a:endParaRPr>
          </a:p>
        </p:txBody>
      </p:sp>
      <p:sp>
        <p:nvSpPr>
          <p:cNvPr id="10" name="object 10"/>
          <p:cNvSpPr txBox="1">
            <a:spLocks noGrp="1"/>
          </p:cNvSpPr>
          <p:nvPr>
            <p:ph type="title"/>
          </p:nvPr>
        </p:nvSpPr>
        <p:spPr>
          <a:xfrm>
            <a:off x="5301820" y="2330378"/>
            <a:ext cx="9835515" cy="1253490"/>
          </a:xfrm>
          <a:prstGeom prst="rect">
            <a:avLst/>
          </a:prstGeom>
        </p:spPr>
        <p:txBody>
          <a:bodyPr vert="horz" wrap="square" lIns="0" tIns="33655" rIns="0" bIns="0" rtlCol="0">
            <a:spAutoFit/>
          </a:bodyPr>
          <a:lstStyle/>
          <a:p>
            <a:pPr marR="5080">
              <a:lnSpc>
                <a:spcPts val="4800"/>
              </a:lnSpc>
              <a:spcBef>
                <a:spcPts val="265"/>
              </a:spcBef>
            </a:pPr>
            <a:r>
              <a:rPr sz="4050" b="1" dirty="0">
                <a:solidFill>
                  <a:srgbClr val="E3112B"/>
                </a:solidFill>
                <a:latin typeface="Roboto"/>
                <a:cs typeface="Roboto"/>
              </a:rPr>
              <a:t>Cambio</a:t>
            </a:r>
            <a:r>
              <a:rPr sz="4050" b="1" spc="-60" dirty="0">
                <a:solidFill>
                  <a:srgbClr val="E3112B"/>
                </a:solidFill>
                <a:latin typeface="Roboto"/>
                <a:cs typeface="Roboto"/>
              </a:rPr>
              <a:t> </a:t>
            </a:r>
            <a:r>
              <a:rPr sz="4050" b="1" dirty="0">
                <a:solidFill>
                  <a:srgbClr val="E3112B"/>
                </a:solidFill>
                <a:latin typeface="Roboto"/>
                <a:cs typeface="Roboto"/>
              </a:rPr>
              <a:t>de</a:t>
            </a:r>
            <a:r>
              <a:rPr sz="4050" b="1" spc="-55" dirty="0">
                <a:solidFill>
                  <a:srgbClr val="E3112B"/>
                </a:solidFill>
                <a:latin typeface="Roboto"/>
                <a:cs typeface="Roboto"/>
              </a:rPr>
              <a:t> </a:t>
            </a:r>
            <a:r>
              <a:rPr sz="4050" b="1" dirty="0">
                <a:solidFill>
                  <a:srgbClr val="E3112B"/>
                </a:solidFill>
                <a:latin typeface="Roboto"/>
                <a:cs typeface="Roboto"/>
              </a:rPr>
              <a:t>formatos</a:t>
            </a:r>
            <a:r>
              <a:rPr sz="4050" b="1" spc="-60" dirty="0">
                <a:solidFill>
                  <a:srgbClr val="E3112B"/>
                </a:solidFill>
                <a:latin typeface="Roboto"/>
                <a:cs typeface="Roboto"/>
              </a:rPr>
              <a:t> </a:t>
            </a:r>
            <a:r>
              <a:rPr sz="4050" b="1" dirty="0">
                <a:solidFill>
                  <a:srgbClr val="E3112B"/>
                </a:solidFill>
                <a:latin typeface="Roboto"/>
                <a:cs typeface="Roboto"/>
              </a:rPr>
              <a:t>promocionales</a:t>
            </a:r>
            <a:r>
              <a:rPr sz="4050" b="1" spc="-65" dirty="0">
                <a:solidFill>
                  <a:srgbClr val="E3112B"/>
                </a:solidFill>
                <a:latin typeface="Roboto"/>
                <a:cs typeface="Roboto"/>
              </a:rPr>
              <a:t> </a:t>
            </a:r>
            <a:r>
              <a:rPr sz="4050" dirty="0">
                <a:solidFill>
                  <a:srgbClr val="E3112B"/>
                </a:solidFill>
              </a:rPr>
              <a:t>y</a:t>
            </a:r>
            <a:r>
              <a:rPr sz="4050" spc="-60" dirty="0">
                <a:solidFill>
                  <a:srgbClr val="E3112B"/>
                </a:solidFill>
              </a:rPr>
              <a:t> </a:t>
            </a:r>
            <a:r>
              <a:rPr sz="4050" spc="-20" dirty="0">
                <a:solidFill>
                  <a:srgbClr val="E3112B"/>
                </a:solidFill>
              </a:rPr>
              <a:t>foco </a:t>
            </a:r>
            <a:r>
              <a:rPr sz="4050" dirty="0">
                <a:solidFill>
                  <a:srgbClr val="E3112B"/>
                </a:solidFill>
              </a:rPr>
              <a:t>en</a:t>
            </a:r>
            <a:r>
              <a:rPr sz="4050" spc="-100" dirty="0">
                <a:solidFill>
                  <a:srgbClr val="E3112B"/>
                </a:solidFill>
              </a:rPr>
              <a:t> </a:t>
            </a:r>
            <a:r>
              <a:rPr sz="4050" dirty="0">
                <a:solidFill>
                  <a:srgbClr val="E3112B"/>
                </a:solidFill>
              </a:rPr>
              <a:t>soporte</a:t>
            </a:r>
            <a:r>
              <a:rPr sz="4050" spc="-95" dirty="0">
                <a:solidFill>
                  <a:srgbClr val="E3112B"/>
                </a:solidFill>
              </a:rPr>
              <a:t> </a:t>
            </a:r>
            <a:r>
              <a:rPr sz="4050" dirty="0">
                <a:solidFill>
                  <a:srgbClr val="E3112B"/>
                </a:solidFill>
              </a:rPr>
              <a:t>al</a:t>
            </a:r>
            <a:r>
              <a:rPr sz="4050" spc="-95" dirty="0">
                <a:solidFill>
                  <a:srgbClr val="E3112B"/>
                </a:solidFill>
              </a:rPr>
              <a:t> </a:t>
            </a:r>
            <a:r>
              <a:rPr sz="4050" b="1" dirty="0">
                <a:solidFill>
                  <a:srgbClr val="E3112B"/>
                </a:solidFill>
                <a:latin typeface="Roboto"/>
                <a:cs typeface="Roboto"/>
              </a:rPr>
              <a:t>canal</a:t>
            </a:r>
            <a:r>
              <a:rPr sz="4050" b="1" spc="-90" dirty="0">
                <a:solidFill>
                  <a:srgbClr val="E3112B"/>
                </a:solidFill>
                <a:latin typeface="Roboto"/>
                <a:cs typeface="Roboto"/>
              </a:rPr>
              <a:t> </a:t>
            </a:r>
            <a:r>
              <a:rPr sz="4050" b="1" dirty="0">
                <a:solidFill>
                  <a:srgbClr val="E3112B"/>
                </a:solidFill>
                <a:latin typeface="Roboto"/>
                <a:cs typeface="Roboto"/>
              </a:rPr>
              <a:t>comercial</a:t>
            </a:r>
            <a:r>
              <a:rPr sz="4050" b="1" spc="-90" dirty="0">
                <a:solidFill>
                  <a:srgbClr val="E3112B"/>
                </a:solidFill>
                <a:latin typeface="Roboto"/>
                <a:cs typeface="Roboto"/>
              </a:rPr>
              <a:t> </a:t>
            </a:r>
            <a:r>
              <a:rPr sz="4050" b="1" spc="-10" dirty="0">
                <a:solidFill>
                  <a:srgbClr val="E3112B"/>
                </a:solidFill>
                <a:latin typeface="Roboto"/>
                <a:cs typeface="Roboto"/>
              </a:rPr>
              <a:t>(trade)</a:t>
            </a:r>
            <a:endParaRPr sz="4050">
              <a:latin typeface="Roboto"/>
              <a:cs typeface="Roboto"/>
            </a:endParaRPr>
          </a:p>
        </p:txBody>
      </p:sp>
      <p:sp>
        <p:nvSpPr>
          <p:cNvPr id="11" name="object 11"/>
          <p:cNvSpPr txBox="1"/>
          <p:nvPr/>
        </p:nvSpPr>
        <p:spPr>
          <a:xfrm>
            <a:off x="3941580" y="2734412"/>
            <a:ext cx="729615" cy="643890"/>
          </a:xfrm>
          <a:prstGeom prst="rect">
            <a:avLst/>
          </a:prstGeom>
        </p:spPr>
        <p:txBody>
          <a:bodyPr vert="horz" wrap="square" lIns="0" tIns="13335" rIns="0" bIns="0" rtlCol="0">
            <a:spAutoFit/>
          </a:bodyPr>
          <a:lstStyle/>
          <a:p>
            <a:pPr>
              <a:lnSpc>
                <a:spcPct val="100000"/>
              </a:lnSpc>
              <a:spcBef>
                <a:spcPts val="105"/>
              </a:spcBef>
            </a:pPr>
            <a:r>
              <a:rPr sz="4050" b="1" spc="520" dirty="0">
                <a:solidFill>
                  <a:srgbClr val="FFFFFF"/>
                </a:solidFill>
                <a:latin typeface="Arial"/>
                <a:cs typeface="Arial"/>
              </a:rPr>
              <a:t>03</a:t>
            </a:r>
            <a:endParaRPr sz="4050">
              <a:latin typeface="Arial"/>
              <a:cs typeface="Arial"/>
            </a:endParaRPr>
          </a:p>
        </p:txBody>
      </p:sp>
      <p:sp>
        <p:nvSpPr>
          <p:cNvPr id="12" name="object 12"/>
          <p:cNvSpPr txBox="1"/>
          <p:nvPr/>
        </p:nvSpPr>
        <p:spPr>
          <a:xfrm>
            <a:off x="1053652" y="5923011"/>
            <a:ext cx="2299335" cy="1798320"/>
          </a:xfrm>
          <a:prstGeom prst="rect">
            <a:avLst/>
          </a:prstGeom>
        </p:spPr>
        <p:txBody>
          <a:bodyPr vert="horz" wrap="square" lIns="0" tIns="12700" rIns="0" bIns="0" rtlCol="0">
            <a:spAutoFit/>
          </a:bodyPr>
          <a:lstStyle/>
          <a:p>
            <a:pPr marL="12065" marR="5080" algn="ctr">
              <a:lnSpc>
                <a:spcPct val="115700"/>
              </a:lnSpc>
              <a:spcBef>
                <a:spcPts val="100"/>
              </a:spcBef>
            </a:pPr>
            <a:r>
              <a:rPr sz="3350" b="1" spc="215" dirty="0">
                <a:solidFill>
                  <a:srgbClr val="FFFFFF"/>
                </a:solidFill>
                <a:latin typeface="Arial"/>
                <a:cs typeface="Arial"/>
              </a:rPr>
              <a:t>¿Para</a:t>
            </a:r>
            <a:r>
              <a:rPr sz="3350" b="1" spc="-15" dirty="0">
                <a:solidFill>
                  <a:srgbClr val="FFFFFF"/>
                </a:solidFill>
                <a:latin typeface="Arial"/>
                <a:cs typeface="Arial"/>
              </a:rPr>
              <a:t> </a:t>
            </a:r>
            <a:r>
              <a:rPr sz="3350" b="1" spc="140" dirty="0">
                <a:solidFill>
                  <a:srgbClr val="FFFFFF"/>
                </a:solidFill>
                <a:latin typeface="Arial"/>
                <a:cs typeface="Arial"/>
              </a:rPr>
              <a:t>qué </a:t>
            </a:r>
            <a:r>
              <a:rPr sz="3350" b="1" spc="-10" dirty="0">
                <a:solidFill>
                  <a:srgbClr val="FFFFFF"/>
                </a:solidFill>
                <a:latin typeface="Arial"/>
                <a:cs typeface="Arial"/>
              </a:rPr>
              <a:t>acciones </a:t>
            </a:r>
            <a:r>
              <a:rPr sz="3350" b="1" spc="110" dirty="0">
                <a:solidFill>
                  <a:srgbClr val="FFFFFF"/>
                </a:solidFill>
                <a:latin typeface="Arial"/>
                <a:cs typeface="Arial"/>
              </a:rPr>
              <a:t>aplica?</a:t>
            </a:r>
            <a:endParaRPr sz="3350">
              <a:latin typeface="Arial"/>
              <a:cs typeface="Arial"/>
            </a:endParaRPr>
          </a:p>
        </p:txBody>
      </p:sp>
      <p:sp>
        <p:nvSpPr>
          <p:cNvPr id="13" name="object 13"/>
          <p:cNvSpPr txBox="1"/>
          <p:nvPr/>
        </p:nvSpPr>
        <p:spPr>
          <a:xfrm>
            <a:off x="5790419" y="5160214"/>
            <a:ext cx="1672589" cy="1162685"/>
          </a:xfrm>
          <a:prstGeom prst="rect">
            <a:avLst/>
          </a:prstGeom>
        </p:spPr>
        <p:txBody>
          <a:bodyPr vert="horz" wrap="square" lIns="0" tIns="12065" rIns="0" bIns="0" rtlCol="0">
            <a:spAutoFit/>
          </a:bodyPr>
          <a:lstStyle/>
          <a:p>
            <a:pPr marL="12700" marR="5080" algn="ctr">
              <a:lnSpc>
                <a:spcPct val="116500"/>
              </a:lnSpc>
              <a:spcBef>
                <a:spcPts val="95"/>
              </a:spcBef>
            </a:pPr>
            <a:r>
              <a:rPr sz="1600" b="1" dirty="0">
                <a:solidFill>
                  <a:srgbClr val="FFFFFF"/>
                </a:solidFill>
                <a:latin typeface="Roboto"/>
                <a:cs typeface="Roboto"/>
              </a:rPr>
              <a:t>Fam</a:t>
            </a:r>
            <a:r>
              <a:rPr sz="1600" b="1" spc="-20" dirty="0">
                <a:solidFill>
                  <a:srgbClr val="FFFFFF"/>
                </a:solidFill>
                <a:latin typeface="Roboto"/>
                <a:cs typeface="Roboto"/>
              </a:rPr>
              <a:t> </a:t>
            </a:r>
            <a:r>
              <a:rPr sz="1600" b="1" spc="-10" dirty="0">
                <a:solidFill>
                  <a:srgbClr val="FFFFFF"/>
                </a:solidFill>
                <a:latin typeface="Roboto"/>
                <a:cs typeface="Roboto"/>
              </a:rPr>
              <a:t>trips, webinars, </a:t>
            </a:r>
            <a:r>
              <a:rPr sz="1600" b="1" dirty="0">
                <a:solidFill>
                  <a:srgbClr val="FFFFFF"/>
                </a:solidFill>
                <a:latin typeface="Roboto"/>
                <a:cs typeface="Roboto"/>
              </a:rPr>
              <a:t>roadshows</a:t>
            </a:r>
            <a:r>
              <a:rPr sz="1600" b="1" spc="55" dirty="0">
                <a:solidFill>
                  <a:srgbClr val="FFFFFF"/>
                </a:solidFill>
                <a:latin typeface="Roboto"/>
                <a:cs typeface="Roboto"/>
              </a:rPr>
              <a:t> </a:t>
            </a:r>
            <a:r>
              <a:rPr sz="1600" b="1" spc="-50" dirty="0">
                <a:solidFill>
                  <a:srgbClr val="FFFFFF"/>
                </a:solidFill>
                <a:latin typeface="Roboto"/>
                <a:cs typeface="Roboto"/>
              </a:rPr>
              <a:t>&amp; </a:t>
            </a:r>
            <a:r>
              <a:rPr sz="1600" b="1" dirty="0">
                <a:solidFill>
                  <a:srgbClr val="FFFFFF"/>
                </a:solidFill>
                <a:latin typeface="Roboto"/>
                <a:cs typeface="Roboto"/>
              </a:rPr>
              <a:t>workshops,</a:t>
            </a:r>
            <a:r>
              <a:rPr sz="1600" b="1" spc="35" dirty="0">
                <a:solidFill>
                  <a:srgbClr val="FFFFFF"/>
                </a:solidFill>
                <a:latin typeface="Roboto"/>
                <a:cs typeface="Roboto"/>
              </a:rPr>
              <a:t> </a:t>
            </a:r>
            <a:r>
              <a:rPr sz="1600" b="1" spc="-10" dirty="0">
                <a:solidFill>
                  <a:srgbClr val="FFFFFF"/>
                </a:solidFill>
                <a:latin typeface="Roboto"/>
                <a:cs typeface="Roboto"/>
              </a:rPr>
              <a:t>ferias</a:t>
            </a:r>
            <a:endParaRPr sz="1600">
              <a:latin typeface="Roboto"/>
              <a:cs typeface="Roboto"/>
            </a:endParaRPr>
          </a:p>
        </p:txBody>
      </p:sp>
      <p:sp>
        <p:nvSpPr>
          <p:cNvPr id="14" name="object 14"/>
          <p:cNvSpPr txBox="1"/>
          <p:nvPr/>
        </p:nvSpPr>
        <p:spPr>
          <a:xfrm>
            <a:off x="12941692" y="5389002"/>
            <a:ext cx="1694814" cy="878205"/>
          </a:xfrm>
          <a:prstGeom prst="rect">
            <a:avLst/>
          </a:prstGeom>
        </p:spPr>
        <p:txBody>
          <a:bodyPr vert="horz" wrap="square" lIns="0" tIns="12065" rIns="0" bIns="0" rtlCol="0">
            <a:spAutoFit/>
          </a:bodyPr>
          <a:lstStyle/>
          <a:p>
            <a:pPr marL="12700" marR="5080" algn="ctr">
              <a:lnSpc>
                <a:spcPct val="116500"/>
              </a:lnSpc>
              <a:spcBef>
                <a:spcPts val="95"/>
              </a:spcBef>
            </a:pPr>
            <a:r>
              <a:rPr sz="1600" b="1" dirty="0">
                <a:solidFill>
                  <a:srgbClr val="FFFFFF"/>
                </a:solidFill>
                <a:latin typeface="Roboto"/>
                <a:cs typeface="Roboto"/>
              </a:rPr>
              <a:t>Capacitar</a:t>
            </a:r>
            <a:r>
              <a:rPr sz="1600" b="1" spc="25" dirty="0">
                <a:solidFill>
                  <a:srgbClr val="FFFFFF"/>
                </a:solidFill>
                <a:latin typeface="Roboto"/>
                <a:cs typeface="Roboto"/>
              </a:rPr>
              <a:t> </a:t>
            </a:r>
            <a:r>
              <a:rPr sz="1600" dirty="0">
                <a:solidFill>
                  <a:srgbClr val="FFFFFF"/>
                </a:solidFill>
                <a:latin typeface="Roboto"/>
                <a:cs typeface="Roboto"/>
              </a:rPr>
              <a:t>al</a:t>
            </a:r>
            <a:r>
              <a:rPr sz="1600" spc="20" dirty="0">
                <a:solidFill>
                  <a:srgbClr val="FFFFFF"/>
                </a:solidFill>
                <a:latin typeface="Roboto"/>
                <a:cs typeface="Roboto"/>
              </a:rPr>
              <a:t> </a:t>
            </a:r>
            <a:r>
              <a:rPr sz="1600" spc="-10" dirty="0">
                <a:solidFill>
                  <a:srgbClr val="FFFFFF"/>
                </a:solidFill>
                <a:latin typeface="Roboto"/>
                <a:cs typeface="Roboto"/>
              </a:rPr>
              <a:t>trade, </a:t>
            </a:r>
            <a:r>
              <a:rPr sz="1600" dirty="0">
                <a:solidFill>
                  <a:srgbClr val="FFFFFF"/>
                </a:solidFill>
                <a:latin typeface="Roboto"/>
                <a:cs typeface="Roboto"/>
              </a:rPr>
              <a:t>en</a:t>
            </a:r>
            <a:r>
              <a:rPr sz="1600" spc="-35" dirty="0">
                <a:solidFill>
                  <a:srgbClr val="FFFFFF"/>
                </a:solidFill>
                <a:latin typeface="Roboto"/>
                <a:cs typeface="Roboto"/>
              </a:rPr>
              <a:t> </a:t>
            </a:r>
            <a:r>
              <a:rPr sz="1600" dirty="0">
                <a:solidFill>
                  <a:srgbClr val="FFFFFF"/>
                </a:solidFill>
                <a:latin typeface="Roboto"/>
                <a:cs typeface="Roboto"/>
              </a:rPr>
              <a:t>origen</a:t>
            </a:r>
            <a:r>
              <a:rPr sz="1600" spc="-30" dirty="0">
                <a:solidFill>
                  <a:srgbClr val="FFFFFF"/>
                </a:solidFill>
                <a:latin typeface="Roboto"/>
                <a:cs typeface="Roboto"/>
              </a:rPr>
              <a:t> </a:t>
            </a:r>
            <a:r>
              <a:rPr sz="1600" dirty="0">
                <a:solidFill>
                  <a:srgbClr val="FFFFFF"/>
                </a:solidFill>
                <a:latin typeface="Roboto"/>
                <a:cs typeface="Roboto"/>
              </a:rPr>
              <a:t>y</a:t>
            </a:r>
            <a:r>
              <a:rPr sz="1600" spc="-30" dirty="0">
                <a:solidFill>
                  <a:srgbClr val="FFFFFF"/>
                </a:solidFill>
                <a:latin typeface="Roboto"/>
                <a:cs typeface="Roboto"/>
              </a:rPr>
              <a:t> </a:t>
            </a:r>
            <a:r>
              <a:rPr sz="1600" spc="-25" dirty="0">
                <a:solidFill>
                  <a:srgbClr val="FFFFFF"/>
                </a:solidFill>
                <a:latin typeface="Roboto"/>
                <a:cs typeface="Roboto"/>
              </a:rPr>
              <a:t>en </a:t>
            </a:r>
            <a:r>
              <a:rPr sz="1600" spc="-10" dirty="0">
                <a:solidFill>
                  <a:srgbClr val="FFFFFF"/>
                </a:solidFill>
                <a:latin typeface="Roboto"/>
                <a:cs typeface="Roboto"/>
              </a:rPr>
              <a:t>destino</a:t>
            </a:r>
            <a:endParaRPr sz="1600">
              <a:latin typeface="Roboto"/>
              <a:cs typeface="Roboto"/>
            </a:endParaRPr>
          </a:p>
        </p:txBody>
      </p:sp>
      <p:sp>
        <p:nvSpPr>
          <p:cNvPr id="15" name="object 15"/>
          <p:cNvSpPr txBox="1"/>
          <p:nvPr/>
        </p:nvSpPr>
        <p:spPr>
          <a:xfrm>
            <a:off x="7002033" y="7971938"/>
            <a:ext cx="1802764" cy="878205"/>
          </a:xfrm>
          <a:prstGeom prst="rect">
            <a:avLst/>
          </a:prstGeom>
        </p:spPr>
        <p:txBody>
          <a:bodyPr vert="horz" wrap="square" lIns="0" tIns="12065" rIns="0" bIns="0" rtlCol="0">
            <a:spAutoFit/>
          </a:bodyPr>
          <a:lstStyle/>
          <a:p>
            <a:pPr marL="12065" marR="5080" algn="ctr">
              <a:lnSpc>
                <a:spcPct val="116500"/>
              </a:lnSpc>
              <a:spcBef>
                <a:spcPts val="95"/>
              </a:spcBef>
            </a:pPr>
            <a:r>
              <a:rPr sz="1600" dirty="0">
                <a:solidFill>
                  <a:srgbClr val="FFFFFF"/>
                </a:solidFill>
                <a:latin typeface="Roboto"/>
                <a:cs typeface="Roboto"/>
              </a:rPr>
              <a:t>Foco</a:t>
            </a:r>
            <a:r>
              <a:rPr sz="1600" spc="-5" dirty="0">
                <a:solidFill>
                  <a:srgbClr val="FFFFFF"/>
                </a:solidFill>
                <a:latin typeface="Roboto"/>
                <a:cs typeface="Roboto"/>
              </a:rPr>
              <a:t> </a:t>
            </a:r>
            <a:r>
              <a:rPr sz="1600" dirty="0">
                <a:solidFill>
                  <a:srgbClr val="FFFFFF"/>
                </a:solidFill>
                <a:latin typeface="Roboto"/>
                <a:cs typeface="Roboto"/>
              </a:rPr>
              <a:t>en</a:t>
            </a:r>
            <a:r>
              <a:rPr sz="1600" spc="-5" dirty="0">
                <a:solidFill>
                  <a:srgbClr val="FFFFFF"/>
                </a:solidFill>
                <a:latin typeface="Roboto"/>
                <a:cs typeface="Roboto"/>
              </a:rPr>
              <a:t> </a:t>
            </a:r>
            <a:r>
              <a:rPr sz="1600" b="1" dirty="0">
                <a:solidFill>
                  <a:srgbClr val="FFFFFF"/>
                </a:solidFill>
                <a:latin typeface="Roboto"/>
                <a:cs typeface="Roboto"/>
              </a:rPr>
              <a:t>canales </a:t>
            </a:r>
            <a:r>
              <a:rPr sz="1600" b="1" spc="-25" dirty="0">
                <a:solidFill>
                  <a:srgbClr val="FFFFFF"/>
                </a:solidFill>
                <a:latin typeface="Roboto"/>
                <a:cs typeface="Roboto"/>
              </a:rPr>
              <a:t>de </a:t>
            </a:r>
            <a:r>
              <a:rPr sz="1600" b="1" dirty="0">
                <a:solidFill>
                  <a:srgbClr val="FFFFFF"/>
                </a:solidFill>
                <a:latin typeface="Roboto"/>
                <a:cs typeface="Roboto"/>
              </a:rPr>
              <a:t>soporte</a:t>
            </a:r>
            <a:r>
              <a:rPr sz="1600" b="1" spc="30" dirty="0">
                <a:solidFill>
                  <a:srgbClr val="FFFFFF"/>
                </a:solidFill>
                <a:latin typeface="Roboto"/>
                <a:cs typeface="Roboto"/>
              </a:rPr>
              <a:t> </a:t>
            </a:r>
            <a:r>
              <a:rPr sz="1600" b="1" dirty="0">
                <a:solidFill>
                  <a:srgbClr val="FFFFFF"/>
                </a:solidFill>
                <a:latin typeface="Roboto"/>
                <a:cs typeface="Roboto"/>
              </a:rPr>
              <a:t>a</a:t>
            </a:r>
            <a:r>
              <a:rPr sz="1600" b="1" spc="35" dirty="0">
                <a:solidFill>
                  <a:srgbClr val="FFFFFF"/>
                </a:solidFill>
                <a:latin typeface="Roboto"/>
                <a:cs typeface="Roboto"/>
              </a:rPr>
              <a:t> </a:t>
            </a:r>
            <a:r>
              <a:rPr sz="1600" b="1" spc="-25" dirty="0">
                <a:solidFill>
                  <a:srgbClr val="FFFFFF"/>
                </a:solidFill>
                <a:latin typeface="Roboto"/>
                <a:cs typeface="Roboto"/>
              </a:rPr>
              <a:t>la </a:t>
            </a:r>
            <a:r>
              <a:rPr sz="1600" b="1" spc="-10" dirty="0">
                <a:solidFill>
                  <a:srgbClr val="FFFFFF"/>
                </a:solidFill>
                <a:latin typeface="Roboto"/>
                <a:cs typeface="Roboto"/>
              </a:rPr>
              <a:t>comercialización</a:t>
            </a:r>
            <a:endParaRPr sz="1600">
              <a:latin typeface="Roboto"/>
              <a:cs typeface="Roboto"/>
            </a:endParaRPr>
          </a:p>
        </p:txBody>
      </p:sp>
      <p:sp>
        <p:nvSpPr>
          <p:cNvPr id="16" name="object 16"/>
          <p:cNvSpPr txBox="1"/>
          <p:nvPr/>
        </p:nvSpPr>
        <p:spPr>
          <a:xfrm>
            <a:off x="9423735" y="7906271"/>
            <a:ext cx="1850389" cy="1162685"/>
          </a:xfrm>
          <a:prstGeom prst="rect">
            <a:avLst/>
          </a:prstGeom>
        </p:spPr>
        <p:txBody>
          <a:bodyPr vert="horz" wrap="square" lIns="0" tIns="12065" rIns="0" bIns="0" rtlCol="0">
            <a:spAutoFit/>
          </a:bodyPr>
          <a:lstStyle/>
          <a:p>
            <a:pPr marL="12700" marR="5080" algn="ctr">
              <a:lnSpc>
                <a:spcPct val="116500"/>
              </a:lnSpc>
              <a:spcBef>
                <a:spcPts val="95"/>
              </a:spcBef>
            </a:pPr>
            <a:r>
              <a:rPr sz="1600" b="1" spc="-10" dirty="0">
                <a:solidFill>
                  <a:srgbClr val="FFFFFF"/>
                </a:solidFill>
                <a:latin typeface="Roboto"/>
                <a:cs typeface="Roboto"/>
              </a:rPr>
              <a:t>Mensajes </a:t>
            </a:r>
            <a:r>
              <a:rPr sz="1600" b="1" dirty="0">
                <a:solidFill>
                  <a:srgbClr val="FFFFFF"/>
                </a:solidFill>
                <a:latin typeface="Roboto"/>
                <a:cs typeface="Roboto"/>
              </a:rPr>
              <a:t>personalizados</a:t>
            </a:r>
            <a:r>
              <a:rPr sz="1600" b="1" spc="65" dirty="0">
                <a:solidFill>
                  <a:srgbClr val="FFFFFF"/>
                </a:solidFill>
                <a:latin typeface="Roboto"/>
                <a:cs typeface="Roboto"/>
              </a:rPr>
              <a:t> </a:t>
            </a:r>
            <a:r>
              <a:rPr sz="1600" spc="-25" dirty="0">
                <a:solidFill>
                  <a:srgbClr val="FFFFFF"/>
                </a:solidFill>
                <a:latin typeface="Roboto"/>
                <a:cs typeface="Roboto"/>
              </a:rPr>
              <a:t>por </a:t>
            </a:r>
            <a:r>
              <a:rPr sz="1600" dirty="0">
                <a:solidFill>
                  <a:srgbClr val="FFFFFF"/>
                </a:solidFill>
                <a:latin typeface="Roboto"/>
                <a:cs typeface="Roboto"/>
              </a:rPr>
              <a:t>mercado,</a:t>
            </a:r>
            <a:r>
              <a:rPr sz="1600" spc="-5" dirty="0">
                <a:solidFill>
                  <a:srgbClr val="FFFFFF"/>
                </a:solidFill>
                <a:latin typeface="Roboto"/>
                <a:cs typeface="Roboto"/>
              </a:rPr>
              <a:t> </a:t>
            </a:r>
            <a:r>
              <a:rPr sz="1600" spc="-10" dirty="0">
                <a:solidFill>
                  <a:srgbClr val="FFFFFF"/>
                </a:solidFill>
                <a:latin typeface="Roboto"/>
                <a:cs typeface="Roboto"/>
              </a:rPr>
              <a:t>segmento </a:t>
            </a:r>
            <a:r>
              <a:rPr sz="1600" dirty="0">
                <a:solidFill>
                  <a:srgbClr val="FFFFFF"/>
                </a:solidFill>
                <a:latin typeface="Roboto"/>
                <a:cs typeface="Roboto"/>
              </a:rPr>
              <a:t>y</a:t>
            </a:r>
            <a:r>
              <a:rPr sz="1600" spc="-45" dirty="0">
                <a:solidFill>
                  <a:srgbClr val="FFFFFF"/>
                </a:solidFill>
                <a:latin typeface="Roboto"/>
                <a:cs typeface="Roboto"/>
              </a:rPr>
              <a:t> </a:t>
            </a:r>
            <a:r>
              <a:rPr sz="1600" spc="-10" dirty="0">
                <a:solidFill>
                  <a:srgbClr val="FFFFFF"/>
                </a:solidFill>
                <a:latin typeface="Roboto"/>
                <a:cs typeface="Roboto"/>
              </a:rPr>
              <a:t>canal</a:t>
            </a:r>
            <a:endParaRPr sz="1600">
              <a:latin typeface="Roboto"/>
              <a:cs typeface="Roboto"/>
            </a:endParaRPr>
          </a:p>
        </p:txBody>
      </p:sp>
      <p:sp>
        <p:nvSpPr>
          <p:cNvPr id="17" name="object 17"/>
          <p:cNvSpPr txBox="1"/>
          <p:nvPr/>
        </p:nvSpPr>
        <p:spPr>
          <a:xfrm>
            <a:off x="11911015" y="7906271"/>
            <a:ext cx="1682750" cy="1162685"/>
          </a:xfrm>
          <a:prstGeom prst="rect">
            <a:avLst/>
          </a:prstGeom>
        </p:spPr>
        <p:txBody>
          <a:bodyPr vert="horz" wrap="square" lIns="0" tIns="12065" rIns="0" bIns="0" rtlCol="0">
            <a:spAutoFit/>
          </a:bodyPr>
          <a:lstStyle/>
          <a:p>
            <a:pPr marL="12700" marR="5080" indent="50800" algn="ctr">
              <a:lnSpc>
                <a:spcPct val="116500"/>
              </a:lnSpc>
              <a:spcBef>
                <a:spcPts val="95"/>
              </a:spcBef>
            </a:pPr>
            <a:r>
              <a:rPr sz="1600" spc="-10" dirty="0">
                <a:solidFill>
                  <a:srgbClr val="FFFFFF"/>
                </a:solidFill>
                <a:latin typeface="Roboto"/>
                <a:cs typeface="Roboto"/>
              </a:rPr>
              <a:t>Propuestas atractivas: </a:t>
            </a:r>
            <a:r>
              <a:rPr sz="1600" b="1" dirty="0">
                <a:solidFill>
                  <a:srgbClr val="FFFFFF"/>
                </a:solidFill>
                <a:latin typeface="Roboto"/>
                <a:cs typeface="Roboto"/>
              </a:rPr>
              <a:t>itinerarios,</a:t>
            </a:r>
            <a:r>
              <a:rPr sz="1600" b="1" spc="25" dirty="0">
                <a:solidFill>
                  <a:srgbClr val="FFFFFF"/>
                </a:solidFill>
                <a:latin typeface="Roboto"/>
                <a:cs typeface="Roboto"/>
              </a:rPr>
              <a:t> </a:t>
            </a:r>
            <a:r>
              <a:rPr sz="1600" b="1" spc="-10" dirty="0">
                <a:solidFill>
                  <a:srgbClr val="FFFFFF"/>
                </a:solidFill>
                <a:latin typeface="Roboto"/>
                <a:cs typeface="Roboto"/>
              </a:rPr>
              <a:t>clubes </a:t>
            </a:r>
            <a:r>
              <a:rPr sz="1600" b="1" dirty="0">
                <a:solidFill>
                  <a:srgbClr val="FFFFFF"/>
                </a:solidFill>
                <a:latin typeface="Roboto"/>
                <a:cs typeface="Roboto"/>
              </a:rPr>
              <a:t>y</a:t>
            </a:r>
            <a:r>
              <a:rPr sz="1600" b="1" spc="-5" dirty="0">
                <a:solidFill>
                  <a:srgbClr val="FFFFFF"/>
                </a:solidFill>
                <a:latin typeface="Roboto"/>
                <a:cs typeface="Roboto"/>
              </a:rPr>
              <a:t> </a:t>
            </a:r>
            <a:r>
              <a:rPr sz="1600" b="1" spc="-10" dirty="0">
                <a:solidFill>
                  <a:srgbClr val="FFFFFF"/>
                </a:solidFill>
                <a:latin typeface="Roboto"/>
                <a:cs typeface="Roboto"/>
              </a:rPr>
              <a:t>producto</a:t>
            </a:r>
            <a:endParaRPr sz="1600">
              <a:latin typeface="Roboto"/>
              <a:cs typeface="Roboto"/>
            </a:endParaRPr>
          </a:p>
        </p:txBody>
      </p:sp>
      <p:sp>
        <p:nvSpPr>
          <p:cNvPr id="18" name="object 18"/>
          <p:cNvSpPr txBox="1"/>
          <p:nvPr/>
        </p:nvSpPr>
        <p:spPr>
          <a:xfrm>
            <a:off x="8165377" y="5441183"/>
            <a:ext cx="1611630" cy="878205"/>
          </a:xfrm>
          <a:prstGeom prst="rect">
            <a:avLst/>
          </a:prstGeom>
        </p:spPr>
        <p:txBody>
          <a:bodyPr vert="horz" wrap="square" lIns="0" tIns="12065" rIns="0" bIns="0" rtlCol="0">
            <a:spAutoFit/>
          </a:bodyPr>
          <a:lstStyle/>
          <a:p>
            <a:pPr marL="12065" marR="5080" algn="ctr">
              <a:lnSpc>
                <a:spcPct val="116500"/>
              </a:lnSpc>
              <a:spcBef>
                <a:spcPts val="95"/>
              </a:spcBef>
            </a:pPr>
            <a:r>
              <a:rPr sz="1600" dirty="0">
                <a:solidFill>
                  <a:srgbClr val="FFFFFF"/>
                </a:solidFill>
                <a:latin typeface="Roboto"/>
                <a:cs typeface="Roboto"/>
              </a:rPr>
              <a:t>Más</a:t>
            </a:r>
            <a:r>
              <a:rPr sz="1600" spc="20" dirty="0">
                <a:solidFill>
                  <a:srgbClr val="FFFFFF"/>
                </a:solidFill>
                <a:latin typeface="Roboto"/>
                <a:cs typeface="Roboto"/>
              </a:rPr>
              <a:t> </a:t>
            </a:r>
            <a:r>
              <a:rPr sz="1600" b="1" dirty="0">
                <a:solidFill>
                  <a:srgbClr val="FFFFFF"/>
                </a:solidFill>
                <a:latin typeface="Roboto"/>
                <a:cs typeface="Roboto"/>
              </a:rPr>
              <a:t>press</a:t>
            </a:r>
            <a:r>
              <a:rPr sz="1600" b="1" spc="25" dirty="0">
                <a:solidFill>
                  <a:srgbClr val="FFFFFF"/>
                </a:solidFill>
                <a:latin typeface="Roboto"/>
                <a:cs typeface="Roboto"/>
              </a:rPr>
              <a:t> </a:t>
            </a:r>
            <a:r>
              <a:rPr sz="1600" b="1" dirty="0">
                <a:solidFill>
                  <a:srgbClr val="FFFFFF"/>
                </a:solidFill>
                <a:latin typeface="Roboto"/>
                <a:cs typeface="Roboto"/>
              </a:rPr>
              <a:t>trips</a:t>
            </a:r>
            <a:r>
              <a:rPr sz="1600" b="1" spc="20" dirty="0">
                <a:solidFill>
                  <a:srgbClr val="FFFFFF"/>
                </a:solidFill>
                <a:latin typeface="Roboto"/>
                <a:cs typeface="Roboto"/>
              </a:rPr>
              <a:t> </a:t>
            </a:r>
            <a:r>
              <a:rPr sz="1600" spc="-50" dirty="0">
                <a:solidFill>
                  <a:srgbClr val="FFFFFF"/>
                </a:solidFill>
                <a:latin typeface="Roboto"/>
                <a:cs typeface="Roboto"/>
              </a:rPr>
              <a:t>y </a:t>
            </a:r>
            <a:r>
              <a:rPr sz="1600" b="1" spc="-10" dirty="0">
                <a:solidFill>
                  <a:srgbClr val="FFFFFF"/>
                </a:solidFill>
                <a:latin typeface="Roboto"/>
                <a:cs typeface="Roboto"/>
              </a:rPr>
              <a:t>reportajes especializados</a:t>
            </a:r>
            <a:endParaRPr sz="1600">
              <a:latin typeface="Roboto"/>
              <a:cs typeface="Roboto"/>
            </a:endParaRPr>
          </a:p>
        </p:txBody>
      </p:sp>
      <p:sp>
        <p:nvSpPr>
          <p:cNvPr id="19" name="object 19"/>
          <p:cNvSpPr txBox="1"/>
          <p:nvPr/>
        </p:nvSpPr>
        <p:spPr>
          <a:xfrm>
            <a:off x="10352970" y="5299096"/>
            <a:ext cx="2014220" cy="1162685"/>
          </a:xfrm>
          <a:prstGeom prst="rect">
            <a:avLst/>
          </a:prstGeom>
        </p:spPr>
        <p:txBody>
          <a:bodyPr vert="horz" wrap="square" lIns="0" tIns="12065" rIns="0" bIns="0" rtlCol="0">
            <a:spAutoFit/>
          </a:bodyPr>
          <a:lstStyle/>
          <a:p>
            <a:pPr marL="12700" marR="5080" indent="-635" algn="ctr">
              <a:lnSpc>
                <a:spcPct val="116500"/>
              </a:lnSpc>
              <a:spcBef>
                <a:spcPts val="95"/>
              </a:spcBef>
            </a:pPr>
            <a:r>
              <a:rPr sz="1600" dirty="0">
                <a:solidFill>
                  <a:srgbClr val="FFFFFF"/>
                </a:solidFill>
                <a:latin typeface="Roboto"/>
                <a:cs typeface="Roboto"/>
              </a:rPr>
              <a:t>Más</a:t>
            </a:r>
            <a:r>
              <a:rPr sz="1600" spc="-10" dirty="0">
                <a:solidFill>
                  <a:srgbClr val="FFFFFF"/>
                </a:solidFill>
                <a:latin typeface="Roboto"/>
                <a:cs typeface="Roboto"/>
              </a:rPr>
              <a:t> </a:t>
            </a:r>
            <a:r>
              <a:rPr sz="1600" b="1" spc="-10" dirty="0">
                <a:solidFill>
                  <a:srgbClr val="FFFFFF"/>
                </a:solidFill>
                <a:latin typeface="Roboto"/>
                <a:cs typeface="Roboto"/>
              </a:rPr>
              <a:t>campañas específicas </a:t>
            </a:r>
            <a:r>
              <a:rPr sz="1600" dirty="0">
                <a:solidFill>
                  <a:srgbClr val="FFFFFF"/>
                </a:solidFill>
                <a:latin typeface="Roboto"/>
                <a:cs typeface="Roboto"/>
              </a:rPr>
              <a:t>(reducción</a:t>
            </a:r>
            <a:r>
              <a:rPr sz="1600" spc="-55" dirty="0">
                <a:solidFill>
                  <a:srgbClr val="FFFFFF"/>
                </a:solidFill>
                <a:latin typeface="Roboto"/>
                <a:cs typeface="Roboto"/>
              </a:rPr>
              <a:t> </a:t>
            </a:r>
            <a:r>
              <a:rPr sz="1600" spc="-10" dirty="0">
                <a:solidFill>
                  <a:srgbClr val="FFFFFF"/>
                </a:solidFill>
                <a:latin typeface="Roboto"/>
                <a:cs typeface="Roboto"/>
              </a:rPr>
              <a:t>campañas generales)</a:t>
            </a:r>
            <a:endParaRPr sz="1600">
              <a:latin typeface="Roboto"/>
              <a:cs typeface="Roboto"/>
            </a:endParaRPr>
          </a:p>
        </p:txBody>
      </p:sp>
      <p:pic>
        <p:nvPicPr>
          <p:cNvPr id="20" name="object 20"/>
          <p:cNvPicPr/>
          <p:nvPr/>
        </p:nvPicPr>
        <p:blipFill>
          <a:blip r:embed="rId3" cstate="print"/>
          <a:stretch>
            <a:fillRect/>
          </a:stretch>
        </p:blipFill>
        <p:spPr>
          <a:xfrm>
            <a:off x="17316450" y="237491"/>
            <a:ext cx="742949" cy="819149"/>
          </a:xfrm>
          <a:prstGeom prst="rect">
            <a:avLst/>
          </a:prstGeom>
        </p:spPr>
      </p:pic>
      <p:sp>
        <p:nvSpPr>
          <p:cNvPr id="21" name="object 21"/>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22" name="object 22"/>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23</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16551"/>
            <a:ext cx="18288000" cy="10270490"/>
          </a:xfrm>
          <a:custGeom>
            <a:avLst/>
            <a:gdLst/>
            <a:ahLst/>
            <a:cxnLst/>
            <a:rect l="l" t="t" r="r" b="b"/>
            <a:pathLst>
              <a:path w="18288000" h="10270490">
                <a:moveTo>
                  <a:pt x="18287999" y="10270448"/>
                </a:moveTo>
                <a:lnTo>
                  <a:pt x="0" y="10270448"/>
                </a:lnTo>
                <a:lnTo>
                  <a:pt x="0" y="0"/>
                </a:lnTo>
                <a:lnTo>
                  <a:pt x="18287999" y="0"/>
                </a:lnTo>
                <a:lnTo>
                  <a:pt x="18287999" y="10270448"/>
                </a:lnTo>
                <a:close/>
              </a:path>
            </a:pathLst>
          </a:custGeom>
          <a:solidFill>
            <a:srgbClr val="F5A316"/>
          </a:solidFill>
        </p:spPr>
        <p:txBody>
          <a:bodyPr wrap="square" lIns="0" tIns="0" rIns="0" bIns="0" rtlCol="0"/>
          <a:lstStyle/>
          <a:p>
            <a:endParaRPr/>
          </a:p>
        </p:txBody>
      </p:sp>
      <p:sp>
        <p:nvSpPr>
          <p:cNvPr id="3" name="object 3"/>
          <p:cNvSpPr/>
          <p:nvPr/>
        </p:nvSpPr>
        <p:spPr>
          <a:xfrm>
            <a:off x="201329" y="181841"/>
            <a:ext cx="17897475" cy="9886950"/>
          </a:xfrm>
          <a:custGeom>
            <a:avLst/>
            <a:gdLst/>
            <a:ahLst/>
            <a:cxnLst/>
            <a:rect l="l" t="t" r="r" b="b"/>
            <a:pathLst>
              <a:path w="17897475" h="9886950">
                <a:moveTo>
                  <a:pt x="0" y="0"/>
                </a:moveTo>
                <a:lnTo>
                  <a:pt x="17897461" y="0"/>
                </a:lnTo>
                <a:lnTo>
                  <a:pt x="17897461" y="9886950"/>
                </a:lnTo>
                <a:lnTo>
                  <a:pt x="0" y="9886950"/>
                </a:lnTo>
                <a:lnTo>
                  <a:pt x="0" y="0"/>
                </a:lnTo>
              </a:path>
            </a:pathLst>
          </a:custGeom>
          <a:ln w="38110">
            <a:solidFill>
              <a:srgbClr val="FFFFFF"/>
            </a:solidFill>
          </a:ln>
        </p:spPr>
        <p:txBody>
          <a:bodyPr wrap="square" lIns="0" tIns="0" rIns="0" bIns="0" rtlCol="0"/>
          <a:lstStyle/>
          <a:p>
            <a:endParaRPr/>
          </a:p>
        </p:txBody>
      </p:sp>
      <p:sp>
        <p:nvSpPr>
          <p:cNvPr id="4" name="object 4"/>
          <p:cNvSpPr txBox="1">
            <a:spLocks noGrp="1"/>
          </p:cNvSpPr>
          <p:nvPr>
            <p:ph type="title"/>
          </p:nvPr>
        </p:nvSpPr>
        <p:spPr>
          <a:xfrm>
            <a:off x="4320282" y="4305146"/>
            <a:ext cx="9647555" cy="1696720"/>
          </a:xfrm>
          <a:prstGeom prst="rect">
            <a:avLst/>
          </a:prstGeom>
        </p:spPr>
        <p:txBody>
          <a:bodyPr vert="horz" wrap="square" lIns="0" tIns="37465" rIns="0" bIns="0" rtlCol="0">
            <a:spAutoFit/>
          </a:bodyPr>
          <a:lstStyle/>
          <a:p>
            <a:pPr marL="1371600" marR="5080" indent="-1359535">
              <a:lnSpc>
                <a:spcPts val="6530"/>
              </a:lnSpc>
              <a:spcBef>
                <a:spcPts val="295"/>
              </a:spcBef>
            </a:pPr>
            <a:r>
              <a:rPr sz="5500" b="1" spc="-85" dirty="0">
                <a:latin typeface="Arial"/>
                <a:cs typeface="Arial"/>
              </a:rPr>
              <a:t>¿Cómo</a:t>
            </a:r>
            <a:r>
              <a:rPr sz="5500" b="1" spc="-225" dirty="0">
                <a:latin typeface="Arial"/>
                <a:cs typeface="Arial"/>
              </a:rPr>
              <a:t> </a:t>
            </a:r>
            <a:r>
              <a:rPr sz="5500" b="1" spc="185" dirty="0">
                <a:latin typeface="Arial"/>
                <a:cs typeface="Arial"/>
              </a:rPr>
              <a:t>aumentar</a:t>
            </a:r>
            <a:r>
              <a:rPr sz="5500" b="1" spc="-220" dirty="0">
                <a:latin typeface="Arial"/>
                <a:cs typeface="Arial"/>
              </a:rPr>
              <a:t> </a:t>
            </a:r>
            <a:r>
              <a:rPr sz="5500" b="1" dirty="0">
                <a:latin typeface="Arial"/>
                <a:cs typeface="Arial"/>
              </a:rPr>
              <a:t>el</a:t>
            </a:r>
            <a:r>
              <a:rPr sz="5500" b="1" spc="-220" dirty="0">
                <a:latin typeface="Arial"/>
                <a:cs typeface="Arial"/>
              </a:rPr>
              <a:t> </a:t>
            </a:r>
            <a:r>
              <a:rPr sz="5500" b="1" spc="145" dirty="0">
                <a:latin typeface="Arial"/>
                <a:cs typeface="Arial"/>
              </a:rPr>
              <a:t>impacto </a:t>
            </a:r>
            <a:r>
              <a:rPr sz="5500" b="1" spc="-35" dirty="0">
                <a:latin typeface="Arial"/>
                <a:cs typeface="Arial"/>
              </a:rPr>
              <a:t>positivo</a:t>
            </a:r>
            <a:r>
              <a:rPr sz="5500" b="1" spc="-235" dirty="0">
                <a:latin typeface="Arial"/>
                <a:cs typeface="Arial"/>
              </a:rPr>
              <a:t> </a:t>
            </a:r>
            <a:r>
              <a:rPr sz="5500" b="1" dirty="0">
                <a:latin typeface="Arial"/>
                <a:cs typeface="Arial"/>
              </a:rPr>
              <a:t>del</a:t>
            </a:r>
            <a:r>
              <a:rPr sz="5500" b="1" spc="-235" dirty="0">
                <a:latin typeface="Arial"/>
                <a:cs typeface="Arial"/>
              </a:rPr>
              <a:t> </a:t>
            </a:r>
            <a:r>
              <a:rPr sz="5500" b="1" spc="-10" dirty="0">
                <a:latin typeface="Arial"/>
                <a:cs typeface="Arial"/>
              </a:rPr>
              <a:t>turismo?</a:t>
            </a:r>
            <a:endParaRPr sz="5500">
              <a:latin typeface="Arial"/>
              <a:cs typeface="Aria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8715795"/>
            <a:ext cx="17954625" cy="1059815"/>
          </a:xfrm>
          <a:custGeom>
            <a:avLst/>
            <a:gdLst/>
            <a:ahLst/>
            <a:cxnLst/>
            <a:rect l="l" t="t" r="r" b="b"/>
            <a:pathLst>
              <a:path w="17954625" h="1059815">
                <a:moveTo>
                  <a:pt x="0" y="1059579"/>
                </a:moveTo>
                <a:lnTo>
                  <a:pt x="17954029" y="1059579"/>
                </a:lnTo>
                <a:lnTo>
                  <a:pt x="17954029" y="0"/>
                </a:lnTo>
                <a:lnTo>
                  <a:pt x="0" y="0"/>
                </a:lnTo>
                <a:lnTo>
                  <a:pt x="0" y="1059579"/>
                </a:lnTo>
                <a:close/>
              </a:path>
            </a:pathLst>
          </a:custGeom>
          <a:solidFill>
            <a:srgbClr val="EFEBE2">
              <a:alpha val="55690"/>
            </a:srgbClr>
          </a:solidFill>
        </p:spPr>
        <p:txBody>
          <a:bodyPr wrap="square" lIns="0" tIns="0" rIns="0" bIns="0" rtlCol="0"/>
          <a:lstStyle/>
          <a:p>
            <a:endParaRPr/>
          </a:p>
        </p:txBody>
      </p:sp>
      <p:sp>
        <p:nvSpPr>
          <p:cNvPr id="3" name="object 3"/>
          <p:cNvSpPr/>
          <p:nvPr/>
        </p:nvSpPr>
        <p:spPr>
          <a:xfrm>
            <a:off x="166956" y="1113694"/>
            <a:ext cx="17954625" cy="4516120"/>
          </a:xfrm>
          <a:custGeom>
            <a:avLst/>
            <a:gdLst/>
            <a:ahLst/>
            <a:cxnLst/>
            <a:rect l="l" t="t" r="r" b="b"/>
            <a:pathLst>
              <a:path w="17954625" h="4516120">
                <a:moveTo>
                  <a:pt x="0" y="4516002"/>
                </a:moveTo>
                <a:lnTo>
                  <a:pt x="17954029" y="4516002"/>
                </a:lnTo>
                <a:lnTo>
                  <a:pt x="17954029" y="0"/>
                </a:lnTo>
                <a:lnTo>
                  <a:pt x="0" y="0"/>
                </a:lnTo>
                <a:lnTo>
                  <a:pt x="0" y="4516002"/>
                </a:lnTo>
                <a:close/>
              </a:path>
            </a:pathLst>
          </a:custGeom>
          <a:solidFill>
            <a:srgbClr val="EFEBE2">
              <a:alpha val="55690"/>
            </a:srgbClr>
          </a:solidFill>
        </p:spPr>
        <p:txBody>
          <a:bodyPr wrap="square" lIns="0" tIns="0" rIns="0" bIns="0" rtlCol="0"/>
          <a:lstStyle/>
          <a:p>
            <a:endParaRPr/>
          </a:p>
        </p:txBody>
      </p:sp>
      <p:grpSp>
        <p:nvGrpSpPr>
          <p:cNvPr id="4" name="object 4"/>
          <p:cNvGrpSpPr/>
          <p:nvPr/>
        </p:nvGrpSpPr>
        <p:grpSpPr>
          <a:xfrm>
            <a:off x="166956" y="171496"/>
            <a:ext cx="17954625" cy="1394460"/>
            <a:chOff x="166956" y="171496"/>
            <a:chExt cx="17954625" cy="1394460"/>
          </a:xfrm>
        </p:grpSpPr>
        <p:sp>
          <p:nvSpPr>
            <p:cNvPr id="5" name="object 5"/>
            <p:cNvSpPr/>
            <p:nvPr/>
          </p:nvSpPr>
          <p:spPr>
            <a:xfrm>
              <a:off x="166956" y="171496"/>
              <a:ext cx="17954625" cy="13335"/>
            </a:xfrm>
            <a:custGeom>
              <a:avLst/>
              <a:gdLst/>
              <a:ahLst/>
              <a:cxnLst/>
              <a:rect l="l" t="t" r="r" b="b"/>
              <a:pathLst>
                <a:path w="17954625" h="13335">
                  <a:moveTo>
                    <a:pt x="0" y="13336"/>
                  </a:moveTo>
                  <a:lnTo>
                    <a:pt x="17954029" y="13336"/>
                  </a:lnTo>
                  <a:lnTo>
                    <a:pt x="17954029" y="0"/>
                  </a:lnTo>
                  <a:lnTo>
                    <a:pt x="0" y="0"/>
                  </a:lnTo>
                  <a:lnTo>
                    <a:pt x="0" y="13336"/>
                  </a:lnTo>
                  <a:close/>
                </a:path>
              </a:pathLst>
            </a:custGeom>
            <a:solidFill>
              <a:srgbClr val="EFEBE2">
                <a:alpha val="55690"/>
              </a:srgbClr>
            </a:solidFill>
          </p:spPr>
          <p:txBody>
            <a:bodyPr wrap="square" lIns="0" tIns="0" rIns="0" bIns="0" rtlCol="0"/>
            <a:lstStyle/>
            <a:p>
              <a:endParaRPr/>
            </a:p>
          </p:txBody>
        </p:sp>
        <p:sp>
          <p:nvSpPr>
            <p:cNvPr id="6" name="object 6"/>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grpSp>
      <p:sp>
        <p:nvSpPr>
          <p:cNvPr id="7" name="object 7"/>
          <p:cNvSpPr/>
          <p:nvPr/>
        </p:nvSpPr>
        <p:spPr>
          <a:xfrm>
            <a:off x="8360190" y="2150990"/>
            <a:ext cx="1374775" cy="1374775"/>
          </a:xfrm>
          <a:custGeom>
            <a:avLst/>
            <a:gdLst/>
            <a:ahLst/>
            <a:cxnLst/>
            <a:rect l="l" t="t" r="r" b="b"/>
            <a:pathLst>
              <a:path w="1374775" h="1374775">
                <a:moveTo>
                  <a:pt x="687144" y="1374286"/>
                </a:moveTo>
                <a:lnTo>
                  <a:pt x="640097" y="1372701"/>
                </a:lnTo>
                <a:lnTo>
                  <a:pt x="593901" y="1368013"/>
                </a:lnTo>
                <a:lnTo>
                  <a:pt x="548659" y="1360326"/>
                </a:lnTo>
                <a:lnTo>
                  <a:pt x="504473" y="1349740"/>
                </a:lnTo>
                <a:lnTo>
                  <a:pt x="461444" y="1336360"/>
                </a:lnTo>
                <a:lnTo>
                  <a:pt x="419676" y="1320287"/>
                </a:lnTo>
                <a:lnTo>
                  <a:pt x="379270" y="1301623"/>
                </a:lnTo>
                <a:lnTo>
                  <a:pt x="340328" y="1280471"/>
                </a:lnTo>
                <a:lnTo>
                  <a:pt x="302954" y="1256933"/>
                </a:lnTo>
                <a:lnTo>
                  <a:pt x="267250" y="1231111"/>
                </a:lnTo>
                <a:lnTo>
                  <a:pt x="233317" y="1203108"/>
                </a:lnTo>
                <a:lnTo>
                  <a:pt x="201259" y="1173026"/>
                </a:lnTo>
                <a:lnTo>
                  <a:pt x="171177" y="1140968"/>
                </a:lnTo>
                <a:lnTo>
                  <a:pt x="143174" y="1107035"/>
                </a:lnTo>
                <a:lnTo>
                  <a:pt x="117353" y="1071331"/>
                </a:lnTo>
                <a:lnTo>
                  <a:pt x="93815" y="1033957"/>
                </a:lnTo>
                <a:lnTo>
                  <a:pt x="72662" y="995016"/>
                </a:lnTo>
                <a:lnTo>
                  <a:pt x="53999" y="954610"/>
                </a:lnTo>
                <a:lnTo>
                  <a:pt x="37925" y="912841"/>
                </a:lnTo>
                <a:lnTo>
                  <a:pt x="24545" y="869813"/>
                </a:lnTo>
                <a:lnTo>
                  <a:pt x="13960" y="825626"/>
                </a:lnTo>
                <a:lnTo>
                  <a:pt x="6272" y="780384"/>
                </a:lnTo>
                <a:lnTo>
                  <a:pt x="1585" y="734189"/>
                </a:lnTo>
                <a:lnTo>
                  <a:pt x="0" y="687147"/>
                </a:lnTo>
                <a:lnTo>
                  <a:pt x="1585" y="640097"/>
                </a:lnTo>
                <a:lnTo>
                  <a:pt x="6272" y="593901"/>
                </a:lnTo>
                <a:lnTo>
                  <a:pt x="13960" y="548659"/>
                </a:lnTo>
                <a:lnTo>
                  <a:pt x="24545" y="504473"/>
                </a:lnTo>
                <a:lnTo>
                  <a:pt x="37925" y="461444"/>
                </a:lnTo>
                <a:lnTo>
                  <a:pt x="53999" y="419676"/>
                </a:lnTo>
                <a:lnTo>
                  <a:pt x="72662" y="379270"/>
                </a:lnTo>
                <a:lnTo>
                  <a:pt x="93815" y="340328"/>
                </a:lnTo>
                <a:lnTo>
                  <a:pt x="117353" y="302954"/>
                </a:lnTo>
                <a:lnTo>
                  <a:pt x="143174" y="267250"/>
                </a:lnTo>
                <a:lnTo>
                  <a:pt x="171177" y="233317"/>
                </a:lnTo>
                <a:lnTo>
                  <a:pt x="201259" y="201259"/>
                </a:lnTo>
                <a:lnTo>
                  <a:pt x="233317" y="171177"/>
                </a:lnTo>
                <a:lnTo>
                  <a:pt x="267250" y="143174"/>
                </a:lnTo>
                <a:lnTo>
                  <a:pt x="302954" y="117353"/>
                </a:lnTo>
                <a:lnTo>
                  <a:pt x="340328" y="93815"/>
                </a:lnTo>
                <a:lnTo>
                  <a:pt x="379270" y="72663"/>
                </a:lnTo>
                <a:lnTo>
                  <a:pt x="419676" y="53999"/>
                </a:lnTo>
                <a:lnTo>
                  <a:pt x="461444" y="37925"/>
                </a:lnTo>
                <a:lnTo>
                  <a:pt x="504473" y="24545"/>
                </a:lnTo>
                <a:lnTo>
                  <a:pt x="548659" y="13960"/>
                </a:lnTo>
                <a:lnTo>
                  <a:pt x="593901" y="6272"/>
                </a:lnTo>
                <a:lnTo>
                  <a:pt x="640097" y="1585"/>
                </a:lnTo>
                <a:lnTo>
                  <a:pt x="687143" y="0"/>
                </a:lnTo>
                <a:lnTo>
                  <a:pt x="734189" y="1585"/>
                </a:lnTo>
                <a:lnTo>
                  <a:pt x="780384" y="6272"/>
                </a:lnTo>
                <a:lnTo>
                  <a:pt x="825626" y="13960"/>
                </a:lnTo>
                <a:lnTo>
                  <a:pt x="869813" y="24545"/>
                </a:lnTo>
                <a:lnTo>
                  <a:pt x="912841" y="37925"/>
                </a:lnTo>
                <a:lnTo>
                  <a:pt x="954610" y="53999"/>
                </a:lnTo>
                <a:lnTo>
                  <a:pt x="995016" y="72663"/>
                </a:lnTo>
                <a:lnTo>
                  <a:pt x="1033957" y="93815"/>
                </a:lnTo>
                <a:lnTo>
                  <a:pt x="1071331" y="117353"/>
                </a:lnTo>
                <a:lnTo>
                  <a:pt x="1107036" y="143174"/>
                </a:lnTo>
                <a:lnTo>
                  <a:pt x="1140968" y="171177"/>
                </a:lnTo>
                <a:lnTo>
                  <a:pt x="1173026" y="201259"/>
                </a:lnTo>
                <a:lnTo>
                  <a:pt x="1203108" y="233317"/>
                </a:lnTo>
                <a:lnTo>
                  <a:pt x="1231111" y="267250"/>
                </a:lnTo>
                <a:lnTo>
                  <a:pt x="1256933" y="302954"/>
                </a:lnTo>
                <a:lnTo>
                  <a:pt x="1280471" y="340328"/>
                </a:lnTo>
                <a:lnTo>
                  <a:pt x="1301623" y="379270"/>
                </a:lnTo>
                <a:lnTo>
                  <a:pt x="1320287" y="419676"/>
                </a:lnTo>
                <a:lnTo>
                  <a:pt x="1336360" y="461444"/>
                </a:lnTo>
                <a:lnTo>
                  <a:pt x="1349740" y="504473"/>
                </a:lnTo>
                <a:lnTo>
                  <a:pt x="1360326" y="548659"/>
                </a:lnTo>
                <a:lnTo>
                  <a:pt x="1368013" y="593901"/>
                </a:lnTo>
                <a:lnTo>
                  <a:pt x="1372701" y="640097"/>
                </a:lnTo>
                <a:lnTo>
                  <a:pt x="1374285" y="687147"/>
                </a:lnTo>
                <a:lnTo>
                  <a:pt x="1372701" y="734189"/>
                </a:lnTo>
                <a:lnTo>
                  <a:pt x="1368013" y="780384"/>
                </a:lnTo>
                <a:lnTo>
                  <a:pt x="1360326" y="825626"/>
                </a:lnTo>
                <a:lnTo>
                  <a:pt x="1349740" y="869813"/>
                </a:lnTo>
                <a:lnTo>
                  <a:pt x="1336360" y="912841"/>
                </a:lnTo>
                <a:lnTo>
                  <a:pt x="1320287" y="954610"/>
                </a:lnTo>
                <a:lnTo>
                  <a:pt x="1301623" y="995016"/>
                </a:lnTo>
                <a:lnTo>
                  <a:pt x="1280471" y="1033957"/>
                </a:lnTo>
                <a:lnTo>
                  <a:pt x="1256933" y="1071331"/>
                </a:lnTo>
                <a:lnTo>
                  <a:pt x="1231111" y="1107035"/>
                </a:lnTo>
                <a:lnTo>
                  <a:pt x="1203108" y="1140968"/>
                </a:lnTo>
                <a:lnTo>
                  <a:pt x="1173026" y="1173026"/>
                </a:lnTo>
                <a:lnTo>
                  <a:pt x="1140968" y="1203108"/>
                </a:lnTo>
                <a:lnTo>
                  <a:pt x="1107036" y="1231111"/>
                </a:lnTo>
                <a:lnTo>
                  <a:pt x="1071331" y="1256933"/>
                </a:lnTo>
                <a:lnTo>
                  <a:pt x="1033957" y="1280471"/>
                </a:lnTo>
                <a:lnTo>
                  <a:pt x="995016" y="1301623"/>
                </a:lnTo>
                <a:lnTo>
                  <a:pt x="954610" y="1320287"/>
                </a:lnTo>
                <a:lnTo>
                  <a:pt x="912841" y="1336360"/>
                </a:lnTo>
                <a:lnTo>
                  <a:pt x="869813" y="1349740"/>
                </a:lnTo>
                <a:lnTo>
                  <a:pt x="825626" y="1360326"/>
                </a:lnTo>
                <a:lnTo>
                  <a:pt x="780384" y="1368013"/>
                </a:lnTo>
                <a:lnTo>
                  <a:pt x="734189" y="1372701"/>
                </a:lnTo>
                <a:lnTo>
                  <a:pt x="687144" y="1374286"/>
                </a:lnTo>
                <a:close/>
              </a:path>
            </a:pathLst>
          </a:custGeom>
          <a:solidFill>
            <a:srgbClr val="21408B"/>
          </a:solidFill>
        </p:spPr>
        <p:txBody>
          <a:bodyPr wrap="square" lIns="0" tIns="0" rIns="0" bIns="0" rtlCol="0"/>
          <a:lstStyle/>
          <a:p>
            <a:endParaRPr/>
          </a:p>
        </p:txBody>
      </p:sp>
      <p:sp>
        <p:nvSpPr>
          <p:cNvPr id="8" name="object 8"/>
          <p:cNvSpPr/>
          <p:nvPr/>
        </p:nvSpPr>
        <p:spPr>
          <a:xfrm>
            <a:off x="9478295" y="6376521"/>
            <a:ext cx="433705" cy="723265"/>
          </a:xfrm>
          <a:custGeom>
            <a:avLst/>
            <a:gdLst/>
            <a:ahLst/>
            <a:cxnLst/>
            <a:rect l="l" t="t" r="r" b="b"/>
            <a:pathLst>
              <a:path w="433704" h="723265">
                <a:moveTo>
                  <a:pt x="0" y="723034"/>
                </a:moveTo>
                <a:lnTo>
                  <a:pt x="0" y="0"/>
                </a:lnTo>
                <a:lnTo>
                  <a:pt x="433188" y="361517"/>
                </a:lnTo>
                <a:lnTo>
                  <a:pt x="0" y="723034"/>
                </a:lnTo>
                <a:close/>
              </a:path>
            </a:pathLst>
          </a:custGeom>
          <a:solidFill>
            <a:srgbClr val="21408B"/>
          </a:solidFill>
        </p:spPr>
        <p:txBody>
          <a:bodyPr wrap="square" lIns="0" tIns="0" rIns="0" bIns="0" rtlCol="0"/>
          <a:lstStyle/>
          <a:p>
            <a:endParaRPr/>
          </a:p>
        </p:txBody>
      </p:sp>
      <p:sp>
        <p:nvSpPr>
          <p:cNvPr id="9" name="object 9"/>
          <p:cNvSpPr/>
          <p:nvPr/>
        </p:nvSpPr>
        <p:spPr>
          <a:xfrm>
            <a:off x="9478295" y="7244161"/>
            <a:ext cx="433705" cy="723265"/>
          </a:xfrm>
          <a:custGeom>
            <a:avLst/>
            <a:gdLst/>
            <a:ahLst/>
            <a:cxnLst/>
            <a:rect l="l" t="t" r="r" b="b"/>
            <a:pathLst>
              <a:path w="433704" h="723265">
                <a:moveTo>
                  <a:pt x="0" y="723034"/>
                </a:moveTo>
                <a:lnTo>
                  <a:pt x="0" y="0"/>
                </a:lnTo>
                <a:lnTo>
                  <a:pt x="433188" y="361517"/>
                </a:lnTo>
                <a:lnTo>
                  <a:pt x="0" y="723034"/>
                </a:lnTo>
                <a:close/>
              </a:path>
            </a:pathLst>
          </a:custGeom>
          <a:solidFill>
            <a:srgbClr val="21408B"/>
          </a:solidFill>
        </p:spPr>
        <p:txBody>
          <a:bodyPr wrap="square" lIns="0" tIns="0" rIns="0" bIns="0" rtlCol="0"/>
          <a:lstStyle/>
          <a:p>
            <a:endParaRPr/>
          </a:p>
        </p:txBody>
      </p:sp>
      <p:sp>
        <p:nvSpPr>
          <p:cNvPr id="10" name="object 10"/>
          <p:cNvSpPr/>
          <p:nvPr/>
        </p:nvSpPr>
        <p:spPr>
          <a:xfrm>
            <a:off x="8178730" y="6665734"/>
            <a:ext cx="715010" cy="426720"/>
          </a:xfrm>
          <a:custGeom>
            <a:avLst/>
            <a:gdLst/>
            <a:ahLst/>
            <a:cxnLst/>
            <a:rect l="l" t="t" r="r" b="b"/>
            <a:pathLst>
              <a:path w="715009" h="426720">
                <a:moveTo>
                  <a:pt x="620903" y="426590"/>
                </a:moveTo>
                <a:lnTo>
                  <a:pt x="586506" y="393089"/>
                </a:lnTo>
                <a:lnTo>
                  <a:pt x="551273" y="360884"/>
                </a:lnTo>
                <a:lnTo>
                  <a:pt x="515029" y="330166"/>
                </a:lnTo>
                <a:lnTo>
                  <a:pt x="477601" y="301123"/>
                </a:lnTo>
                <a:lnTo>
                  <a:pt x="438816" y="273946"/>
                </a:lnTo>
                <a:lnTo>
                  <a:pt x="398499" y="248824"/>
                </a:lnTo>
                <a:lnTo>
                  <a:pt x="356478" y="225948"/>
                </a:lnTo>
                <a:lnTo>
                  <a:pt x="312577" y="205506"/>
                </a:lnTo>
                <a:lnTo>
                  <a:pt x="266625" y="187688"/>
                </a:lnTo>
                <a:lnTo>
                  <a:pt x="218446" y="172684"/>
                </a:lnTo>
                <a:lnTo>
                  <a:pt x="167868" y="160685"/>
                </a:lnTo>
                <a:lnTo>
                  <a:pt x="114717" y="151879"/>
                </a:lnTo>
                <a:lnTo>
                  <a:pt x="58818" y="146456"/>
                </a:lnTo>
                <a:lnTo>
                  <a:pt x="0" y="144606"/>
                </a:lnTo>
                <a:lnTo>
                  <a:pt x="0" y="0"/>
                </a:lnTo>
                <a:lnTo>
                  <a:pt x="59663" y="1666"/>
                </a:lnTo>
                <a:lnTo>
                  <a:pt x="116884" y="6552"/>
                </a:lnTo>
                <a:lnTo>
                  <a:pt x="171757" y="14488"/>
                </a:lnTo>
                <a:lnTo>
                  <a:pt x="224378" y="25306"/>
                </a:lnTo>
                <a:lnTo>
                  <a:pt x="274840" y="38834"/>
                </a:lnTo>
                <a:lnTo>
                  <a:pt x="323241" y="54905"/>
                </a:lnTo>
                <a:lnTo>
                  <a:pt x="369674" y="73348"/>
                </a:lnTo>
                <a:lnTo>
                  <a:pt x="414236" y="93994"/>
                </a:lnTo>
                <a:lnTo>
                  <a:pt x="457021" y="116673"/>
                </a:lnTo>
                <a:lnTo>
                  <a:pt x="498124" y="141217"/>
                </a:lnTo>
                <a:lnTo>
                  <a:pt x="537641" y="167455"/>
                </a:lnTo>
                <a:lnTo>
                  <a:pt x="575666" y="195219"/>
                </a:lnTo>
                <a:lnTo>
                  <a:pt x="612296" y="224338"/>
                </a:lnTo>
                <a:lnTo>
                  <a:pt x="647625" y="254643"/>
                </a:lnTo>
                <a:lnTo>
                  <a:pt x="714760" y="318134"/>
                </a:lnTo>
                <a:lnTo>
                  <a:pt x="620903" y="426590"/>
                </a:lnTo>
                <a:close/>
              </a:path>
            </a:pathLst>
          </a:custGeom>
          <a:solidFill>
            <a:srgbClr val="21408B"/>
          </a:solidFill>
        </p:spPr>
        <p:txBody>
          <a:bodyPr wrap="square" lIns="0" tIns="0" rIns="0" bIns="0" rtlCol="0"/>
          <a:lstStyle/>
          <a:p>
            <a:endParaRPr/>
          </a:p>
        </p:txBody>
      </p:sp>
      <p:sp>
        <p:nvSpPr>
          <p:cNvPr id="11" name="object 11"/>
          <p:cNvSpPr/>
          <p:nvPr/>
        </p:nvSpPr>
        <p:spPr>
          <a:xfrm>
            <a:off x="8178724" y="6665746"/>
            <a:ext cx="1372235" cy="1012825"/>
          </a:xfrm>
          <a:custGeom>
            <a:avLst/>
            <a:gdLst/>
            <a:ahLst/>
            <a:cxnLst/>
            <a:rect l="l" t="t" r="r" b="b"/>
            <a:pathLst>
              <a:path w="1372234" h="1012825">
                <a:moveTo>
                  <a:pt x="1371765" y="867638"/>
                </a:moveTo>
                <a:lnTo>
                  <a:pt x="1327505" y="864654"/>
                </a:lnTo>
                <a:lnTo>
                  <a:pt x="1285176" y="856005"/>
                </a:lnTo>
                <a:lnTo>
                  <a:pt x="1244536" y="842111"/>
                </a:lnTo>
                <a:lnTo>
                  <a:pt x="1205369" y="823391"/>
                </a:lnTo>
                <a:lnTo>
                  <a:pt x="1167422" y="800277"/>
                </a:lnTo>
                <a:lnTo>
                  <a:pt x="1130503" y="773176"/>
                </a:lnTo>
                <a:lnTo>
                  <a:pt x="1094346" y="742530"/>
                </a:lnTo>
                <a:lnTo>
                  <a:pt x="1058760" y="708748"/>
                </a:lnTo>
                <a:lnTo>
                  <a:pt x="1023493" y="672274"/>
                </a:lnTo>
                <a:lnTo>
                  <a:pt x="988314" y="633501"/>
                </a:lnTo>
                <a:lnTo>
                  <a:pt x="953020" y="592886"/>
                </a:lnTo>
                <a:lnTo>
                  <a:pt x="859155" y="701332"/>
                </a:lnTo>
                <a:lnTo>
                  <a:pt x="892632" y="739267"/>
                </a:lnTo>
                <a:lnTo>
                  <a:pt x="926528" y="776097"/>
                </a:lnTo>
                <a:lnTo>
                  <a:pt x="960983" y="811491"/>
                </a:lnTo>
                <a:lnTo>
                  <a:pt x="996175" y="845096"/>
                </a:lnTo>
                <a:lnTo>
                  <a:pt x="1032256" y="876604"/>
                </a:lnTo>
                <a:lnTo>
                  <a:pt x="1069378" y="905649"/>
                </a:lnTo>
                <a:lnTo>
                  <a:pt x="1107706" y="931913"/>
                </a:lnTo>
                <a:lnTo>
                  <a:pt x="1147394" y="955065"/>
                </a:lnTo>
                <a:lnTo>
                  <a:pt x="1188605" y="974750"/>
                </a:lnTo>
                <a:lnTo>
                  <a:pt x="1231480" y="990650"/>
                </a:lnTo>
                <a:lnTo>
                  <a:pt x="1276197" y="1002423"/>
                </a:lnTo>
                <a:lnTo>
                  <a:pt x="1322908" y="1009726"/>
                </a:lnTo>
                <a:lnTo>
                  <a:pt x="1371765" y="1012240"/>
                </a:lnTo>
                <a:lnTo>
                  <a:pt x="1371765" y="867638"/>
                </a:lnTo>
                <a:close/>
              </a:path>
              <a:path w="1372234" h="1012825">
                <a:moveTo>
                  <a:pt x="1371765" y="0"/>
                </a:moveTo>
                <a:lnTo>
                  <a:pt x="1322451" y="2451"/>
                </a:lnTo>
                <a:lnTo>
                  <a:pt x="1275448" y="9613"/>
                </a:lnTo>
                <a:lnTo>
                  <a:pt x="1230604" y="21158"/>
                </a:lnTo>
                <a:lnTo>
                  <a:pt x="1187716" y="36804"/>
                </a:lnTo>
                <a:lnTo>
                  <a:pt x="1146606" y="56235"/>
                </a:lnTo>
                <a:lnTo>
                  <a:pt x="1107109" y="79121"/>
                </a:lnTo>
                <a:lnTo>
                  <a:pt x="1069035" y="105181"/>
                </a:lnTo>
                <a:lnTo>
                  <a:pt x="1032217" y="134086"/>
                </a:lnTo>
                <a:lnTo>
                  <a:pt x="996454" y="165544"/>
                </a:lnTo>
                <a:lnTo>
                  <a:pt x="961567" y="199224"/>
                </a:lnTo>
                <a:lnTo>
                  <a:pt x="927404" y="234848"/>
                </a:lnTo>
                <a:lnTo>
                  <a:pt x="860450" y="310629"/>
                </a:lnTo>
                <a:lnTo>
                  <a:pt x="794181" y="390436"/>
                </a:lnTo>
                <a:lnTo>
                  <a:pt x="671385" y="528904"/>
                </a:lnTo>
                <a:lnTo>
                  <a:pt x="607174" y="595541"/>
                </a:lnTo>
                <a:lnTo>
                  <a:pt x="573862" y="627519"/>
                </a:lnTo>
                <a:lnTo>
                  <a:pt x="539584" y="658355"/>
                </a:lnTo>
                <a:lnTo>
                  <a:pt x="504164" y="687844"/>
                </a:lnTo>
                <a:lnTo>
                  <a:pt x="467487" y="715797"/>
                </a:lnTo>
                <a:lnTo>
                  <a:pt x="429387" y="742010"/>
                </a:lnTo>
                <a:lnTo>
                  <a:pt x="389750" y="766292"/>
                </a:lnTo>
                <a:lnTo>
                  <a:pt x="348424" y="788454"/>
                </a:lnTo>
                <a:lnTo>
                  <a:pt x="305269" y="808291"/>
                </a:lnTo>
                <a:lnTo>
                  <a:pt x="260134" y="825614"/>
                </a:lnTo>
                <a:lnTo>
                  <a:pt x="212902" y="840219"/>
                </a:lnTo>
                <a:lnTo>
                  <a:pt x="163398" y="851916"/>
                </a:lnTo>
                <a:lnTo>
                  <a:pt x="111518" y="860513"/>
                </a:lnTo>
                <a:lnTo>
                  <a:pt x="57099" y="865822"/>
                </a:lnTo>
                <a:lnTo>
                  <a:pt x="0" y="867638"/>
                </a:lnTo>
                <a:lnTo>
                  <a:pt x="0" y="1012240"/>
                </a:lnTo>
                <a:lnTo>
                  <a:pt x="58191" y="1010589"/>
                </a:lnTo>
                <a:lnTo>
                  <a:pt x="114160" y="1005751"/>
                </a:lnTo>
                <a:lnTo>
                  <a:pt x="167982" y="997915"/>
                </a:lnTo>
                <a:lnTo>
                  <a:pt x="219722" y="987247"/>
                </a:lnTo>
                <a:lnTo>
                  <a:pt x="269468" y="973924"/>
                </a:lnTo>
                <a:lnTo>
                  <a:pt x="317258" y="958138"/>
                </a:lnTo>
                <a:lnTo>
                  <a:pt x="363194" y="940054"/>
                </a:lnTo>
                <a:lnTo>
                  <a:pt x="407327" y="919861"/>
                </a:lnTo>
                <a:lnTo>
                  <a:pt x="449745" y="897724"/>
                </a:lnTo>
                <a:lnTo>
                  <a:pt x="490499" y="873836"/>
                </a:lnTo>
                <a:lnTo>
                  <a:pt x="529691" y="848372"/>
                </a:lnTo>
                <a:lnTo>
                  <a:pt x="567359" y="821499"/>
                </a:lnTo>
                <a:lnTo>
                  <a:pt x="603592" y="793407"/>
                </a:lnTo>
                <a:lnTo>
                  <a:pt x="638454" y="764273"/>
                </a:lnTo>
                <a:lnTo>
                  <a:pt x="704367" y="703567"/>
                </a:lnTo>
                <a:lnTo>
                  <a:pt x="765670" y="640829"/>
                </a:lnTo>
                <a:lnTo>
                  <a:pt x="902474" y="484428"/>
                </a:lnTo>
                <a:lnTo>
                  <a:pt x="977353" y="396494"/>
                </a:lnTo>
                <a:lnTo>
                  <a:pt x="1014387" y="355066"/>
                </a:lnTo>
                <a:lnTo>
                  <a:pt x="1051420" y="315988"/>
                </a:lnTo>
                <a:lnTo>
                  <a:pt x="1088656" y="279717"/>
                </a:lnTo>
                <a:lnTo>
                  <a:pt x="1126286" y="246735"/>
                </a:lnTo>
                <a:lnTo>
                  <a:pt x="1164526" y="217512"/>
                </a:lnTo>
                <a:lnTo>
                  <a:pt x="1203566" y="192532"/>
                </a:lnTo>
                <a:lnTo>
                  <a:pt x="1243609" y="172275"/>
                </a:lnTo>
                <a:lnTo>
                  <a:pt x="1284859" y="157226"/>
                </a:lnTo>
                <a:lnTo>
                  <a:pt x="1327505" y="147840"/>
                </a:lnTo>
                <a:lnTo>
                  <a:pt x="1371765" y="144602"/>
                </a:lnTo>
                <a:lnTo>
                  <a:pt x="1371765" y="0"/>
                </a:lnTo>
                <a:close/>
              </a:path>
            </a:pathLst>
          </a:custGeom>
          <a:solidFill>
            <a:srgbClr val="21408B"/>
          </a:solidFill>
        </p:spPr>
        <p:txBody>
          <a:bodyPr wrap="square" lIns="0" tIns="0" rIns="0" bIns="0" rtlCol="0"/>
          <a:lstStyle/>
          <a:p>
            <a:endParaRPr/>
          </a:p>
        </p:txBody>
      </p:sp>
      <p:sp>
        <p:nvSpPr>
          <p:cNvPr id="12" name="object 12"/>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3.</a:t>
            </a:r>
            <a:r>
              <a:rPr spc="-80" dirty="0"/>
              <a:t> </a:t>
            </a:r>
            <a:r>
              <a:rPr dirty="0"/>
              <a:t>¿Cómo</a:t>
            </a:r>
            <a:r>
              <a:rPr spc="-80" dirty="0"/>
              <a:t> </a:t>
            </a:r>
            <a:r>
              <a:rPr spc="-20" dirty="0"/>
              <a:t>aumentar</a:t>
            </a:r>
            <a:r>
              <a:rPr spc="-80" dirty="0"/>
              <a:t> </a:t>
            </a:r>
            <a:r>
              <a:rPr dirty="0"/>
              <a:t>el</a:t>
            </a:r>
            <a:r>
              <a:rPr spc="-75" dirty="0"/>
              <a:t> </a:t>
            </a:r>
            <a:r>
              <a:rPr spc="-10" dirty="0"/>
              <a:t>impacto</a:t>
            </a:r>
            <a:r>
              <a:rPr spc="-80" dirty="0"/>
              <a:t> </a:t>
            </a:r>
            <a:r>
              <a:rPr spc="-10" dirty="0"/>
              <a:t>positivo</a:t>
            </a:r>
            <a:r>
              <a:rPr spc="-80" dirty="0"/>
              <a:t> </a:t>
            </a:r>
            <a:r>
              <a:rPr dirty="0"/>
              <a:t>del</a:t>
            </a:r>
            <a:r>
              <a:rPr spc="-75" dirty="0"/>
              <a:t> </a:t>
            </a:r>
            <a:r>
              <a:rPr spc="-10" dirty="0"/>
              <a:t>turismo?</a:t>
            </a:r>
          </a:p>
        </p:txBody>
      </p:sp>
      <p:sp>
        <p:nvSpPr>
          <p:cNvPr id="13" name="object 13"/>
          <p:cNvSpPr txBox="1"/>
          <p:nvPr/>
        </p:nvSpPr>
        <p:spPr>
          <a:xfrm>
            <a:off x="6531727" y="2496703"/>
            <a:ext cx="5096510" cy="2592070"/>
          </a:xfrm>
          <a:prstGeom prst="rect">
            <a:avLst/>
          </a:prstGeom>
        </p:spPr>
        <p:txBody>
          <a:bodyPr vert="horz" wrap="square" lIns="0" tIns="13335" rIns="0" bIns="0" rtlCol="0">
            <a:spAutoFit/>
          </a:bodyPr>
          <a:lstStyle/>
          <a:p>
            <a:pPr marR="57150" algn="ctr">
              <a:lnSpc>
                <a:spcPct val="100000"/>
              </a:lnSpc>
              <a:spcBef>
                <a:spcPts val="105"/>
              </a:spcBef>
            </a:pPr>
            <a:r>
              <a:rPr sz="4050" b="1" spc="-25" dirty="0">
                <a:solidFill>
                  <a:srgbClr val="FFFFFF"/>
                </a:solidFill>
                <a:latin typeface="Arial"/>
                <a:cs typeface="Arial"/>
              </a:rPr>
              <a:t>01</a:t>
            </a:r>
            <a:endParaRPr sz="4050">
              <a:latin typeface="Arial"/>
              <a:cs typeface="Arial"/>
            </a:endParaRPr>
          </a:p>
          <a:p>
            <a:pPr>
              <a:lnSpc>
                <a:spcPct val="100000"/>
              </a:lnSpc>
              <a:spcBef>
                <a:spcPts val="20"/>
              </a:spcBef>
            </a:pPr>
            <a:endParaRPr sz="5050">
              <a:latin typeface="Arial"/>
              <a:cs typeface="Arial"/>
            </a:endParaRPr>
          </a:p>
          <a:p>
            <a:pPr algn="ctr">
              <a:lnSpc>
                <a:spcPts val="4755"/>
              </a:lnSpc>
            </a:pPr>
            <a:r>
              <a:rPr sz="4050" spc="-35" dirty="0">
                <a:solidFill>
                  <a:srgbClr val="E3112B"/>
                </a:solidFill>
                <a:latin typeface="Roboto"/>
                <a:cs typeface="Roboto"/>
              </a:rPr>
              <a:t>Involucrando</a:t>
            </a:r>
            <a:r>
              <a:rPr sz="4050" spc="-105" dirty="0">
                <a:solidFill>
                  <a:srgbClr val="E3112B"/>
                </a:solidFill>
                <a:latin typeface="Roboto"/>
                <a:cs typeface="Roboto"/>
              </a:rPr>
              <a:t> </a:t>
            </a:r>
            <a:r>
              <a:rPr sz="4050" dirty="0">
                <a:solidFill>
                  <a:srgbClr val="E3112B"/>
                </a:solidFill>
                <a:latin typeface="Roboto"/>
                <a:cs typeface="Roboto"/>
              </a:rPr>
              <a:t>al</a:t>
            </a:r>
            <a:r>
              <a:rPr sz="4050" spc="-100" dirty="0">
                <a:solidFill>
                  <a:srgbClr val="E3112B"/>
                </a:solidFill>
                <a:latin typeface="Roboto"/>
                <a:cs typeface="Roboto"/>
              </a:rPr>
              <a:t> </a:t>
            </a:r>
            <a:r>
              <a:rPr sz="4050" spc="-10" dirty="0">
                <a:solidFill>
                  <a:srgbClr val="E3112B"/>
                </a:solidFill>
                <a:latin typeface="Roboto"/>
                <a:cs typeface="Roboto"/>
              </a:rPr>
              <a:t>sector</a:t>
            </a:r>
            <a:endParaRPr sz="4050">
              <a:latin typeface="Roboto"/>
              <a:cs typeface="Roboto"/>
            </a:endParaRPr>
          </a:p>
          <a:p>
            <a:pPr marL="128270" algn="ctr">
              <a:lnSpc>
                <a:spcPts val="4755"/>
              </a:lnSpc>
            </a:pPr>
            <a:r>
              <a:rPr sz="4050" b="1" spc="-10" dirty="0">
                <a:solidFill>
                  <a:srgbClr val="E3112B"/>
                </a:solidFill>
                <a:latin typeface="Roboto"/>
                <a:cs typeface="Roboto"/>
              </a:rPr>
              <a:t>público/privado</a:t>
            </a:r>
            <a:endParaRPr sz="4050">
              <a:latin typeface="Roboto"/>
              <a:cs typeface="Roboto"/>
            </a:endParaRPr>
          </a:p>
        </p:txBody>
      </p:sp>
      <p:pic>
        <p:nvPicPr>
          <p:cNvPr id="14" name="object 14"/>
          <p:cNvPicPr/>
          <p:nvPr/>
        </p:nvPicPr>
        <p:blipFill>
          <a:blip r:embed="rId2" cstate="print"/>
          <a:stretch>
            <a:fillRect/>
          </a:stretch>
        </p:blipFill>
        <p:spPr>
          <a:xfrm>
            <a:off x="17316450" y="237491"/>
            <a:ext cx="742949" cy="819149"/>
          </a:xfrm>
          <a:prstGeom prst="rect">
            <a:avLst/>
          </a:prstGeom>
        </p:spPr>
      </p:pic>
      <p:sp>
        <p:nvSpPr>
          <p:cNvPr id="15" name="object 15"/>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16" name="object 16"/>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25</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8715794"/>
            <a:ext cx="17954625" cy="1059815"/>
          </a:xfrm>
          <a:custGeom>
            <a:avLst/>
            <a:gdLst/>
            <a:ahLst/>
            <a:cxnLst/>
            <a:rect l="l" t="t" r="r" b="b"/>
            <a:pathLst>
              <a:path w="17954625" h="1059815">
                <a:moveTo>
                  <a:pt x="0" y="1059579"/>
                </a:moveTo>
                <a:lnTo>
                  <a:pt x="17954029" y="1059579"/>
                </a:lnTo>
                <a:lnTo>
                  <a:pt x="17954029" y="0"/>
                </a:lnTo>
                <a:lnTo>
                  <a:pt x="0" y="0"/>
                </a:lnTo>
                <a:lnTo>
                  <a:pt x="0" y="1059579"/>
                </a:lnTo>
                <a:close/>
              </a:path>
            </a:pathLst>
          </a:custGeom>
          <a:solidFill>
            <a:srgbClr val="EFEBE2">
              <a:alpha val="55690"/>
            </a:srgbClr>
          </a:solidFill>
        </p:spPr>
        <p:txBody>
          <a:bodyPr wrap="square" lIns="0" tIns="0" rIns="0" bIns="0" rtlCol="0"/>
          <a:lstStyle/>
          <a:p>
            <a:endParaRPr/>
          </a:p>
        </p:txBody>
      </p:sp>
      <p:sp>
        <p:nvSpPr>
          <p:cNvPr id="3" name="object 3"/>
          <p:cNvSpPr/>
          <p:nvPr/>
        </p:nvSpPr>
        <p:spPr>
          <a:xfrm>
            <a:off x="166956" y="1113691"/>
            <a:ext cx="17954625" cy="4516120"/>
          </a:xfrm>
          <a:custGeom>
            <a:avLst/>
            <a:gdLst/>
            <a:ahLst/>
            <a:cxnLst/>
            <a:rect l="l" t="t" r="r" b="b"/>
            <a:pathLst>
              <a:path w="17954625" h="4516120">
                <a:moveTo>
                  <a:pt x="0" y="4516003"/>
                </a:moveTo>
                <a:lnTo>
                  <a:pt x="17954029" y="4516003"/>
                </a:lnTo>
                <a:lnTo>
                  <a:pt x="17954029" y="0"/>
                </a:lnTo>
                <a:lnTo>
                  <a:pt x="0" y="0"/>
                </a:lnTo>
                <a:lnTo>
                  <a:pt x="0" y="4516003"/>
                </a:lnTo>
                <a:close/>
              </a:path>
            </a:pathLst>
          </a:custGeom>
          <a:solidFill>
            <a:srgbClr val="EFEBE2">
              <a:alpha val="55690"/>
            </a:srgbClr>
          </a:solidFill>
        </p:spPr>
        <p:txBody>
          <a:bodyPr wrap="square" lIns="0" tIns="0" rIns="0" bIns="0" rtlCol="0"/>
          <a:lstStyle/>
          <a:p>
            <a:endParaRPr/>
          </a:p>
        </p:txBody>
      </p:sp>
      <p:grpSp>
        <p:nvGrpSpPr>
          <p:cNvPr id="4" name="object 4"/>
          <p:cNvGrpSpPr/>
          <p:nvPr/>
        </p:nvGrpSpPr>
        <p:grpSpPr>
          <a:xfrm>
            <a:off x="166956" y="171494"/>
            <a:ext cx="17954625" cy="1394460"/>
            <a:chOff x="166956" y="171494"/>
            <a:chExt cx="17954625" cy="1394460"/>
          </a:xfrm>
        </p:grpSpPr>
        <p:sp>
          <p:nvSpPr>
            <p:cNvPr id="5" name="object 5"/>
            <p:cNvSpPr/>
            <p:nvPr/>
          </p:nvSpPr>
          <p:spPr>
            <a:xfrm>
              <a:off x="166956" y="171494"/>
              <a:ext cx="17954625" cy="13335"/>
            </a:xfrm>
            <a:custGeom>
              <a:avLst/>
              <a:gdLst/>
              <a:ahLst/>
              <a:cxnLst/>
              <a:rect l="l" t="t" r="r" b="b"/>
              <a:pathLst>
                <a:path w="17954625" h="13335">
                  <a:moveTo>
                    <a:pt x="0" y="13334"/>
                  </a:moveTo>
                  <a:lnTo>
                    <a:pt x="17954029" y="13334"/>
                  </a:lnTo>
                  <a:lnTo>
                    <a:pt x="17954029" y="0"/>
                  </a:lnTo>
                  <a:lnTo>
                    <a:pt x="0" y="0"/>
                  </a:lnTo>
                  <a:lnTo>
                    <a:pt x="0" y="13334"/>
                  </a:lnTo>
                  <a:close/>
                </a:path>
              </a:pathLst>
            </a:custGeom>
            <a:solidFill>
              <a:srgbClr val="EFEBE2">
                <a:alpha val="55690"/>
              </a:srgbClr>
            </a:solidFill>
          </p:spPr>
          <p:txBody>
            <a:bodyPr wrap="square" lIns="0" tIns="0" rIns="0" bIns="0" rtlCol="0"/>
            <a:lstStyle/>
            <a:p>
              <a:endParaRPr/>
            </a:p>
          </p:txBody>
        </p:sp>
        <p:sp>
          <p:nvSpPr>
            <p:cNvPr id="6" name="object 6"/>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grpSp>
      <p:sp>
        <p:nvSpPr>
          <p:cNvPr id="7" name="object 7"/>
          <p:cNvSpPr/>
          <p:nvPr/>
        </p:nvSpPr>
        <p:spPr>
          <a:xfrm>
            <a:off x="8360190" y="2150989"/>
            <a:ext cx="1374775" cy="1374775"/>
          </a:xfrm>
          <a:custGeom>
            <a:avLst/>
            <a:gdLst/>
            <a:ahLst/>
            <a:cxnLst/>
            <a:rect l="l" t="t" r="r" b="b"/>
            <a:pathLst>
              <a:path w="1374775" h="1374775">
                <a:moveTo>
                  <a:pt x="687143" y="1374286"/>
                </a:moveTo>
                <a:lnTo>
                  <a:pt x="640097" y="1372700"/>
                </a:lnTo>
                <a:lnTo>
                  <a:pt x="593901" y="1368013"/>
                </a:lnTo>
                <a:lnTo>
                  <a:pt x="548659" y="1360325"/>
                </a:lnTo>
                <a:lnTo>
                  <a:pt x="504473" y="1349740"/>
                </a:lnTo>
                <a:lnTo>
                  <a:pt x="461444" y="1336360"/>
                </a:lnTo>
                <a:lnTo>
                  <a:pt x="419676" y="1320287"/>
                </a:lnTo>
                <a:lnTo>
                  <a:pt x="379270" y="1301623"/>
                </a:lnTo>
                <a:lnTo>
                  <a:pt x="340328" y="1280471"/>
                </a:lnTo>
                <a:lnTo>
                  <a:pt x="302954" y="1256932"/>
                </a:lnTo>
                <a:lnTo>
                  <a:pt x="267250" y="1231111"/>
                </a:lnTo>
                <a:lnTo>
                  <a:pt x="233317" y="1203108"/>
                </a:lnTo>
                <a:lnTo>
                  <a:pt x="201259" y="1173026"/>
                </a:lnTo>
                <a:lnTo>
                  <a:pt x="171177" y="1140968"/>
                </a:lnTo>
                <a:lnTo>
                  <a:pt x="143174" y="1107035"/>
                </a:lnTo>
                <a:lnTo>
                  <a:pt x="117353" y="1071331"/>
                </a:lnTo>
                <a:lnTo>
                  <a:pt x="93815" y="1033957"/>
                </a:lnTo>
                <a:lnTo>
                  <a:pt x="72662" y="995016"/>
                </a:lnTo>
                <a:lnTo>
                  <a:pt x="53999" y="954610"/>
                </a:lnTo>
                <a:lnTo>
                  <a:pt x="37925" y="912841"/>
                </a:lnTo>
                <a:lnTo>
                  <a:pt x="24545" y="869812"/>
                </a:lnTo>
                <a:lnTo>
                  <a:pt x="13960" y="825626"/>
                </a:lnTo>
                <a:lnTo>
                  <a:pt x="6272" y="780384"/>
                </a:lnTo>
                <a:lnTo>
                  <a:pt x="1585" y="734189"/>
                </a:lnTo>
                <a:lnTo>
                  <a:pt x="0" y="687147"/>
                </a:lnTo>
                <a:lnTo>
                  <a:pt x="1585" y="640097"/>
                </a:lnTo>
                <a:lnTo>
                  <a:pt x="6272" y="593901"/>
                </a:lnTo>
                <a:lnTo>
                  <a:pt x="13960" y="548659"/>
                </a:lnTo>
                <a:lnTo>
                  <a:pt x="24545" y="504473"/>
                </a:lnTo>
                <a:lnTo>
                  <a:pt x="37925" y="461444"/>
                </a:lnTo>
                <a:lnTo>
                  <a:pt x="53999" y="419675"/>
                </a:lnTo>
                <a:lnTo>
                  <a:pt x="72662" y="379269"/>
                </a:lnTo>
                <a:lnTo>
                  <a:pt x="93815" y="340328"/>
                </a:lnTo>
                <a:lnTo>
                  <a:pt x="117353" y="302954"/>
                </a:lnTo>
                <a:lnTo>
                  <a:pt x="143174" y="267250"/>
                </a:lnTo>
                <a:lnTo>
                  <a:pt x="171177" y="233317"/>
                </a:lnTo>
                <a:lnTo>
                  <a:pt x="201259" y="201259"/>
                </a:lnTo>
                <a:lnTo>
                  <a:pt x="233317" y="171177"/>
                </a:lnTo>
                <a:lnTo>
                  <a:pt x="267250" y="143174"/>
                </a:lnTo>
                <a:lnTo>
                  <a:pt x="302954" y="117353"/>
                </a:lnTo>
                <a:lnTo>
                  <a:pt x="340328" y="93815"/>
                </a:lnTo>
                <a:lnTo>
                  <a:pt x="379270" y="72662"/>
                </a:lnTo>
                <a:lnTo>
                  <a:pt x="419676" y="53999"/>
                </a:lnTo>
                <a:lnTo>
                  <a:pt x="461444" y="37925"/>
                </a:lnTo>
                <a:lnTo>
                  <a:pt x="504473" y="24545"/>
                </a:lnTo>
                <a:lnTo>
                  <a:pt x="548659" y="13960"/>
                </a:lnTo>
                <a:lnTo>
                  <a:pt x="593901" y="6272"/>
                </a:lnTo>
                <a:lnTo>
                  <a:pt x="640097" y="1585"/>
                </a:lnTo>
                <a:lnTo>
                  <a:pt x="687139" y="0"/>
                </a:lnTo>
                <a:lnTo>
                  <a:pt x="734189" y="1585"/>
                </a:lnTo>
                <a:lnTo>
                  <a:pt x="780384" y="6272"/>
                </a:lnTo>
                <a:lnTo>
                  <a:pt x="825626" y="13960"/>
                </a:lnTo>
                <a:lnTo>
                  <a:pt x="869813" y="24545"/>
                </a:lnTo>
                <a:lnTo>
                  <a:pt x="912841" y="37925"/>
                </a:lnTo>
                <a:lnTo>
                  <a:pt x="954610" y="53999"/>
                </a:lnTo>
                <a:lnTo>
                  <a:pt x="995016" y="72662"/>
                </a:lnTo>
                <a:lnTo>
                  <a:pt x="1033957" y="93815"/>
                </a:lnTo>
                <a:lnTo>
                  <a:pt x="1071331" y="117353"/>
                </a:lnTo>
                <a:lnTo>
                  <a:pt x="1107036" y="143174"/>
                </a:lnTo>
                <a:lnTo>
                  <a:pt x="1140968" y="171177"/>
                </a:lnTo>
                <a:lnTo>
                  <a:pt x="1173026" y="201259"/>
                </a:lnTo>
                <a:lnTo>
                  <a:pt x="1203108" y="233317"/>
                </a:lnTo>
                <a:lnTo>
                  <a:pt x="1231111" y="267250"/>
                </a:lnTo>
                <a:lnTo>
                  <a:pt x="1256933" y="302954"/>
                </a:lnTo>
                <a:lnTo>
                  <a:pt x="1280471" y="340328"/>
                </a:lnTo>
                <a:lnTo>
                  <a:pt x="1301623" y="379269"/>
                </a:lnTo>
                <a:lnTo>
                  <a:pt x="1320287" y="419675"/>
                </a:lnTo>
                <a:lnTo>
                  <a:pt x="1336360" y="461444"/>
                </a:lnTo>
                <a:lnTo>
                  <a:pt x="1349740" y="504473"/>
                </a:lnTo>
                <a:lnTo>
                  <a:pt x="1360326" y="548659"/>
                </a:lnTo>
                <a:lnTo>
                  <a:pt x="1368013" y="593901"/>
                </a:lnTo>
                <a:lnTo>
                  <a:pt x="1372701" y="640097"/>
                </a:lnTo>
                <a:lnTo>
                  <a:pt x="1374285" y="687147"/>
                </a:lnTo>
                <a:lnTo>
                  <a:pt x="1372701" y="734189"/>
                </a:lnTo>
                <a:lnTo>
                  <a:pt x="1368013" y="780384"/>
                </a:lnTo>
                <a:lnTo>
                  <a:pt x="1360326" y="825626"/>
                </a:lnTo>
                <a:lnTo>
                  <a:pt x="1349740" y="869812"/>
                </a:lnTo>
                <a:lnTo>
                  <a:pt x="1336360" y="912841"/>
                </a:lnTo>
                <a:lnTo>
                  <a:pt x="1320287" y="954610"/>
                </a:lnTo>
                <a:lnTo>
                  <a:pt x="1301623" y="995016"/>
                </a:lnTo>
                <a:lnTo>
                  <a:pt x="1280471" y="1033957"/>
                </a:lnTo>
                <a:lnTo>
                  <a:pt x="1256933" y="1071331"/>
                </a:lnTo>
                <a:lnTo>
                  <a:pt x="1231111" y="1107035"/>
                </a:lnTo>
                <a:lnTo>
                  <a:pt x="1203108" y="1140968"/>
                </a:lnTo>
                <a:lnTo>
                  <a:pt x="1173026" y="1173026"/>
                </a:lnTo>
                <a:lnTo>
                  <a:pt x="1140968" y="1203108"/>
                </a:lnTo>
                <a:lnTo>
                  <a:pt x="1107036" y="1231111"/>
                </a:lnTo>
                <a:lnTo>
                  <a:pt x="1071331" y="1256932"/>
                </a:lnTo>
                <a:lnTo>
                  <a:pt x="1033957" y="1280471"/>
                </a:lnTo>
                <a:lnTo>
                  <a:pt x="995016" y="1301623"/>
                </a:lnTo>
                <a:lnTo>
                  <a:pt x="954610" y="1320287"/>
                </a:lnTo>
                <a:lnTo>
                  <a:pt x="912841" y="1336360"/>
                </a:lnTo>
                <a:lnTo>
                  <a:pt x="869813" y="1349740"/>
                </a:lnTo>
                <a:lnTo>
                  <a:pt x="825626" y="1360325"/>
                </a:lnTo>
                <a:lnTo>
                  <a:pt x="780384" y="1368013"/>
                </a:lnTo>
                <a:lnTo>
                  <a:pt x="734189" y="1372700"/>
                </a:lnTo>
                <a:lnTo>
                  <a:pt x="687143" y="1374286"/>
                </a:lnTo>
                <a:close/>
              </a:path>
            </a:pathLst>
          </a:custGeom>
          <a:solidFill>
            <a:srgbClr val="21408B"/>
          </a:solidFill>
        </p:spPr>
        <p:txBody>
          <a:bodyPr wrap="square" lIns="0" tIns="0" rIns="0" bIns="0" rtlCol="0"/>
          <a:lstStyle/>
          <a:p>
            <a:endParaRPr/>
          </a:p>
        </p:txBody>
      </p:sp>
      <p:grpSp>
        <p:nvGrpSpPr>
          <p:cNvPr id="8" name="object 8"/>
          <p:cNvGrpSpPr/>
          <p:nvPr/>
        </p:nvGrpSpPr>
        <p:grpSpPr>
          <a:xfrm>
            <a:off x="1374444" y="6428133"/>
            <a:ext cx="1489710" cy="1489710"/>
            <a:chOff x="1374444" y="6428133"/>
            <a:chExt cx="1489710" cy="1489710"/>
          </a:xfrm>
        </p:grpSpPr>
        <p:sp>
          <p:nvSpPr>
            <p:cNvPr id="9" name="object 9"/>
            <p:cNvSpPr/>
            <p:nvPr/>
          </p:nvSpPr>
          <p:spPr>
            <a:xfrm>
              <a:off x="1374444" y="6428133"/>
              <a:ext cx="1489710" cy="1489710"/>
            </a:xfrm>
            <a:custGeom>
              <a:avLst/>
              <a:gdLst/>
              <a:ahLst/>
              <a:cxnLst/>
              <a:rect l="l" t="t" r="r" b="b"/>
              <a:pathLst>
                <a:path w="1489710" h="1489709">
                  <a:moveTo>
                    <a:pt x="744615" y="1489220"/>
                  </a:moveTo>
                  <a:lnTo>
                    <a:pt x="695651" y="1487636"/>
                  </a:lnTo>
                  <a:lnTo>
                    <a:pt x="647539" y="1482950"/>
                  </a:lnTo>
                  <a:lnTo>
                    <a:pt x="600370" y="1475259"/>
                  </a:lnTo>
                  <a:lnTo>
                    <a:pt x="554242" y="1464663"/>
                  </a:lnTo>
                  <a:lnTo>
                    <a:pt x="509255" y="1451259"/>
                  </a:lnTo>
                  <a:lnTo>
                    <a:pt x="465506" y="1435145"/>
                  </a:lnTo>
                  <a:lnTo>
                    <a:pt x="423093" y="1416419"/>
                  </a:lnTo>
                  <a:lnTo>
                    <a:pt x="382114" y="1395180"/>
                  </a:lnTo>
                  <a:lnTo>
                    <a:pt x="342668" y="1371525"/>
                  </a:lnTo>
                  <a:lnTo>
                    <a:pt x="304853" y="1345553"/>
                  </a:lnTo>
                  <a:lnTo>
                    <a:pt x="268765" y="1317362"/>
                  </a:lnTo>
                  <a:lnTo>
                    <a:pt x="234505" y="1287049"/>
                  </a:lnTo>
                  <a:lnTo>
                    <a:pt x="202170" y="1254714"/>
                  </a:lnTo>
                  <a:lnTo>
                    <a:pt x="171857" y="1220454"/>
                  </a:lnTo>
                  <a:lnTo>
                    <a:pt x="143666" y="1184367"/>
                  </a:lnTo>
                  <a:lnTo>
                    <a:pt x="117694" y="1146551"/>
                  </a:lnTo>
                  <a:lnTo>
                    <a:pt x="94039" y="1107105"/>
                  </a:lnTo>
                  <a:lnTo>
                    <a:pt x="72800" y="1066126"/>
                  </a:lnTo>
                  <a:lnTo>
                    <a:pt x="54074" y="1023713"/>
                  </a:lnTo>
                  <a:lnTo>
                    <a:pt x="37960" y="979964"/>
                  </a:lnTo>
                  <a:lnTo>
                    <a:pt x="24556" y="934977"/>
                  </a:lnTo>
                  <a:lnTo>
                    <a:pt x="13960" y="888850"/>
                  </a:lnTo>
                  <a:lnTo>
                    <a:pt x="6269" y="841681"/>
                  </a:lnTo>
                  <a:lnTo>
                    <a:pt x="1583" y="793568"/>
                  </a:lnTo>
                  <a:lnTo>
                    <a:pt x="0" y="744610"/>
                  </a:lnTo>
                  <a:lnTo>
                    <a:pt x="1583" y="695651"/>
                  </a:lnTo>
                  <a:lnTo>
                    <a:pt x="6269" y="647539"/>
                  </a:lnTo>
                  <a:lnTo>
                    <a:pt x="13960" y="600370"/>
                  </a:lnTo>
                  <a:lnTo>
                    <a:pt x="24556" y="554243"/>
                  </a:lnTo>
                  <a:lnTo>
                    <a:pt x="37960" y="509255"/>
                  </a:lnTo>
                  <a:lnTo>
                    <a:pt x="54074" y="465506"/>
                  </a:lnTo>
                  <a:lnTo>
                    <a:pt x="72800" y="423093"/>
                  </a:lnTo>
                  <a:lnTo>
                    <a:pt x="94039" y="382115"/>
                  </a:lnTo>
                  <a:lnTo>
                    <a:pt x="117694" y="342668"/>
                  </a:lnTo>
                  <a:lnTo>
                    <a:pt x="143666" y="304853"/>
                  </a:lnTo>
                  <a:lnTo>
                    <a:pt x="171857" y="268766"/>
                  </a:lnTo>
                  <a:lnTo>
                    <a:pt x="202170" y="234505"/>
                  </a:lnTo>
                  <a:lnTo>
                    <a:pt x="234505" y="202170"/>
                  </a:lnTo>
                  <a:lnTo>
                    <a:pt x="268765" y="171857"/>
                  </a:lnTo>
                  <a:lnTo>
                    <a:pt x="304853" y="143666"/>
                  </a:lnTo>
                  <a:lnTo>
                    <a:pt x="342668" y="117694"/>
                  </a:lnTo>
                  <a:lnTo>
                    <a:pt x="382114" y="94039"/>
                  </a:lnTo>
                  <a:lnTo>
                    <a:pt x="423093" y="72800"/>
                  </a:lnTo>
                  <a:lnTo>
                    <a:pt x="465506" y="54074"/>
                  </a:lnTo>
                  <a:lnTo>
                    <a:pt x="509255" y="37960"/>
                  </a:lnTo>
                  <a:lnTo>
                    <a:pt x="554242" y="24556"/>
                  </a:lnTo>
                  <a:lnTo>
                    <a:pt x="600370" y="13960"/>
                  </a:lnTo>
                  <a:lnTo>
                    <a:pt x="647539" y="6269"/>
                  </a:lnTo>
                  <a:lnTo>
                    <a:pt x="695651" y="1583"/>
                  </a:lnTo>
                  <a:lnTo>
                    <a:pt x="744609" y="0"/>
                  </a:lnTo>
                  <a:lnTo>
                    <a:pt x="793568" y="1583"/>
                  </a:lnTo>
                  <a:lnTo>
                    <a:pt x="841681" y="6269"/>
                  </a:lnTo>
                  <a:lnTo>
                    <a:pt x="888850" y="13960"/>
                  </a:lnTo>
                  <a:lnTo>
                    <a:pt x="934977" y="24556"/>
                  </a:lnTo>
                  <a:lnTo>
                    <a:pt x="979964" y="37960"/>
                  </a:lnTo>
                  <a:lnTo>
                    <a:pt x="1023713" y="54074"/>
                  </a:lnTo>
                  <a:lnTo>
                    <a:pt x="1066126" y="72800"/>
                  </a:lnTo>
                  <a:lnTo>
                    <a:pt x="1107105" y="94039"/>
                  </a:lnTo>
                  <a:lnTo>
                    <a:pt x="1146551" y="117694"/>
                  </a:lnTo>
                  <a:lnTo>
                    <a:pt x="1184366" y="143666"/>
                  </a:lnTo>
                  <a:lnTo>
                    <a:pt x="1220454" y="171857"/>
                  </a:lnTo>
                  <a:lnTo>
                    <a:pt x="1254714" y="202170"/>
                  </a:lnTo>
                  <a:lnTo>
                    <a:pt x="1287049" y="234505"/>
                  </a:lnTo>
                  <a:lnTo>
                    <a:pt x="1317362" y="268766"/>
                  </a:lnTo>
                  <a:lnTo>
                    <a:pt x="1345553" y="304853"/>
                  </a:lnTo>
                  <a:lnTo>
                    <a:pt x="1371525" y="342668"/>
                  </a:lnTo>
                  <a:lnTo>
                    <a:pt x="1395180" y="382115"/>
                  </a:lnTo>
                  <a:lnTo>
                    <a:pt x="1416419" y="423093"/>
                  </a:lnTo>
                  <a:lnTo>
                    <a:pt x="1435145" y="465506"/>
                  </a:lnTo>
                  <a:lnTo>
                    <a:pt x="1451259" y="509255"/>
                  </a:lnTo>
                  <a:lnTo>
                    <a:pt x="1464663" y="554243"/>
                  </a:lnTo>
                  <a:lnTo>
                    <a:pt x="1475259" y="600370"/>
                  </a:lnTo>
                  <a:lnTo>
                    <a:pt x="1482949" y="647539"/>
                  </a:lnTo>
                  <a:lnTo>
                    <a:pt x="1487636" y="695651"/>
                  </a:lnTo>
                  <a:lnTo>
                    <a:pt x="1489219" y="744610"/>
                  </a:lnTo>
                  <a:lnTo>
                    <a:pt x="1487636" y="793568"/>
                  </a:lnTo>
                  <a:lnTo>
                    <a:pt x="1482949" y="841681"/>
                  </a:lnTo>
                  <a:lnTo>
                    <a:pt x="1475259" y="888850"/>
                  </a:lnTo>
                  <a:lnTo>
                    <a:pt x="1464663" y="934977"/>
                  </a:lnTo>
                  <a:lnTo>
                    <a:pt x="1451259" y="979964"/>
                  </a:lnTo>
                  <a:lnTo>
                    <a:pt x="1435145" y="1023713"/>
                  </a:lnTo>
                  <a:lnTo>
                    <a:pt x="1416419" y="1066126"/>
                  </a:lnTo>
                  <a:lnTo>
                    <a:pt x="1395180" y="1107105"/>
                  </a:lnTo>
                  <a:lnTo>
                    <a:pt x="1371525" y="1146551"/>
                  </a:lnTo>
                  <a:lnTo>
                    <a:pt x="1345553" y="1184367"/>
                  </a:lnTo>
                  <a:lnTo>
                    <a:pt x="1317362" y="1220454"/>
                  </a:lnTo>
                  <a:lnTo>
                    <a:pt x="1287049" y="1254714"/>
                  </a:lnTo>
                  <a:lnTo>
                    <a:pt x="1254714" y="1287049"/>
                  </a:lnTo>
                  <a:lnTo>
                    <a:pt x="1220454" y="1317362"/>
                  </a:lnTo>
                  <a:lnTo>
                    <a:pt x="1184366" y="1345553"/>
                  </a:lnTo>
                  <a:lnTo>
                    <a:pt x="1146551" y="1371525"/>
                  </a:lnTo>
                  <a:lnTo>
                    <a:pt x="1107105" y="1395180"/>
                  </a:lnTo>
                  <a:lnTo>
                    <a:pt x="1066126" y="1416419"/>
                  </a:lnTo>
                  <a:lnTo>
                    <a:pt x="1023713" y="1435145"/>
                  </a:lnTo>
                  <a:lnTo>
                    <a:pt x="979964" y="1451259"/>
                  </a:lnTo>
                  <a:lnTo>
                    <a:pt x="934977" y="1464663"/>
                  </a:lnTo>
                  <a:lnTo>
                    <a:pt x="888850" y="1475259"/>
                  </a:lnTo>
                  <a:lnTo>
                    <a:pt x="841681" y="1482950"/>
                  </a:lnTo>
                  <a:lnTo>
                    <a:pt x="793568" y="1487636"/>
                  </a:lnTo>
                  <a:lnTo>
                    <a:pt x="744615" y="1489220"/>
                  </a:lnTo>
                  <a:close/>
                </a:path>
              </a:pathLst>
            </a:custGeom>
            <a:solidFill>
              <a:srgbClr val="E3112B"/>
            </a:solidFill>
          </p:spPr>
          <p:txBody>
            <a:bodyPr wrap="square" lIns="0" tIns="0" rIns="0" bIns="0" rtlCol="0"/>
            <a:lstStyle/>
            <a:p>
              <a:endParaRPr/>
            </a:p>
          </p:txBody>
        </p:sp>
        <p:sp>
          <p:nvSpPr>
            <p:cNvPr id="10" name="object 10"/>
            <p:cNvSpPr/>
            <p:nvPr/>
          </p:nvSpPr>
          <p:spPr>
            <a:xfrm>
              <a:off x="1692960" y="6691540"/>
              <a:ext cx="855344" cy="854075"/>
            </a:xfrm>
            <a:custGeom>
              <a:avLst/>
              <a:gdLst/>
              <a:ahLst/>
              <a:cxnLst/>
              <a:rect l="l" t="t" r="r" b="b"/>
              <a:pathLst>
                <a:path w="855344" h="854075">
                  <a:moveTo>
                    <a:pt x="285140" y="142443"/>
                  </a:moveTo>
                  <a:lnTo>
                    <a:pt x="277698" y="96570"/>
                  </a:lnTo>
                  <a:lnTo>
                    <a:pt x="277088" y="94945"/>
                  </a:lnTo>
                  <a:lnTo>
                    <a:pt x="209943" y="94945"/>
                  </a:lnTo>
                  <a:lnTo>
                    <a:pt x="277088" y="94932"/>
                  </a:lnTo>
                  <a:lnTo>
                    <a:pt x="255828" y="55587"/>
                  </a:lnTo>
                  <a:lnTo>
                    <a:pt x="221869" y="23850"/>
                  </a:lnTo>
                  <a:lnTo>
                    <a:pt x="190030" y="8039"/>
                  </a:lnTo>
                  <a:lnTo>
                    <a:pt x="190030" y="148513"/>
                  </a:lnTo>
                  <a:lnTo>
                    <a:pt x="188861" y="154533"/>
                  </a:lnTo>
                  <a:lnTo>
                    <a:pt x="154838" y="188480"/>
                  </a:lnTo>
                  <a:lnTo>
                    <a:pt x="148932" y="189636"/>
                  </a:lnTo>
                  <a:lnTo>
                    <a:pt x="142443" y="189623"/>
                  </a:lnTo>
                  <a:lnTo>
                    <a:pt x="104533" y="171246"/>
                  </a:lnTo>
                  <a:lnTo>
                    <a:pt x="95135" y="148513"/>
                  </a:lnTo>
                  <a:lnTo>
                    <a:pt x="95161" y="135877"/>
                  </a:lnTo>
                  <a:lnTo>
                    <a:pt x="118592" y="100952"/>
                  </a:lnTo>
                  <a:lnTo>
                    <a:pt x="136245" y="94945"/>
                  </a:lnTo>
                  <a:lnTo>
                    <a:pt x="148856" y="94945"/>
                  </a:lnTo>
                  <a:lnTo>
                    <a:pt x="183934" y="118275"/>
                  </a:lnTo>
                  <a:lnTo>
                    <a:pt x="190030" y="148513"/>
                  </a:lnTo>
                  <a:lnTo>
                    <a:pt x="190030" y="8039"/>
                  </a:lnTo>
                  <a:lnTo>
                    <a:pt x="151803" y="266"/>
                  </a:lnTo>
                  <a:lnTo>
                    <a:pt x="142443" y="0"/>
                  </a:lnTo>
                  <a:lnTo>
                    <a:pt x="135445" y="177"/>
                  </a:lnTo>
                  <a:lnTo>
                    <a:pt x="94475" y="8331"/>
                  </a:lnTo>
                  <a:lnTo>
                    <a:pt x="57619" y="28016"/>
                  </a:lnTo>
                  <a:lnTo>
                    <a:pt x="28079" y="57492"/>
                  </a:lnTo>
                  <a:lnTo>
                    <a:pt x="8356" y="94284"/>
                  </a:lnTo>
                  <a:lnTo>
                    <a:pt x="177" y="135166"/>
                  </a:lnTo>
                  <a:lnTo>
                    <a:pt x="0" y="142151"/>
                  </a:lnTo>
                  <a:lnTo>
                    <a:pt x="1231" y="161328"/>
                  </a:lnTo>
                  <a:lnTo>
                    <a:pt x="20053" y="214693"/>
                  </a:lnTo>
                  <a:lnTo>
                    <a:pt x="122669" y="368846"/>
                  </a:lnTo>
                  <a:lnTo>
                    <a:pt x="150876" y="379272"/>
                  </a:lnTo>
                  <a:lnTo>
                    <a:pt x="157467" y="375805"/>
                  </a:lnTo>
                  <a:lnTo>
                    <a:pt x="265633" y="213626"/>
                  </a:lnTo>
                  <a:lnTo>
                    <a:pt x="276796" y="189661"/>
                  </a:lnTo>
                  <a:lnTo>
                    <a:pt x="277342" y="188252"/>
                  </a:lnTo>
                  <a:lnTo>
                    <a:pt x="280098" y="179324"/>
                  </a:lnTo>
                  <a:lnTo>
                    <a:pt x="282282" y="170230"/>
                  </a:lnTo>
                  <a:lnTo>
                    <a:pt x="283845" y="161048"/>
                  </a:lnTo>
                  <a:lnTo>
                    <a:pt x="284797" y="151790"/>
                  </a:lnTo>
                  <a:lnTo>
                    <a:pt x="285140" y="142443"/>
                  </a:lnTo>
                  <a:close/>
                </a:path>
                <a:path w="855344" h="854075">
                  <a:moveTo>
                    <a:pt x="522541" y="826592"/>
                  </a:moveTo>
                  <a:lnTo>
                    <a:pt x="501980" y="806030"/>
                  </a:lnTo>
                  <a:lnTo>
                    <a:pt x="498830" y="806030"/>
                  </a:lnTo>
                  <a:lnTo>
                    <a:pt x="474383" y="805103"/>
                  </a:lnTo>
                  <a:lnTo>
                    <a:pt x="425996" y="797890"/>
                  </a:lnTo>
                  <a:lnTo>
                    <a:pt x="379209" y="783691"/>
                  </a:lnTo>
                  <a:lnTo>
                    <a:pt x="334987" y="762800"/>
                  </a:lnTo>
                  <a:lnTo>
                    <a:pt x="294335" y="735660"/>
                  </a:lnTo>
                  <a:lnTo>
                    <a:pt x="258089" y="702881"/>
                  </a:lnTo>
                  <a:lnTo>
                    <a:pt x="227063" y="665149"/>
                  </a:lnTo>
                  <a:lnTo>
                    <a:pt x="201891" y="623277"/>
                  </a:lnTo>
                  <a:lnTo>
                    <a:pt x="183159" y="578192"/>
                  </a:lnTo>
                  <a:lnTo>
                    <a:pt x="171234" y="530847"/>
                  </a:lnTo>
                  <a:lnTo>
                    <a:pt x="166395" y="482282"/>
                  </a:lnTo>
                  <a:lnTo>
                    <a:pt x="166281" y="447281"/>
                  </a:lnTo>
                  <a:lnTo>
                    <a:pt x="165684" y="444258"/>
                  </a:lnTo>
                  <a:lnTo>
                    <a:pt x="145681" y="426720"/>
                  </a:lnTo>
                  <a:lnTo>
                    <a:pt x="139382" y="426720"/>
                  </a:lnTo>
                  <a:lnTo>
                    <a:pt x="118770" y="447281"/>
                  </a:lnTo>
                  <a:lnTo>
                    <a:pt x="119253" y="492734"/>
                  </a:lnTo>
                  <a:lnTo>
                    <a:pt x="126149" y="548106"/>
                  </a:lnTo>
                  <a:lnTo>
                    <a:pt x="141097" y="601853"/>
                  </a:lnTo>
                  <a:lnTo>
                    <a:pt x="163779" y="652843"/>
                  </a:lnTo>
                  <a:lnTo>
                    <a:pt x="193700" y="699973"/>
                  </a:lnTo>
                  <a:lnTo>
                    <a:pt x="230212" y="742213"/>
                  </a:lnTo>
                  <a:lnTo>
                    <a:pt x="272542" y="778662"/>
                  </a:lnTo>
                  <a:lnTo>
                    <a:pt x="319760" y="808520"/>
                  </a:lnTo>
                  <a:lnTo>
                    <a:pt x="370852" y="831164"/>
                  </a:lnTo>
                  <a:lnTo>
                    <a:pt x="424713" y="846074"/>
                  </a:lnTo>
                  <a:lnTo>
                    <a:pt x="480187" y="852957"/>
                  </a:lnTo>
                  <a:lnTo>
                    <a:pt x="501980" y="853427"/>
                  </a:lnTo>
                  <a:lnTo>
                    <a:pt x="505002" y="852830"/>
                  </a:lnTo>
                  <a:lnTo>
                    <a:pt x="522541" y="832866"/>
                  </a:lnTo>
                  <a:lnTo>
                    <a:pt x="522541" y="826592"/>
                  </a:lnTo>
                  <a:close/>
                </a:path>
                <a:path w="855344" h="854075">
                  <a:moveTo>
                    <a:pt x="855141" y="418185"/>
                  </a:moveTo>
                  <a:lnTo>
                    <a:pt x="851852" y="377088"/>
                  </a:lnTo>
                  <a:lnTo>
                    <a:pt x="841768" y="337083"/>
                  </a:lnTo>
                  <a:lnTo>
                    <a:pt x="821283" y="292036"/>
                  </a:lnTo>
                  <a:lnTo>
                    <a:pt x="792403" y="251828"/>
                  </a:lnTo>
                  <a:lnTo>
                    <a:pt x="756234" y="218008"/>
                  </a:lnTo>
                  <a:lnTo>
                    <a:pt x="714146" y="191871"/>
                  </a:lnTo>
                  <a:lnTo>
                    <a:pt x="694004" y="183108"/>
                  </a:lnTo>
                  <a:lnTo>
                    <a:pt x="694004" y="412178"/>
                  </a:lnTo>
                  <a:lnTo>
                    <a:pt x="694004" y="424192"/>
                  </a:lnTo>
                  <a:lnTo>
                    <a:pt x="681901" y="464007"/>
                  </a:lnTo>
                  <a:lnTo>
                    <a:pt x="648271" y="497586"/>
                  </a:lnTo>
                  <a:lnTo>
                    <a:pt x="608355" y="509663"/>
                  </a:lnTo>
                  <a:lnTo>
                    <a:pt x="596315" y="509663"/>
                  </a:lnTo>
                  <a:lnTo>
                    <a:pt x="556437" y="497586"/>
                  </a:lnTo>
                  <a:lnTo>
                    <a:pt x="522782" y="464019"/>
                  </a:lnTo>
                  <a:lnTo>
                    <a:pt x="510679" y="424192"/>
                  </a:lnTo>
                  <a:lnTo>
                    <a:pt x="510679" y="412178"/>
                  </a:lnTo>
                  <a:lnTo>
                    <a:pt x="522782" y="372351"/>
                  </a:lnTo>
                  <a:lnTo>
                    <a:pt x="556425" y="338785"/>
                  </a:lnTo>
                  <a:lnTo>
                    <a:pt x="596315" y="326707"/>
                  </a:lnTo>
                  <a:lnTo>
                    <a:pt x="608355" y="326707"/>
                  </a:lnTo>
                  <a:lnTo>
                    <a:pt x="648258" y="338785"/>
                  </a:lnTo>
                  <a:lnTo>
                    <a:pt x="681901" y="372351"/>
                  </a:lnTo>
                  <a:lnTo>
                    <a:pt x="694004" y="412178"/>
                  </a:lnTo>
                  <a:lnTo>
                    <a:pt x="694004" y="183108"/>
                  </a:lnTo>
                  <a:lnTo>
                    <a:pt x="643521" y="169164"/>
                  </a:lnTo>
                  <a:lnTo>
                    <a:pt x="610616" y="165900"/>
                  </a:lnTo>
                  <a:lnTo>
                    <a:pt x="594067" y="165900"/>
                  </a:lnTo>
                  <a:lnTo>
                    <a:pt x="544931" y="172402"/>
                  </a:lnTo>
                  <a:lnTo>
                    <a:pt x="498005" y="188341"/>
                  </a:lnTo>
                  <a:lnTo>
                    <a:pt x="455091" y="213093"/>
                  </a:lnTo>
                  <a:lnTo>
                    <a:pt x="417830" y="245719"/>
                  </a:lnTo>
                  <a:lnTo>
                    <a:pt x="387642" y="284962"/>
                  </a:lnTo>
                  <a:lnTo>
                    <a:pt x="365696" y="329311"/>
                  </a:lnTo>
                  <a:lnTo>
                    <a:pt x="352831" y="377088"/>
                  </a:lnTo>
                  <a:lnTo>
                    <a:pt x="349542" y="418185"/>
                  </a:lnTo>
                  <a:lnTo>
                    <a:pt x="351675" y="451929"/>
                  </a:lnTo>
                  <a:lnTo>
                    <a:pt x="358216" y="484466"/>
                  </a:lnTo>
                  <a:lnTo>
                    <a:pt x="369176" y="515797"/>
                  </a:lnTo>
                  <a:lnTo>
                    <a:pt x="384543" y="545934"/>
                  </a:lnTo>
                  <a:lnTo>
                    <a:pt x="582561" y="842772"/>
                  </a:lnTo>
                  <a:lnTo>
                    <a:pt x="584733" y="846112"/>
                  </a:lnTo>
                  <a:lnTo>
                    <a:pt x="587578" y="848728"/>
                  </a:lnTo>
                  <a:lnTo>
                    <a:pt x="594601" y="852512"/>
                  </a:lnTo>
                  <a:lnTo>
                    <a:pt x="598347" y="853452"/>
                  </a:lnTo>
                  <a:lnTo>
                    <a:pt x="610844" y="853414"/>
                  </a:lnTo>
                  <a:lnTo>
                    <a:pt x="617435" y="849858"/>
                  </a:lnTo>
                  <a:lnTo>
                    <a:pt x="622122" y="842772"/>
                  </a:lnTo>
                  <a:lnTo>
                    <a:pt x="804100" y="570204"/>
                  </a:lnTo>
                  <a:lnTo>
                    <a:pt x="835837" y="514972"/>
                  </a:lnTo>
                  <a:lnTo>
                    <a:pt x="853084" y="451637"/>
                  </a:lnTo>
                  <a:lnTo>
                    <a:pt x="855141" y="418185"/>
                  </a:lnTo>
                  <a:close/>
                </a:path>
              </a:pathLst>
            </a:custGeom>
            <a:solidFill>
              <a:srgbClr val="FFFFFF"/>
            </a:solidFill>
          </p:spPr>
          <p:txBody>
            <a:bodyPr wrap="square" lIns="0" tIns="0" rIns="0" bIns="0" rtlCol="0"/>
            <a:lstStyle/>
            <a:p>
              <a:endParaRPr/>
            </a:p>
          </p:txBody>
        </p:sp>
      </p:grpSp>
      <p:sp>
        <p:nvSpPr>
          <p:cNvPr id="11" name="object 11"/>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3.</a:t>
            </a:r>
            <a:r>
              <a:rPr spc="-80" dirty="0"/>
              <a:t> </a:t>
            </a:r>
            <a:r>
              <a:rPr dirty="0"/>
              <a:t>¿Cómo</a:t>
            </a:r>
            <a:r>
              <a:rPr spc="-80" dirty="0"/>
              <a:t> </a:t>
            </a:r>
            <a:r>
              <a:rPr spc="-20" dirty="0"/>
              <a:t>aumentar</a:t>
            </a:r>
            <a:r>
              <a:rPr spc="-80" dirty="0"/>
              <a:t> </a:t>
            </a:r>
            <a:r>
              <a:rPr dirty="0"/>
              <a:t>el</a:t>
            </a:r>
            <a:r>
              <a:rPr spc="-75" dirty="0"/>
              <a:t> </a:t>
            </a:r>
            <a:r>
              <a:rPr spc="-10" dirty="0"/>
              <a:t>impacto</a:t>
            </a:r>
            <a:r>
              <a:rPr spc="-80" dirty="0"/>
              <a:t> </a:t>
            </a:r>
            <a:r>
              <a:rPr spc="-10" dirty="0"/>
              <a:t>positivo</a:t>
            </a:r>
            <a:r>
              <a:rPr spc="-80" dirty="0"/>
              <a:t> </a:t>
            </a:r>
            <a:r>
              <a:rPr dirty="0"/>
              <a:t>del</a:t>
            </a:r>
            <a:r>
              <a:rPr spc="-75" dirty="0"/>
              <a:t> </a:t>
            </a:r>
            <a:r>
              <a:rPr spc="-10" dirty="0"/>
              <a:t>turismo?</a:t>
            </a:r>
          </a:p>
        </p:txBody>
      </p:sp>
      <p:sp>
        <p:nvSpPr>
          <p:cNvPr id="12" name="object 12"/>
          <p:cNvSpPr txBox="1">
            <a:spLocks noGrp="1"/>
          </p:cNvSpPr>
          <p:nvPr>
            <p:ph type="body" idx="1"/>
          </p:nvPr>
        </p:nvSpPr>
        <p:spPr>
          <a:prstGeom prst="rect">
            <a:avLst/>
          </a:prstGeom>
        </p:spPr>
        <p:txBody>
          <a:bodyPr vert="horz" wrap="square" lIns="0" tIns="13335" rIns="0" bIns="0" rtlCol="0">
            <a:spAutoFit/>
          </a:bodyPr>
          <a:lstStyle/>
          <a:p>
            <a:pPr marR="185420" algn="ctr">
              <a:lnSpc>
                <a:spcPct val="100000"/>
              </a:lnSpc>
              <a:spcBef>
                <a:spcPts val="105"/>
              </a:spcBef>
            </a:pPr>
            <a:r>
              <a:rPr spc="700" dirty="0"/>
              <a:t>02</a:t>
            </a:r>
          </a:p>
          <a:p>
            <a:pPr>
              <a:lnSpc>
                <a:spcPct val="100000"/>
              </a:lnSpc>
              <a:spcBef>
                <a:spcPts val="45"/>
              </a:spcBef>
            </a:pPr>
            <a:endParaRPr sz="5300"/>
          </a:p>
          <a:p>
            <a:pPr marL="1377950" marR="5080" indent="-1365885">
              <a:lnSpc>
                <a:spcPts val="4650"/>
              </a:lnSpc>
            </a:pPr>
            <a:r>
              <a:rPr dirty="0">
                <a:solidFill>
                  <a:srgbClr val="E3112B"/>
                </a:solidFill>
                <a:latin typeface="Roboto"/>
                <a:cs typeface="Roboto"/>
              </a:rPr>
              <a:t>Canalizando</a:t>
            </a:r>
            <a:r>
              <a:rPr spc="-150" dirty="0">
                <a:solidFill>
                  <a:srgbClr val="E3112B"/>
                </a:solidFill>
                <a:latin typeface="Roboto"/>
                <a:cs typeface="Roboto"/>
              </a:rPr>
              <a:t> </a:t>
            </a:r>
            <a:r>
              <a:rPr b="0" dirty="0">
                <a:solidFill>
                  <a:srgbClr val="E3112B"/>
                </a:solidFill>
                <a:latin typeface="Roboto"/>
                <a:cs typeface="Roboto"/>
              </a:rPr>
              <a:t>la</a:t>
            </a:r>
            <a:r>
              <a:rPr b="0" spc="-145" dirty="0">
                <a:solidFill>
                  <a:srgbClr val="E3112B"/>
                </a:solidFill>
                <a:latin typeface="Roboto"/>
                <a:cs typeface="Roboto"/>
              </a:rPr>
              <a:t> </a:t>
            </a:r>
            <a:r>
              <a:rPr b="0" spc="-10" dirty="0">
                <a:solidFill>
                  <a:srgbClr val="E3112B"/>
                </a:solidFill>
                <a:latin typeface="Roboto"/>
                <a:cs typeface="Roboto"/>
              </a:rPr>
              <a:t>promoción</a:t>
            </a:r>
            <a:r>
              <a:rPr b="0" spc="-145" dirty="0">
                <a:solidFill>
                  <a:srgbClr val="E3112B"/>
                </a:solidFill>
                <a:latin typeface="Roboto"/>
                <a:cs typeface="Roboto"/>
              </a:rPr>
              <a:t> </a:t>
            </a:r>
            <a:r>
              <a:rPr b="0" spc="-10" dirty="0">
                <a:solidFill>
                  <a:srgbClr val="E3112B"/>
                </a:solidFill>
                <a:latin typeface="Roboto"/>
                <a:cs typeface="Roboto"/>
              </a:rPr>
              <a:t>hacia </a:t>
            </a:r>
            <a:r>
              <a:rPr b="0" dirty="0">
                <a:solidFill>
                  <a:srgbClr val="E3112B"/>
                </a:solidFill>
                <a:latin typeface="Roboto"/>
                <a:cs typeface="Roboto"/>
              </a:rPr>
              <a:t>la</a:t>
            </a:r>
            <a:r>
              <a:rPr b="0" spc="-75" dirty="0">
                <a:solidFill>
                  <a:srgbClr val="E3112B"/>
                </a:solidFill>
                <a:latin typeface="Roboto"/>
                <a:cs typeface="Roboto"/>
              </a:rPr>
              <a:t> </a:t>
            </a:r>
            <a:r>
              <a:rPr spc="-10" dirty="0">
                <a:solidFill>
                  <a:srgbClr val="E3112B"/>
                </a:solidFill>
                <a:latin typeface="Roboto"/>
                <a:cs typeface="Roboto"/>
              </a:rPr>
              <a:t>comercialización:</a:t>
            </a:r>
          </a:p>
        </p:txBody>
      </p:sp>
      <p:sp>
        <p:nvSpPr>
          <p:cNvPr id="13" name="object 13"/>
          <p:cNvSpPr txBox="1"/>
          <p:nvPr/>
        </p:nvSpPr>
        <p:spPr>
          <a:xfrm>
            <a:off x="4251425" y="6017523"/>
            <a:ext cx="6263640" cy="2216150"/>
          </a:xfrm>
          <a:prstGeom prst="rect">
            <a:avLst/>
          </a:prstGeom>
        </p:spPr>
        <p:txBody>
          <a:bodyPr vert="horz" wrap="square" lIns="0" tIns="69215" rIns="0" bIns="0" rtlCol="0">
            <a:spAutoFit/>
          </a:bodyPr>
          <a:lstStyle/>
          <a:p>
            <a:pPr marL="354330" indent="-341630">
              <a:lnSpc>
                <a:spcPct val="100000"/>
              </a:lnSpc>
              <a:spcBef>
                <a:spcPts val="545"/>
              </a:spcBef>
              <a:buClr>
                <a:srgbClr val="E3112B"/>
              </a:buClr>
              <a:buFont typeface="Roboto"/>
              <a:buAutoNum type="alphaLcPeriod"/>
              <a:tabLst>
                <a:tab pos="354330" algn="l"/>
              </a:tabLst>
            </a:pPr>
            <a:r>
              <a:rPr sz="2500" spc="-20" dirty="0">
                <a:solidFill>
                  <a:srgbClr val="737373"/>
                </a:solidFill>
                <a:latin typeface="Roboto"/>
                <a:cs typeface="Roboto"/>
              </a:rPr>
              <a:t>Itinerarios</a:t>
            </a:r>
            <a:r>
              <a:rPr sz="2500" spc="-40" dirty="0">
                <a:solidFill>
                  <a:srgbClr val="737373"/>
                </a:solidFill>
                <a:latin typeface="Roboto"/>
                <a:cs typeface="Roboto"/>
              </a:rPr>
              <a:t> </a:t>
            </a:r>
            <a:r>
              <a:rPr sz="2500" spc="-10" dirty="0">
                <a:solidFill>
                  <a:srgbClr val="737373"/>
                </a:solidFill>
                <a:latin typeface="Roboto"/>
                <a:cs typeface="Roboto"/>
              </a:rPr>
              <a:t>temáticos</a:t>
            </a:r>
            <a:endParaRPr sz="2500">
              <a:latin typeface="Roboto"/>
              <a:cs typeface="Roboto"/>
            </a:endParaRPr>
          </a:p>
          <a:p>
            <a:pPr marL="363220" indent="-350520">
              <a:lnSpc>
                <a:spcPct val="100000"/>
              </a:lnSpc>
              <a:spcBef>
                <a:spcPts val="450"/>
              </a:spcBef>
              <a:buClr>
                <a:srgbClr val="E3112B"/>
              </a:buClr>
              <a:buFont typeface="Roboto"/>
              <a:buAutoNum type="alphaLcPeriod"/>
              <a:tabLst>
                <a:tab pos="363220" algn="l"/>
              </a:tabLst>
            </a:pPr>
            <a:r>
              <a:rPr sz="2500" spc="-25" dirty="0">
                <a:solidFill>
                  <a:srgbClr val="737373"/>
                </a:solidFill>
                <a:latin typeface="Roboto"/>
                <a:cs typeface="Roboto"/>
              </a:rPr>
              <a:t>Rutas</a:t>
            </a:r>
            <a:r>
              <a:rPr sz="2500" spc="-125" dirty="0">
                <a:solidFill>
                  <a:srgbClr val="737373"/>
                </a:solidFill>
                <a:latin typeface="Roboto"/>
                <a:cs typeface="Roboto"/>
              </a:rPr>
              <a:t> </a:t>
            </a:r>
            <a:r>
              <a:rPr sz="2500" spc="-10" dirty="0">
                <a:solidFill>
                  <a:srgbClr val="737373"/>
                </a:solidFill>
                <a:latin typeface="Roboto"/>
                <a:cs typeface="Roboto"/>
              </a:rPr>
              <a:t>turísticas</a:t>
            </a:r>
            <a:endParaRPr sz="2500">
              <a:latin typeface="Roboto"/>
              <a:cs typeface="Roboto"/>
            </a:endParaRPr>
          </a:p>
          <a:p>
            <a:pPr marL="349885" indent="-337185">
              <a:lnSpc>
                <a:spcPct val="100000"/>
              </a:lnSpc>
              <a:spcBef>
                <a:spcPts val="450"/>
              </a:spcBef>
              <a:buClr>
                <a:srgbClr val="E3112B"/>
              </a:buClr>
              <a:buFont typeface="Roboto"/>
              <a:buAutoNum type="alphaLcPeriod"/>
              <a:tabLst>
                <a:tab pos="349885" algn="l"/>
              </a:tabLst>
            </a:pPr>
            <a:r>
              <a:rPr sz="2500" dirty="0">
                <a:solidFill>
                  <a:srgbClr val="737373"/>
                </a:solidFill>
                <a:latin typeface="Roboto"/>
                <a:cs typeface="Roboto"/>
              </a:rPr>
              <a:t>Clubes</a:t>
            </a:r>
            <a:r>
              <a:rPr sz="2500" spc="-50" dirty="0">
                <a:solidFill>
                  <a:srgbClr val="737373"/>
                </a:solidFill>
                <a:latin typeface="Roboto"/>
                <a:cs typeface="Roboto"/>
              </a:rPr>
              <a:t> </a:t>
            </a:r>
            <a:r>
              <a:rPr sz="2500" dirty="0">
                <a:solidFill>
                  <a:srgbClr val="737373"/>
                </a:solidFill>
                <a:latin typeface="Roboto"/>
                <a:cs typeface="Roboto"/>
              </a:rPr>
              <a:t>de</a:t>
            </a:r>
            <a:r>
              <a:rPr sz="2500" spc="-45" dirty="0">
                <a:solidFill>
                  <a:srgbClr val="737373"/>
                </a:solidFill>
                <a:latin typeface="Roboto"/>
                <a:cs typeface="Roboto"/>
              </a:rPr>
              <a:t> </a:t>
            </a:r>
            <a:r>
              <a:rPr sz="2500" spc="-10" dirty="0">
                <a:solidFill>
                  <a:srgbClr val="737373"/>
                </a:solidFill>
                <a:latin typeface="Roboto"/>
                <a:cs typeface="Roboto"/>
              </a:rPr>
              <a:t>producto</a:t>
            </a:r>
            <a:endParaRPr sz="2500">
              <a:latin typeface="Roboto"/>
              <a:cs typeface="Roboto"/>
            </a:endParaRPr>
          </a:p>
          <a:p>
            <a:pPr marL="363220" indent="-350520">
              <a:lnSpc>
                <a:spcPct val="100000"/>
              </a:lnSpc>
              <a:spcBef>
                <a:spcPts val="450"/>
              </a:spcBef>
              <a:buClr>
                <a:srgbClr val="E3112B"/>
              </a:buClr>
              <a:buFont typeface="Roboto"/>
              <a:buAutoNum type="alphaLcPeriod"/>
              <a:tabLst>
                <a:tab pos="363220" algn="l"/>
              </a:tabLst>
            </a:pPr>
            <a:r>
              <a:rPr sz="2500" dirty="0">
                <a:solidFill>
                  <a:srgbClr val="737373"/>
                </a:solidFill>
                <a:latin typeface="Roboto"/>
                <a:cs typeface="Roboto"/>
              </a:rPr>
              <a:t>Travel</a:t>
            </a:r>
            <a:r>
              <a:rPr sz="2500" spc="-105" dirty="0">
                <a:solidFill>
                  <a:srgbClr val="737373"/>
                </a:solidFill>
                <a:latin typeface="Roboto"/>
                <a:cs typeface="Roboto"/>
              </a:rPr>
              <a:t> </a:t>
            </a:r>
            <a:r>
              <a:rPr sz="2500" spc="-10" dirty="0">
                <a:solidFill>
                  <a:srgbClr val="737373"/>
                </a:solidFill>
                <a:latin typeface="Roboto"/>
                <a:cs typeface="Roboto"/>
              </a:rPr>
              <a:t>planner</a:t>
            </a:r>
            <a:r>
              <a:rPr sz="2500" spc="-100" dirty="0">
                <a:solidFill>
                  <a:srgbClr val="737373"/>
                </a:solidFill>
                <a:latin typeface="Roboto"/>
                <a:cs typeface="Roboto"/>
              </a:rPr>
              <a:t> </a:t>
            </a:r>
            <a:r>
              <a:rPr sz="2500" spc="-10" dirty="0">
                <a:solidFill>
                  <a:srgbClr val="737373"/>
                </a:solidFill>
                <a:latin typeface="Roboto"/>
                <a:cs typeface="Roboto"/>
              </a:rPr>
              <a:t>digital</a:t>
            </a:r>
            <a:endParaRPr sz="2500">
              <a:latin typeface="Roboto"/>
              <a:cs typeface="Roboto"/>
            </a:endParaRPr>
          </a:p>
          <a:p>
            <a:pPr marL="355600" indent="-342900">
              <a:lnSpc>
                <a:spcPct val="100000"/>
              </a:lnSpc>
              <a:spcBef>
                <a:spcPts val="450"/>
              </a:spcBef>
              <a:buClr>
                <a:srgbClr val="E3112B"/>
              </a:buClr>
              <a:buFont typeface="Roboto"/>
              <a:buAutoNum type="alphaLcPeriod"/>
              <a:tabLst>
                <a:tab pos="355600" algn="l"/>
              </a:tabLst>
            </a:pPr>
            <a:r>
              <a:rPr sz="2500" dirty="0">
                <a:solidFill>
                  <a:srgbClr val="737373"/>
                </a:solidFill>
                <a:latin typeface="Roboto"/>
                <a:cs typeface="Roboto"/>
              </a:rPr>
              <a:t>IA</a:t>
            </a:r>
            <a:r>
              <a:rPr sz="2500" spc="-55" dirty="0">
                <a:solidFill>
                  <a:srgbClr val="737373"/>
                </a:solidFill>
                <a:latin typeface="Roboto"/>
                <a:cs typeface="Roboto"/>
              </a:rPr>
              <a:t> </a:t>
            </a:r>
            <a:r>
              <a:rPr sz="2500" dirty="0">
                <a:solidFill>
                  <a:srgbClr val="737373"/>
                </a:solidFill>
                <a:latin typeface="Roboto"/>
                <a:cs typeface="Roboto"/>
              </a:rPr>
              <a:t>que</a:t>
            </a:r>
            <a:r>
              <a:rPr sz="2500" spc="-50" dirty="0">
                <a:solidFill>
                  <a:srgbClr val="737373"/>
                </a:solidFill>
                <a:latin typeface="Roboto"/>
                <a:cs typeface="Roboto"/>
              </a:rPr>
              <a:t> </a:t>
            </a:r>
            <a:r>
              <a:rPr sz="2500" spc="-20" dirty="0">
                <a:solidFill>
                  <a:srgbClr val="737373"/>
                </a:solidFill>
                <a:latin typeface="Roboto"/>
                <a:cs typeface="Roboto"/>
              </a:rPr>
              <a:t>estructure</a:t>
            </a:r>
            <a:r>
              <a:rPr sz="2500" spc="-50" dirty="0">
                <a:solidFill>
                  <a:srgbClr val="737373"/>
                </a:solidFill>
                <a:latin typeface="Roboto"/>
                <a:cs typeface="Roboto"/>
              </a:rPr>
              <a:t> </a:t>
            </a:r>
            <a:r>
              <a:rPr sz="2500" dirty="0">
                <a:solidFill>
                  <a:srgbClr val="737373"/>
                </a:solidFill>
                <a:latin typeface="Roboto"/>
                <a:cs typeface="Roboto"/>
              </a:rPr>
              <a:t>oferta</a:t>
            </a:r>
            <a:r>
              <a:rPr sz="2500" spc="-50" dirty="0">
                <a:solidFill>
                  <a:srgbClr val="737373"/>
                </a:solidFill>
                <a:latin typeface="Roboto"/>
                <a:cs typeface="Roboto"/>
              </a:rPr>
              <a:t> </a:t>
            </a:r>
            <a:r>
              <a:rPr sz="2500" dirty="0">
                <a:solidFill>
                  <a:srgbClr val="737373"/>
                </a:solidFill>
                <a:latin typeface="Roboto"/>
                <a:cs typeface="Roboto"/>
              </a:rPr>
              <a:t>de</a:t>
            </a:r>
            <a:r>
              <a:rPr sz="2500" spc="-50" dirty="0">
                <a:solidFill>
                  <a:srgbClr val="737373"/>
                </a:solidFill>
                <a:latin typeface="Roboto"/>
                <a:cs typeface="Roboto"/>
              </a:rPr>
              <a:t> </a:t>
            </a:r>
            <a:r>
              <a:rPr sz="2500" dirty="0">
                <a:solidFill>
                  <a:srgbClr val="737373"/>
                </a:solidFill>
                <a:latin typeface="Roboto"/>
                <a:cs typeface="Roboto"/>
              </a:rPr>
              <a:t>cada</a:t>
            </a:r>
            <a:r>
              <a:rPr sz="2500" spc="-50" dirty="0">
                <a:solidFill>
                  <a:srgbClr val="737373"/>
                </a:solidFill>
                <a:latin typeface="Roboto"/>
                <a:cs typeface="Roboto"/>
              </a:rPr>
              <a:t> </a:t>
            </a:r>
            <a:r>
              <a:rPr sz="2500" spc="-10" dirty="0">
                <a:solidFill>
                  <a:srgbClr val="737373"/>
                </a:solidFill>
                <a:latin typeface="Roboto"/>
                <a:cs typeface="Roboto"/>
              </a:rPr>
              <a:t>itinerario</a:t>
            </a:r>
            <a:endParaRPr sz="2500">
              <a:latin typeface="Roboto"/>
              <a:cs typeface="Roboto"/>
            </a:endParaRPr>
          </a:p>
        </p:txBody>
      </p:sp>
      <p:sp>
        <p:nvSpPr>
          <p:cNvPr id="14" name="object 14"/>
          <p:cNvSpPr txBox="1"/>
          <p:nvPr/>
        </p:nvSpPr>
        <p:spPr>
          <a:xfrm>
            <a:off x="14817721" y="7040475"/>
            <a:ext cx="692150" cy="206375"/>
          </a:xfrm>
          <a:prstGeom prst="rect">
            <a:avLst/>
          </a:prstGeom>
        </p:spPr>
        <p:txBody>
          <a:bodyPr vert="horz" wrap="square" lIns="0" tIns="17145" rIns="0" bIns="0" rtlCol="0">
            <a:spAutoFit/>
          </a:bodyPr>
          <a:lstStyle/>
          <a:p>
            <a:pPr marL="12700">
              <a:lnSpc>
                <a:spcPct val="100000"/>
              </a:lnSpc>
              <a:spcBef>
                <a:spcPts val="135"/>
              </a:spcBef>
            </a:pPr>
            <a:r>
              <a:rPr sz="1150" b="1" spc="-10" dirty="0">
                <a:solidFill>
                  <a:srgbClr val="E3112B"/>
                </a:solidFill>
                <a:latin typeface="Roboto"/>
                <a:cs typeface="Roboto"/>
              </a:rPr>
              <a:t>Milipeuco</a:t>
            </a:r>
            <a:endParaRPr sz="1150">
              <a:latin typeface="Roboto"/>
              <a:cs typeface="Roboto"/>
            </a:endParaRPr>
          </a:p>
        </p:txBody>
      </p:sp>
      <p:pic>
        <p:nvPicPr>
          <p:cNvPr id="15" name="object 15"/>
          <p:cNvPicPr/>
          <p:nvPr/>
        </p:nvPicPr>
        <p:blipFill>
          <a:blip r:embed="rId2" cstate="print"/>
          <a:stretch>
            <a:fillRect/>
          </a:stretch>
        </p:blipFill>
        <p:spPr>
          <a:xfrm>
            <a:off x="12261392" y="4974735"/>
            <a:ext cx="5000624" cy="4076699"/>
          </a:xfrm>
          <a:prstGeom prst="rect">
            <a:avLst/>
          </a:prstGeom>
        </p:spPr>
      </p:pic>
      <p:sp>
        <p:nvSpPr>
          <p:cNvPr id="16" name="object 16"/>
          <p:cNvSpPr txBox="1"/>
          <p:nvPr/>
        </p:nvSpPr>
        <p:spPr>
          <a:xfrm>
            <a:off x="12994202" y="6694315"/>
            <a:ext cx="991869" cy="311785"/>
          </a:xfrm>
          <a:prstGeom prst="rect">
            <a:avLst/>
          </a:prstGeom>
        </p:spPr>
        <p:txBody>
          <a:bodyPr vert="horz" wrap="square" lIns="0" tIns="15875" rIns="0" bIns="0" rtlCol="0">
            <a:spAutoFit/>
          </a:bodyPr>
          <a:lstStyle/>
          <a:p>
            <a:pPr marL="12700">
              <a:lnSpc>
                <a:spcPct val="100000"/>
              </a:lnSpc>
              <a:spcBef>
                <a:spcPts val="125"/>
              </a:spcBef>
            </a:pPr>
            <a:r>
              <a:rPr sz="1850" b="1" spc="-10" dirty="0">
                <a:solidFill>
                  <a:srgbClr val="E3112B"/>
                </a:solidFill>
                <a:latin typeface="OpenSans-ExtraBold"/>
                <a:cs typeface="OpenSans-ExtraBold"/>
              </a:rPr>
              <a:t>Temuco</a:t>
            </a:r>
            <a:endParaRPr sz="1850">
              <a:latin typeface="OpenSans-ExtraBold"/>
              <a:cs typeface="OpenSans-ExtraBold"/>
            </a:endParaRPr>
          </a:p>
        </p:txBody>
      </p:sp>
      <p:grpSp>
        <p:nvGrpSpPr>
          <p:cNvPr id="17" name="object 17"/>
          <p:cNvGrpSpPr/>
          <p:nvPr/>
        </p:nvGrpSpPr>
        <p:grpSpPr>
          <a:xfrm>
            <a:off x="13973309" y="5631697"/>
            <a:ext cx="1164590" cy="2767965"/>
            <a:chOff x="13973309" y="5631697"/>
            <a:chExt cx="1164590" cy="2767965"/>
          </a:xfrm>
        </p:grpSpPr>
        <p:sp>
          <p:nvSpPr>
            <p:cNvPr id="18" name="object 18"/>
            <p:cNvSpPr/>
            <p:nvPr/>
          </p:nvSpPr>
          <p:spPr>
            <a:xfrm>
              <a:off x="14099972" y="5806007"/>
              <a:ext cx="762635" cy="2447290"/>
            </a:xfrm>
            <a:custGeom>
              <a:avLst/>
              <a:gdLst/>
              <a:ahLst/>
              <a:cxnLst/>
              <a:rect l="l" t="t" r="r" b="b"/>
              <a:pathLst>
                <a:path w="762634" h="2447290">
                  <a:moveTo>
                    <a:pt x="45770" y="1139596"/>
                  </a:moveTo>
                  <a:lnTo>
                    <a:pt x="0" y="1139596"/>
                  </a:lnTo>
                  <a:lnTo>
                    <a:pt x="0" y="1257414"/>
                  </a:lnTo>
                  <a:lnTo>
                    <a:pt x="45770" y="1257414"/>
                  </a:lnTo>
                  <a:lnTo>
                    <a:pt x="45770" y="1139596"/>
                  </a:lnTo>
                  <a:close/>
                </a:path>
                <a:path w="762634" h="2447290">
                  <a:moveTo>
                    <a:pt x="45770" y="949528"/>
                  </a:moveTo>
                  <a:lnTo>
                    <a:pt x="0" y="949528"/>
                  </a:lnTo>
                  <a:lnTo>
                    <a:pt x="0" y="1092085"/>
                  </a:lnTo>
                  <a:lnTo>
                    <a:pt x="45770" y="1092085"/>
                  </a:lnTo>
                  <a:lnTo>
                    <a:pt x="45770" y="949528"/>
                  </a:lnTo>
                  <a:close/>
                </a:path>
                <a:path w="762634" h="2447290">
                  <a:moveTo>
                    <a:pt x="45770" y="759460"/>
                  </a:moveTo>
                  <a:lnTo>
                    <a:pt x="0" y="759460"/>
                  </a:lnTo>
                  <a:lnTo>
                    <a:pt x="0" y="902004"/>
                  </a:lnTo>
                  <a:lnTo>
                    <a:pt x="45770" y="902004"/>
                  </a:lnTo>
                  <a:lnTo>
                    <a:pt x="45770" y="759460"/>
                  </a:lnTo>
                  <a:close/>
                </a:path>
                <a:path w="762634" h="2447290">
                  <a:moveTo>
                    <a:pt x="47701" y="570217"/>
                  </a:moveTo>
                  <a:lnTo>
                    <a:pt x="23850" y="570217"/>
                  </a:lnTo>
                  <a:lnTo>
                    <a:pt x="23850" y="604939"/>
                  </a:lnTo>
                  <a:lnTo>
                    <a:pt x="14605" y="606310"/>
                  </a:lnTo>
                  <a:lnTo>
                    <a:pt x="17792" y="604939"/>
                  </a:lnTo>
                  <a:lnTo>
                    <a:pt x="23850" y="604939"/>
                  </a:lnTo>
                  <a:lnTo>
                    <a:pt x="23850" y="570217"/>
                  </a:lnTo>
                  <a:lnTo>
                    <a:pt x="1930" y="570217"/>
                  </a:lnTo>
                  <a:lnTo>
                    <a:pt x="1930" y="618109"/>
                  </a:lnTo>
                  <a:lnTo>
                    <a:pt x="1498" y="618871"/>
                  </a:lnTo>
                  <a:lnTo>
                    <a:pt x="0" y="629704"/>
                  </a:lnTo>
                  <a:lnTo>
                    <a:pt x="0" y="711936"/>
                  </a:lnTo>
                  <a:lnTo>
                    <a:pt x="45770" y="711936"/>
                  </a:lnTo>
                  <a:lnTo>
                    <a:pt x="45770" y="652462"/>
                  </a:lnTo>
                  <a:lnTo>
                    <a:pt x="45770" y="639292"/>
                  </a:lnTo>
                  <a:lnTo>
                    <a:pt x="46202" y="638530"/>
                  </a:lnTo>
                  <a:lnTo>
                    <a:pt x="47421" y="629704"/>
                  </a:lnTo>
                  <a:lnTo>
                    <a:pt x="47701" y="627697"/>
                  </a:lnTo>
                  <a:lnTo>
                    <a:pt x="47701" y="604939"/>
                  </a:lnTo>
                  <a:lnTo>
                    <a:pt x="47701" y="570217"/>
                  </a:lnTo>
                  <a:close/>
                </a:path>
                <a:path w="762634" h="2447290">
                  <a:moveTo>
                    <a:pt x="47701" y="380136"/>
                  </a:moveTo>
                  <a:lnTo>
                    <a:pt x="1930" y="380136"/>
                  </a:lnTo>
                  <a:lnTo>
                    <a:pt x="1930" y="522693"/>
                  </a:lnTo>
                  <a:lnTo>
                    <a:pt x="47701" y="522693"/>
                  </a:lnTo>
                  <a:lnTo>
                    <a:pt x="47701" y="380136"/>
                  </a:lnTo>
                  <a:close/>
                </a:path>
                <a:path w="762634" h="2447290">
                  <a:moveTo>
                    <a:pt x="47701" y="190068"/>
                  </a:moveTo>
                  <a:lnTo>
                    <a:pt x="1930" y="190068"/>
                  </a:lnTo>
                  <a:lnTo>
                    <a:pt x="1930" y="332625"/>
                  </a:lnTo>
                  <a:lnTo>
                    <a:pt x="47701" y="332625"/>
                  </a:lnTo>
                  <a:lnTo>
                    <a:pt x="47701" y="190068"/>
                  </a:lnTo>
                  <a:close/>
                </a:path>
                <a:path w="762634" h="2447290">
                  <a:moveTo>
                    <a:pt x="47701" y="0"/>
                  </a:moveTo>
                  <a:lnTo>
                    <a:pt x="1930" y="0"/>
                  </a:lnTo>
                  <a:lnTo>
                    <a:pt x="1930" y="142544"/>
                  </a:lnTo>
                  <a:lnTo>
                    <a:pt x="47701" y="142544"/>
                  </a:lnTo>
                  <a:lnTo>
                    <a:pt x="47701" y="0"/>
                  </a:lnTo>
                  <a:close/>
                </a:path>
                <a:path w="762634" h="2447290">
                  <a:moveTo>
                    <a:pt x="47726" y="1561198"/>
                  </a:moveTo>
                  <a:lnTo>
                    <a:pt x="0" y="1561198"/>
                  </a:lnTo>
                  <a:lnTo>
                    <a:pt x="0" y="1704759"/>
                  </a:lnTo>
                  <a:lnTo>
                    <a:pt x="47726" y="1704759"/>
                  </a:lnTo>
                  <a:lnTo>
                    <a:pt x="47726" y="1561198"/>
                  </a:lnTo>
                  <a:close/>
                </a:path>
                <a:path w="762634" h="2447290">
                  <a:moveTo>
                    <a:pt x="73177" y="1879866"/>
                  </a:moveTo>
                  <a:lnTo>
                    <a:pt x="62052" y="1856892"/>
                  </a:lnTo>
                  <a:lnTo>
                    <a:pt x="54089" y="1833041"/>
                  </a:lnTo>
                  <a:lnTo>
                    <a:pt x="49326" y="1808302"/>
                  </a:lnTo>
                  <a:lnTo>
                    <a:pt x="47726" y="1782673"/>
                  </a:lnTo>
                  <a:lnTo>
                    <a:pt x="47726" y="1752600"/>
                  </a:lnTo>
                  <a:lnTo>
                    <a:pt x="0" y="1752600"/>
                  </a:lnTo>
                  <a:lnTo>
                    <a:pt x="0" y="1782673"/>
                  </a:lnTo>
                  <a:lnTo>
                    <a:pt x="1981" y="1814499"/>
                  </a:lnTo>
                  <a:lnTo>
                    <a:pt x="7912" y="1845233"/>
                  </a:lnTo>
                  <a:lnTo>
                    <a:pt x="17805" y="1874888"/>
                  </a:lnTo>
                  <a:lnTo>
                    <a:pt x="31648" y="1903437"/>
                  </a:lnTo>
                  <a:lnTo>
                    <a:pt x="73177" y="1879866"/>
                  </a:lnTo>
                  <a:close/>
                </a:path>
                <a:path w="762634" h="2447290">
                  <a:moveTo>
                    <a:pt x="207746" y="1976742"/>
                  </a:moveTo>
                  <a:lnTo>
                    <a:pt x="176491" y="1968207"/>
                  </a:lnTo>
                  <a:lnTo>
                    <a:pt x="147789" y="1955012"/>
                  </a:lnTo>
                  <a:lnTo>
                    <a:pt x="121666" y="1937143"/>
                  </a:lnTo>
                  <a:lnTo>
                    <a:pt x="98107" y="1914601"/>
                  </a:lnTo>
                  <a:lnTo>
                    <a:pt x="62598" y="1946567"/>
                  </a:lnTo>
                  <a:lnTo>
                    <a:pt x="91859" y="1974557"/>
                  </a:lnTo>
                  <a:lnTo>
                    <a:pt x="124320" y="1996744"/>
                  </a:lnTo>
                  <a:lnTo>
                    <a:pt x="159981" y="2013153"/>
                  </a:lnTo>
                  <a:lnTo>
                    <a:pt x="198843" y="2023757"/>
                  </a:lnTo>
                  <a:lnTo>
                    <a:pt x="207746" y="1976742"/>
                  </a:lnTo>
                  <a:close/>
                </a:path>
                <a:path w="762634" h="2447290">
                  <a:moveTo>
                    <a:pt x="394081" y="1980222"/>
                  </a:moveTo>
                  <a:lnTo>
                    <a:pt x="250901" y="1980222"/>
                  </a:lnTo>
                  <a:lnTo>
                    <a:pt x="250901" y="2028075"/>
                  </a:lnTo>
                  <a:lnTo>
                    <a:pt x="394081" y="2028075"/>
                  </a:lnTo>
                  <a:lnTo>
                    <a:pt x="394081" y="1980222"/>
                  </a:lnTo>
                  <a:close/>
                </a:path>
                <a:path w="762634" h="2447290">
                  <a:moveTo>
                    <a:pt x="591388" y="1991677"/>
                  </a:moveTo>
                  <a:lnTo>
                    <a:pt x="573265" y="1986661"/>
                  </a:lnTo>
                  <a:lnTo>
                    <a:pt x="554863" y="1983079"/>
                  </a:lnTo>
                  <a:lnTo>
                    <a:pt x="536206" y="1980933"/>
                  </a:lnTo>
                  <a:lnTo>
                    <a:pt x="517296" y="1980222"/>
                  </a:lnTo>
                  <a:lnTo>
                    <a:pt x="441807" y="1980222"/>
                  </a:lnTo>
                  <a:lnTo>
                    <a:pt x="441807" y="2028075"/>
                  </a:lnTo>
                  <a:lnTo>
                    <a:pt x="517296" y="2028075"/>
                  </a:lnTo>
                  <a:lnTo>
                    <a:pt x="532536" y="2028647"/>
                  </a:lnTo>
                  <a:lnTo>
                    <a:pt x="547560" y="2030374"/>
                  </a:lnTo>
                  <a:lnTo>
                    <a:pt x="562368" y="2033257"/>
                  </a:lnTo>
                  <a:lnTo>
                    <a:pt x="576961" y="2037283"/>
                  </a:lnTo>
                  <a:lnTo>
                    <a:pt x="591388" y="1991677"/>
                  </a:lnTo>
                  <a:close/>
                </a:path>
                <a:path w="762634" h="2447290">
                  <a:moveTo>
                    <a:pt x="743280" y="2131187"/>
                  </a:moveTo>
                  <a:lnTo>
                    <a:pt x="724890" y="2095169"/>
                  </a:lnTo>
                  <a:lnTo>
                    <a:pt x="701548" y="2063496"/>
                  </a:lnTo>
                  <a:lnTo>
                    <a:pt x="673214" y="2036178"/>
                  </a:lnTo>
                  <a:lnTo>
                    <a:pt x="639914" y="2013191"/>
                  </a:lnTo>
                  <a:lnTo>
                    <a:pt x="615975" y="2054593"/>
                  </a:lnTo>
                  <a:lnTo>
                    <a:pt x="642797" y="2073097"/>
                  </a:lnTo>
                  <a:lnTo>
                    <a:pt x="665619" y="2095106"/>
                  </a:lnTo>
                  <a:lnTo>
                    <a:pt x="684428" y="2120608"/>
                  </a:lnTo>
                  <a:lnTo>
                    <a:pt x="699223" y="2149614"/>
                  </a:lnTo>
                  <a:lnTo>
                    <a:pt x="743280" y="2131187"/>
                  </a:lnTo>
                  <a:close/>
                </a:path>
                <a:path w="762634" h="2447290">
                  <a:moveTo>
                    <a:pt x="762063" y="2377554"/>
                  </a:moveTo>
                  <a:lnTo>
                    <a:pt x="714336" y="2377554"/>
                  </a:lnTo>
                  <a:lnTo>
                    <a:pt x="714336" y="2447086"/>
                  </a:lnTo>
                  <a:lnTo>
                    <a:pt x="762063" y="2447086"/>
                  </a:lnTo>
                  <a:lnTo>
                    <a:pt x="762063" y="2377554"/>
                  </a:lnTo>
                  <a:close/>
                </a:path>
                <a:path w="762634" h="2447290">
                  <a:moveTo>
                    <a:pt x="762063" y="2225611"/>
                  </a:moveTo>
                  <a:lnTo>
                    <a:pt x="761822" y="2214613"/>
                  </a:lnTo>
                  <a:lnTo>
                    <a:pt x="761098" y="2203666"/>
                  </a:lnTo>
                  <a:lnTo>
                    <a:pt x="759891" y="2192794"/>
                  </a:lnTo>
                  <a:lnTo>
                    <a:pt x="758202" y="2181987"/>
                  </a:lnTo>
                  <a:lnTo>
                    <a:pt x="711225" y="2190445"/>
                  </a:lnTo>
                  <a:lnTo>
                    <a:pt x="712584" y="2199144"/>
                  </a:lnTo>
                  <a:lnTo>
                    <a:pt x="713562" y="2207920"/>
                  </a:lnTo>
                  <a:lnTo>
                    <a:pt x="714133" y="2216734"/>
                  </a:lnTo>
                  <a:lnTo>
                    <a:pt x="714336" y="2225611"/>
                  </a:lnTo>
                  <a:lnTo>
                    <a:pt x="714336" y="2329700"/>
                  </a:lnTo>
                  <a:lnTo>
                    <a:pt x="762063" y="2329700"/>
                  </a:lnTo>
                  <a:lnTo>
                    <a:pt x="762063" y="2225611"/>
                  </a:lnTo>
                  <a:close/>
                </a:path>
              </a:pathLst>
            </a:custGeom>
            <a:solidFill>
              <a:srgbClr val="263375"/>
            </a:solidFill>
          </p:spPr>
          <p:txBody>
            <a:bodyPr wrap="square" lIns="0" tIns="0" rIns="0" bIns="0" rtlCol="0"/>
            <a:lstStyle/>
            <a:p>
              <a:endParaRPr/>
            </a:p>
          </p:txBody>
        </p:sp>
        <p:sp>
          <p:nvSpPr>
            <p:cNvPr id="19" name="object 19"/>
            <p:cNvSpPr/>
            <p:nvPr/>
          </p:nvSpPr>
          <p:spPr>
            <a:xfrm>
              <a:off x="13973302" y="5631700"/>
              <a:ext cx="1164590" cy="2767965"/>
            </a:xfrm>
            <a:custGeom>
              <a:avLst/>
              <a:gdLst/>
              <a:ahLst/>
              <a:cxnLst/>
              <a:rect l="l" t="t" r="r" b="b"/>
              <a:pathLst>
                <a:path w="1164590" h="2767965">
                  <a:moveTo>
                    <a:pt x="300964" y="150482"/>
                  </a:moveTo>
                  <a:lnTo>
                    <a:pt x="293293" y="102920"/>
                  </a:lnTo>
                  <a:lnTo>
                    <a:pt x="271932" y="61607"/>
                  </a:lnTo>
                  <a:lnTo>
                    <a:pt x="239356" y="29032"/>
                  </a:lnTo>
                  <a:lnTo>
                    <a:pt x="198056" y="7670"/>
                  </a:lnTo>
                  <a:lnTo>
                    <a:pt x="150482" y="0"/>
                  </a:lnTo>
                  <a:lnTo>
                    <a:pt x="102920" y="7670"/>
                  </a:lnTo>
                  <a:lnTo>
                    <a:pt x="61607" y="29032"/>
                  </a:lnTo>
                  <a:lnTo>
                    <a:pt x="29032" y="61607"/>
                  </a:lnTo>
                  <a:lnTo>
                    <a:pt x="7670" y="102920"/>
                  </a:lnTo>
                  <a:lnTo>
                    <a:pt x="0" y="150482"/>
                  </a:lnTo>
                  <a:lnTo>
                    <a:pt x="7670" y="198056"/>
                  </a:lnTo>
                  <a:lnTo>
                    <a:pt x="29032" y="239356"/>
                  </a:lnTo>
                  <a:lnTo>
                    <a:pt x="61607" y="271932"/>
                  </a:lnTo>
                  <a:lnTo>
                    <a:pt x="102920" y="293306"/>
                  </a:lnTo>
                  <a:lnTo>
                    <a:pt x="150482" y="300977"/>
                  </a:lnTo>
                  <a:lnTo>
                    <a:pt x="198056" y="293306"/>
                  </a:lnTo>
                  <a:lnTo>
                    <a:pt x="239356" y="271932"/>
                  </a:lnTo>
                  <a:lnTo>
                    <a:pt x="271932" y="239356"/>
                  </a:lnTo>
                  <a:lnTo>
                    <a:pt x="293293" y="198056"/>
                  </a:lnTo>
                  <a:lnTo>
                    <a:pt x="300964" y="150482"/>
                  </a:lnTo>
                  <a:close/>
                </a:path>
                <a:path w="1164590" h="2767965">
                  <a:moveTo>
                    <a:pt x="1164247" y="2617228"/>
                  </a:moveTo>
                  <a:lnTo>
                    <a:pt x="1156576" y="2569654"/>
                  </a:lnTo>
                  <a:lnTo>
                    <a:pt x="1135214" y="2528354"/>
                  </a:lnTo>
                  <a:lnTo>
                    <a:pt x="1102639" y="2495778"/>
                  </a:lnTo>
                  <a:lnTo>
                    <a:pt x="1061326" y="2474417"/>
                  </a:lnTo>
                  <a:lnTo>
                    <a:pt x="1013764" y="2466746"/>
                  </a:lnTo>
                  <a:lnTo>
                    <a:pt x="966203" y="2474417"/>
                  </a:lnTo>
                  <a:lnTo>
                    <a:pt x="924890" y="2495778"/>
                  </a:lnTo>
                  <a:lnTo>
                    <a:pt x="892314" y="2528354"/>
                  </a:lnTo>
                  <a:lnTo>
                    <a:pt x="870953" y="2569654"/>
                  </a:lnTo>
                  <a:lnTo>
                    <a:pt x="863282" y="2617228"/>
                  </a:lnTo>
                  <a:lnTo>
                    <a:pt x="870953" y="2664790"/>
                  </a:lnTo>
                  <a:lnTo>
                    <a:pt x="892314" y="2706103"/>
                  </a:lnTo>
                  <a:lnTo>
                    <a:pt x="924890" y="2738678"/>
                  </a:lnTo>
                  <a:lnTo>
                    <a:pt x="966203" y="2760040"/>
                  </a:lnTo>
                  <a:lnTo>
                    <a:pt x="1013764" y="2767711"/>
                  </a:lnTo>
                  <a:lnTo>
                    <a:pt x="1061326" y="2760040"/>
                  </a:lnTo>
                  <a:lnTo>
                    <a:pt x="1102639" y="2738678"/>
                  </a:lnTo>
                  <a:lnTo>
                    <a:pt x="1135214" y="2706103"/>
                  </a:lnTo>
                  <a:lnTo>
                    <a:pt x="1156576" y="2664790"/>
                  </a:lnTo>
                  <a:lnTo>
                    <a:pt x="1164247" y="2617228"/>
                  </a:lnTo>
                  <a:close/>
                </a:path>
              </a:pathLst>
            </a:custGeom>
            <a:solidFill>
              <a:srgbClr val="E1092F"/>
            </a:solidFill>
          </p:spPr>
          <p:txBody>
            <a:bodyPr wrap="square" lIns="0" tIns="0" rIns="0" bIns="0" rtlCol="0"/>
            <a:lstStyle/>
            <a:p>
              <a:endParaRPr/>
            </a:p>
          </p:txBody>
        </p:sp>
      </p:grpSp>
      <p:sp>
        <p:nvSpPr>
          <p:cNvPr id="20" name="object 20"/>
          <p:cNvSpPr txBox="1"/>
          <p:nvPr/>
        </p:nvSpPr>
        <p:spPr>
          <a:xfrm>
            <a:off x="14873932" y="7674775"/>
            <a:ext cx="532765" cy="238760"/>
          </a:xfrm>
          <a:prstGeom prst="rect">
            <a:avLst/>
          </a:prstGeom>
        </p:spPr>
        <p:txBody>
          <a:bodyPr vert="horz" wrap="square" lIns="0" tIns="12700" rIns="0" bIns="0" rtlCol="0">
            <a:spAutoFit/>
          </a:bodyPr>
          <a:lstStyle/>
          <a:p>
            <a:pPr marL="12700">
              <a:lnSpc>
                <a:spcPct val="100000"/>
              </a:lnSpc>
              <a:spcBef>
                <a:spcPts val="100"/>
              </a:spcBef>
            </a:pPr>
            <a:r>
              <a:rPr sz="1400" b="1" spc="-10" dirty="0">
                <a:solidFill>
                  <a:srgbClr val="E3112B"/>
                </a:solidFill>
                <a:latin typeface="Roboto"/>
                <a:cs typeface="Roboto"/>
              </a:rPr>
              <a:t>Pucón</a:t>
            </a:r>
            <a:endParaRPr sz="1400">
              <a:latin typeface="Roboto"/>
              <a:cs typeface="Roboto"/>
            </a:endParaRPr>
          </a:p>
        </p:txBody>
      </p:sp>
      <p:grpSp>
        <p:nvGrpSpPr>
          <p:cNvPr id="21" name="object 21"/>
          <p:cNvGrpSpPr/>
          <p:nvPr/>
        </p:nvGrpSpPr>
        <p:grpSpPr>
          <a:xfrm>
            <a:off x="13973309" y="7066236"/>
            <a:ext cx="1420495" cy="541020"/>
            <a:chOff x="13973309" y="7066236"/>
            <a:chExt cx="1420495" cy="541020"/>
          </a:xfrm>
        </p:grpSpPr>
        <p:sp>
          <p:nvSpPr>
            <p:cNvPr id="22" name="object 22"/>
            <p:cNvSpPr/>
            <p:nvPr/>
          </p:nvSpPr>
          <p:spPr>
            <a:xfrm>
              <a:off x="14099981" y="7246021"/>
              <a:ext cx="1122680" cy="267335"/>
            </a:xfrm>
            <a:custGeom>
              <a:avLst/>
              <a:gdLst/>
              <a:ahLst/>
              <a:cxnLst/>
              <a:rect l="l" t="t" r="r" b="b"/>
              <a:pathLst>
                <a:path w="1122680" h="267334">
                  <a:moveTo>
                    <a:pt x="2733" y="149703"/>
                  </a:moveTo>
                  <a:lnTo>
                    <a:pt x="1537" y="142684"/>
                  </a:lnTo>
                  <a:lnTo>
                    <a:pt x="683" y="135617"/>
                  </a:lnTo>
                  <a:lnTo>
                    <a:pt x="170" y="128504"/>
                  </a:lnTo>
                  <a:lnTo>
                    <a:pt x="0" y="121343"/>
                  </a:lnTo>
                  <a:lnTo>
                    <a:pt x="0" y="0"/>
                  </a:lnTo>
                  <a:lnTo>
                    <a:pt x="47624" y="0"/>
                  </a:lnTo>
                  <a:lnTo>
                    <a:pt x="47695" y="128504"/>
                  </a:lnTo>
                  <a:lnTo>
                    <a:pt x="48234" y="134107"/>
                  </a:lnTo>
                  <a:lnTo>
                    <a:pt x="49453" y="140346"/>
                  </a:lnTo>
                  <a:lnTo>
                    <a:pt x="2733" y="149703"/>
                  </a:lnTo>
                  <a:close/>
                </a:path>
                <a:path w="1122680" h="267334">
                  <a:moveTo>
                    <a:pt x="170105" y="266795"/>
                  </a:moveTo>
                  <a:lnTo>
                    <a:pt x="143666" y="266795"/>
                  </a:lnTo>
                  <a:lnTo>
                    <a:pt x="107622" y="262793"/>
                  </a:lnTo>
                  <a:lnTo>
                    <a:pt x="75763" y="250787"/>
                  </a:lnTo>
                  <a:lnTo>
                    <a:pt x="48090" y="230777"/>
                  </a:lnTo>
                  <a:lnTo>
                    <a:pt x="24603" y="202763"/>
                  </a:lnTo>
                  <a:lnTo>
                    <a:pt x="64048" y="175745"/>
                  </a:lnTo>
                  <a:lnTo>
                    <a:pt x="79758" y="194484"/>
                  </a:lnTo>
                  <a:lnTo>
                    <a:pt x="98264" y="207870"/>
                  </a:lnTo>
                  <a:lnTo>
                    <a:pt x="119567" y="215901"/>
                  </a:lnTo>
                  <a:lnTo>
                    <a:pt x="143666" y="218578"/>
                  </a:lnTo>
                  <a:lnTo>
                    <a:pt x="170105" y="218578"/>
                  </a:lnTo>
                  <a:lnTo>
                    <a:pt x="170105" y="266795"/>
                  </a:lnTo>
                  <a:close/>
                </a:path>
                <a:path w="1122680" h="267334">
                  <a:moveTo>
                    <a:pt x="360605" y="266795"/>
                  </a:moveTo>
                  <a:lnTo>
                    <a:pt x="217730" y="266795"/>
                  </a:lnTo>
                  <a:lnTo>
                    <a:pt x="217730" y="218578"/>
                  </a:lnTo>
                  <a:lnTo>
                    <a:pt x="360605" y="218578"/>
                  </a:lnTo>
                  <a:lnTo>
                    <a:pt x="360605" y="266795"/>
                  </a:lnTo>
                  <a:close/>
                </a:path>
                <a:path w="1122680" h="267334">
                  <a:moveTo>
                    <a:pt x="551105" y="266795"/>
                  </a:moveTo>
                  <a:lnTo>
                    <a:pt x="408230" y="266795"/>
                  </a:lnTo>
                  <a:lnTo>
                    <a:pt x="408230" y="218578"/>
                  </a:lnTo>
                  <a:lnTo>
                    <a:pt x="551105" y="218578"/>
                  </a:lnTo>
                  <a:lnTo>
                    <a:pt x="551105" y="266795"/>
                  </a:lnTo>
                  <a:close/>
                </a:path>
                <a:path w="1122680" h="267334">
                  <a:moveTo>
                    <a:pt x="741605" y="266795"/>
                  </a:moveTo>
                  <a:lnTo>
                    <a:pt x="598730" y="266795"/>
                  </a:lnTo>
                  <a:lnTo>
                    <a:pt x="598730" y="218578"/>
                  </a:lnTo>
                  <a:lnTo>
                    <a:pt x="741605" y="218578"/>
                  </a:lnTo>
                  <a:lnTo>
                    <a:pt x="741605" y="266795"/>
                  </a:lnTo>
                  <a:close/>
                </a:path>
                <a:path w="1122680" h="267334">
                  <a:moveTo>
                    <a:pt x="932105" y="266795"/>
                  </a:moveTo>
                  <a:lnTo>
                    <a:pt x="789230" y="266795"/>
                  </a:lnTo>
                  <a:lnTo>
                    <a:pt x="789230" y="218578"/>
                  </a:lnTo>
                  <a:lnTo>
                    <a:pt x="932105" y="218578"/>
                  </a:lnTo>
                  <a:lnTo>
                    <a:pt x="932105" y="266795"/>
                  </a:lnTo>
                  <a:close/>
                </a:path>
                <a:path w="1122680" h="267334">
                  <a:moveTo>
                    <a:pt x="1122605" y="266795"/>
                  </a:moveTo>
                  <a:lnTo>
                    <a:pt x="979730" y="266795"/>
                  </a:lnTo>
                  <a:lnTo>
                    <a:pt x="979730" y="218578"/>
                  </a:lnTo>
                  <a:lnTo>
                    <a:pt x="1122605" y="218578"/>
                  </a:lnTo>
                  <a:lnTo>
                    <a:pt x="1122605" y="266795"/>
                  </a:lnTo>
                  <a:close/>
                </a:path>
              </a:pathLst>
            </a:custGeom>
            <a:solidFill>
              <a:srgbClr val="263375"/>
            </a:solidFill>
          </p:spPr>
          <p:txBody>
            <a:bodyPr wrap="square" lIns="0" tIns="0" rIns="0" bIns="0" rtlCol="0"/>
            <a:lstStyle/>
            <a:p>
              <a:endParaRPr/>
            </a:p>
          </p:txBody>
        </p:sp>
        <p:sp>
          <p:nvSpPr>
            <p:cNvPr id="23" name="object 23"/>
            <p:cNvSpPr/>
            <p:nvPr/>
          </p:nvSpPr>
          <p:spPr>
            <a:xfrm>
              <a:off x="13973302" y="7066241"/>
              <a:ext cx="1420495" cy="541020"/>
            </a:xfrm>
            <a:custGeom>
              <a:avLst/>
              <a:gdLst/>
              <a:ahLst/>
              <a:cxnLst/>
              <a:rect l="l" t="t" r="r" b="b"/>
              <a:pathLst>
                <a:path w="1420494" h="541020">
                  <a:moveTo>
                    <a:pt x="300964" y="150482"/>
                  </a:moveTo>
                  <a:lnTo>
                    <a:pt x="293293" y="102920"/>
                  </a:lnTo>
                  <a:lnTo>
                    <a:pt x="271932" y="61607"/>
                  </a:lnTo>
                  <a:lnTo>
                    <a:pt x="239356" y="29032"/>
                  </a:lnTo>
                  <a:lnTo>
                    <a:pt x="198056" y="7670"/>
                  </a:lnTo>
                  <a:lnTo>
                    <a:pt x="150482" y="0"/>
                  </a:lnTo>
                  <a:lnTo>
                    <a:pt x="102920" y="7670"/>
                  </a:lnTo>
                  <a:lnTo>
                    <a:pt x="61607" y="29032"/>
                  </a:lnTo>
                  <a:lnTo>
                    <a:pt x="29032" y="61607"/>
                  </a:lnTo>
                  <a:lnTo>
                    <a:pt x="7670" y="102920"/>
                  </a:lnTo>
                  <a:lnTo>
                    <a:pt x="0" y="150482"/>
                  </a:lnTo>
                  <a:lnTo>
                    <a:pt x="7670" y="198056"/>
                  </a:lnTo>
                  <a:lnTo>
                    <a:pt x="29032" y="239356"/>
                  </a:lnTo>
                  <a:lnTo>
                    <a:pt x="61607" y="271932"/>
                  </a:lnTo>
                  <a:lnTo>
                    <a:pt x="102920" y="293293"/>
                  </a:lnTo>
                  <a:lnTo>
                    <a:pt x="150495" y="300964"/>
                  </a:lnTo>
                  <a:lnTo>
                    <a:pt x="198056" y="293293"/>
                  </a:lnTo>
                  <a:lnTo>
                    <a:pt x="239356" y="271932"/>
                  </a:lnTo>
                  <a:lnTo>
                    <a:pt x="271932" y="239356"/>
                  </a:lnTo>
                  <a:lnTo>
                    <a:pt x="293293" y="198056"/>
                  </a:lnTo>
                  <a:lnTo>
                    <a:pt x="300964" y="150482"/>
                  </a:lnTo>
                  <a:close/>
                </a:path>
                <a:path w="1420494" h="541020">
                  <a:moveTo>
                    <a:pt x="1420152" y="390194"/>
                  </a:moveTo>
                  <a:lnTo>
                    <a:pt x="1412481" y="342633"/>
                  </a:lnTo>
                  <a:lnTo>
                    <a:pt x="1391119" y="301320"/>
                  </a:lnTo>
                  <a:lnTo>
                    <a:pt x="1358544" y="268744"/>
                  </a:lnTo>
                  <a:lnTo>
                    <a:pt x="1317244" y="247383"/>
                  </a:lnTo>
                  <a:lnTo>
                    <a:pt x="1269669" y="239712"/>
                  </a:lnTo>
                  <a:lnTo>
                    <a:pt x="1222108" y="247383"/>
                  </a:lnTo>
                  <a:lnTo>
                    <a:pt x="1180795" y="268744"/>
                  </a:lnTo>
                  <a:lnTo>
                    <a:pt x="1148219" y="301320"/>
                  </a:lnTo>
                  <a:lnTo>
                    <a:pt x="1126858" y="342633"/>
                  </a:lnTo>
                  <a:lnTo>
                    <a:pt x="1119187" y="390194"/>
                  </a:lnTo>
                  <a:lnTo>
                    <a:pt x="1126858" y="437756"/>
                  </a:lnTo>
                  <a:lnTo>
                    <a:pt x="1148219" y="479069"/>
                  </a:lnTo>
                  <a:lnTo>
                    <a:pt x="1180795" y="511644"/>
                  </a:lnTo>
                  <a:lnTo>
                    <a:pt x="1222108" y="533006"/>
                  </a:lnTo>
                  <a:lnTo>
                    <a:pt x="1269669" y="540677"/>
                  </a:lnTo>
                  <a:lnTo>
                    <a:pt x="1317244" y="533006"/>
                  </a:lnTo>
                  <a:lnTo>
                    <a:pt x="1358544" y="511644"/>
                  </a:lnTo>
                  <a:lnTo>
                    <a:pt x="1391119" y="479069"/>
                  </a:lnTo>
                  <a:lnTo>
                    <a:pt x="1412481" y="437756"/>
                  </a:lnTo>
                  <a:lnTo>
                    <a:pt x="1420152" y="390194"/>
                  </a:lnTo>
                  <a:close/>
                </a:path>
              </a:pathLst>
            </a:custGeom>
            <a:solidFill>
              <a:srgbClr val="E1092F"/>
            </a:solidFill>
          </p:spPr>
          <p:txBody>
            <a:bodyPr wrap="square" lIns="0" tIns="0" rIns="0" bIns="0" rtlCol="0"/>
            <a:lstStyle/>
            <a:p>
              <a:endParaRPr/>
            </a:p>
          </p:txBody>
        </p:sp>
      </p:grpSp>
      <p:pic>
        <p:nvPicPr>
          <p:cNvPr id="24" name="object 24"/>
          <p:cNvPicPr/>
          <p:nvPr/>
        </p:nvPicPr>
        <p:blipFill>
          <a:blip r:embed="rId3" cstate="print"/>
          <a:stretch>
            <a:fillRect/>
          </a:stretch>
        </p:blipFill>
        <p:spPr>
          <a:xfrm>
            <a:off x="17316450" y="237491"/>
            <a:ext cx="742949" cy="819149"/>
          </a:xfrm>
          <a:prstGeom prst="rect">
            <a:avLst/>
          </a:prstGeom>
        </p:spPr>
      </p:pic>
      <p:sp>
        <p:nvSpPr>
          <p:cNvPr id="25" name="object 25"/>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26" name="object 26"/>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26</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4"/>
            <a:ext cx="17954625" cy="8662035"/>
          </a:xfrm>
          <a:custGeom>
            <a:avLst/>
            <a:gdLst/>
            <a:ahLst/>
            <a:cxnLst/>
            <a:rect l="l" t="t" r="r" b="b"/>
            <a:pathLst>
              <a:path w="17954625" h="8662035">
                <a:moveTo>
                  <a:pt x="0" y="8661679"/>
                </a:moveTo>
                <a:lnTo>
                  <a:pt x="17954029" y="8661679"/>
                </a:lnTo>
                <a:lnTo>
                  <a:pt x="17954029" y="0"/>
                </a:lnTo>
                <a:lnTo>
                  <a:pt x="0" y="0"/>
                </a:lnTo>
                <a:lnTo>
                  <a:pt x="0" y="8661679"/>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4"/>
            <a:ext cx="17954625" cy="2768600"/>
            <a:chOff x="166956" y="171494"/>
            <a:chExt cx="17954625" cy="2768600"/>
          </a:xfrm>
        </p:grpSpPr>
        <p:sp>
          <p:nvSpPr>
            <p:cNvPr id="4" name="object 4"/>
            <p:cNvSpPr/>
            <p:nvPr/>
          </p:nvSpPr>
          <p:spPr>
            <a:xfrm>
              <a:off x="166956" y="171494"/>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sp>
          <p:nvSpPr>
            <p:cNvPr id="6" name="object 6"/>
            <p:cNvSpPr/>
            <p:nvPr/>
          </p:nvSpPr>
          <p:spPr>
            <a:xfrm>
              <a:off x="2881869" y="1565707"/>
              <a:ext cx="1374775" cy="1374775"/>
            </a:xfrm>
            <a:custGeom>
              <a:avLst/>
              <a:gdLst/>
              <a:ahLst/>
              <a:cxnLst/>
              <a:rect l="l" t="t" r="r" b="b"/>
              <a:pathLst>
                <a:path w="1374775" h="1374775">
                  <a:moveTo>
                    <a:pt x="687143" y="1374286"/>
                  </a:moveTo>
                  <a:lnTo>
                    <a:pt x="640097" y="1372700"/>
                  </a:lnTo>
                  <a:lnTo>
                    <a:pt x="593901" y="1368013"/>
                  </a:lnTo>
                  <a:lnTo>
                    <a:pt x="548659" y="1360325"/>
                  </a:lnTo>
                  <a:lnTo>
                    <a:pt x="504473" y="1349740"/>
                  </a:lnTo>
                  <a:lnTo>
                    <a:pt x="461444" y="1336360"/>
                  </a:lnTo>
                  <a:lnTo>
                    <a:pt x="419675" y="1320286"/>
                  </a:lnTo>
                  <a:lnTo>
                    <a:pt x="379269" y="1301623"/>
                  </a:lnTo>
                  <a:lnTo>
                    <a:pt x="340328" y="1280470"/>
                  </a:lnTo>
                  <a:lnTo>
                    <a:pt x="302954" y="1256932"/>
                  </a:lnTo>
                  <a:lnTo>
                    <a:pt x="267250" y="1231111"/>
                  </a:lnTo>
                  <a:lnTo>
                    <a:pt x="233317" y="1203108"/>
                  </a:lnTo>
                  <a:lnTo>
                    <a:pt x="201259" y="1173026"/>
                  </a:lnTo>
                  <a:lnTo>
                    <a:pt x="171177" y="1140968"/>
                  </a:lnTo>
                  <a:lnTo>
                    <a:pt x="143174" y="1107035"/>
                  </a:lnTo>
                  <a:lnTo>
                    <a:pt x="117353" y="1071331"/>
                  </a:lnTo>
                  <a:lnTo>
                    <a:pt x="93814" y="1033957"/>
                  </a:lnTo>
                  <a:lnTo>
                    <a:pt x="72662" y="995016"/>
                  </a:lnTo>
                  <a:lnTo>
                    <a:pt x="53998" y="954610"/>
                  </a:lnTo>
                  <a:lnTo>
                    <a:pt x="37925" y="912841"/>
                  </a:lnTo>
                  <a:lnTo>
                    <a:pt x="24545" y="869812"/>
                  </a:lnTo>
                  <a:lnTo>
                    <a:pt x="13960" y="825626"/>
                  </a:lnTo>
                  <a:lnTo>
                    <a:pt x="6272" y="780384"/>
                  </a:lnTo>
                  <a:lnTo>
                    <a:pt x="1585" y="734188"/>
                  </a:lnTo>
                  <a:lnTo>
                    <a:pt x="0" y="687150"/>
                  </a:lnTo>
                  <a:lnTo>
                    <a:pt x="1585" y="640096"/>
                  </a:lnTo>
                  <a:lnTo>
                    <a:pt x="6272" y="593901"/>
                  </a:lnTo>
                  <a:lnTo>
                    <a:pt x="13960" y="548659"/>
                  </a:lnTo>
                  <a:lnTo>
                    <a:pt x="24545" y="504473"/>
                  </a:lnTo>
                  <a:lnTo>
                    <a:pt x="37925" y="461444"/>
                  </a:lnTo>
                  <a:lnTo>
                    <a:pt x="53998" y="419675"/>
                  </a:lnTo>
                  <a:lnTo>
                    <a:pt x="72662" y="379269"/>
                  </a:lnTo>
                  <a:lnTo>
                    <a:pt x="93814" y="340328"/>
                  </a:lnTo>
                  <a:lnTo>
                    <a:pt x="117353" y="302954"/>
                  </a:lnTo>
                  <a:lnTo>
                    <a:pt x="143174" y="267250"/>
                  </a:lnTo>
                  <a:lnTo>
                    <a:pt x="171177" y="233317"/>
                  </a:lnTo>
                  <a:lnTo>
                    <a:pt x="201259" y="201259"/>
                  </a:lnTo>
                  <a:lnTo>
                    <a:pt x="233317" y="171177"/>
                  </a:lnTo>
                  <a:lnTo>
                    <a:pt x="267250" y="143174"/>
                  </a:lnTo>
                  <a:lnTo>
                    <a:pt x="302954" y="117352"/>
                  </a:lnTo>
                  <a:lnTo>
                    <a:pt x="340328" y="93814"/>
                  </a:lnTo>
                  <a:lnTo>
                    <a:pt x="379269" y="72662"/>
                  </a:lnTo>
                  <a:lnTo>
                    <a:pt x="419675" y="53998"/>
                  </a:lnTo>
                  <a:lnTo>
                    <a:pt x="461444" y="37925"/>
                  </a:lnTo>
                  <a:lnTo>
                    <a:pt x="504473" y="24545"/>
                  </a:lnTo>
                  <a:lnTo>
                    <a:pt x="548659" y="13960"/>
                  </a:lnTo>
                  <a:lnTo>
                    <a:pt x="593901" y="6272"/>
                  </a:lnTo>
                  <a:lnTo>
                    <a:pt x="640097" y="1584"/>
                  </a:lnTo>
                  <a:lnTo>
                    <a:pt x="687134" y="0"/>
                  </a:lnTo>
                  <a:lnTo>
                    <a:pt x="734189" y="1584"/>
                  </a:lnTo>
                  <a:lnTo>
                    <a:pt x="780384" y="6272"/>
                  </a:lnTo>
                  <a:lnTo>
                    <a:pt x="825626" y="13960"/>
                  </a:lnTo>
                  <a:lnTo>
                    <a:pt x="869812" y="24545"/>
                  </a:lnTo>
                  <a:lnTo>
                    <a:pt x="912841" y="37925"/>
                  </a:lnTo>
                  <a:lnTo>
                    <a:pt x="954610" y="53998"/>
                  </a:lnTo>
                  <a:lnTo>
                    <a:pt x="995016" y="72662"/>
                  </a:lnTo>
                  <a:lnTo>
                    <a:pt x="1033957" y="93814"/>
                  </a:lnTo>
                  <a:lnTo>
                    <a:pt x="1071331" y="117352"/>
                  </a:lnTo>
                  <a:lnTo>
                    <a:pt x="1107035" y="143174"/>
                  </a:lnTo>
                  <a:lnTo>
                    <a:pt x="1140968" y="171177"/>
                  </a:lnTo>
                  <a:lnTo>
                    <a:pt x="1173026" y="201259"/>
                  </a:lnTo>
                  <a:lnTo>
                    <a:pt x="1203108" y="233317"/>
                  </a:lnTo>
                  <a:lnTo>
                    <a:pt x="1231111" y="267250"/>
                  </a:lnTo>
                  <a:lnTo>
                    <a:pt x="1256933" y="302954"/>
                  </a:lnTo>
                  <a:lnTo>
                    <a:pt x="1280471" y="340328"/>
                  </a:lnTo>
                  <a:lnTo>
                    <a:pt x="1301623" y="379269"/>
                  </a:lnTo>
                  <a:lnTo>
                    <a:pt x="1320287" y="419675"/>
                  </a:lnTo>
                  <a:lnTo>
                    <a:pt x="1336360" y="461444"/>
                  </a:lnTo>
                  <a:lnTo>
                    <a:pt x="1349740" y="504473"/>
                  </a:lnTo>
                  <a:lnTo>
                    <a:pt x="1360325" y="548659"/>
                  </a:lnTo>
                  <a:lnTo>
                    <a:pt x="1368013" y="593901"/>
                  </a:lnTo>
                  <a:lnTo>
                    <a:pt x="1372701" y="640096"/>
                  </a:lnTo>
                  <a:lnTo>
                    <a:pt x="1374286" y="687135"/>
                  </a:lnTo>
                  <a:lnTo>
                    <a:pt x="1372701" y="734188"/>
                  </a:lnTo>
                  <a:lnTo>
                    <a:pt x="1368013" y="780384"/>
                  </a:lnTo>
                  <a:lnTo>
                    <a:pt x="1360325" y="825626"/>
                  </a:lnTo>
                  <a:lnTo>
                    <a:pt x="1349740" y="869812"/>
                  </a:lnTo>
                  <a:lnTo>
                    <a:pt x="1336360" y="912841"/>
                  </a:lnTo>
                  <a:lnTo>
                    <a:pt x="1320287" y="954610"/>
                  </a:lnTo>
                  <a:lnTo>
                    <a:pt x="1301623" y="995016"/>
                  </a:lnTo>
                  <a:lnTo>
                    <a:pt x="1280471" y="1033957"/>
                  </a:lnTo>
                  <a:lnTo>
                    <a:pt x="1256933" y="1071331"/>
                  </a:lnTo>
                  <a:lnTo>
                    <a:pt x="1231111" y="1107035"/>
                  </a:lnTo>
                  <a:lnTo>
                    <a:pt x="1203108" y="1140968"/>
                  </a:lnTo>
                  <a:lnTo>
                    <a:pt x="1173026" y="1173026"/>
                  </a:lnTo>
                  <a:lnTo>
                    <a:pt x="1140968" y="1203108"/>
                  </a:lnTo>
                  <a:lnTo>
                    <a:pt x="1107035" y="1231111"/>
                  </a:lnTo>
                  <a:lnTo>
                    <a:pt x="1071331" y="1256932"/>
                  </a:lnTo>
                  <a:lnTo>
                    <a:pt x="1033957" y="1280470"/>
                  </a:lnTo>
                  <a:lnTo>
                    <a:pt x="995016" y="1301623"/>
                  </a:lnTo>
                  <a:lnTo>
                    <a:pt x="954610" y="1320286"/>
                  </a:lnTo>
                  <a:lnTo>
                    <a:pt x="912841" y="1336360"/>
                  </a:lnTo>
                  <a:lnTo>
                    <a:pt x="869812" y="1349740"/>
                  </a:lnTo>
                  <a:lnTo>
                    <a:pt x="825626" y="1360325"/>
                  </a:lnTo>
                  <a:lnTo>
                    <a:pt x="780384" y="1368013"/>
                  </a:lnTo>
                  <a:lnTo>
                    <a:pt x="734189" y="1372700"/>
                  </a:lnTo>
                  <a:lnTo>
                    <a:pt x="687143" y="1374286"/>
                  </a:lnTo>
                  <a:close/>
                </a:path>
              </a:pathLst>
            </a:custGeom>
            <a:solidFill>
              <a:srgbClr val="21408B"/>
            </a:solidFill>
          </p:spPr>
          <p:txBody>
            <a:bodyPr wrap="square" lIns="0" tIns="0" rIns="0" bIns="0" rtlCol="0"/>
            <a:lstStyle/>
            <a:p>
              <a:endParaRPr/>
            </a:p>
          </p:txBody>
        </p:sp>
      </p:grpSp>
      <p:sp>
        <p:nvSpPr>
          <p:cNvPr id="7" name="object 7"/>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3.</a:t>
            </a:r>
            <a:r>
              <a:rPr spc="-80" dirty="0"/>
              <a:t> </a:t>
            </a:r>
            <a:r>
              <a:rPr dirty="0"/>
              <a:t>¿Cómo</a:t>
            </a:r>
            <a:r>
              <a:rPr spc="-80" dirty="0"/>
              <a:t> </a:t>
            </a:r>
            <a:r>
              <a:rPr spc="-20" dirty="0"/>
              <a:t>aumentar</a:t>
            </a:r>
            <a:r>
              <a:rPr spc="-80" dirty="0"/>
              <a:t> </a:t>
            </a:r>
            <a:r>
              <a:rPr dirty="0"/>
              <a:t>el</a:t>
            </a:r>
            <a:r>
              <a:rPr spc="-75" dirty="0"/>
              <a:t> </a:t>
            </a:r>
            <a:r>
              <a:rPr spc="-10" dirty="0"/>
              <a:t>impacto</a:t>
            </a:r>
            <a:r>
              <a:rPr spc="-80" dirty="0"/>
              <a:t> </a:t>
            </a:r>
            <a:r>
              <a:rPr spc="-10" dirty="0"/>
              <a:t>positivo</a:t>
            </a:r>
            <a:r>
              <a:rPr spc="-80" dirty="0"/>
              <a:t> </a:t>
            </a:r>
            <a:r>
              <a:rPr dirty="0"/>
              <a:t>del</a:t>
            </a:r>
            <a:r>
              <a:rPr spc="-75" dirty="0"/>
              <a:t> </a:t>
            </a:r>
            <a:r>
              <a:rPr spc="-10" dirty="0"/>
              <a:t>turismo?</a:t>
            </a:r>
          </a:p>
        </p:txBody>
      </p:sp>
      <p:sp>
        <p:nvSpPr>
          <p:cNvPr id="8" name="object 8"/>
          <p:cNvSpPr txBox="1"/>
          <p:nvPr/>
        </p:nvSpPr>
        <p:spPr>
          <a:xfrm>
            <a:off x="3197961" y="1912007"/>
            <a:ext cx="11647805" cy="643890"/>
          </a:xfrm>
          <a:prstGeom prst="rect">
            <a:avLst/>
          </a:prstGeom>
        </p:spPr>
        <p:txBody>
          <a:bodyPr vert="horz" wrap="square" lIns="0" tIns="13335" rIns="0" bIns="0" rtlCol="0">
            <a:spAutoFit/>
          </a:bodyPr>
          <a:lstStyle/>
          <a:p>
            <a:pPr marL="12700">
              <a:lnSpc>
                <a:spcPct val="100000"/>
              </a:lnSpc>
              <a:spcBef>
                <a:spcPts val="105"/>
              </a:spcBef>
              <a:tabLst>
                <a:tab pos="1372870" algn="l"/>
                <a:tab pos="6636384" algn="l"/>
              </a:tabLst>
            </a:pPr>
            <a:r>
              <a:rPr sz="4050" b="1" spc="520" dirty="0">
                <a:solidFill>
                  <a:srgbClr val="FFFFFF"/>
                </a:solidFill>
                <a:latin typeface="Arial"/>
                <a:cs typeface="Arial"/>
              </a:rPr>
              <a:t>03</a:t>
            </a:r>
            <a:r>
              <a:rPr sz="4050" b="1" dirty="0">
                <a:solidFill>
                  <a:srgbClr val="FFFFFF"/>
                </a:solidFill>
                <a:latin typeface="Arial"/>
                <a:cs typeface="Arial"/>
              </a:rPr>
              <a:t>	</a:t>
            </a:r>
            <a:r>
              <a:rPr sz="4050" b="1" spc="-10" dirty="0">
                <a:solidFill>
                  <a:srgbClr val="E3112B"/>
                </a:solidFill>
                <a:latin typeface="Roboto"/>
                <a:cs typeface="Roboto"/>
              </a:rPr>
              <a:t>Unidad</a:t>
            </a:r>
            <a:r>
              <a:rPr sz="4050" b="1" spc="-100" dirty="0">
                <a:solidFill>
                  <a:srgbClr val="E3112B"/>
                </a:solidFill>
                <a:latin typeface="Roboto"/>
                <a:cs typeface="Roboto"/>
              </a:rPr>
              <a:t> </a:t>
            </a:r>
            <a:r>
              <a:rPr sz="4050" b="1" dirty="0">
                <a:solidFill>
                  <a:srgbClr val="E3112B"/>
                </a:solidFill>
                <a:latin typeface="Roboto"/>
                <a:cs typeface="Roboto"/>
              </a:rPr>
              <a:t>de</a:t>
            </a:r>
            <a:r>
              <a:rPr sz="4050" b="1" spc="-95" dirty="0">
                <a:solidFill>
                  <a:srgbClr val="E3112B"/>
                </a:solidFill>
                <a:latin typeface="Roboto"/>
                <a:cs typeface="Roboto"/>
              </a:rPr>
              <a:t> </a:t>
            </a:r>
            <a:r>
              <a:rPr sz="4050" b="1" spc="-10" dirty="0">
                <a:solidFill>
                  <a:srgbClr val="E3112B"/>
                </a:solidFill>
                <a:latin typeface="Roboto"/>
                <a:cs typeface="Roboto"/>
              </a:rPr>
              <a:t>inteligencia</a:t>
            </a:r>
            <a:r>
              <a:rPr sz="4050" b="1" dirty="0">
                <a:solidFill>
                  <a:srgbClr val="E3112B"/>
                </a:solidFill>
                <a:latin typeface="Roboto"/>
                <a:cs typeface="Roboto"/>
              </a:rPr>
              <a:t>	</a:t>
            </a:r>
            <a:r>
              <a:rPr sz="4050" dirty="0">
                <a:solidFill>
                  <a:srgbClr val="E3112B"/>
                </a:solidFill>
                <a:latin typeface="Roboto"/>
                <a:cs typeface="Roboto"/>
              </a:rPr>
              <a:t>de</a:t>
            </a:r>
            <a:r>
              <a:rPr sz="4050" spc="-114" dirty="0">
                <a:solidFill>
                  <a:srgbClr val="E3112B"/>
                </a:solidFill>
                <a:latin typeface="Roboto"/>
                <a:cs typeface="Roboto"/>
              </a:rPr>
              <a:t> </a:t>
            </a:r>
            <a:r>
              <a:rPr sz="4050" spc="-20" dirty="0">
                <a:solidFill>
                  <a:srgbClr val="E3112B"/>
                </a:solidFill>
                <a:latin typeface="Roboto"/>
                <a:cs typeface="Roboto"/>
              </a:rPr>
              <a:t>marketing</a:t>
            </a:r>
            <a:r>
              <a:rPr sz="4050" spc="-114" dirty="0">
                <a:solidFill>
                  <a:srgbClr val="E3112B"/>
                </a:solidFill>
                <a:latin typeface="Roboto"/>
                <a:cs typeface="Roboto"/>
              </a:rPr>
              <a:t> </a:t>
            </a:r>
            <a:r>
              <a:rPr sz="4050" spc="-20" dirty="0">
                <a:solidFill>
                  <a:srgbClr val="E3112B"/>
                </a:solidFill>
                <a:latin typeface="Roboto"/>
                <a:cs typeface="Roboto"/>
              </a:rPr>
              <a:t>turístico</a:t>
            </a:r>
            <a:endParaRPr sz="4050">
              <a:latin typeface="Roboto"/>
              <a:cs typeface="Roboto"/>
            </a:endParaRPr>
          </a:p>
        </p:txBody>
      </p:sp>
      <p:grpSp>
        <p:nvGrpSpPr>
          <p:cNvPr id="9" name="object 9"/>
          <p:cNvGrpSpPr/>
          <p:nvPr/>
        </p:nvGrpSpPr>
        <p:grpSpPr>
          <a:xfrm>
            <a:off x="10986440" y="6494619"/>
            <a:ext cx="3475354" cy="2687320"/>
            <a:chOff x="10986440" y="6494619"/>
            <a:chExt cx="3475354" cy="2687320"/>
          </a:xfrm>
        </p:grpSpPr>
        <p:sp>
          <p:nvSpPr>
            <p:cNvPr id="10" name="object 10"/>
            <p:cNvSpPr/>
            <p:nvPr/>
          </p:nvSpPr>
          <p:spPr>
            <a:xfrm>
              <a:off x="10986440" y="7729397"/>
              <a:ext cx="1226185" cy="607695"/>
            </a:xfrm>
            <a:custGeom>
              <a:avLst/>
              <a:gdLst/>
              <a:ahLst/>
              <a:cxnLst/>
              <a:rect l="l" t="t" r="r" b="b"/>
              <a:pathLst>
                <a:path w="1226184" h="607695">
                  <a:moveTo>
                    <a:pt x="1225702" y="304507"/>
                  </a:moveTo>
                  <a:lnTo>
                    <a:pt x="1214983" y="250609"/>
                  </a:lnTo>
                  <a:lnTo>
                    <a:pt x="1184440" y="204901"/>
                  </a:lnTo>
                  <a:lnTo>
                    <a:pt x="1138745" y="174371"/>
                  </a:lnTo>
                  <a:lnTo>
                    <a:pt x="1112837" y="166497"/>
                  </a:lnTo>
                  <a:lnTo>
                    <a:pt x="351015" y="166497"/>
                  </a:lnTo>
                  <a:lnTo>
                    <a:pt x="397764" y="122897"/>
                  </a:lnTo>
                  <a:lnTo>
                    <a:pt x="408482" y="58788"/>
                  </a:lnTo>
                  <a:lnTo>
                    <a:pt x="357339" y="6388"/>
                  </a:lnTo>
                  <a:lnTo>
                    <a:pt x="323367" y="0"/>
                  </a:lnTo>
                  <a:lnTo>
                    <a:pt x="291693" y="15024"/>
                  </a:lnTo>
                  <a:lnTo>
                    <a:pt x="0" y="298767"/>
                  </a:lnTo>
                  <a:lnTo>
                    <a:pt x="288747" y="591375"/>
                  </a:lnTo>
                  <a:lnTo>
                    <a:pt x="320408" y="607136"/>
                  </a:lnTo>
                  <a:lnTo>
                    <a:pt x="355193" y="601611"/>
                  </a:lnTo>
                  <a:lnTo>
                    <a:pt x="386410" y="580339"/>
                  </a:lnTo>
                  <a:lnTo>
                    <a:pt x="407390" y="548868"/>
                  </a:lnTo>
                  <a:lnTo>
                    <a:pt x="411429" y="512762"/>
                  </a:lnTo>
                  <a:lnTo>
                    <a:pt x="391871" y="477583"/>
                  </a:lnTo>
                  <a:lnTo>
                    <a:pt x="358978" y="445389"/>
                  </a:lnTo>
                  <a:lnTo>
                    <a:pt x="1084834" y="445389"/>
                  </a:lnTo>
                  <a:lnTo>
                    <a:pt x="1138745" y="434657"/>
                  </a:lnTo>
                  <a:lnTo>
                    <a:pt x="1184440" y="404126"/>
                  </a:lnTo>
                  <a:lnTo>
                    <a:pt x="1214983" y="358419"/>
                  </a:lnTo>
                  <a:lnTo>
                    <a:pt x="1222971" y="332130"/>
                  </a:lnTo>
                  <a:lnTo>
                    <a:pt x="1225702" y="304507"/>
                  </a:lnTo>
                  <a:close/>
                </a:path>
              </a:pathLst>
            </a:custGeom>
            <a:solidFill>
              <a:srgbClr val="F5A316"/>
            </a:solidFill>
          </p:spPr>
          <p:txBody>
            <a:bodyPr wrap="square" lIns="0" tIns="0" rIns="0" bIns="0" rtlCol="0"/>
            <a:lstStyle/>
            <a:p>
              <a:endParaRPr/>
            </a:p>
          </p:txBody>
        </p:sp>
        <p:sp>
          <p:nvSpPr>
            <p:cNvPr id="11" name="object 11"/>
            <p:cNvSpPr/>
            <p:nvPr/>
          </p:nvSpPr>
          <p:spPr>
            <a:xfrm>
              <a:off x="11785352" y="6589764"/>
              <a:ext cx="2592705" cy="2592705"/>
            </a:xfrm>
            <a:custGeom>
              <a:avLst/>
              <a:gdLst/>
              <a:ahLst/>
              <a:cxnLst/>
              <a:rect l="l" t="t" r="r" b="b"/>
              <a:pathLst>
                <a:path w="2592705" h="2592704">
                  <a:moveTo>
                    <a:pt x="1296075" y="2592122"/>
                  </a:moveTo>
                  <a:lnTo>
                    <a:pt x="1247473" y="2591229"/>
                  </a:lnTo>
                  <a:lnTo>
                    <a:pt x="1199335" y="2588568"/>
                  </a:lnTo>
                  <a:lnTo>
                    <a:pt x="1151680" y="2584171"/>
                  </a:lnTo>
                  <a:lnTo>
                    <a:pt x="1104539" y="2578070"/>
                  </a:lnTo>
                  <a:lnTo>
                    <a:pt x="1057943" y="2570296"/>
                  </a:lnTo>
                  <a:lnTo>
                    <a:pt x="1011924" y="2560880"/>
                  </a:lnTo>
                  <a:lnTo>
                    <a:pt x="966513" y="2549854"/>
                  </a:lnTo>
                  <a:lnTo>
                    <a:pt x="921742" y="2537249"/>
                  </a:lnTo>
                  <a:lnTo>
                    <a:pt x="877641" y="2523096"/>
                  </a:lnTo>
                  <a:lnTo>
                    <a:pt x="834242" y="2507426"/>
                  </a:lnTo>
                  <a:lnTo>
                    <a:pt x="791576" y="2490272"/>
                  </a:lnTo>
                  <a:lnTo>
                    <a:pt x="749674" y="2471663"/>
                  </a:lnTo>
                  <a:lnTo>
                    <a:pt x="708569" y="2451633"/>
                  </a:lnTo>
                  <a:lnTo>
                    <a:pt x="668291" y="2430211"/>
                  </a:lnTo>
                  <a:lnTo>
                    <a:pt x="628872" y="2407429"/>
                  </a:lnTo>
                  <a:lnTo>
                    <a:pt x="590342" y="2383319"/>
                  </a:lnTo>
                  <a:lnTo>
                    <a:pt x="552734" y="2357912"/>
                  </a:lnTo>
                  <a:lnTo>
                    <a:pt x="516078" y="2331239"/>
                  </a:lnTo>
                  <a:lnTo>
                    <a:pt x="480406" y="2303331"/>
                  </a:lnTo>
                  <a:lnTo>
                    <a:pt x="445750" y="2274220"/>
                  </a:lnTo>
                  <a:lnTo>
                    <a:pt x="412139" y="2243938"/>
                  </a:lnTo>
                  <a:lnTo>
                    <a:pt x="379607" y="2212515"/>
                  </a:lnTo>
                  <a:lnTo>
                    <a:pt x="348184" y="2179983"/>
                  </a:lnTo>
                  <a:lnTo>
                    <a:pt x="317902" y="2146373"/>
                  </a:lnTo>
                  <a:lnTo>
                    <a:pt x="288791" y="2111716"/>
                  </a:lnTo>
                  <a:lnTo>
                    <a:pt x="260883" y="2076044"/>
                  </a:lnTo>
                  <a:lnTo>
                    <a:pt x="234210" y="2039388"/>
                  </a:lnTo>
                  <a:lnTo>
                    <a:pt x="208803" y="2001780"/>
                  </a:lnTo>
                  <a:lnTo>
                    <a:pt x="184693" y="1963250"/>
                  </a:lnTo>
                  <a:lnTo>
                    <a:pt x="161911" y="1923831"/>
                  </a:lnTo>
                  <a:lnTo>
                    <a:pt x="140489" y="1883553"/>
                  </a:lnTo>
                  <a:lnTo>
                    <a:pt x="120459" y="1842448"/>
                  </a:lnTo>
                  <a:lnTo>
                    <a:pt x="101850" y="1800547"/>
                  </a:lnTo>
                  <a:lnTo>
                    <a:pt x="84696" y="1757881"/>
                  </a:lnTo>
                  <a:lnTo>
                    <a:pt x="69026" y="1714482"/>
                  </a:lnTo>
                  <a:lnTo>
                    <a:pt x="54873" y="1670381"/>
                  </a:lnTo>
                  <a:lnTo>
                    <a:pt x="42268" y="1625609"/>
                  </a:lnTo>
                  <a:lnTo>
                    <a:pt x="31242" y="1580198"/>
                  </a:lnTo>
                  <a:lnTo>
                    <a:pt x="21826" y="1534179"/>
                  </a:lnTo>
                  <a:lnTo>
                    <a:pt x="14052" y="1487583"/>
                  </a:lnTo>
                  <a:lnTo>
                    <a:pt x="7951" y="1440442"/>
                  </a:lnTo>
                  <a:lnTo>
                    <a:pt x="3554" y="1392787"/>
                  </a:lnTo>
                  <a:lnTo>
                    <a:pt x="893" y="1344650"/>
                  </a:lnTo>
                  <a:lnTo>
                    <a:pt x="0" y="1296074"/>
                  </a:lnTo>
                  <a:lnTo>
                    <a:pt x="893" y="1247472"/>
                  </a:lnTo>
                  <a:lnTo>
                    <a:pt x="3554" y="1199334"/>
                  </a:lnTo>
                  <a:lnTo>
                    <a:pt x="7951" y="1151679"/>
                  </a:lnTo>
                  <a:lnTo>
                    <a:pt x="14052" y="1104538"/>
                  </a:lnTo>
                  <a:lnTo>
                    <a:pt x="21826" y="1057943"/>
                  </a:lnTo>
                  <a:lnTo>
                    <a:pt x="31242" y="1011924"/>
                  </a:lnTo>
                  <a:lnTo>
                    <a:pt x="42268" y="966513"/>
                  </a:lnTo>
                  <a:lnTo>
                    <a:pt x="54873" y="921741"/>
                  </a:lnTo>
                  <a:lnTo>
                    <a:pt x="69026" y="877640"/>
                  </a:lnTo>
                  <a:lnTo>
                    <a:pt x="84696" y="834241"/>
                  </a:lnTo>
                  <a:lnTo>
                    <a:pt x="101850" y="791575"/>
                  </a:lnTo>
                  <a:lnTo>
                    <a:pt x="120459" y="749674"/>
                  </a:lnTo>
                  <a:lnTo>
                    <a:pt x="140489" y="708569"/>
                  </a:lnTo>
                  <a:lnTo>
                    <a:pt x="161911" y="668291"/>
                  </a:lnTo>
                  <a:lnTo>
                    <a:pt x="184693" y="628871"/>
                  </a:lnTo>
                  <a:lnTo>
                    <a:pt x="208803" y="590342"/>
                  </a:lnTo>
                  <a:lnTo>
                    <a:pt x="234210" y="552734"/>
                  </a:lnTo>
                  <a:lnTo>
                    <a:pt x="260883" y="516078"/>
                  </a:lnTo>
                  <a:lnTo>
                    <a:pt x="288791" y="480406"/>
                  </a:lnTo>
                  <a:lnTo>
                    <a:pt x="317902" y="445749"/>
                  </a:lnTo>
                  <a:lnTo>
                    <a:pt x="348184" y="412139"/>
                  </a:lnTo>
                  <a:lnTo>
                    <a:pt x="379607" y="379607"/>
                  </a:lnTo>
                  <a:lnTo>
                    <a:pt x="412139" y="348184"/>
                  </a:lnTo>
                  <a:lnTo>
                    <a:pt x="445750" y="317902"/>
                  </a:lnTo>
                  <a:lnTo>
                    <a:pt x="480406" y="288791"/>
                  </a:lnTo>
                  <a:lnTo>
                    <a:pt x="516078" y="260883"/>
                  </a:lnTo>
                  <a:lnTo>
                    <a:pt x="552734" y="234210"/>
                  </a:lnTo>
                  <a:lnTo>
                    <a:pt x="590342" y="208803"/>
                  </a:lnTo>
                  <a:lnTo>
                    <a:pt x="628872" y="184693"/>
                  </a:lnTo>
                  <a:lnTo>
                    <a:pt x="668291" y="161911"/>
                  </a:lnTo>
                  <a:lnTo>
                    <a:pt x="708569" y="140489"/>
                  </a:lnTo>
                  <a:lnTo>
                    <a:pt x="749674" y="120459"/>
                  </a:lnTo>
                  <a:lnTo>
                    <a:pt x="791576" y="101850"/>
                  </a:lnTo>
                  <a:lnTo>
                    <a:pt x="834242" y="84696"/>
                  </a:lnTo>
                  <a:lnTo>
                    <a:pt x="877641" y="69026"/>
                  </a:lnTo>
                  <a:lnTo>
                    <a:pt x="921742" y="54873"/>
                  </a:lnTo>
                  <a:lnTo>
                    <a:pt x="966513" y="42268"/>
                  </a:lnTo>
                  <a:lnTo>
                    <a:pt x="1011924" y="31242"/>
                  </a:lnTo>
                  <a:lnTo>
                    <a:pt x="1057943" y="21826"/>
                  </a:lnTo>
                  <a:lnTo>
                    <a:pt x="1104539" y="14052"/>
                  </a:lnTo>
                  <a:lnTo>
                    <a:pt x="1151680" y="7951"/>
                  </a:lnTo>
                  <a:lnTo>
                    <a:pt x="1199335" y="3554"/>
                  </a:lnTo>
                  <a:lnTo>
                    <a:pt x="1247473" y="893"/>
                  </a:lnTo>
                  <a:lnTo>
                    <a:pt x="1296059" y="0"/>
                  </a:lnTo>
                  <a:lnTo>
                    <a:pt x="1344651" y="893"/>
                  </a:lnTo>
                  <a:lnTo>
                    <a:pt x="1392788" y="3554"/>
                  </a:lnTo>
                  <a:lnTo>
                    <a:pt x="1440443" y="7951"/>
                  </a:lnTo>
                  <a:lnTo>
                    <a:pt x="1487584" y="14052"/>
                  </a:lnTo>
                  <a:lnTo>
                    <a:pt x="1534180" y="21826"/>
                  </a:lnTo>
                  <a:lnTo>
                    <a:pt x="1580199" y="31242"/>
                  </a:lnTo>
                  <a:lnTo>
                    <a:pt x="1625610" y="42268"/>
                  </a:lnTo>
                  <a:lnTo>
                    <a:pt x="1670381" y="54873"/>
                  </a:lnTo>
                  <a:lnTo>
                    <a:pt x="1714482" y="69026"/>
                  </a:lnTo>
                  <a:lnTo>
                    <a:pt x="1757881" y="84696"/>
                  </a:lnTo>
                  <a:lnTo>
                    <a:pt x="1800547" y="101850"/>
                  </a:lnTo>
                  <a:lnTo>
                    <a:pt x="1842448" y="120459"/>
                  </a:lnTo>
                  <a:lnTo>
                    <a:pt x="1883554" y="140489"/>
                  </a:lnTo>
                  <a:lnTo>
                    <a:pt x="1923832" y="161911"/>
                  </a:lnTo>
                  <a:lnTo>
                    <a:pt x="1963251" y="184693"/>
                  </a:lnTo>
                  <a:lnTo>
                    <a:pt x="2001780" y="208803"/>
                  </a:lnTo>
                  <a:lnTo>
                    <a:pt x="2039389" y="234210"/>
                  </a:lnTo>
                  <a:lnTo>
                    <a:pt x="2076044" y="260883"/>
                  </a:lnTo>
                  <a:lnTo>
                    <a:pt x="2111716" y="288791"/>
                  </a:lnTo>
                  <a:lnTo>
                    <a:pt x="2146373" y="317902"/>
                  </a:lnTo>
                  <a:lnTo>
                    <a:pt x="2179983" y="348184"/>
                  </a:lnTo>
                  <a:lnTo>
                    <a:pt x="2212515" y="379607"/>
                  </a:lnTo>
                  <a:lnTo>
                    <a:pt x="2243938" y="412139"/>
                  </a:lnTo>
                  <a:lnTo>
                    <a:pt x="2274221" y="445749"/>
                  </a:lnTo>
                  <a:lnTo>
                    <a:pt x="2303331" y="480406"/>
                  </a:lnTo>
                  <a:lnTo>
                    <a:pt x="2331239" y="516078"/>
                  </a:lnTo>
                  <a:lnTo>
                    <a:pt x="2357912" y="552734"/>
                  </a:lnTo>
                  <a:lnTo>
                    <a:pt x="2383319" y="590342"/>
                  </a:lnTo>
                  <a:lnTo>
                    <a:pt x="2407429" y="628871"/>
                  </a:lnTo>
                  <a:lnTo>
                    <a:pt x="2430211" y="668291"/>
                  </a:lnTo>
                  <a:lnTo>
                    <a:pt x="2451633" y="708569"/>
                  </a:lnTo>
                  <a:lnTo>
                    <a:pt x="2471663" y="749674"/>
                  </a:lnTo>
                  <a:lnTo>
                    <a:pt x="2490272" y="791575"/>
                  </a:lnTo>
                  <a:lnTo>
                    <a:pt x="2507426" y="834241"/>
                  </a:lnTo>
                  <a:lnTo>
                    <a:pt x="2523095" y="877640"/>
                  </a:lnTo>
                  <a:lnTo>
                    <a:pt x="2537248" y="921741"/>
                  </a:lnTo>
                  <a:lnTo>
                    <a:pt x="2549854" y="966513"/>
                  </a:lnTo>
                  <a:lnTo>
                    <a:pt x="2560880" y="1011924"/>
                  </a:lnTo>
                  <a:lnTo>
                    <a:pt x="2570296" y="1057943"/>
                  </a:lnTo>
                  <a:lnTo>
                    <a:pt x="2578070" y="1104538"/>
                  </a:lnTo>
                  <a:lnTo>
                    <a:pt x="2584171" y="1151679"/>
                  </a:lnTo>
                  <a:lnTo>
                    <a:pt x="2588567" y="1199334"/>
                  </a:lnTo>
                  <a:lnTo>
                    <a:pt x="2591228" y="1247472"/>
                  </a:lnTo>
                  <a:lnTo>
                    <a:pt x="2592122" y="1296074"/>
                  </a:lnTo>
                  <a:lnTo>
                    <a:pt x="2591228" y="1344650"/>
                  </a:lnTo>
                  <a:lnTo>
                    <a:pt x="2588567" y="1392787"/>
                  </a:lnTo>
                  <a:lnTo>
                    <a:pt x="2584171" y="1440442"/>
                  </a:lnTo>
                  <a:lnTo>
                    <a:pt x="2578070" y="1487583"/>
                  </a:lnTo>
                  <a:lnTo>
                    <a:pt x="2570296" y="1534179"/>
                  </a:lnTo>
                  <a:lnTo>
                    <a:pt x="2560880" y="1580198"/>
                  </a:lnTo>
                  <a:lnTo>
                    <a:pt x="2549854" y="1625609"/>
                  </a:lnTo>
                  <a:lnTo>
                    <a:pt x="2537248" y="1670381"/>
                  </a:lnTo>
                  <a:lnTo>
                    <a:pt x="2523095" y="1714482"/>
                  </a:lnTo>
                  <a:lnTo>
                    <a:pt x="2507426" y="1757881"/>
                  </a:lnTo>
                  <a:lnTo>
                    <a:pt x="2490272" y="1800547"/>
                  </a:lnTo>
                  <a:lnTo>
                    <a:pt x="2471663" y="1842448"/>
                  </a:lnTo>
                  <a:lnTo>
                    <a:pt x="2451633" y="1883553"/>
                  </a:lnTo>
                  <a:lnTo>
                    <a:pt x="2430211" y="1923831"/>
                  </a:lnTo>
                  <a:lnTo>
                    <a:pt x="2407429" y="1963250"/>
                  </a:lnTo>
                  <a:lnTo>
                    <a:pt x="2383319" y="2001780"/>
                  </a:lnTo>
                  <a:lnTo>
                    <a:pt x="2357912" y="2039388"/>
                  </a:lnTo>
                  <a:lnTo>
                    <a:pt x="2331239" y="2076044"/>
                  </a:lnTo>
                  <a:lnTo>
                    <a:pt x="2303331" y="2111716"/>
                  </a:lnTo>
                  <a:lnTo>
                    <a:pt x="2274221" y="2146373"/>
                  </a:lnTo>
                  <a:lnTo>
                    <a:pt x="2243938" y="2179983"/>
                  </a:lnTo>
                  <a:lnTo>
                    <a:pt x="2212515" y="2212515"/>
                  </a:lnTo>
                  <a:lnTo>
                    <a:pt x="2179983" y="2243938"/>
                  </a:lnTo>
                  <a:lnTo>
                    <a:pt x="2146373" y="2274220"/>
                  </a:lnTo>
                  <a:lnTo>
                    <a:pt x="2111716" y="2303331"/>
                  </a:lnTo>
                  <a:lnTo>
                    <a:pt x="2076044" y="2331239"/>
                  </a:lnTo>
                  <a:lnTo>
                    <a:pt x="2039389" y="2357912"/>
                  </a:lnTo>
                  <a:lnTo>
                    <a:pt x="2001780" y="2383319"/>
                  </a:lnTo>
                  <a:lnTo>
                    <a:pt x="1963251" y="2407429"/>
                  </a:lnTo>
                  <a:lnTo>
                    <a:pt x="1923832" y="2430211"/>
                  </a:lnTo>
                  <a:lnTo>
                    <a:pt x="1883554" y="2451633"/>
                  </a:lnTo>
                  <a:lnTo>
                    <a:pt x="1842448" y="2471663"/>
                  </a:lnTo>
                  <a:lnTo>
                    <a:pt x="1800547" y="2490272"/>
                  </a:lnTo>
                  <a:lnTo>
                    <a:pt x="1757881" y="2507426"/>
                  </a:lnTo>
                  <a:lnTo>
                    <a:pt x="1714482" y="2523096"/>
                  </a:lnTo>
                  <a:lnTo>
                    <a:pt x="1670381" y="2537249"/>
                  </a:lnTo>
                  <a:lnTo>
                    <a:pt x="1625610" y="2549854"/>
                  </a:lnTo>
                  <a:lnTo>
                    <a:pt x="1580199" y="2560880"/>
                  </a:lnTo>
                  <a:lnTo>
                    <a:pt x="1534180" y="2570296"/>
                  </a:lnTo>
                  <a:lnTo>
                    <a:pt x="1487584" y="2578070"/>
                  </a:lnTo>
                  <a:lnTo>
                    <a:pt x="1440443" y="2584171"/>
                  </a:lnTo>
                  <a:lnTo>
                    <a:pt x="1392788" y="2588568"/>
                  </a:lnTo>
                  <a:lnTo>
                    <a:pt x="1344651" y="2591229"/>
                  </a:lnTo>
                  <a:lnTo>
                    <a:pt x="1296075" y="2592122"/>
                  </a:lnTo>
                  <a:close/>
                </a:path>
              </a:pathLst>
            </a:custGeom>
            <a:solidFill>
              <a:srgbClr val="FFFFFF"/>
            </a:solidFill>
          </p:spPr>
          <p:txBody>
            <a:bodyPr wrap="square" lIns="0" tIns="0" rIns="0" bIns="0" rtlCol="0"/>
            <a:lstStyle/>
            <a:p>
              <a:endParaRPr/>
            </a:p>
          </p:txBody>
        </p:sp>
        <p:sp>
          <p:nvSpPr>
            <p:cNvPr id="12" name="object 12"/>
            <p:cNvSpPr/>
            <p:nvPr/>
          </p:nvSpPr>
          <p:spPr>
            <a:xfrm>
              <a:off x="11816559" y="6589764"/>
              <a:ext cx="2550160" cy="1150620"/>
            </a:xfrm>
            <a:custGeom>
              <a:avLst/>
              <a:gdLst/>
              <a:ahLst/>
              <a:cxnLst/>
              <a:rect l="l" t="t" r="r" b="b"/>
              <a:pathLst>
                <a:path w="2550159" h="1150620">
                  <a:moveTo>
                    <a:pt x="1263390" y="0"/>
                  </a:moveTo>
                  <a:lnTo>
                    <a:pt x="1214856" y="892"/>
                  </a:lnTo>
                  <a:lnTo>
                    <a:pt x="1166773" y="3550"/>
                  </a:lnTo>
                  <a:lnTo>
                    <a:pt x="1119172" y="7942"/>
                  </a:lnTo>
                  <a:lnTo>
                    <a:pt x="1072084" y="14036"/>
                  </a:lnTo>
                  <a:lnTo>
                    <a:pt x="1025541" y="21802"/>
                  </a:lnTo>
                  <a:lnTo>
                    <a:pt x="979574" y="31207"/>
                  </a:lnTo>
                  <a:lnTo>
                    <a:pt x="934214" y="42220"/>
                  </a:lnTo>
                  <a:lnTo>
                    <a:pt x="889493" y="54812"/>
                  </a:lnTo>
                  <a:lnTo>
                    <a:pt x="845442" y="68949"/>
                  </a:lnTo>
                  <a:lnTo>
                    <a:pt x="802092" y="84600"/>
                  </a:lnTo>
                  <a:lnTo>
                    <a:pt x="759474" y="101735"/>
                  </a:lnTo>
                  <a:lnTo>
                    <a:pt x="717620" y="120323"/>
                  </a:lnTo>
                  <a:lnTo>
                    <a:pt x="676561" y="140331"/>
                  </a:lnTo>
                  <a:lnTo>
                    <a:pt x="636329" y="161728"/>
                  </a:lnTo>
                  <a:lnTo>
                    <a:pt x="596954" y="184484"/>
                  </a:lnTo>
                  <a:lnTo>
                    <a:pt x="558468" y="208567"/>
                  </a:lnTo>
                  <a:lnTo>
                    <a:pt x="520902" y="233946"/>
                  </a:lnTo>
                  <a:lnTo>
                    <a:pt x="484288" y="260589"/>
                  </a:lnTo>
                  <a:lnTo>
                    <a:pt x="448656" y="288465"/>
                  </a:lnTo>
                  <a:lnTo>
                    <a:pt x="414039" y="317543"/>
                  </a:lnTo>
                  <a:lnTo>
                    <a:pt x="380467" y="347791"/>
                  </a:lnTo>
                  <a:lnTo>
                    <a:pt x="347971" y="379178"/>
                  </a:lnTo>
                  <a:lnTo>
                    <a:pt x="316584" y="411674"/>
                  </a:lnTo>
                  <a:lnTo>
                    <a:pt x="286335" y="445246"/>
                  </a:lnTo>
                  <a:lnTo>
                    <a:pt x="257257" y="479864"/>
                  </a:lnTo>
                  <a:lnTo>
                    <a:pt x="229381" y="515495"/>
                  </a:lnTo>
                  <a:lnTo>
                    <a:pt x="202738" y="552110"/>
                  </a:lnTo>
                  <a:lnTo>
                    <a:pt x="177360" y="589675"/>
                  </a:lnTo>
                  <a:lnTo>
                    <a:pt x="153277" y="628161"/>
                  </a:lnTo>
                  <a:lnTo>
                    <a:pt x="130521" y="667536"/>
                  </a:lnTo>
                  <a:lnTo>
                    <a:pt x="109124" y="707769"/>
                  </a:lnTo>
                  <a:lnTo>
                    <a:pt x="89115" y="748828"/>
                  </a:lnTo>
                  <a:lnTo>
                    <a:pt x="70528" y="790682"/>
                  </a:lnTo>
                  <a:lnTo>
                    <a:pt x="53393" y="833299"/>
                  </a:lnTo>
                  <a:lnTo>
                    <a:pt x="37741" y="876649"/>
                  </a:lnTo>
                  <a:lnTo>
                    <a:pt x="23604" y="920700"/>
                  </a:lnTo>
                  <a:lnTo>
                    <a:pt x="11013" y="965422"/>
                  </a:lnTo>
                  <a:lnTo>
                    <a:pt x="0" y="1010781"/>
                  </a:lnTo>
                </a:path>
                <a:path w="2550159" h="1150620">
                  <a:moveTo>
                    <a:pt x="2550046" y="1150379"/>
                  </a:moveTo>
                  <a:lnTo>
                    <a:pt x="2543951" y="1103291"/>
                  </a:lnTo>
                  <a:lnTo>
                    <a:pt x="2536186" y="1056748"/>
                  </a:lnTo>
                  <a:lnTo>
                    <a:pt x="2526781" y="1010781"/>
                  </a:lnTo>
                  <a:lnTo>
                    <a:pt x="2515767" y="965422"/>
                  </a:lnTo>
                  <a:lnTo>
                    <a:pt x="2503176" y="920700"/>
                  </a:lnTo>
                  <a:lnTo>
                    <a:pt x="2489039" y="876649"/>
                  </a:lnTo>
                  <a:lnTo>
                    <a:pt x="2473387" y="833299"/>
                  </a:lnTo>
                  <a:lnTo>
                    <a:pt x="2456252" y="790682"/>
                  </a:lnTo>
                  <a:lnTo>
                    <a:pt x="2437665" y="748828"/>
                  </a:lnTo>
                  <a:lnTo>
                    <a:pt x="2417657" y="707769"/>
                  </a:lnTo>
                  <a:lnTo>
                    <a:pt x="2396259" y="667536"/>
                  </a:lnTo>
                  <a:lnTo>
                    <a:pt x="2373503" y="628161"/>
                  </a:lnTo>
                  <a:lnTo>
                    <a:pt x="2349420" y="589675"/>
                  </a:lnTo>
                  <a:lnTo>
                    <a:pt x="2324042" y="552110"/>
                  </a:lnTo>
                  <a:lnTo>
                    <a:pt x="2297399" y="515495"/>
                  </a:lnTo>
                  <a:lnTo>
                    <a:pt x="2269523" y="479864"/>
                  </a:lnTo>
                  <a:lnTo>
                    <a:pt x="2240445" y="445246"/>
                  </a:lnTo>
                  <a:lnTo>
                    <a:pt x="2210197" y="411674"/>
                  </a:lnTo>
                  <a:lnTo>
                    <a:pt x="2178809" y="379178"/>
                  </a:lnTo>
                  <a:lnTo>
                    <a:pt x="2146314" y="347791"/>
                  </a:lnTo>
                  <a:lnTo>
                    <a:pt x="2112742" y="317543"/>
                  </a:lnTo>
                  <a:lnTo>
                    <a:pt x="2078124" y="288465"/>
                  </a:lnTo>
                  <a:lnTo>
                    <a:pt x="2042492" y="260589"/>
                  </a:lnTo>
                  <a:lnTo>
                    <a:pt x="2005878" y="233946"/>
                  </a:lnTo>
                  <a:lnTo>
                    <a:pt x="1968312" y="208567"/>
                  </a:lnTo>
                  <a:lnTo>
                    <a:pt x="1929826" y="184484"/>
                  </a:lnTo>
                  <a:lnTo>
                    <a:pt x="1890451" y="161728"/>
                  </a:lnTo>
                  <a:lnTo>
                    <a:pt x="1850219" y="140331"/>
                  </a:lnTo>
                  <a:lnTo>
                    <a:pt x="1809160" y="120323"/>
                  </a:lnTo>
                  <a:lnTo>
                    <a:pt x="1767306" y="101735"/>
                  </a:lnTo>
                  <a:lnTo>
                    <a:pt x="1724688" y="84600"/>
                  </a:lnTo>
                  <a:lnTo>
                    <a:pt x="1681338" y="68949"/>
                  </a:lnTo>
                  <a:lnTo>
                    <a:pt x="1637287" y="54812"/>
                  </a:lnTo>
                  <a:lnTo>
                    <a:pt x="1592566" y="42220"/>
                  </a:lnTo>
                  <a:lnTo>
                    <a:pt x="1547206" y="31207"/>
                  </a:lnTo>
                  <a:lnTo>
                    <a:pt x="1501239" y="21802"/>
                  </a:lnTo>
                  <a:lnTo>
                    <a:pt x="1454696" y="14036"/>
                  </a:lnTo>
                  <a:lnTo>
                    <a:pt x="1407609" y="7942"/>
                  </a:lnTo>
                  <a:lnTo>
                    <a:pt x="1360008" y="3550"/>
                  </a:lnTo>
                  <a:lnTo>
                    <a:pt x="1311924" y="892"/>
                  </a:lnTo>
                  <a:lnTo>
                    <a:pt x="1263390" y="0"/>
                  </a:lnTo>
                </a:path>
              </a:pathLst>
            </a:custGeom>
            <a:ln w="190289">
              <a:solidFill>
                <a:srgbClr val="ECE4D5"/>
              </a:solidFill>
            </a:ln>
          </p:spPr>
          <p:txBody>
            <a:bodyPr wrap="square" lIns="0" tIns="0" rIns="0" bIns="0" rtlCol="0"/>
            <a:lstStyle/>
            <a:p>
              <a:endParaRPr/>
            </a:p>
          </p:txBody>
        </p:sp>
        <p:pic>
          <p:nvPicPr>
            <p:cNvPr id="13" name="object 13"/>
            <p:cNvPicPr/>
            <p:nvPr/>
          </p:nvPicPr>
          <p:blipFill>
            <a:blip r:embed="rId2" cstate="print"/>
            <a:stretch>
              <a:fillRect/>
            </a:stretch>
          </p:blipFill>
          <p:spPr>
            <a:xfrm>
              <a:off x="12282350" y="7829877"/>
              <a:ext cx="1597589" cy="449895"/>
            </a:xfrm>
            <a:prstGeom prst="rect">
              <a:avLst/>
            </a:prstGeom>
          </p:spPr>
        </p:pic>
        <p:pic>
          <p:nvPicPr>
            <p:cNvPr id="14" name="object 14"/>
            <p:cNvPicPr/>
            <p:nvPr/>
          </p:nvPicPr>
          <p:blipFill>
            <a:blip r:embed="rId3" cstate="print"/>
            <a:stretch>
              <a:fillRect/>
            </a:stretch>
          </p:blipFill>
          <p:spPr>
            <a:xfrm>
              <a:off x="12380002" y="8301108"/>
              <a:ext cx="1404776" cy="477440"/>
            </a:xfrm>
            <a:prstGeom prst="rect">
              <a:avLst/>
            </a:prstGeom>
          </p:spPr>
        </p:pic>
        <p:pic>
          <p:nvPicPr>
            <p:cNvPr id="15" name="object 15"/>
            <p:cNvPicPr/>
            <p:nvPr/>
          </p:nvPicPr>
          <p:blipFill>
            <a:blip r:embed="rId4" cstate="print"/>
            <a:stretch>
              <a:fillRect/>
            </a:stretch>
          </p:blipFill>
          <p:spPr>
            <a:xfrm>
              <a:off x="12318396" y="7220268"/>
              <a:ext cx="1524136" cy="605981"/>
            </a:xfrm>
            <a:prstGeom prst="rect">
              <a:avLst/>
            </a:prstGeom>
          </p:spPr>
        </p:pic>
      </p:grpSp>
      <p:grpSp>
        <p:nvGrpSpPr>
          <p:cNvPr id="16" name="object 16"/>
          <p:cNvGrpSpPr/>
          <p:nvPr/>
        </p:nvGrpSpPr>
        <p:grpSpPr>
          <a:xfrm>
            <a:off x="3514162" y="3008854"/>
            <a:ext cx="7139940" cy="6694805"/>
            <a:chOff x="3514162" y="3008854"/>
            <a:chExt cx="7139940" cy="6694805"/>
          </a:xfrm>
        </p:grpSpPr>
        <p:pic>
          <p:nvPicPr>
            <p:cNvPr id="17" name="object 17"/>
            <p:cNvPicPr/>
            <p:nvPr/>
          </p:nvPicPr>
          <p:blipFill>
            <a:blip r:embed="rId5" cstate="print"/>
            <a:stretch>
              <a:fillRect/>
            </a:stretch>
          </p:blipFill>
          <p:spPr>
            <a:xfrm>
              <a:off x="3514162" y="3008854"/>
              <a:ext cx="6857986" cy="6694514"/>
            </a:xfrm>
            <a:prstGeom prst="rect">
              <a:avLst/>
            </a:prstGeom>
          </p:spPr>
        </p:pic>
        <p:pic>
          <p:nvPicPr>
            <p:cNvPr id="18" name="object 18"/>
            <p:cNvPicPr/>
            <p:nvPr/>
          </p:nvPicPr>
          <p:blipFill>
            <a:blip r:embed="rId6" cstate="print"/>
            <a:stretch>
              <a:fillRect/>
            </a:stretch>
          </p:blipFill>
          <p:spPr>
            <a:xfrm>
              <a:off x="4004291" y="5836199"/>
              <a:ext cx="1142999" cy="409574"/>
            </a:xfrm>
            <a:prstGeom prst="rect">
              <a:avLst/>
            </a:prstGeom>
          </p:spPr>
        </p:pic>
        <p:pic>
          <p:nvPicPr>
            <p:cNvPr id="19" name="object 19"/>
            <p:cNvPicPr/>
            <p:nvPr/>
          </p:nvPicPr>
          <p:blipFill>
            <a:blip r:embed="rId7" cstate="print"/>
            <a:stretch>
              <a:fillRect/>
            </a:stretch>
          </p:blipFill>
          <p:spPr>
            <a:xfrm>
              <a:off x="4570902" y="7162151"/>
              <a:ext cx="885824" cy="1019174"/>
            </a:xfrm>
            <a:prstGeom prst="rect">
              <a:avLst/>
            </a:prstGeom>
          </p:spPr>
        </p:pic>
        <p:pic>
          <p:nvPicPr>
            <p:cNvPr id="20" name="object 20"/>
            <p:cNvPicPr/>
            <p:nvPr/>
          </p:nvPicPr>
          <p:blipFill>
            <a:blip r:embed="rId8" cstate="print"/>
            <a:stretch>
              <a:fillRect/>
            </a:stretch>
          </p:blipFill>
          <p:spPr>
            <a:xfrm>
              <a:off x="4577093" y="4314050"/>
              <a:ext cx="971549" cy="857249"/>
            </a:xfrm>
            <a:prstGeom prst="rect">
              <a:avLst/>
            </a:prstGeom>
          </p:spPr>
        </p:pic>
        <p:pic>
          <p:nvPicPr>
            <p:cNvPr id="21" name="object 21"/>
            <p:cNvPicPr/>
            <p:nvPr/>
          </p:nvPicPr>
          <p:blipFill>
            <a:blip r:embed="rId9" cstate="print"/>
            <a:stretch>
              <a:fillRect/>
            </a:stretch>
          </p:blipFill>
          <p:spPr>
            <a:xfrm>
              <a:off x="6296263" y="8034036"/>
              <a:ext cx="1295399" cy="1038224"/>
            </a:xfrm>
            <a:prstGeom prst="rect">
              <a:avLst/>
            </a:prstGeom>
          </p:spPr>
        </p:pic>
        <p:pic>
          <p:nvPicPr>
            <p:cNvPr id="22" name="object 22"/>
            <p:cNvPicPr/>
            <p:nvPr/>
          </p:nvPicPr>
          <p:blipFill>
            <a:blip r:embed="rId10" cstate="print"/>
            <a:stretch>
              <a:fillRect/>
            </a:stretch>
          </p:blipFill>
          <p:spPr>
            <a:xfrm>
              <a:off x="6156430" y="3505432"/>
              <a:ext cx="1571624" cy="809624"/>
            </a:xfrm>
            <a:prstGeom prst="rect">
              <a:avLst/>
            </a:prstGeom>
          </p:spPr>
        </p:pic>
        <p:pic>
          <p:nvPicPr>
            <p:cNvPr id="23" name="object 23"/>
            <p:cNvPicPr/>
            <p:nvPr/>
          </p:nvPicPr>
          <p:blipFill>
            <a:blip r:embed="rId11" cstate="print"/>
            <a:stretch>
              <a:fillRect/>
            </a:stretch>
          </p:blipFill>
          <p:spPr>
            <a:xfrm>
              <a:off x="8267086" y="4294902"/>
              <a:ext cx="971549" cy="638174"/>
            </a:xfrm>
            <a:prstGeom prst="rect">
              <a:avLst/>
            </a:prstGeom>
          </p:spPr>
        </p:pic>
        <p:pic>
          <p:nvPicPr>
            <p:cNvPr id="24" name="object 24"/>
            <p:cNvPicPr/>
            <p:nvPr/>
          </p:nvPicPr>
          <p:blipFill>
            <a:blip r:embed="rId12" cstate="print"/>
            <a:stretch>
              <a:fillRect/>
            </a:stretch>
          </p:blipFill>
          <p:spPr>
            <a:xfrm>
              <a:off x="8734577" y="5836199"/>
              <a:ext cx="1209674" cy="695324"/>
            </a:xfrm>
            <a:prstGeom prst="rect">
              <a:avLst/>
            </a:prstGeom>
          </p:spPr>
        </p:pic>
        <p:sp>
          <p:nvSpPr>
            <p:cNvPr id="25" name="object 25"/>
            <p:cNvSpPr/>
            <p:nvPr/>
          </p:nvSpPr>
          <p:spPr>
            <a:xfrm>
              <a:off x="8590736" y="6854189"/>
              <a:ext cx="2063114" cy="2063114"/>
            </a:xfrm>
            <a:custGeom>
              <a:avLst/>
              <a:gdLst/>
              <a:ahLst/>
              <a:cxnLst/>
              <a:rect l="l" t="t" r="r" b="b"/>
              <a:pathLst>
                <a:path w="2063115" h="2063115">
                  <a:moveTo>
                    <a:pt x="1031536" y="2063073"/>
                  </a:moveTo>
                  <a:lnTo>
                    <a:pt x="982977" y="2061950"/>
                  </a:lnTo>
                  <a:lnTo>
                    <a:pt x="934995" y="2058615"/>
                  </a:lnTo>
                  <a:lnTo>
                    <a:pt x="887642" y="2053116"/>
                  </a:lnTo>
                  <a:lnTo>
                    <a:pt x="840965" y="2045505"/>
                  </a:lnTo>
                  <a:lnTo>
                    <a:pt x="795014" y="2035829"/>
                  </a:lnTo>
                  <a:lnTo>
                    <a:pt x="749840" y="2024139"/>
                  </a:lnTo>
                  <a:lnTo>
                    <a:pt x="705491" y="2010484"/>
                  </a:lnTo>
                  <a:lnTo>
                    <a:pt x="662017" y="1994914"/>
                  </a:lnTo>
                  <a:lnTo>
                    <a:pt x="619467" y="1977478"/>
                  </a:lnTo>
                  <a:lnTo>
                    <a:pt x="577892" y="1958226"/>
                  </a:lnTo>
                  <a:lnTo>
                    <a:pt x="537341" y="1937207"/>
                  </a:lnTo>
                  <a:lnTo>
                    <a:pt x="497863" y="1914471"/>
                  </a:lnTo>
                  <a:lnTo>
                    <a:pt x="459507" y="1890068"/>
                  </a:lnTo>
                  <a:lnTo>
                    <a:pt x="422324" y="1864046"/>
                  </a:lnTo>
                  <a:lnTo>
                    <a:pt x="386362" y="1836456"/>
                  </a:lnTo>
                  <a:lnTo>
                    <a:pt x="351672" y="1807346"/>
                  </a:lnTo>
                  <a:lnTo>
                    <a:pt x="318303" y="1776768"/>
                  </a:lnTo>
                  <a:lnTo>
                    <a:pt x="286305" y="1744769"/>
                  </a:lnTo>
                  <a:lnTo>
                    <a:pt x="255726" y="1711400"/>
                  </a:lnTo>
                  <a:lnTo>
                    <a:pt x="226616" y="1676710"/>
                  </a:lnTo>
                  <a:lnTo>
                    <a:pt x="199026" y="1640748"/>
                  </a:lnTo>
                  <a:lnTo>
                    <a:pt x="173004" y="1603565"/>
                  </a:lnTo>
                  <a:lnTo>
                    <a:pt x="148601" y="1565210"/>
                  </a:lnTo>
                  <a:lnTo>
                    <a:pt x="125865" y="1525731"/>
                  </a:lnTo>
                  <a:lnTo>
                    <a:pt x="104846" y="1485180"/>
                  </a:lnTo>
                  <a:lnTo>
                    <a:pt x="85594" y="1443605"/>
                  </a:lnTo>
                  <a:lnTo>
                    <a:pt x="68158" y="1401055"/>
                  </a:lnTo>
                  <a:lnTo>
                    <a:pt x="52588" y="1357582"/>
                  </a:lnTo>
                  <a:lnTo>
                    <a:pt x="38933" y="1313233"/>
                  </a:lnTo>
                  <a:lnTo>
                    <a:pt x="27243" y="1268058"/>
                  </a:lnTo>
                  <a:lnTo>
                    <a:pt x="17568" y="1222108"/>
                  </a:lnTo>
                  <a:lnTo>
                    <a:pt x="9956" y="1175431"/>
                  </a:lnTo>
                  <a:lnTo>
                    <a:pt x="4458" y="1128077"/>
                  </a:lnTo>
                  <a:lnTo>
                    <a:pt x="1122" y="1080095"/>
                  </a:lnTo>
                  <a:lnTo>
                    <a:pt x="0" y="1031536"/>
                  </a:lnTo>
                  <a:lnTo>
                    <a:pt x="1122" y="982977"/>
                  </a:lnTo>
                  <a:lnTo>
                    <a:pt x="4458" y="934996"/>
                  </a:lnTo>
                  <a:lnTo>
                    <a:pt x="9956" y="887642"/>
                  </a:lnTo>
                  <a:lnTo>
                    <a:pt x="17568" y="840965"/>
                  </a:lnTo>
                  <a:lnTo>
                    <a:pt x="27243" y="795014"/>
                  </a:lnTo>
                  <a:lnTo>
                    <a:pt x="38933" y="749840"/>
                  </a:lnTo>
                  <a:lnTo>
                    <a:pt x="52588" y="705491"/>
                  </a:lnTo>
                  <a:lnTo>
                    <a:pt x="68158" y="662017"/>
                  </a:lnTo>
                  <a:lnTo>
                    <a:pt x="85594" y="619468"/>
                  </a:lnTo>
                  <a:lnTo>
                    <a:pt x="104846" y="577892"/>
                  </a:lnTo>
                  <a:lnTo>
                    <a:pt x="125865" y="537341"/>
                  </a:lnTo>
                  <a:lnTo>
                    <a:pt x="148601" y="497863"/>
                  </a:lnTo>
                  <a:lnTo>
                    <a:pt x="173004" y="459507"/>
                  </a:lnTo>
                  <a:lnTo>
                    <a:pt x="199026" y="422324"/>
                  </a:lnTo>
                  <a:lnTo>
                    <a:pt x="226616" y="386363"/>
                  </a:lnTo>
                  <a:lnTo>
                    <a:pt x="255726" y="351672"/>
                  </a:lnTo>
                  <a:lnTo>
                    <a:pt x="286305" y="318303"/>
                  </a:lnTo>
                  <a:lnTo>
                    <a:pt x="318303" y="286305"/>
                  </a:lnTo>
                  <a:lnTo>
                    <a:pt x="351672" y="255726"/>
                  </a:lnTo>
                  <a:lnTo>
                    <a:pt x="386362" y="226616"/>
                  </a:lnTo>
                  <a:lnTo>
                    <a:pt x="422324" y="199026"/>
                  </a:lnTo>
                  <a:lnTo>
                    <a:pt x="459507" y="173004"/>
                  </a:lnTo>
                  <a:lnTo>
                    <a:pt x="497863" y="148601"/>
                  </a:lnTo>
                  <a:lnTo>
                    <a:pt x="537341" y="125865"/>
                  </a:lnTo>
                  <a:lnTo>
                    <a:pt x="577892" y="104846"/>
                  </a:lnTo>
                  <a:lnTo>
                    <a:pt x="619467" y="85594"/>
                  </a:lnTo>
                  <a:lnTo>
                    <a:pt x="662017" y="68158"/>
                  </a:lnTo>
                  <a:lnTo>
                    <a:pt x="705491" y="52588"/>
                  </a:lnTo>
                  <a:lnTo>
                    <a:pt x="749840" y="38933"/>
                  </a:lnTo>
                  <a:lnTo>
                    <a:pt x="795014" y="27243"/>
                  </a:lnTo>
                  <a:lnTo>
                    <a:pt x="840965" y="17568"/>
                  </a:lnTo>
                  <a:lnTo>
                    <a:pt x="887642" y="9956"/>
                  </a:lnTo>
                  <a:lnTo>
                    <a:pt x="934995" y="4458"/>
                  </a:lnTo>
                  <a:lnTo>
                    <a:pt x="982977" y="1122"/>
                  </a:lnTo>
                  <a:lnTo>
                    <a:pt x="1031536" y="0"/>
                  </a:lnTo>
                  <a:lnTo>
                    <a:pt x="1080095" y="1122"/>
                  </a:lnTo>
                  <a:lnTo>
                    <a:pt x="1128076" y="4458"/>
                  </a:lnTo>
                  <a:lnTo>
                    <a:pt x="1175430" y="9956"/>
                  </a:lnTo>
                  <a:lnTo>
                    <a:pt x="1222107" y="17568"/>
                  </a:lnTo>
                  <a:lnTo>
                    <a:pt x="1268058" y="27243"/>
                  </a:lnTo>
                  <a:lnTo>
                    <a:pt x="1313232" y="38933"/>
                  </a:lnTo>
                  <a:lnTo>
                    <a:pt x="1357581" y="52588"/>
                  </a:lnTo>
                  <a:lnTo>
                    <a:pt x="1401055" y="68158"/>
                  </a:lnTo>
                  <a:lnTo>
                    <a:pt x="1443605" y="85594"/>
                  </a:lnTo>
                  <a:lnTo>
                    <a:pt x="1485180" y="104846"/>
                  </a:lnTo>
                  <a:lnTo>
                    <a:pt x="1525731" y="125865"/>
                  </a:lnTo>
                  <a:lnTo>
                    <a:pt x="1565209" y="148601"/>
                  </a:lnTo>
                  <a:lnTo>
                    <a:pt x="1603565" y="173004"/>
                  </a:lnTo>
                  <a:lnTo>
                    <a:pt x="1640748" y="199026"/>
                  </a:lnTo>
                  <a:lnTo>
                    <a:pt x="1676710" y="226616"/>
                  </a:lnTo>
                  <a:lnTo>
                    <a:pt x="1711400" y="255726"/>
                  </a:lnTo>
                  <a:lnTo>
                    <a:pt x="1744769" y="286305"/>
                  </a:lnTo>
                  <a:lnTo>
                    <a:pt x="1776768" y="318303"/>
                  </a:lnTo>
                  <a:lnTo>
                    <a:pt x="1807346" y="351672"/>
                  </a:lnTo>
                  <a:lnTo>
                    <a:pt x="1836456" y="386363"/>
                  </a:lnTo>
                  <a:lnTo>
                    <a:pt x="1864046" y="422324"/>
                  </a:lnTo>
                  <a:lnTo>
                    <a:pt x="1890068" y="459507"/>
                  </a:lnTo>
                  <a:lnTo>
                    <a:pt x="1914471" y="497863"/>
                  </a:lnTo>
                  <a:lnTo>
                    <a:pt x="1937207" y="537341"/>
                  </a:lnTo>
                  <a:lnTo>
                    <a:pt x="1958226" y="577892"/>
                  </a:lnTo>
                  <a:lnTo>
                    <a:pt x="1977478" y="619468"/>
                  </a:lnTo>
                  <a:lnTo>
                    <a:pt x="1994914" y="662017"/>
                  </a:lnTo>
                  <a:lnTo>
                    <a:pt x="2010484" y="705491"/>
                  </a:lnTo>
                  <a:lnTo>
                    <a:pt x="2024139" y="749840"/>
                  </a:lnTo>
                  <a:lnTo>
                    <a:pt x="2035829" y="795014"/>
                  </a:lnTo>
                  <a:lnTo>
                    <a:pt x="2045505" y="840965"/>
                  </a:lnTo>
                  <a:lnTo>
                    <a:pt x="2053116" y="887642"/>
                  </a:lnTo>
                  <a:lnTo>
                    <a:pt x="2058615" y="934996"/>
                  </a:lnTo>
                  <a:lnTo>
                    <a:pt x="2061950" y="982977"/>
                  </a:lnTo>
                  <a:lnTo>
                    <a:pt x="2063073" y="1031536"/>
                  </a:lnTo>
                  <a:lnTo>
                    <a:pt x="2061950" y="1080095"/>
                  </a:lnTo>
                  <a:lnTo>
                    <a:pt x="2058615" y="1128077"/>
                  </a:lnTo>
                  <a:lnTo>
                    <a:pt x="2053116" y="1175431"/>
                  </a:lnTo>
                  <a:lnTo>
                    <a:pt x="2045505" y="1222108"/>
                  </a:lnTo>
                  <a:lnTo>
                    <a:pt x="2035829" y="1268058"/>
                  </a:lnTo>
                  <a:lnTo>
                    <a:pt x="2024139" y="1313233"/>
                  </a:lnTo>
                  <a:lnTo>
                    <a:pt x="2010484" y="1357582"/>
                  </a:lnTo>
                  <a:lnTo>
                    <a:pt x="1994914" y="1401055"/>
                  </a:lnTo>
                  <a:lnTo>
                    <a:pt x="1977478" y="1443605"/>
                  </a:lnTo>
                  <a:lnTo>
                    <a:pt x="1958226" y="1485180"/>
                  </a:lnTo>
                  <a:lnTo>
                    <a:pt x="1937207" y="1525731"/>
                  </a:lnTo>
                  <a:lnTo>
                    <a:pt x="1914471" y="1565210"/>
                  </a:lnTo>
                  <a:lnTo>
                    <a:pt x="1890068" y="1603565"/>
                  </a:lnTo>
                  <a:lnTo>
                    <a:pt x="1864046" y="1640748"/>
                  </a:lnTo>
                  <a:lnTo>
                    <a:pt x="1836456" y="1676710"/>
                  </a:lnTo>
                  <a:lnTo>
                    <a:pt x="1807346" y="1711400"/>
                  </a:lnTo>
                  <a:lnTo>
                    <a:pt x="1776768" y="1744769"/>
                  </a:lnTo>
                  <a:lnTo>
                    <a:pt x="1744769" y="1776768"/>
                  </a:lnTo>
                  <a:lnTo>
                    <a:pt x="1711400" y="1807346"/>
                  </a:lnTo>
                  <a:lnTo>
                    <a:pt x="1676710" y="1836456"/>
                  </a:lnTo>
                  <a:lnTo>
                    <a:pt x="1640748" y="1864046"/>
                  </a:lnTo>
                  <a:lnTo>
                    <a:pt x="1603565" y="1890068"/>
                  </a:lnTo>
                  <a:lnTo>
                    <a:pt x="1565209" y="1914471"/>
                  </a:lnTo>
                  <a:lnTo>
                    <a:pt x="1525731" y="1937207"/>
                  </a:lnTo>
                  <a:lnTo>
                    <a:pt x="1485180" y="1958226"/>
                  </a:lnTo>
                  <a:lnTo>
                    <a:pt x="1443605" y="1977478"/>
                  </a:lnTo>
                  <a:lnTo>
                    <a:pt x="1401055" y="1994914"/>
                  </a:lnTo>
                  <a:lnTo>
                    <a:pt x="1357581" y="2010484"/>
                  </a:lnTo>
                  <a:lnTo>
                    <a:pt x="1313232" y="2024139"/>
                  </a:lnTo>
                  <a:lnTo>
                    <a:pt x="1268058" y="2035829"/>
                  </a:lnTo>
                  <a:lnTo>
                    <a:pt x="1222107" y="2045505"/>
                  </a:lnTo>
                  <a:lnTo>
                    <a:pt x="1175430" y="2053116"/>
                  </a:lnTo>
                  <a:lnTo>
                    <a:pt x="1128076" y="2058615"/>
                  </a:lnTo>
                  <a:lnTo>
                    <a:pt x="1080095" y="2061950"/>
                  </a:lnTo>
                  <a:lnTo>
                    <a:pt x="1031536" y="2063073"/>
                  </a:lnTo>
                  <a:close/>
                </a:path>
              </a:pathLst>
            </a:custGeom>
            <a:solidFill>
              <a:srgbClr val="0090AE"/>
            </a:solidFill>
          </p:spPr>
          <p:txBody>
            <a:bodyPr wrap="square" lIns="0" tIns="0" rIns="0" bIns="0" rtlCol="0"/>
            <a:lstStyle/>
            <a:p>
              <a:endParaRPr/>
            </a:p>
          </p:txBody>
        </p:sp>
        <p:sp>
          <p:nvSpPr>
            <p:cNvPr id="26" name="object 26"/>
            <p:cNvSpPr/>
            <p:nvPr/>
          </p:nvSpPr>
          <p:spPr>
            <a:xfrm>
              <a:off x="8751227" y="7584020"/>
              <a:ext cx="61594" cy="596265"/>
            </a:xfrm>
            <a:custGeom>
              <a:avLst/>
              <a:gdLst/>
              <a:ahLst/>
              <a:cxnLst/>
              <a:rect l="l" t="t" r="r" b="b"/>
              <a:pathLst>
                <a:path w="61595" h="596265">
                  <a:moveTo>
                    <a:pt x="61137" y="561505"/>
                  </a:moveTo>
                  <a:lnTo>
                    <a:pt x="34620" y="534987"/>
                  </a:lnTo>
                  <a:lnTo>
                    <a:pt x="26517" y="534987"/>
                  </a:lnTo>
                  <a:lnTo>
                    <a:pt x="0" y="561505"/>
                  </a:lnTo>
                  <a:lnTo>
                    <a:pt x="0" y="569620"/>
                  </a:lnTo>
                  <a:lnTo>
                    <a:pt x="26517" y="596138"/>
                  </a:lnTo>
                  <a:lnTo>
                    <a:pt x="34620" y="596138"/>
                  </a:lnTo>
                  <a:lnTo>
                    <a:pt x="61137" y="569620"/>
                  </a:lnTo>
                  <a:lnTo>
                    <a:pt x="61137" y="565569"/>
                  </a:lnTo>
                  <a:lnTo>
                    <a:pt x="61137" y="561505"/>
                  </a:lnTo>
                  <a:close/>
                </a:path>
                <a:path w="61595" h="596265">
                  <a:moveTo>
                    <a:pt x="61137" y="294017"/>
                  </a:moveTo>
                  <a:lnTo>
                    <a:pt x="34620" y="267500"/>
                  </a:lnTo>
                  <a:lnTo>
                    <a:pt x="26517" y="267500"/>
                  </a:lnTo>
                  <a:lnTo>
                    <a:pt x="0" y="294017"/>
                  </a:lnTo>
                  <a:lnTo>
                    <a:pt x="0" y="302120"/>
                  </a:lnTo>
                  <a:lnTo>
                    <a:pt x="26517" y="328637"/>
                  </a:lnTo>
                  <a:lnTo>
                    <a:pt x="34620" y="328637"/>
                  </a:lnTo>
                  <a:lnTo>
                    <a:pt x="61137" y="302120"/>
                  </a:lnTo>
                  <a:lnTo>
                    <a:pt x="61137" y="298069"/>
                  </a:lnTo>
                  <a:lnTo>
                    <a:pt x="61137" y="294017"/>
                  </a:lnTo>
                  <a:close/>
                </a:path>
                <a:path w="61595" h="596265">
                  <a:moveTo>
                    <a:pt x="61137" y="26517"/>
                  </a:moveTo>
                  <a:lnTo>
                    <a:pt x="34620" y="0"/>
                  </a:lnTo>
                  <a:lnTo>
                    <a:pt x="26517" y="0"/>
                  </a:lnTo>
                  <a:lnTo>
                    <a:pt x="0" y="26517"/>
                  </a:lnTo>
                  <a:lnTo>
                    <a:pt x="0" y="34632"/>
                  </a:lnTo>
                  <a:lnTo>
                    <a:pt x="26517" y="61150"/>
                  </a:lnTo>
                  <a:lnTo>
                    <a:pt x="34620" y="61150"/>
                  </a:lnTo>
                  <a:lnTo>
                    <a:pt x="61137" y="34632"/>
                  </a:lnTo>
                  <a:lnTo>
                    <a:pt x="61137" y="30568"/>
                  </a:lnTo>
                  <a:lnTo>
                    <a:pt x="61137" y="26517"/>
                  </a:lnTo>
                  <a:close/>
                </a:path>
              </a:pathLst>
            </a:custGeom>
            <a:solidFill>
              <a:srgbClr val="FFFFFF"/>
            </a:solidFill>
          </p:spPr>
          <p:txBody>
            <a:bodyPr wrap="square" lIns="0" tIns="0" rIns="0" bIns="0" rtlCol="0"/>
            <a:lstStyle/>
            <a:p>
              <a:endParaRPr/>
            </a:p>
          </p:txBody>
        </p:sp>
      </p:grpSp>
      <p:sp>
        <p:nvSpPr>
          <p:cNvPr id="27" name="object 27"/>
          <p:cNvSpPr txBox="1"/>
          <p:nvPr/>
        </p:nvSpPr>
        <p:spPr>
          <a:xfrm>
            <a:off x="12688617" y="6833418"/>
            <a:ext cx="763905" cy="241935"/>
          </a:xfrm>
          <a:prstGeom prst="rect">
            <a:avLst/>
          </a:prstGeom>
        </p:spPr>
        <p:txBody>
          <a:bodyPr vert="horz" wrap="square" lIns="0" tIns="14604" rIns="0" bIns="0" rtlCol="0">
            <a:spAutoFit/>
          </a:bodyPr>
          <a:lstStyle/>
          <a:p>
            <a:pPr marL="12700">
              <a:lnSpc>
                <a:spcPct val="100000"/>
              </a:lnSpc>
              <a:spcBef>
                <a:spcPts val="114"/>
              </a:spcBef>
            </a:pPr>
            <a:r>
              <a:rPr sz="1400" spc="-10" dirty="0">
                <a:solidFill>
                  <a:srgbClr val="737373"/>
                </a:solidFill>
                <a:latin typeface="Roboto"/>
                <a:cs typeface="Roboto"/>
              </a:rPr>
              <a:t>Ejemplos</a:t>
            </a:r>
            <a:endParaRPr sz="1400">
              <a:latin typeface="Roboto"/>
              <a:cs typeface="Roboto"/>
            </a:endParaRPr>
          </a:p>
        </p:txBody>
      </p:sp>
      <p:sp>
        <p:nvSpPr>
          <p:cNvPr id="28" name="object 28"/>
          <p:cNvSpPr txBox="1"/>
          <p:nvPr/>
        </p:nvSpPr>
        <p:spPr>
          <a:xfrm>
            <a:off x="8907867" y="7426700"/>
            <a:ext cx="1573530" cy="828040"/>
          </a:xfrm>
          <a:prstGeom prst="rect">
            <a:avLst/>
          </a:prstGeom>
        </p:spPr>
        <p:txBody>
          <a:bodyPr vert="horz" wrap="square" lIns="0" tIns="12065" rIns="0" bIns="0" rtlCol="0">
            <a:spAutoFit/>
          </a:bodyPr>
          <a:lstStyle/>
          <a:p>
            <a:pPr marL="12700" marR="5080">
              <a:lnSpc>
                <a:spcPct val="117000"/>
              </a:lnSpc>
              <a:spcBef>
                <a:spcPts val="95"/>
              </a:spcBef>
            </a:pPr>
            <a:r>
              <a:rPr sz="1500" b="1" dirty="0">
                <a:solidFill>
                  <a:srgbClr val="FFFFFF"/>
                </a:solidFill>
                <a:latin typeface="Arial"/>
                <a:cs typeface="Arial"/>
              </a:rPr>
              <a:t>PPRR</a:t>
            </a:r>
            <a:r>
              <a:rPr sz="1500" b="1" spc="-5" dirty="0">
                <a:solidFill>
                  <a:srgbClr val="FFFFFF"/>
                </a:solidFill>
                <a:latin typeface="Arial"/>
                <a:cs typeface="Arial"/>
              </a:rPr>
              <a:t> </a:t>
            </a:r>
            <a:r>
              <a:rPr sz="1500" b="1" spc="85" dirty="0">
                <a:solidFill>
                  <a:srgbClr val="FFFFFF"/>
                </a:solidFill>
                <a:latin typeface="Arial"/>
                <a:cs typeface="Arial"/>
              </a:rPr>
              <a:t>en</a:t>
            </a:r>
            <a:r>
              <a:rPr sz="1500" b="1" dirty="0">
                <a:solidFill>
                  <a:srgbClr val="FFFFFF"/>
                </a:solidFill>
                <a:latin typeface="Arial"/>
                <a:cs typeface="Arial"/>
              </a:rPr>
              <a:t> </a:t>
            </a:r>
            <a:r>
              <a:rPr sz="1500" b="1" spc="85" dirty="0">
                <a:solidFill>
                  <a:srgbClr val="FFFFFF"/>
                </a:solidFill>
                <a:latin typeface="Arial"/>
                <a:cs typeface="Arial"/>
              </a:rPr>
              <a:t>origen </a:t>
            </a:r>
            <a:r>
              <a:rPr sz="1500" b="1" spc="75" dirty="0">
                <a:solidFill>
                  <a:srgbClr val="FFFFFF"/>
                </a:solidFill>
                <a:latin typeface="Arial"/>
                <a:cs typeface="Arial"/>
              </a:rPr>
              <a:t>Digital</a:t>
            </a:r>
            <a:r>
              <a:rPr sz="1500" b="1" spc="25" dirty="0">
                <a:solidFill>
                  <a:srgbClr val="FFFFFF"/>
                </a:solidFill>
                <a:latin typeface="Arial"/>
                <a:cs typeface="Arial"/>
              </a:rPr>
              <a:t> </a:t>
            </a:r>
            <a:r>
              <a:rPr sz="1500" b="1" spc="40" dirty="0">
                <a:solidFill>
                  <a:srgbClr val="FFFFFF"/>
                </a:solidFill>
                <a:latin typeface="Arial"/>
                <a:cs typeface="Arial"/>
              </a:rPr>
              <a:t>inputs </a:t>
            </a:r>
            <a:r>
              <a:rPr sz="1500" b="1" spc="90" dirty="0">
                <a:solidFill>
                  <a:srgbClr val="FFFFFF"/>
                </a:solidFill>
                <a:latin typeface="Arial"/>
                <a:cs typeface="Arial"/>
              </a:rPr>
              <a:t>Plataformas</a:t>
            </a:r>
            <a:endParaRPr sz="1500">
              <a:latin typeface="Arial"/>
              <a:cs typeface="Arial"/>
            </a:endParaRPr>
          </a:p>
        </p:txBody>
      </p:sp>
      <p:sp>
        <p:nvSpPr>
          <p:cNvPr id="29" name="object 29"/>
          <p:cNvSpPr txBox="1"/>
          <p:nvPr/>
        </p:nvSpPr>
        <p:spPr>
          <a:xfrm>
            <a:off x="5765179" y="5659993"/>
            <a:ext cx="2355850" cy="1005840"/>
          </a:xfrm>
          <a:prstGeom prst="rect">
            <a:avLst/>
          </a:prstGeom>
        </p:spPr>
        <p:txBody>
          <a:bodyPr vert="horz" wrap="square" lIns="0" tIns="12065" rIns="0" bIns="0" rtlCol="0">
            <a:spAutoFit/>
          </a:bodyPr>
          <a:lstStyle/>
          <a:p>
            <a:pPr marL="12700" marR="5080" indent="137160">
              <a:lnSpc>
                <a:spcPct val="117000"/>
              </a:lnSpc>
              <a:spcBef>
                <a:spcPts val="95"/>
              </a:spcBef>
            </a:pPr>
            <a:r>
              <a:rPr sz="2750" b="1" spc="95" dirty="0">
                <a:solidFill>
                  <a:srgbClr val="FFFFFF"/>
                </a:solidFill>
                <a:latin typeface="Arial"/>
                <a:cs typeface="Arial"/>
              </a:rPr>
              <a:t>Inteligencia </a:t>
            </a:r>
            <a:r>
              <a:rPr sz="2750" b="1" spc="155" dirty="0">
                <a:solidFill>
                  <a:srgbClr val="FFFFFF"/>
                </a:solidFill>
                <a:latin typeface="Arial"/>
                <a:cs typeface="Arial"/>
              </a:rPr>
              <a:t>de</a:t>
            </a:r>
            <a:r>
              <a:rPr sz="2750" b="1" spc="-10" dirty="0">
                <a:solidFill>
                  <a:srgbClr val="FFFFFF"/>
                </a:solidFill>
                <a:latin typeface="Arial"/>
                <a:cs typeface="Arial"/>
              </a:rPr>
              <a:t> </a:t>
            </a:r>
            <a:r>
              <a:rPr sz="2750" b="1" spc="110" dirty="0">
                <a:solidFill>
                  <a:srgbClr val="FFFFFF"/>
                </a:solidFill>
                <a:latin typeface="Arial"/>
                <a:cs typeface="Arial"/>
              </a:rPr>
              <a:t>mercados</a:t>
            </a:r>
            <a:endParaRPr sz="2750">
              <a:latin typeface="Arial"/>
              <a:cs typeface="Arial"/>
            </a:endParaRPr>
          </a:p>
        </p:txBody>
      </p:sp>
      <p:pic>
        <p:nvPicPr>
          <p:cNvPr id="30" name="object 30"/>
          <p:cNvPicPr/>
          <p:nvPr/>
        </p:nvPicPr>
        <p:blipFill>
          <a:blip r:embed="rId13" cstate="print"/>
          <a:stretch>
            <a:fillRect/>
          </a:stretch>
        </p:blipFill>
        <p:spPr>
          <a:xfrm>
            <a:off x="17316450" y="237496"/>
            <a:ext cx="742949" cy="819149"/>
          </a:xfrm>
          <a:prstGeom prst="rect">
            <a:avLst/>
          </a:prstGeom>
        </p:spPr>
      </p:pic>
      <p:sp>
        <p:nvSpPr>
          <p:cNvPr id="31" name="object 31"/>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32" name="object 32"/>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27</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16550"/>
            <a:ext cx="18288000" cy="10270490"/>
          </a:xfrm>
          <a:custGeom>
            <a:avLst/>
            <a:gdLst/>
            <a:ahLst/>
            <a:cxnLst/>
            <a:rect l="l" t="t" r="r" b="b"/>
            <a:pathLst>
              <a:path w="18288000" h="10270490">
                <a:moveTo>
                  <a:pt x="0" y="0"/>
                </a:moveTo>
                <a:lnTo>
                  <a:pt x="18287999" y="0"/>
                </a:lnTo>
                <a:lnTo>
                  <a:pt x="18287999" y="10270449"/>
                </a:lnTo>
                <a:lnTo>
                  <a:pt x="0" y="10270449"/>
                </a:lnTo>
                <a:lnTo>
                  <a:pt x="0" y="0"/>
                </a:lnTo>
                <a:close/>
              </a:path>
            </a:pathLst>
          </a:custGeom>
          <a:solidFill>
            <a:srgbClr val="F5A316"/>
          </a:solidFill>
        </p:spPr>
        <p:txBody>
          <a:bodyPr wrap="square" lIns="0" tIns="0" rIns="0" bIns="0" rtlCol="0"/>
          <a:lstStyle/>
          <a:p>
            <a:endParaRPr/>
          </a:p>
        </p:txBody>
      </p:sp>
      <p:sp>
        <p:nvSpPr>
          <p:cNvPr id="3" name="object 3"/>
          <p:cNvSpPr/>
          <p:nvPr/>
        </p:nvSpPr>
        <p:spPr>
          <a:xfrm>
            <a:off x="201329" y="181840"/>
            <a:ext cx="17897475" cy="9886950"/>
          </a:xfrm>
          <a:custGeom>
            <a:avLst/>
            <a:gdLst/>
            <a:ahLst/>
            <a:cxnLst/>
            <a:rect l="l" t="t" r="r" b="b"/>
            <a:pathLst>
              <a:path w="17897475" h="9886950">
                <a:moveTo>
                  <a:pt x="0" y="0"/>
                </a:moveTo>
                <a:lnTo>
                  <a:pt x="17897461" y="0"/>
                </a:lnTo>
                <a:lnTo>
                  <a:pt x="17897461" y="9886950"/>
                </a:lnTo>
                <a:lnTo>
                  <a:pt x="0" y="9886950"/>
                </a:lnTo>
                <a:lnTo>
                  <a:pt x="0" y="0"/>
                </a:lnTo>
              </a:path>
            </a:pathLst>
          </a:custGeom>
          <a:ln w="38110">
            <a:solidFill>
              <a:srgbClr val="FFFFFF"/>
            </a:solidFill>
          </a:ln>
        </p:spPr>
        <p:txBody>
          <a:bodyPr wrap="square" lIns="0" tIns="0" rIns="0" bIns="0" rtlCol="0"/>
          <a:lstStyle/>
          <a:p>
            <a:endParaRPr/>
          </a:p>
        </p:txBody>
      </p:sp>
      <p:sp>
        <p:nvSpPr>
          <p:cNvPr id="4" name="object 4"/>
          <p:cNvSpPr txBox="1">
            <a:spLocks noGrp="1"/>
          </p:cNvSpPr>
          <p:nvPr>
            <p:ph type="title"/>
          </p:nvPr>
        </p:nvSpPr>
        <p:spPr>
          <a:xfrm>
            <a:off x="4487192" y="4305147"/>
            <a:ext cx="9314180" cy="1696720"/>
          </a:xfrm>
          <a:prstGeom prst="rect">
            <a:avLst/>
          </a:prstGeom>
        </p:spPr>
        <p:txBody>
          <a:bodyPr vert="horz" wrap="square" lIns="0" tIns="37465" rIns="0" bIns="0" rtlCol="0">
            <a:spAutoFit/>
          </a:bodyPr>
          <a:lstStyle/>
          <a:p>
            <a:pPr marL="1204595" marR="5080" indent="-1192530">
              <a:lnSpc>
                <a:spcPts val="6530"/>
              </a:lnSpc>
              <a:spcBef>
                <a:spcPts val="295"/>
              </a:spcBef>
            </a:pPr>
            <a:r>
              <a:rPr sz="5500" b="1" spc="-85" dirty="0">
                <a:latin typeface="Arial"/>
                <a:cs typeface="Arial"/>
              </a:rPr>
              <a:t>¿Cómo</a:t>
            </a:r>
            <a:r>
              <a:rPr sz="5500" b="1" spc="-280" dirty="0">
                <a:latin typeface="Arial"/>
                <a:cs typeface="Arial"/>
              </a:rPr>
              <a:t> </a:t>
            </a:r>
            <a:r>
              <a:rPr sz="5500" b="1" spc="-10" dirty="0">
                <a:latin typeface="Arial"/>
                <a:cs typeface="Arial"/>
              </a:rPr>
              <a:t>distribuir</a:t>
            </a:r>
            <a:r>
              <a:rPr sz="5500" b="1" spc="-285" dirty="0">
                <a:latin typeface="Arial"/>
                <a:cs typeface="Arial"/>
              </a:rPr>
              <a:t> </a:t>
            </a:r>
            <a:r>
              <a:rPr sz="5500" b="1" dirty="0">
                <a:latin typeface="Arial"/>
                <a:cs typeface="Arial"/>
              </a:rPr>
              <a:t>el</a:t>
            </a:r>
            <a:r>
              <a:rPr sz="5500" b="1" spc="-280" dirty="0">
                <a:latin typeface="Arial"/>
                <a:cs typeface="Arial"/>
              </a:rPr>
              <a:t> </a:t>
            </a:r>
            <a:r>
              <a:rPr sz="5500" b="1" spc="145" dirty="0">
                <a:latin typeface="Arial"/>
                <a:cs typeface="Arial"/>
              </a:rPr>
              <a:t>impacto </a:t>
            </a:r>
            <a:r>
              <a:rPr sz="5500" b="1" spc="-35" dirty="0">
                <a:latin typeface="Arial"/>
                <a:cs typeface="Arial"/>
              </a:rPr>
              <a:t>positivo</a:t>
            </a:r>
            <a:r>
              <a:rPr sz="5500" b="1" spc="-235" dirty="0">
                <a:latin typeface="Arial"/>
                <a:cs typeface="Arial"/>
              </a:rPr>
              <a:t> </a:t>
            </a:r>
            <a:r>
              <a:rPr sz="5500" b="1" dirty="0">
                <a:latin typeface="Arial"/>
                <a:cs typeface="Arial"/>
              </a:rPr>
              <a:t>del</a:t>
            </a:r>
            <a:r>
              <a:rPr sz="5500" b="1" spc="-235" dirty="0">
                <a:latin typeface="Arial"/>
                <a:cs typeface="Arial"/>
              </a:rPr>
              <a:t> </a:t>
            </a:r>
            <a:r>
              <a:rPr sz="5500" b="1" spc="-10" dirty="0">
                <a:latin typeface="Arial"/>
                <a:cs typeface="Arial"/>
              </a:rPr>
              <a:t>turismo?</a:t>
            </a:r>
            <a:endParaRPr sz="5500">
              <a:latin typeface="Arial"/>
              <a:cs typeface="Aria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8715793"/>
            <a:ext cx="17954625" cy="1059815"/>
          </a:xfrm>
          <a:custGeom>
            <a:avLst/>
            <a:gdLst/>
            <a:ahLst/>
            <a:cxnLst/>
            <a:rect l="l" t="t" r="r" b="b"/>
            <a:pathLst>
              <a:path w="17954625" h="1059815">
                <a:moveTo>
                  <a:pt x="0" y="1059579"/>
                </a:moveTo>
                <a:lnTo>
                  <a:pt x="17954029" y="1059579"/>
                </a:lnTo>
                <a:lnTo>
                  <a:pt x="17954029" y="0"/>
                </a:lnTo>
                <a:lnTo>
                  <a:pt x="0" y="0"/>
                </a:lnTo>
                <a:lnTo>
                  <a:pt x="0" y="1059579"/>
                </a:lnTo>
                <a:close/>
              </a:path>
            </a:pathLst>
          </a:custGeom>
          <a:solidFill>
            <a:srgbClr val="EFEBE2">
              <a:alpha val="55690"/>
            </a:srgbClr>
          </a:solidFill>
        </p:spPr>
        <p:txBody>
          <a:bodyPr wrap="square" lIns="0" tIns="0" rIns="0" bIns="0" rtlCol="0"/>
          <a:lstStyle/>
          <a:p>
            <a:endParaRPr/>
          </a:p>
        </p:txBody>
      </p:sp>
      <p:sp>
        <p:nvSpPr>
          <p:cNvPr id="3" name="object 3"/>
          <p:cNvSpPr/>
          <p:nvPr/>
        </p:nvSpPr>
        <p:spPr>
          <a:xfrm>
            <a:off x="166956" y="1113694"/>
            <a:ext cx="17954625" cy="4516120"/>
          </a:xfrm>
          <a:custGeom>
            <a:avLst/>
            <a:gdLst/>
            <a:ahLst/>
            <a:cxnLst/>
            <a:rect l="l" t="t" r="r" b="b"/>
            <a:pathLst>
              <a:path w="17954625" h="4516120">
                <a:moveTo>
                  <a:pt x="0" y="4515999"/>
                </a:moveTo>
                <a:lnTo>
                  <a:pt x="17954029" y="4515999"/>
                </a:lnTo>
                <a:lnTo>
                  <a:pt x="17954029" y="0"/>
                </a:lnTo>
                <a:lnTo>
                  <a:pt x="0" y="0"/>
                </a:lnTo>
                <a:lnTo>
                  <a:pt x="0" y="4515999"/>
                </a:lnTo>
                <a:close/>
              </a:path>
            </a:pathLst>
          </a:custGeom>
          <a:solidFill>
            <a:srgbClr val="EFEBE2">
              <a:alpha val="55690"/>
            </a:srgbClr>
          </a:solidFill>
        </p:spPr>
        <p:txBody>
          <a:bodyPr wrap="square" lIns="0" tIns="0" rIns="0" bIns="0" rtlCol="0"/>
          <a:lstStyle/>
          <a:p>
            <a:endParaRPr/>
          </a:p>
        </p:txBody>
      </p:sp>
      <p:grpSp>
        <p:nvGrpSpPr>
          <p:cNvPr id="4" name="object 4"/>
          <p:cNvGrpSpPr/>
          <p:nvPr/>
        </p:nvGrpSpPr>
        <p:grpSpPr>
          <a:xfrm>
            <a:off x="166956" y="171494"/>
            <a:ext cx="17954625" cy="1394460"/>
            <a:chOff x="166956" y="171494"/>
            <a:chExt cx="17954625" cy="1394460"/>
          </a:xfrm>
        </p:grpSpPr>
        <p:sp>
          <p:nvSpPr>
            <p:cNvPr id="5" name="object 5"/>
            <p:cNvSpPr/>
            <p:nvPr/>
          </p:nvSpPr>
          <p:spPr>
            <a:xfrm>
              <a:off x="166956" y="171494"/>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6" name="object 6"/>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grpSp>
      <p:sp>
        <p:nvSpPr>
          <p:cNvPr id="7" name="object 7"/>
          <p:cNvSpPr/>
          <p:nvPr/>
        </p:nvSpPr>
        <p:spPr>
          <a:xfrm>
            <a:off x="1846554" y="6256070"/>
            <a:ext cx="1845945" cy="1587500"/>
          </a:xfrm>
          <a:custGeom>
            <a:avLst/>
            <a:gdLst/>
            <a:ahLst/>
            <a:cxnLst/>
            <a:rect l="l" t="t" r="r" b="b"/>
            <a:pathLst>
              <a:path w="1845945" h="1587500">
                <a:moveTo>
                  <a:pt x="631736" y="964844"/>
                </a:moveTo>
                <a:lnTo>
                  <a:pt x="624611" y="938390"/>
                </a:lnTo>
                <a:lnTo>
                  <a:pt x="609714" y="915339"/>
                </a:lnTo>
                <a:lnTo>
                  <a:pt x="588556" y="898575"/>
                </a:lnTo>
                <a:lnTo>
                  <a:pt x="563067" y="890587"/>
                </a:lnTo>
                <a:lnTo>
                  <a:pt x="535279" y="890930"/>
                </a:lnTo>
                <a:lnTo>
                  <a:pt x="487057" y="914603"/>
                </a:lnTo>
                <a:lnTo>
                  <a:pt x="459740" y="943356"/>
                </a:lnTo>
                <a:lnTo>
                  <a:pt x="432511" y="972134"/>
                </a:lnTo>
                <a:lnTo>
                  <a:pt x="405587" y="1001153"/>
                </a:lnTo>
                <a:lnTo>
                  <a:pt x="379222" y="1030605"/>
                </a:lnTo>
                <a:lnTo>
                  <a:pt x="339102" y="1077798"/>
                </a:lnTo>
                <a:lnTo>
                  <a:pt x="304368" y="1128471"/>
                </a:lnTo>
                <a:lnTo>
                  <a:pt x="291744" y="1174775"/>
                </a:lnTo>
                <a:lnTo>
                  <a:pt x="302945" y="1217371"/>
                </a:lnTo>
                <a:lnTo>
                  <a:pt x="333565" y="1249362"/>
                </a:lnTo>
                <a:lnTo>
                  <a:pt x="379222" y="1263878"/>
                </a:lnTo>
                <a:lnTo>
                  <a:pt x="388137" y="1259801"/>
                </a:lnTo>
                <a:lnTo>
                  <a:pt x="397243" y="1255915"/>
                </a:lnTo>
                <a:lnTo>
                  <a:pt x="447027" y="1207706"/>
                </a:lnTo>
                <a:lnTo>
                  <a:pt x="480885" y="1169555"/>
                </a:lnTo>
                <a:lnTo>
                  <a:pt x="514654" y="1131316"/>
                </a:lnTo>
                <a:lnTo>
                  <a:pt x="548347" y="1093012"/>
                </a:lnTo>
                <a:lnTo>
                  <a:pt x="615619" y="1016266"/>
                </a:lnTo>
                <a:lnTo>
                  <a:pt x="629577" y="991806"/>
                </a:lnTo>
                <a:lnTo>
                  <a:pt x="631736" y="964844"/>
                </a:lnTo>
                <a:close/>
              </a:path>
              <a:path w="1845945" h="1587500">
                <a:moveTo>
                  <a:pt x="777176" y="1094308"/>
                </a:moveTo>
                <a:lnTo>
                  <a:pt x="770305" y="1064425"/>
                </a:lnTo>
                <a:lnTo>
                  <a:pt x="752690" y="1040625"/>
                </a:lnTo>
                <a:lnTo>
                  <a:pt x="726922" y="1024902"/>
                </a:lnTo>
                <a:lnTo>
                  <a:pt x="695553" y="1019225"/>
                </a:lnTo>
                <a:lnTo>
                  <a:pt x="672515" y="1020851"/>
                </a:lnTo>
                <a:lnTo>
                  <a:pt x="635304" y="1036307"/>
                </a:lnTo>
                <a:lnTo>
                  <a:pt x="598551" y="1072476"/>
                </a:lnTo>
                <a:lnTo>
                  <a:pt x="579678" y="1093876"/>
                </a:lnTo>
                <a:lnTo>
                  <a:pt x="544931" y="1132928"/>
                </a:lnTo>
                <a:lnTo>
                  <a:pt x="510108" y="1171867"/>
                </a:lnTo>
                <a:lnTo>
                  <a:pt x="475602" y="1211033"/>
                </a:lnTo>
                <a:lnTo>
                  <a:pt x="441807" y="1250797"/>
                </a:lnTo>
                <a:lnTo>
                  <a:pt x="419874" y="1318450"/>
                </a:lnTo>
                <a:lnTo>
                  <a:pt x="430339" y="1350873"/>
                </a:lnTo>
                <a:lnTo>
                  <a:pt x="454075" y="1378191"/>
                </a:lnTo>
                <a:lnTo>
                  <a:pt x="483654" y="1393482"/>
                </a:lnTo>
                <a:lnTo>
                  <a:pt x="514337" y="1395171"/>
                </a:lnTo>
                <a:lnTo>
                  <a:pt x="544703" y="1383411"/>
                </a:lnTo>
                <a:lnTo>
                  <a:pt x="668591" y="1247736"/>
                </a:lnTo>
                <a:lnTo>
                  <a:pt x="700265" y="1210792"/>
                </a:lnTo>
                <a:lnTo>
                  <a:pt x="731824" y="1173721"/>
                </a:lnTo>
                <a:lnTo>
                  <a:pt x="763219" y="1136484"/>
                </a:lnTo>
                <a:lnTo>
                  <a:pt x="776414" y="1105230"/>
                </a:lnTo>
                <a:lnTo>
                  <a:pt x="777176" y="1094308"/>
                </a:lnTo>
                <a:close/>
              </a:path>
              <a:path w="1845945" h="1587500">
                <a:moveTo>
                  <a:pt x="1845945" y="381000"/>
                </a:moveTo>
                <a:lnTo>
                  <a:pt x="1842071" y="368300"/>
                </a:lnTo>
                <a:lnTo>
                  <a:pt x="1831454" y="355600"/>
                </a:lnTo>
                <a:lnTo>
                  <a:pt x="1764220" y="295795"/>
                </a:lnTo>
                <a:lnTo>
                  <a:pt x="1764220" y="381000"/>
                </a:lnTo>
                <a:lnTo>
                  <a:pt x="1737067" y="406400"/>
                </a:lnTo>
                <a:lnTo>
                  <a:pt x="1710029" y="444500"/>
                </a:lnTo>
                <a:lnTo>
                  <a:pt x="1655533" y="495300"/>
                </a:lnTo>
                <a:lnTo>
                  <a:pt x="1577759" y="431800"/>
                </a:lnTo>
                <a:lnTo>
                  <a:pt x="1297762" y="203200"/>
                </a:lnTo>
                <a:lnTo>
                  <a:pt x="1348460" y="139700"/>
                </a:lnTo>
                <a:lnTo>
                  <a:pt x="1373581" y="114300"/>
                </a:lnTo>
                <a:lnTo>
                  <a:pt x="1398828" y="88900"/>
                </a:lnTo>
                <a:lnTo>
                  <a:pt x="1401368" y="76200"/>
                </a:lnTo>
                <a:lnTo>
                  <a:pt x="1413637" y="88900"/>
                </a:lnTo>
                <a:lnTo>
                  <a:pt x="1418285" y="88900"/>
                </a:lnTo>
                <a:lnTo>
                  <a:pt x="1455826" y="114300"/>
                </a:lnTo>
                <a:lnTo>
                  <a:pt x="1493405" y="152400"/>
                </a:lnTo>
                <a:lnTo>
                  <a:pt x="1567573" y="203200"/>
                </a:lnTo>
                <a:lnTo>
                  <a:pt x="1607502" y="241300"/>
                </a:lnTo>
                <a:lnTo>
                  <a:pt x="1686090" y="317500"/>
                </a:lnTo>
                <a:lnTo>
                  <a:pt x="1725307" y="342900"/>
                </a:lnTo>
                <a:lnTo>
                  <a:pt x="1734362" y="355600"/>
                </a:lnTo>
                <a:lnTo>
                  <a:pt x="1743811" y="368300"/>
                </a:lnTo>
                <a:lnTo>
                  <a:pt x="1764220" y="381000"/>
                </a:lnTo>
                <a:lnTo>
                  <a:pt x="1764220" y="295795"/>
                </a:lnTo>
                <a:lnTo>
                  <a:pt x="1631581" y="177800"/>
                </a:lnTo>
                <a:lnTo>
                  <a:pt x="1511528" y="76200"/>
                </a:lnTo>
                <a:lnTo>
                  <a:pt x="1431391" y="12700"/>
                </a:lnTo>
                <a:lnTo>
                  <a:pt x="1415008" y="0"/>
                </a:lnTo>
                <a:lnTo>
                  <a:pt x="1386027" y="0"/>
                </a:lnTo>
                <a:lnTo>
                  <a:pt x="1371765" y="12700"/>
                </a:lnTo>
                <a:lnTo>
                  <a:pt x="1335659" y="50800"/>
                </a:lnTo>
                <a:lnTo>
                  <a:pt x="1300187" y="101600"/>
                </a:lnTo>
                <a:lnTo>
                  <a:pt x="1265199" y="139700"/>
                </a:lnTo>
                <a:lnTo>
                  <a:pt x="1230515" y="190500"/>
                </a:lnTo>
                <a:lnTo>
                  <a:pt x="1218336" y="203200"/>
                </a:lnTo>
                <a:lnTo>
                  <a:pt x="1173848" y="203200"/>
                </a:lnTo>
                <a:lnTo>
                  <a:pt x="1131150" y="177800"/>
                </a:lnTo>
                <a:lnTo>
                  <a:pt x="1086954" y="165100"/>
                </a:lnTo>
                <a:lnTo>
                  <a:pt x="995172" y="139700"/>
                </a:lnTo>
                <a:lnTo>
                  <a:pt x="803821" y="139700"/>
                </a:lnTo>
                <a:lnTo>
                  <a:pt x="755637" y="152400"/>
                </a:lnTo>
                <a:lnTo>
                  <a:pt x="707605" y="152400"/>
                </a:lnTo>
                <a:lnTo>
                  <a:pt x="659739" y="165100"/>
                </a:lnTo>
                <a:lnTo>
                  <a:pt x="612013" y="165100"/>
                </a:lnTo>
                <a:lnTo>
                  <a:pt x="564451" y="177800"/>
                </a:lnTo>
                <a:lnTo>
                  <a:pt x="529882" y="177800"/>
                </a:lnTo>
                <a:lnTo>
                  <a:pt x="515924" y="165100"/>
                </a:lnTo>
                <a:lnTo>
                  <a:pt x="502285" y="152400"/>
                </a:lnTo>
                <a:lnTo>
                  <a:pt x="473430" y="127000"/>
                </a:lnTo>
                <a:lnTo>
                  <a:pt x="465493" y="120154"/>
                </a:lnTo>
                <a:lnTo>
                  <a:pt x="465493" y="215900"/>
                </a:lnTo>
                <a:lnTo>
                  <a:pt x="464400" y="228600"/>
                </a:lnTo>
                <a:lnTo>
                  <a:pt x="458939" y="241300"/>
                </a:lnTo>
                <a:lnTo>
                  <a:pt x="451573" y="254000"/>
                </a:lnTo>
                <a:lnTo>
                  <a:pt x="444766" y="266700"/>
                </a:lnTo>
                <a:lnTo>
                  <a:pt x="346329" y="444500"/>
                </a:lnTo>
                <a:lnTo>
                  <a:pt x="221907" y="673100"/>
                </a:lnTo>
                <a:lnTo>
                  <a:pt x="113195" y="609600"/>
                </a:lnTo>
                <a:lnTo>
                  <a:pt x="76009" y="584200"/>
                </a:lnTo>
                <a:lnTo>
                  <a:pt x="98094" y="533400"/>
                </a:lnTo>
                <a:lnTo>
                  <a:pt x="120396" y="495300"/>
                </a:lnTo>
                <a:lnTo>
                  <a:pt x="143040" y="457200"/>
                </a:lnTo>
                <a:lnTo>
                  <a:pt x="166154" y="406400"/>
                </a:lnTo>
                <a:lnTo>
                  <a:pt x="189865" y="368300"/>
                </a:lnTo>
                <a:lnTo>
                  <a:pt x="214287" y="317500"/>
                </a:lnTo>
                <a:lnTo>
                  <a:pt x="239560" y="279400"/>
                </a:lnTo>
                <a:lnTo>
                  <a:pt x="265823" y="241300"/>
                </a:lnTo>
                <a:lnTo>
                  <a:pt x="293179" y="190500"/>
                </a:lnTo>
                <a:lnTo>
                  <a:pt x="321779" y="152400"/>
                </a:lnTo>
                <a:lnTo>
                  <a:pt x="351739" y="114300"/>
                </a:lnTo>
                <a:lnTo>
                  <a:pt x="373265" y="127000"/>
                </a:lnTo>
                <a:lnTo>
                  <a:pt x="393598" y="152400"/>
                </a:lnTo>
                <a:lnTo>
                  <a:pt x="412991" y="165100"/>
                </a:lnTo>
                <a:lnTo>
                  <a:pt x="431660" y="190500"/>
                </a:lnTo>
                <a:lnTo>
                  <a:pt x="441769" y="190500"/>
                </a:lnTo>
                <a:lnTo>
                  <a:pt x="452221" y="203200"/>
                </a:lnTo>
                <a:lnTo>
                  <a:pt x="460857" y="215900"/>
                </a:lnTo>
                <a:lnTo>
                  <a:pt x="465493" y="215900"/>
                </a:lnTo>
                <a:lnTo>
                  <a:pt x="465493" y="120154"/>
                </a:lnTo>
                <a:lnTo>
                  <a:pt x="458711" y="114300"/>
                </a:lnTo>
                <a:lnTo>
                  <a:pt x="443979" y="101600"/>
                </a:lnTo>
                <a:lnTo>
                  <a:pt x="413969" y="76200"/>
                </a:lnTo>
                <a:lnTo>
                  <a:pt x="383451" y="63500"/>
                </a:lnTo>
                <a:lnTo>
                  <a:pt x="362000" y="50800"/>
                </a:lnTo>
                <a:lnTo>
                  <a:pt x="342531" y="38100"/>
                </a:lnTo>
                <a:lnTo>
                  <a:pt x="323862" y="50800"/>
                </a:lnTo>
                <a:lnTo>
                  <a:pt x="304787" y="63500"/>
                </a:lnTo>
                <a:lnTo>
                  <a:pt x="270179" y="101600"/>
                </a:lnTo>
                <a:lnTo>
                  <a:pt x="230886" y="165100"/>
                </a:lnTo>
                <a:lnTo>
                  <a:pt x="202603" y="203200"/>
                </a:lnTo>
                <a:lnTo>
                  <a:pt x="175107" y="254000"/>
                </a:lnTo>
                <a:lnTo>
                  <a:pt x="148374" y="304800"/>
                </a:lnTo>
                <a:lnTo>
                  <a:pt x="122364" y="342900"/>
                </a:lnTo>
                <a:lnTo>
                  <a:pt x="97078" y="393700"/>
                </a:lnTo>
                <a:lnTo>
                  <a:pt x="72466" y="444500"/>
                </a:lnTo>
                <a:lnTo>
                  <a:pt x="48514" y="482600"/>
                </a:lnTo>
                <a:lnTo>
                  <a:pt x="25781" y="533400"/>
                </a:lnTo>
                <a:lnTo>
                  <a:pt x="4953" y="584200"/>
                </a:lnTo>
                <a:lnTo>
                  <a:pt x="0" y="596900"/>
                </a:lnTo>
                <a:lnTo>
                  <a:pt x="2362" y="609600"/>
                </a:lnTo>
                <a:lnTo>
                  <a:pt x="12268" y="622300"/>
                </a:lnTo>
                <a:lnTo>
                  <a:pt x="29908" y="635000"/>
                </a:lnTo>
                <a:lnTo>
                  <a:pt x="38328" y="635000"/>
                </a:lnTo>
                <a:lnTo>
                  <a:pt x="46507" y="647700"/>
                </a:lnTo>
                <a:lnTo>
                  <a:pt x="62471" y="647700"/>
                </a:lnTo>
                <a:lnTo>
                  <a:pt x="90258" y="673100"/>
                </a:lnTo>
                <a:lnTo>
                  <a:pt x="145846" y="698500"/>
                </a:lnTo>
                <a:lnTo>
                  <a:pt x="174117" y="723900"/>
                </a:lnTo>
                <a:lnTo>
                  <a:pt x="187985" y="723900"/>
                </a:lnTo>
                <a:lnTo>
                  <a:pt x="202615" y="736600"/>
                </a:lnTo>
                <a:lnTo>
                  <a:pt x="237134" y="736600"/>
                </a:lnTo>
                <a:lnTo>
                  <a:pt x="242201" y="749300"/>
                </a:lnTo>
                <a:lnTo>
                  <a:pt x="243471" y="749300"/>
                </a:lnTo>
                <a:lnTo>
                  <a:pt x="248831" y="774700"/>
                </a:lnTo>
                <a:lnTo>
                  <a:pt x="253987" y="800100"/>
                </a:lnTo>
                <a:lnTo>
                  <a:pt x="258762" y="812800"/>
                </a:lnTo>
                <a:lnTo>
                  <a:pt x="262928" y="838200"/>
                </a:lnTo>
                <a:lnTo>
                  <a:pt x="261493" y="850900"/>
                </a:lnTo>
                <a:lnTo>
                  <a:pt x="258826" y="850900"/>
                </a:lnTo>
                <a:lnTo>
                  <a:pt x="255308" y="863600"/>
                </a:lnTo>
                <a:lnTo>
                  <a:pt x="239776" y="876300"/>
                </a:lnTo>
                <a:lnTo>
                  <a:pt x="223913" y="901700"/>
                </a:lnTo>
                <a:lnTo>
                  <a:pt x="208216" y="914400"/>
                </a:lnTo>
                <a:lnTo>
                  <a:pt x="185635" y="952500"/>
                </a:lnTo>
                <a:lnTo>
                  <a:pt x="179031" y="952500"/>
                </a:lnTo>
                <a:lnTo>
                  <a:pt x="173469" y="965200"/>
                </a:lnTo>
                <a:lnTo>
                  <a:pt x="169037" y="977900"/>
                </a:lnTo>
                <a:lnTo>
                  <a:pt x="165087" y="1016000"/>
                </a:lnTo>
                <a:lnTo>
                  <a:pt x="170357" y="1041400"/>
                </a:lnTo>
                <a:lnTo>
                  <a:pt x="183972" y="1054100"/>
                </a:lnTo>
                <a:lnTo>
                  <a:pt x="204990" y="1079500"/>
                </a:lnTo>
                <a:lnTo>
                  <a:pt x="232524" y="1092200"/>
                </a:lnTo>
                <a:lnTo>
                  <a:pt x="261289" y="1092200"/>
                </a:lnTo>
                <a:lnTo>
                  <a:pt x="288544" y="1079500"/>
                </a:lnTo>
                <a:lnTo>
                  <a:pt x="311556" y="1066800"/>
                </a:lnTo>
                <a:lnTo>
                  <a:pt x="410819" y="952500"/>
                </a:lnTo>
                <a:lnTo>
                  <a:pt x="443712" y="927100"/>
                </a:lnTo>
                <a:lnTo>
                  <a:pt x="476491" y="889000"/>
                </a:lnTo>
                <a:lnTo>
                  <a:pt x="491705" y="863600"/>
                </a:lnTo>
                <a:lnTo>
                  <a:pt x="498005" y="838200"/>
                </a:lnTo>
                <a:lnTo>
                  <a:pt x="495338" y="812800"/>
                </a:lnTo>
                <a:lnTo>
                  <a:pt x="489508" y="800100"/>
                </a:lnTo>
                <a:lnTo>
                  <a:pt x="483679" y="787400"/>
                </a:lnTo>
                <a:lnTo>
                  <a:pt x="456641" y="762000"/>
                </a:lnTo>
                <a:lnTo>
                  <a:pt x="422465" y="749300"/>
                </a:lnTo>
                <a:lnTo>
                  <a:pt x="347929" y="774700"/>
                </a:lnTo>
                <a:lnTo>
                  <a:pt x="341541" y="774700"/>
                </a:lnTo>
                <a:lnTo>
                  <a:pt x="334924" y="787400"/>
                </a:lnTo>
                <a:lnTo>
                  <a:pt x="327825" y="787400"/>
                </a:lnTo>
                <a:lnTo>
                  <a:pt x="320014" y="800100"/>
                </a:lnTo>
                <a:lnTo>
                  <a:pt x="313639" y="762000"/>
                </a:lnTo>
                <a:lnTo>
                  <a:pt x="307378" y="736600"/>
                </a:lnTo>
                <a:lnTo>
                  <a:pt x="301523" y="711200"/>
                </a:lnTo>
                <a:lnTo>
                  <a:pt x="296329" y="685800"/>
                </a:lnTo>
                <a:lnTo>
                  <a:pt x="296532" y="673100"/>
                </a:lnTo>
                <a:lnTo>
                  <a:pt x="298500" y="673100"/>
                </a:lnTo>
                <a:lnTo>
                  <a:pt x="301510" y="660400"/>
                </a:lnTo>
                <a:lnTo>
                  <a:pt x="304787" y="660400"/>
                </a:lnTo>
                <a:lnTo>
                  <a:pt x="329615" y="609600"/>
                </a:lnTo>
                <a:lnTo>
                  <a:pt x="379501" y="520700"/>
                </a:lnTo>
                <a:lnTo>
                  <a:pt x="404380" y="482600"/>
                </a:lnTo>
                <a:lnTo>
                  <a:pt x="429107" y="431800"/>
                </a:lnTo>
                <a:lnTo>
                  <a:pt x="453593" y="393700"/>
                </a:lnTo>
                <a:lnTo>
                  <a:pt x="477723" y="342900"/>
                </a:lnTo>
                <a:lnTo>
                  <a:pt x="501446" y="304800"/>
                </a:lnTo>
                <a:lnTo>
                  <a:pt x="515632" y="279400"/>
                </a:lnTo>
                <a:lnTo>
                  <a:pt x="532155" y="266700"/>
                </a:lnTo>
                <a:lnTo>
                  <a:pt x="552881" y="254000"/>
                </a:lnTo>
                <a:lnTo>
                  <a:pt x="579678" y="241300"/>
                </a:lnTo>
                <a:lnTo>
                  <a:pt x="628205" y="228600"/>
                </a:lnTo>
                <a:lnTo>
                  <a:pt x="676694" y="228600"/>
                </a:lnTo>
                <a:lnTo>
                  <a:pt x="725195" y="215900"/>
                </a:lnTo>
                <a:lnTo>
                  <a:pt x="773772" y="215900"/>
                </a:lnTo>
                <a:lnTo>
                  <a:pt x="822477" y="203200"/>
                </a:lnTo>
                <a:lnTo>
                  <a:pt x="953592" y="203200"/>
                </a:lnTo>
                <a:lnTo>
                  <a:pt x="986713" y="215900"/>
                </a:lnTo>
                <a:lnTo>
                  <a:pt x="1052906" y="215900"/>
                </a:lnTo>
                <a:lnTo>
                  <a:pt x="1053325" y="228600"/>
                </a:lnTo>
                <a:lnTo>
                  <a:pt x="986929" y="228600"/>
                </a:lnTo>
                <a:lnTo>
                  <a:pt x="953770" y="241300"/>
                </a:lnTo>
                <a:lnTo>
                  <a:pt x="882904" y="241300"/>
                </a:lnTo>
                <a:lnTo>
                  <a:pt x="847534" y="254000"/>
                </a:lnTo>
                <a:lnTo>
                  <a:pt x="814616" y="266700"/>
                </a:lnTo>
                <a:lnTo>
                  <a:pt x="784364" y="292100"/>
                </a:lnTo>
                <a:lnTo>
                  <a:pt x="761873" y="317500"/>
                </a:lnTo>
                <a:lnTo>
                  <a:pt x="738314" y="330200"/>
                </a:lnTo>
                <a:lnTo>
                  <a:pt x="714844" y="355600"/>
                </a:lnTo>
                <a:lnTo>
                  <a:pt x="692594" y="368300"/>
                </a:lnTo>
                <a:lnTo>
                  <a:pt x="676122" y="393700"/>
                </a:lnTo>
                <a:lnTo>
                  <a:pt x="672134" y="419100"/>
                </a:lnTo>
                <a:lnTo>
                  <a:pt x="680275" y="444500"/>
                </a:lnTo>
                <a:lnTo>
                  <a:pt x="700201" y="457200"/>
                </a:lnTo>
                <a:lnTo>
                  <a:pt x="739140" y="482600"/>
                </a:lnTo>
                <a:lnTo>
                  <a:pt x="779868" y="495300"/>
                </a:lnTo>
                <a:lnTo>
                  <a:pt x="822413" y="495300"/>
                </a:lnTo>
                <a:lnTo>
                  <a:pt x="866825" y="482600"/>
                </a:lnTo>
                <a:lnTo>
                  <a:pt x="881989" y="482600"/>
                </a:lnTo>
                <a:lnTo>
                  <a:pt x="897115" y="469900"/>
                </a:lnTo>
                <a:lnTo>
                  <a:pt x="912317" y="469900"/>
                </a:lnTo>
                <a:lnTo>
                  <a:pt x="927722" y="457200"/>
                </a:lnTo>
                <a:lnTo>
                  <a:pt x="976083" y="457200"/>
                </a:lnTo>
                <a:lnTo>
                  <a:pt x="1073429" y="431800"/>
                </a:lnTo>
                <a:lnTo>
                  <a:pt x="1150861" y="431800"/>
                </a:lnTo>
                <a:lnTo>
                  <a:pt x="1158621" y="444500"/>
                </a:lnTo>
                <a:lnTo>
                  <a:pt x="1195933" y="469900"/>
                </a:lnTo>
                <a:lnTo>
                  <a:pt x="1233208" y="508000"/>
                </a:lnTo>
                <a:lnTo>
                  <a:pt x="1270457" y="533400"/>
                </a:lnTo>
                <a:lnTo>
                  <a:pt x="1344879" y="609600"/>
                </a:lnTo>
                <a:lnTo>
                  <a:pt x="1382077" y="635000"/>
                </a:lnTo>
                <a:lnTo>
                  <a:pt x="1456436" y="698500"/>
                </a:lnTo>
                <a:lnTo>
                  <a:pt x="1605203" y="838200"/>
                </a:lnTo>
                <a:lnTo>
                  <a:pt x="1626781" y="850900"/>
                </a:lnTo>
                <a:lnTo>
                  <a:pt x="1635975" y="876300"/>
                </a:lnTo>
                <a:lnTo>
                  <a:pt x="1632331" y="914400"/>
                </a:lnTo>
                <a:lnTo>
                  <a:pt x="1615363" y="939800"/>
                </a:lnTo>
                <a:lnTo>
                  <a:pt x="1604454" y="952500"/>
                </a:lnTo>
                <a:lnTo>
                  <a:pt x="1591881" y="952500"/>
                </a:lnTo>
                <a:lnTo>
                  <a:pt x="1578368" y="965200"/>
                </a:lnTo>
                <a:lnTo>
                  <a:pt x="1564614" y="977900"/>
                </a:lnTo>
                <a:lnTo>
                  <a:pt x="1518754" y="977900"/>
                </a:lnTo>
                <a:lnTo>
                  <a:pt x="1504137" y="965200"/>
                </a:lnTo>
                <a:lnTo>
                  <a:pt x="1464271" y="927100"/>
                </a:lnTo>
                <a:lnTo>
                  <a:pt x="1424051" y="901700"/>
                </a:lnTo>
                <a:lnTo>
                  <a:pt x="1343012" y="825500"/>
                </a:lnTo>
                <a:lnTo>
                  <a:pt x="1333703" y="825500"/>
                </a:lnTo>
                <a:lnTo>
                  <a:pt x="1324089" y="812800"/>
                </a:lnTo>
                <a:lnTo>
                  <a:pt x="1313992" y="800100"/>
                </a:lnTo>
                <a:lnTo>
                  <a:pt x="1268158" y="800100"/>
                </a:lnTo>
                <a:lnTo>
                  <a:pt x="1260868" y="812800"/>
                </a:lnTo>
                <a:lnTo>
                  <a:pt x="1257427" y="825500"/>
                </a:lnTo>
                <a:lnTo>
                  <a:pt x="1257871" y="838200"/>
                </a:lnTo>
                <a:lnTo>
                  <a:pt x="1262240" y="838200"/>
                </a:lnTo>
                <a:lnTo>
                  <a:pt x="1268958" y="850900"/>
                </a:lnTo>
                <a:lnTo>
                  <a:pt x="1276400" y="863600"/>
                </a:lnTo>
                <a:lnTo>
                  <a:pt x="1284478" y="863600"/>
                </a:lnTo>
                <a:lnTo>
                  <a:pt x="1293114" y="876300"/>
                </a:lnTo>
                <a:lnTo>
                  <a:pt x="1328724" y="901700"/>
                </a:lnTo>
                <a:lnTo>
                  <a:pt x="1364449" y="939800"/>
                </a:lnTo>
                <a:lnTo>
                  <a:pt x="1435963" y="990600"/>
                </a:lnTo>
                <a:lnTo>
                  <a:pt x="1471574" y="1028700"/>
                </a:lnTo>
                <a:lnTo>
                  <a:pt x="1476832" y="1028700"/>
                </a:lnTo>
                <a:lnTo>
                  <a:pt x="1480985" y="1041400"/>
                </a:lnTo>
                <a:lnTo>
                  <a:pt x="1483702" y="1054100"/>
                </a:lnTo>
                <a:lnTo>
                  <a:pt x="1484680" y="1054100"/>
                </a:lnTo>
                <a:lnTo>
                  <a:pt x="1481353" y="1079500"/>
                </a:lnTo>
                <a:lnTo>
                  <a:pt x="1472679" y="1104900"/>
                </a:lnTo>
                <a:lnTo>
                  <a:pt x="1459649" y="1130300"/>
                </a:lnTo>
                <a:lnTo>
                  <a:pt x="1443240" y="1155700"/>
                </a:lnTo>
                <a:lnTo>
                  <a:pt x="1424063" y="1181100"/>
                </a:lnTo>
                <a:lnTo>
                  <a:pt x="1388579" y="1181100"/>
                </a:lnTo>
                <a:lnTo>
                  <a:pt x="1365846" y="1168400"/>
                </a:lnTo>
                <a:lnTo>
                  <a:pt x="1325245" y="1130300"/>
                </a:lnTo>
                <a:lnTo>
                  <a:pt x="1203452" y="1028700"/>
                </a:lnTo>
                <a:lnTo>
                  <a:pt x="1156512" y="990600"/>
                </a:lnTo>
                <a:lnTo>
                  <a:pt x="1107884" y="990600"/>
                </a:lnTo>
                <a:lnTo>
                  <a:pt x="1103503" y="1003300"/>
                </a:lnTo>
                <a:lnTo>
                  <a:pt x="1101115" y="1016000"/>
                </a:lnTo>
                <a:lnTo>
                  <a:pt x="1100620" y="1016000"/>
                </a:lnTo>
                <a:lnTo>
                  <a:pt x="1101953" y="1028700"/>
                </a:lnTo>
                <a:lnTo>
                  <a:pt x="1105471" y="1041400"/>
                </a:lnTo>
                <a:lnTo>
                  <a:pt x="1110996" y="1041400"/>
                </a:lnTo>
                <a:lnTo>
                  <a:pt x="1117714" y="1054100"/>
                </a:lnTo>
                <a:lnTo>
                  <a:pt x="1124800" y="1054100"/>
                </a:lnTo>
                <a:lnTo>
                  <a:pt x="1163599" y="1092200"/>
                </a:lnTo>
                <a:lnTo>
                  <a:pt x="1202448" y="1117600"/>
                </a:lnTo>
                <a:lnTo>
                  <a:pt x="1241539" y="1155700"/>
                </a:lnTo>
                <a:lnTo>
                  <a:pt x="1321015" y="1206500"/>
                </a:lnTo>
                <a:lnTo>
                  <a:pt x="1339240" y="1231900"/>
                </a:lnTo>
                <a:lnTo>
                  <a:pt x="1349095" y="1244600"/>
                </a:lnTo>
                <a:lnTo>
                  <a:pt x="1351889" y="1270000"/>
                </a:lnTo>
                <a:lnTo>
                  <a:pt x="1348930" y="1295400"/>
                </a:lnTo>
                <a:lnTo>
                  <a:pt x="1348092" y="1295400"/>
                </a:lnTo>
                <a:lnTo>
                  <a:pt x="1346822" y="1308100"/>
                </a:lnTo>
                <a:lnTo>
                  <a:pt x="1345552" y="1308100"/>
                </a:lnTo>
                <a:lnTo>
                  <a:pt x="1326388" y="1346200"/>
                </a:lnTo>
                <a:lnTo>
                  <a:pt x="1295641" y="1358900"/>
                </a:lnTo>
                <a:lnTo>
                  <a:pt x="1259192" y="1358900"/>
                </a:lnTo>
                <a:lnTo>
                  <a:pt x="1222908" y="1346200"/>
                </a:lnTo>
                <a:lnTo>
                  <a:pt x="1216990" y="1346200"/>
                </a:lnTo>
                <a:lnTo>
                  <a:pt x="1211910" y="1333500"/>
                </a:lnTo>
                <a:lnTo>
                  <a:pt x="1205992" y="1333500"/>
                </a:lnTo>
                <a:lnTo>
                  <a:pt x="1170254" y="1308100"/>
                </a:lnTo>
                <a:lnTo>
                  <a:pt x="1134529" y="1270000"/>
                </a:lnTo>
                <a:lnTo>
                  <a:pt x="1062824" y="1219200"/>
                </a:lnTo>
                <a:lnTo>
                  <a:pt x="1026680" y="1181100"/>
                </a:lnTo>
                <a:lnTo>
                  <a:pt x="1015961" y="1181100"/>
                </a:lnTo>
                <a:lnTo>
                  <a:pt x="1004316" y="1168400"/>
                </a:lnTo>
                <a:lnTo>
                  <a:pt x="956906" y="1168400"/>
                </a:lnTo>
                <a:lnTo>
                  <a:pt x="950010" y="1181100"/>
                </a:lnTo>
                <a:lnTo>
                  <a:pt x="946759" y="1193800"/>
                </a:lnTo>
                <a:lnTo>
                  <a:pt x="948461" y="1206500"/>
                </a:lnTo>
                <a:lnTo>
                  <a:pt x="955001" y="1219200"/>
                </a:lnTo>
                <a:lnTo>
                  <a:pt x="964717" y="1231900"/>
                </a:lnTo>
                <a:lnTo>
                  <a:pt x="975931" y="1231900"/>
                </a:lnTo>
                <a:lnTo>
                  <a:pt x="1061516" y="1308100"/>
                </a:lnTo>
                <a:lnTo>
                  <a:pt x="1104214" y="1333500"/>
                </a:lnTo>
                <a:lnTo>
                  <a:pt x="1189494" y="1409700"/>
                </a:lnTo>
                <a:lnTo>
                  <a:pt x="1195095" y="1409700"/>
                </a:lnTo>
                <a:lnTo>
                  <a:pt x="1198067" y="1422400"/>
                </a:lnTo>
                <a:lnTo>
                  <a:pt x="1198651" y="1422400"/>
                </a:lnTo>
                <a:lnTo>
                  <a:pt x="1197114" y="1435100"/>
                </a:lnTo>
                <a:lnTo>
                  <a:pt x="1184554" y="1460500"/>
                </a:lnTo>
                <a:lnTo>
                  <a:pt x="1166075" y="1485900"/>
                </a:lnTo>
                <a:lnTo>
                  <a:pt x="1142936" y="1498600"/>
                </a:lnTo>
                <a:lnTo>
                  <a:pt x="1116342" y="1511300"/>
                </a:lnTo>
                <a:lnTo>
                  <a:pt x="1060513" y="1511300"/>
                </a:lnTo>
                <a:lnTo>
                  <a:pt x="1018654" y="1473200"/>
                </a:lnTo>
                <a:lnTo>
                  <a:pt x="976833" y="1447800"/>
                </a:lnTo>
                <a:lnTo>
                  <a:pt x="935088" y="1409700"/>
                </a:lnTo>
                <a:lnTo>
                  <a:pt x="893470" y="1384300"/>
                </a:lnTo>
                <a:lnTo>
                  <a:pt x="846607" y="1346200"/>
                </a:lnTo>
                <a:lnTo>
                  <a:pt x="830453" y="1333500"/>
                </a:lnTo>
                <a:lnTo>
                  <a:pt x="843902" y="1320800"/>
                </a:lnTo>
                <a:lnTo>
                  <a:pt x="847801" y="1320800"/>
                </a:lnTo>
                <a:lnTo>
                  <a:pt x="860767" y="1308100"/>
                </a:lnTo>
                <a:lnTo>
                  <a:pt x="873912" y="1282700"/>
                </a:lnTo>
                <a:lnTo>
                  <a:pt x="886574" y="1270000"/>
                </a:lnTo>
                <a:lnTo>
                  <a:pt x="898118" y="1257300"/>
                </a:lnTo>
                <a:lnTo>
                  <a:pt x="910285" y="1231900"/>
                </a:lnTo>
                <a:lnTo>
                  <a:pt x="910120" y="1193800"/>
                </a:lnTo>
                <a:lnTo>
                  <a:pt x="898779" y="1168400"/>
                </a:lnTo>
                <a:lnTo>
                  <a:pt x="877404" y="1143000"/>
                </a:lnTo>
                <a:lnTo>
                  <a:pt x="852792" y="1130300"/>
                </a:lnTo>
                <a:lnTo>
                  <a:pt x="791705" y="1130300"/>
                </a:lnTo>
                <a:lnTo>
                  <a:pt x="764489" y="1155700"/>
                </a:lnTo>
                <a:lnTo>
                  <a:pt x="734415" y="1193800"/>
                </a:lnTo>
                <a:lnTo>
                  <a:pt x="703732" y="1231900"/>
                </a:lnTo>
                <a:lnTo>
                  <a:pt x="672592" y="1270000"/>
                </a:lnTo>
                <a:lnTo>
                  <a:pt x="641184" y="1308100"/>
                </a:lnTo>
                <a:lnTo>
                  <a:pt x="609701" y="1333500"/>
                </a:lnTo>
                <a:lnTo>
                  <a:pt x="597611" y="1358900"/>
                </a:lnTo>
                <a:lnTo>
                  <a:pt x="592582" y="1371600"/>
                </a:lnTo>
                <a:lnTo>
                  <a:pt x="593890" y="1397000"/>
                </a:lnTo>
                <a:lnTo>
                  <a:pt x="600824" y="1409700"/>
                </a:lnTo>
                <a:lnTo>
                  <a:pt x="628065" y="1447800"/>
                </a:lnTo>
                <a:lnTo>
                  <a:pt x="664895" y="1460500"/>
                </a:lnTo>
                <a:lnTo>
                  <a:pt x="704900" y="1460500"/>
                </a:lnTo>
                <a:lnTo>
                  <a:pt x="741654" y="1435100"/>
                </a:lnTo>
                <a:lnTo>
                  <a:pt x="753173" y="1422400"/>
                </a:lnTo>
                <a:lnTo>
                  <a:pt x="764374" y="1409700"/>
                </a:lnTo>
                <a:lnTo>
                  <a:pt x="786472" y="1384300"/>
                </a:lnTo>
                <a:lnTo>
                  <a:pt x="790282" y="1384300"/>
                </a:lnTo>
                <a:lnTo>
                  <a:pt x="791972" y="1397000"/>
                </a:lnTo>
                <a:lnTo>
                  <a:pt x="831215" y="1422400"/>
                </a:lnTo>
                <a:lnTo>
                  <a:pt x="943648" y="1498600"/>
                </a:lnTo>
                <a:lnTo>
                  <a:pt x="981417" y="1536700"/>
                </a:lnTo>
                <a:lnTo>
                  <a:pt x="1019492" y="1562100"/>
                </a:lnTo>
                <a:lnTo>
                  <a:pt x="1035202" y="1562100"/>
                </a:lnTo>
                <a:lnTo>
                  <a:pt x="1052588" y="1574800"/>
                </a:lnTo>
                <a:lnTo>
                  <a:pt x="1070762" y="1574800"/>
                </a:lnTo>
                <a:lnTo>
                  <a:pt x="1088847" y="1587500"/>
                </a:lnTo>
                <a:lnTo>
                  <a:pt x="1132332" y="1574800"/>
                </a:lnTo>
                <a:lnTo>
                  <a:pt x="1173975" y="1562100"/>
                </a:lnTo>
                <a:lnTo>
                  <a:pt x="1210703" y="1536700"/>
                </a:lnTo>
                <a:lnTo>
                  <a:pt x="1229868" y="1511300"/>
                </a:lnTo>
                <a:lnTo>
                  <a:pt x="1239456" y="1498600"/>
                </a:lnTo>
                <a:lnTo>
                  <a:pt x="1257160" y="1460500"/>
                </a:lnTo>
                <a:lnTo>
                  <a:pt x="1260754" y="1447800"/>
                </a:lnTo>
                <a:lnTo>
                  <a:pt x="1265885" y="1435100"/>
                </a:lnTo>
                <a:lnTo>
                  <a:pt x="1285074" y="1435100"/>
                </a:lnTo>
                <a:lnTo>
                  <a:pt x="1312100" y="1422400"/>
                </a:lnTo>
                <a:lnTo>
                  <a:pt x="1336662" y="1422400"/>
                </a:lnTo>
                <a:lnTo>
                  <a:pt x="1378115" y="1384300"/>
                </a:lnTo>
                <a:lnTo>
                  <a:pt x="1407604" y="1333500"/>
                </a:lnTo>
                <a:lnTo>
                  <a:pt x="1414868" y="1295400"/>
                </a:lnTo>
                <a:lnTo>
                  <a:pt x="1420037" y="1257300"/>
                </a:lnTo>
                <a:lnTo>
                  <a:pt x="1422628" y="1257300"/>
                </a:lnTo>
                <a:lnTo>
                  <a:pt x="1426324" y="1244600"/>
                </a:lnTo>
                <a:lnTo>
                  <a:pt x="1430972" y="1244600"/>
                </a:lnTo>
                <a:lnTo>
                  <a:pt x="1471472" y="1219200"/>
                </a:lnTo>
                <a:lnTo>
                  <a:pt x="1502397" y="1193800"/>
                </a:lnTo>
                <a:lnTo>
                  <a:pt x="1524965" y="1155700"/>
                </a:lnTo>
                <a:lnTo>
                  <a:pt x="1540370" y="1117600"/>
                </a:lnTo>
                <a:lnTo>
                  <a:pt x="1549806" y="1066800"/>
                </a:lnTo>
                <a:lnTo>
                  <a:pt x="1551889" y="1054100"/>
                </a:lnTo>
                <a:lnTo>
                  <a:pt x="1555356" y="1054100"/>
                </a:lnTo>
                <a:lnTo>
                  <a:pt x="1560817" y="1041400"/>
                </a:lnTo>
                <a:lnTo>
                  <a:pt x="1568843" y="1041400"/>
                </a:lnTo>
                <a:lnTo>
                  <a:pt x="1615821" y="1028700"/>
                </a:lnTo>
                <a:lnTo>
                  <a:pt x="1653209" y="1003300"/>
                </a:lnTo>
                <a:lnTo>
                  <a:pt x="1671574" y="977900"/>
                </a:lnTo>
                <a:lnTo>
                  <a:pt x="1680768" y="965200"/>
                </a:lnTo>
                <a:lnTo>
                  <a:pt x="1698244" y="914400"/>
                </a:lnTo>
                <a:lnTo>
                  <a:pt x="1703222" y="876300"/>
                </a:lnTo>
                <a:lnTo>
                  <a:pt x="1698993" y="838200"/>
                </a:lnTo>
                <a:lnTo>
                  <a:pt x="1683499" y="812800"/>
                </a:lnTo>
                <a:lnTo>
                  <a:pt x="1654683" y="787400"/>
                </a:lnTo>
                <a:lnTo>
                  <a:pt x="1646123" y="787400"/>
                </a:lnTo>
                <a:lnTo>
                  <a:pt x="1637880" y="774700"/>
                </a:lnTo>
                <a:lnTo>
                  <a:pt x="1629473" y="774700"/>
                </a:lnTo>
                <a:lnTo>
                  <a:pt x="1620431" y="762000"/>
                </a:lnTo>
                <a:lnTo>
                  <a:pt x="1648917" y="723900"/>
                </a:lnTo>
                <a:lnTo>
                  <a:pt x="1669440" y="673100"/>
                </a:lnTo>
                <a:lnTo>
                  <a:pt x="1683537" y="622300"/>
                </a:lnTo>
                <a:lnTo>
                  <a:pt x="1692744" y="584200"/>
                </a:lnTo>
                <a:lnTo>
                  <a:pt x="1697634" y="558800"/>
                </a:lnTo>
                <a:lnTo>
                  <a:pt x="1705546" y="546100"/>
                </a:lnTo>
                <a:lnTo>
                  <a:pt x="1715820" y="533400"/>
                </a:lnTo>
                <a:lnTo>
                  <a:pt x="1727847" y="520700"/>
                </a:lnTo>
                <a:lnTo>
                  <a:pt x="1754416" y="495300"/>
                </a:lnTo>
                <a:lnTo>
                  <a:pt x="1780819" y="457200"/>
                </a:lnTo>
                <a:lnTo>
                  <a:pt x="1833156" y="406400"/>
                </a:lnTo>
                <a:lnTo>
                  <a:pt x="1842998" y="393700"/>
                </a:lnTo>
                <a:lnTo>
                  <a:pt x="1845945" y="381000"/>
                </a:lnTo>
                <a:close/>
              </a:path>
            </a:pathLst>
          </a:custGeom>
          <a:solidFill>
            <a:srgbClr val="21408B"/>
          </a:solidFill>
        </p:spPr>
        <p:txBody>
          <a:bodyPr wrap="square" lIns="0" tIns="0" rIns="0" bIns="0" rtlCol="0"/>
          <a:lstStyle/>
          <a:p>
            <a:endParaRPr/>
          </a:p>
        </p:txBody>
      </p:sp>
      <p:sp>
        <p:nvSpPr>
          <p:cNvPr id="8" name="object 8"/>
          <p:cNvSpPr/>
          <p:nvPr/>
        </p:nvSpPr>
        <p:spPr>
          <a:xfrm>
            <a:off x="2081970" y="2150989"/>
            <a:ext cx="1374775" cy="1374775"/>
          </a:xfrm>
          <a:custGeom>
            <a:avLst/>
            <a:gdLst/>
            <a:ahLst/>
            <a:cxnLst/>
            <a:rect l="l" t="t" r="r" b="b"/>
            <a:pathLst>
              <a:path w="1374775" h="1374775">
                <a:moveTo>
                  <a:pt x="687143" y="1374286"/>
                </a:moveTo>
                <a:lnTo>
                  <a:pt x="640097" y="1372701"/>
                </a:lnTo>
                <a:lnTo>
                  <a:pt x="593901" y="1368013"/>
                </a:lnTo>
                <a:lnTo>
                  <a:pt x="548659" y="1360325"/>
                </a:lnTo>
                <a:lnTo>
                  <a:pt x="504473" y="1349740"/>
                </a:lnTo>
                <a:lnTo>
                  <a:pt x="461444" y="1336360"/>
                </a:lnTo>
                <a:lnTo>
                  <a:pt x="419676" y="1320287"/>
                </a:lnTo>
                <a:lnTo>
                  <a:pt x="379269" y="1301623"/>
                </a:lnTo>
                <a:lnTo>
                  <a:pt x="340328" y="1280471"/>
                </a:lnTo>
                <a:lnTo>
                  <a:pt x="302954" y="1256933"/>
                </a:lnTo>
                <a:lnTo>
                  <a:pt x="267250" y="1231111"/>
                </a:lnTo>
                <a:lnTo>
                  <a:pt x="233317" y="1203108"/>
                </a:lnTo>
                <a:lnTo>
                  <a:pt x="201259" y="1173026"/>
                </a:lnTo>
                <a:lnTo>
                  <a:pt x="171177" y="1140968"/>
                </a:lnTo>
                <a:lnTo>
                  <a:pt x="143174" y="1107035"/>
                </a:lnTo>
                <a:lnTo>
                  <a:pt x="117353" y="1071331"/>
                </a:lnTo>
                <a:lnTo>
                  <a:pt x="93815" y="1033957"/>
                </a:lnTo>
                <a:lnTo>
                  <a:pt x="72662" y="995016"/>
                </a:lnTo>
                <a:lnTo>
                  <a:pt x="53999" y="954610"/>
                </a:lnTo>
                <a:lnTo>
                  <a:pt x="37925" y="912841"/>
                </a:lnTo>
                <a:lnTo>
                  <a:pt x="24545" y="869812"/>
                </a:lnTo>
                <a:lnTo>
                  <a:pt x="13960" y="825626"/>
                </a:lnTo>
                <a:lnTo>
                  <a:pt x="6272" y="780384"/>
                </a:lnTo>
                <a:lnTo>
                  <a:pt x="1585" y="734189"/>
                </a:lnTo>
                <a:lnTo>
                  <a:pt x="0" y="687144"/>
                </a:lnTo>
                <a:lnTo>
                  <a:pt x="1585" y="640097"/>
                </a:lnTo>
                <a:lnTo>
                  <a:pt x="6272" y="593901"/>
                </a:lnTo>
                <a:lnTo>
                  <a:pt x="13960" y="548659"/>
                </a:lnTo>
                <a:lnTo>
                  <a:pt x="24545" y="504473"/>
                </a:lnTo>
                <a:lnTo>
                  <a:pt x="37925" y="461444"/>
                </a:lnTo>
                <a:lnTo>
                  <a:pt x="53999" y="419675"/>
                </a:lnTo>
                <a:lnTo>
                  <a:pt x="72662" y="379269"/>
                </a:lnTo>
                <a:lnTo>
                  <a:pt x="93815" y="340328"/>
                </a:lnTo>
                <a:lnTo>
                  <a:pt x="117353" y="302954"/>
                </a:lnTo>
                <a:lnTo>
                  <a:pt x="143174" y="267250"/>
                </a:lnTo>
                <a:lnTo>
                  <a:pt x="171177" y="233317"/>
                </a:lnTo>
                <a:lnTo>
                  <a:pt x="201259" y="201259"/>
                </a:lnTo>
                <a:lnTo>
                  <a:pt x="233317" y="171177"/>
                </a:lnTo>
                <a:lnTo>
                  <a:pt x="267250" y="143174"/>
                </a:lnTo>
                <a:lnTo>
                  <a:pt x="302954" y="117353"/>
                </a:lnTo>
                <a:lnTo>
                  <a:pt x="340328" y="93815"/>
                </a:lnTo>
                <a:lnTo>
                  <a:pt x="379269" y="72662"/>
                </a:lnTo>
                <a:lnTo>
                  <a:pt x="419676" y="53999"/>
                </a:lnTo>
                <a:lnTo>
                  <a:pt x="461444" y="37925"/>
                </a:lnTo>
                <a:lnTo>
                  <a:pt x="504473" y="24545"/>
                </a:lnTo>
                <a:lnTo>
                  <a:pt x="548659" y="13960"/>
                </a:lnTo>
                <a:lnTo>
                  <a:pt x="593901" y="6272"/>
                </a:lnTo>
                <a:lnTo>
                  <a:pt x="640097" y="1585"/>
                </a:lnTo>
                <a:lnTo>
                  <a:pt x="687140" y="0"/>
                </a:lnTo>
                <a:lnTo>
                  <a:pt x="734189" y="1585"/>
                </a:lnTo>
                <a:lnTo>
                  <a:pt x="780384" y="6272"/>
                </a:lnTo>
                <a:lnTo>
                  <a:pt x="825626" y="13960"/>
                </a:lnTo>
                <a:lnTo>
                  <a:pt x="869813" y="24545"/>
                </a:lnTo>
                <a:lnTo>
                  <a:pt x="912841" y="37925"/>
                </a:lnTo>
                <a:lnTo>
                  <a:pt x="954610" y="53999"/>
                </a:lnTo>
                <a:lnTo>
                  <a:pt x="995016" y="72662"/>
                </a:lnTo>
                <a:lnTo>
                  <a:pt x="1033957" y="93815"/>
                </a:lnTo>
                <a:lnTo>
                  <a:pt x="1071331" y="117353"/>
                </a:lnTo>
                <a:lnTo>
                  <a:pt x="1107035" y="143174"/>
                </a:lnTo>
                <a:lnTo>
                  <a:pt x="1140968" y="171177"/>
                </a:lnTo>
                <a:lnTo>
                  <a:pt x="1173026" y="201259"/>
                </a:lnTo>
                <a:lnTo>
                  <a:pt x="1203108" y="233317"/>
                </a:lnTo>
                <a:lnTo>
                  <a:pt x="1231111" y="267250"/>
                </a:lnTo>
                <a:lnTo>
                  <a:pt x="1256933" y="302954"/>
                </a:lnTo>
                <a:lnTo>
                  <a:pt x="1280471" y="340328"/>
                </a:lnTo>
                <a:lnTo>
                  <a:pt x="1301623" y="379269"/>
                </a:lnTo>
                <a:lnTo>
                  <a:pt x="1320287" y="419675"/>
                </a:lnTo>
                <a:lnTo>
                  <a:pt x="1336360" y="461444"/>
                </a:lnTo>
                <a:lnTo>
                  <a:pt x="1349740" y="504473"/>
                </a:lnTo>
                <a:lnTo>
                  <a:pt x="1360326" y="548659"/>
                </a:lnTo>
                <a:lnTo>
                  <a:pt x="1368013" y="593901"/>
                </a:lnTo>
                <a:lnTo>
                  <a:pt x="1372701" y="640097"/>
                </a:lnTo>
                <a:lnTo>
                  <a:pt x="1374286" y="687144"/>
                </a:lnTo>
                <a:lnTo>
                  <a:pt x="1372701" y="734189"/>
                </a:lnTo>
                <a:lnTo>
                  <a:pt x="1368013" y="780384"/>
                </a:lnTo>
                <a:lnTo>
                  <a:pt x="1360326" y="825626"/>
                </a:lnTo>
                <a:lnTo>
                  <a:pt x="1349740" y="869812"/>
                </a:lnTo>
                <a:lnTo>
                  <a:pt x="1336360" y="912841"/>
                </a:lnTo>
                <a:lnTo>
                  <a:pt x="1320287" y="954610"/>
                </a:lnTo>
                <a:lnTo>
                  <a:pt x="1301623" y="995016"/>
                </a:lnTo>
                <a:lnTo>
                  <a:pt x="1280471" y="1033957"/>
                </a:lnTo>
                <a:lnTo>
                  <a:pt x="1256933" y="1071331"/>
                </a:lnTo>
                <a:lnTo>
                  <a:pt x="1231111" y="1107035"/>
                </a:lnTo>
                <a:lnTo>
                  <a:pt x="1203108" y="1140968"/>
                </a:lnTo>
                <a:lnTo>
                  <a:pt x="1173026" y="1173026"/>
                </a:lnTo>
                <a:lnTo>
                  <a:pt x="1140968" y="1203108"/>
                </a:lnTo>
                <a:lnTo>
                  <a:pt x="1107035" y="1231111"/>
                </a:lnTo>
                <a:lnTo>
                  <a:pt x="1071331" y="1256933"/>
                </a:lnTo>
                <a:lnTo>
                  <a:pt x="1033957" y="1280471"/>
                </a:lnTo>
                <a:lnTo>
                  <a:pt x="995016" y="1301623"/>
                </a:lnTo>
                <a:lnTo>
                  <a:pt x="954610" y="1320287"/>
                </a:lnTo>
                <a:lnTo>
                  <a:pt x="912841" y="1336360"/>
                </a:lnTo>
                <a:lnTo>
                  <a:pt x="869813" y="1349740"/>
                </a:lnTo>
                <a:lnTo>
                  <a:pt x="825626" y="1360325"/>
                </a:lnTo>
                <a:lnTo>
                  <a:pt x="780384" y="1368013"/>
                </a:lnTo>
                <a:lnTo>
                  <a:pt x="734189" y="1372701"/>
                </a:lnTo>
                <a:lnTo>
                  <a:pt x="687143" y="1374286"/>
                </a:lnTo>
                <a:close/>
              </a:path>
            </a:pathLst>
          </a:custGeom>
          <a:solidFill>
            <a:srgbClr val="21408B"/>
          </a:solidFill>
        </p:spPr>
        <p:txBody>
          <a:bodyPr wrap="square" lIns="0" tIns="0" rIns="0" bIns="0" rtlCol="0"/>
          <a:lstStyle/>
          <a:p>
            <a:endParaRPr/>
          </a:p>
        </p:txBody>
      </p:sp>
      <p:sp>
        <p:nvSpPr>
          <p:cNvPr id="9" name="object 9"/>
          <p:cNvSpPr/>
          <p:nvPr/>
        </p:nvSpPr>
        <p:spPr>
          <a:xfrm>
            <a:off x="6970538" y="2150989"/>
            <a:ext cx="1374775" cy="1374775"/>
          </a:xfrm>
          <a:custGeom>
            <a:avLst/>
            <a:gdLst/>
            <a:ahLst/>
            <a:cxnLst/>
            <a:rect l="l" t="t" r="r" b="b"/>
            <a:pathLst>
              <a:path w="1374775" h="1374775">
                <a:moveTo>
                  <a:pt x="687142" y="1374286"/>
                </a:moveTo>
                <a:lnTo>
                  <a:pt x="640096" y="1372701"/>
                </a:lnTo>
                <a:lnTo>
                  <a:pt x="593901" y="1368013"/>
                </a:lnTo>
                <a:lnTo>
                  <a:pt x="548659" y="1360325"/>
                </a:lnTo>
                <a:lnTo>
                  <a:pt x="504472" y="1349740"/>
                </a:lnTo>
                <a:lnTo>
                  <a:pt x="461443" y="1336360"/>
                </a:lnTo>
                <a:lnTo>
                  <a:pt x="419675" y="1320287"/>
                </a:lnTo>
                <a:lnTo>
                  <a:pt x="379269" y="1301623"/>
                </a:lnTo>
                <a:lnTo>
                  <a:pt x="340328" y="1280471"/>
                </a:lnTo>
                <a:lnTo>
                  <a:pt x="302954" y="1256933"/>
                </a:lnTo>
                <a:lnTo>
                  <a:pt x="267249" y="1231111"/>
                </a:lnTo>
                <a:lnTo>
                  <a:pt x="233317" y="1203108"/>
                </a:lnTo>
                <a:lnTo>
                  <a:pt x="201258" y="1173026"/>
                </a:lnTo>
                <a:lnTo>
                  <a:pt x="171177" y="1140968"/>
                </a:lnTo>
                <a:lnTo>
                  <a:pt x="143174" y="1107035"/>
                </a:lnTo>
                <a:lnTo>
                  <a:pt x="117352" y="1071331"/>
                </a:lnTo>
                <a:lnTo>
                  <a:pt x="93814" y="1033957"/>
                </a:lnTo>
                <a:lnTo>
                  <a:pt x="72662" y="995016"/>
                </a:lnTo>
                <a:lnTo>
                  <a:pt x="53998" y="954610"/>
                </a:lnTo>
                <a:lnTo>
                  <a:pt x="37925" y="912841"/>
                </a:lnTo>
                <a:lnTo>
                  <a:pt x="24544" y="869812"/>
                </a:lnTo>
                <a:lnTo>
                  <a:pt x="13959" y="825626"/>
                </a:lnTo>
                <a:lnTo>
                  <a:pt x="6272" y="780384"/>
                </a:lnTo>
                <a:lnTo>
                  <a:pt x="1584" y="734189"/>
                </a:lnTo>
                <a:lnTo>
                  <a:pt x="0" y="687164"/>
                </a:lnTo>
                <a:lnTo>
                  <a:pt x="1584" y="640097"/>
                </a:lnTo>
                <a:lnTo>
                  <a:pt x="6272" y="593901"/>
                </a:lnTo>
                <a:lnTo>
                  <a:pt x="13959" y="548659"/>
                </a:lnTo>
                <a:lnTo>
                  <a:pt x="24544" y="504473"/>
                </a:lnTo>
                <a:lnTo>
                  <a:pt x="37925" y="461444"/>
                </a:lnTo>
                <a:lnTo>
                  <a:pt x="53998" y="419675"/>
                </a:lnTo>
                <a:lnTo>
                  <a:pt x="72662" y="379269"/>
                </a:lnTo>
                <a:lnTo>
                  <a:pt x="93814" y="340328"/>
                </a:lnTo>
                <a:lnTo>
                  <a:pt x="117352" y="302954"/>
                </a:lnTo>
                <a:lnTo>
                  <a:pt x="143174" y="267250"/>
                </a:lnTo>
                <a:lnTo>
                  <a:pt x="171177" y="233317"/>
                </a:lnTo>
                <a:lnTo>
                  <a:pt x="201258" y="201259"/>
                </a:lnTo>
                <a:lnTo>
                  <a:pt x="233317" y="171177"/>
                </a:lnTo>
                <a:lnTo>
                  <a:pt x="267249" y="143174"/>
                </a:lnTo>
                <a:lnTo>
                  <a:pt x="302954" y="117353"/>
                </a:lnTo>
                <a:lnTo>
                  <a:pt x="340328" y="93815"/>
                </a:lnTo>
                <a:lnTo>
                  <a:pt x="379269" y="72662"/>
                </a:lnTo>
                <a:lnTo>
                  <a:pt x="419675" y="53999"/>
                </a:lnTo>
                <a:lnTo>
                  <a:pt x="461443" y="37925"/>
                </a:lnTo>
                <a:lnTo>
                  <a:pt x="504472" y="24545"/>
                </a:lnTo>
                <a:lnTo>
                  <a:pt x="548659" y="13960"/>
                </a:lnTo>
                <a:lnTo>
                  <a:pt x="593901" y="6272"/>
                </a:lnTo>
                <a:lnTo>
                  <a:pt x="640096" y="1585"/>
                </a:lnTo>
                <a:lnTo>
                  <a:pt x="687140" y="0"/>
                </a:lnTo>
                <a:lnTo>
                  <a:pt x="734188" y="1585"/>
                </a:lnTo>
                <a:lnTo>
                  <a:pt x="780383" y="6272"/>
                </a:lnTo>
                <a:lnTo>
                  <a:pt x="825625" y="13960"/>
                </a:lnTo>
                <a:lnTo>
                  <a:pt x="869812" y="24545"/>
                </a:lnTo>
                <a:lnTo>
                  <a:pt x="912841" y="37925"/>
                </a:lnTo>
                <a:lnTo>
                  <a:pt x="954609" y="53999"/>
                </a:lnTo>
                <a:lnTo>
                  <a:pt x="995015" y="72662"/>
                </a:lnTo>
                <a:lnTo>
                  <a:pt x="1033956" y="93815"/>
                </a:lnTo>
                <a:lnTo>
                  <a:pt x="1071330" y="117353"/>
                </a:lnTo>
                <a:lnTo>
                  <a:pt x="1107035" y="143174"/>
                </a:lnTo>
                <a:lnTo>
                  <a:pt x="1140967" y="171177"/>
                </a:lnTo>
                <a:lnTo>
                  <a:pt x="1173026" y="201259"/>
                </a:lnTo>
                <a:lnTo>
                  <a:pt x="1203107" y="233317"/>
                </a:lnTo>
                <a:lnTo>
                  <a:pt x="1231110" y="267250"/>
                </a:lnTo>
                <a:lnTo>
                  <a:pt x="1256932" y="302954"/>
                </a:lnTo>
                <a:lnTo>
                  <a:pt x="1280470" y="340328"/>
                </a:lnTo>
                <a:lnTo>
                  <a:pt x="1301622" y="379269"/>
                </a:lnTo>
                <a:lnTo>
                  <a:pt x="1320286" y="419675"/>
                </a:lnTo>
                <a:lnTo>
                  <a:pt x="1336359" y="461444"/>
                </a:lnTo>
                <a:lnTo>
                  <a:pt x="1349740" y="504473"/>
                </a:lnTo>
                <a:lnTo>
                  <a:pt x="1360325" y="548659"/>
                </a:lnTo>
                <a:lnTo>
                  <a:pt x="1368012" y="593901"/>
                </a:lnTo>
                <a:lnTo>
                  <a:pt x="1372700" y="640097"/>
                </a:lnTo>
                <a:lnTo>
                  <a:pt x="1374284" y="687121"/>
                </a:lnTo>
                <a:lnTo>
                  <a:pt x="1372700" y="734189"/>
                </a:lnTo>
                <a:lnTo>
                  <a:pt x="1368012" y="780384"/>
                </a:lnTo>
                <a:lnTo>
                  <a:pt x="1360325" y="825626"/>
                </a:lnTo>
                <a:lnTo>
                  <a:pt x="1349740" y="869812"/>
                </a:lnTo>
                <a:lnTo>
                  <a:pt x="1336359" y="912841"/>
                </a:lnTo>
                <a:lnTo>
                  <a:pt x="1320286" y="954610"/>
                </a:lnTo>
                <a:lnTo>
                  <a:pt x="1301622" y="995016"/>
                </a:lnTo>
                <a:lnTo>
                  <a:pt x="1280470" y="1033957"/>
                </a:lnTo>
                <a:lnTo>
                  <a:pt x="1256932" y="1071331"/>
                </a:lnTo>
                <a:lnTo>
                  <a:pt x="1231110" y="1107035"/>
                </a:lnTo>
                <a:lnTo>
                  <a:pt x="1203107" y="1140968"/>
                </a:lnTo>
                <a:lnTo>
                  <a:pt x="1173026" y="1173026"/>
                </a:lnTo>
                <a:lnTo>
                  <a:pt x="1140967" y="1203108"/>
                </a:lnTo>
                <a:lnTo>
                  <a:pt x="1107035" y="1231111"/>
                </a:lnTo>
                <a:lnTo>
                  <a:pt x="1071330" y="1256933"/>
                </a:lnTo>
                <a:lnTo>
                  <a:pt x="1033956" y="1280471"/>
                </a:lnTo>
                <a:lnTo>
                  <a:pt x="995015" y="1301623"/>
                </a:lnTo>
                <a:lnTo>
                  <a:pt x="954609" y="1320287"/>
                </a:lnTo>
                <a:lnTo>
                  <a:pt x="912841" y="1336360"/>
                </a:lnTo>
                <a:lnTo>
                  <a:pt x="869812" y="1349740"/>
                </a:lnTo>
                <a:lnTo>
                  <a:pt x="825625" y="1360325"/>
                </a:lnTo>
                <a:lnTo>
                  <a:pt x="780383" y="1368013"/>
                </a:lnTo>
                <a:lnTo>
                  <a:pt x="734188" y="1372701"/>
                </a:lnTo>
                <a:lnTo>
                  <a:pt x="687142" y="1374286"/>
                </a:lnTo>
                <a:close/>
              </a:path>
            </a:pathLst>
          </a:custGeom>
          <a:solidFill>
            <a:srgbClr val="21408B"/>
          </a:solidFill>
        </p:spPr>
        <p:txBody>
          <a:bodyPr wrap="square" lIns="0" tIns="0" rIns="0" bIns="0" rtlCol="0"/>
          <a:lstStyle/>
          <a:p>
            <a:endParaRPr/>
          </a:p>
        </p:txBody>
      </p:sp>
      <p:sp>
        <p:nvSpPr>
          <p:cNvPr id="10" name="object 10"/>
          <p:cNvSpPr txBox="1"/>
          <p:nvPr/>
        </p:nvSpPr>
        <p:spPr>
          <a:xfrm>
            <a:off x="7264007" y="2496703"/>
            <a:ext cx="787400" cy="643890"/>
          </a:xfrm>
          <a:prstGeom prst="rect">
            <a:avLst/>
          </a:prstGeom>
        </p:spPr>
        <p:txBody>
          <a:bodyPr vert="horz" wrap="square" lIns="0" tIns="13335" rIns="0" bIns="0" rtlCol="0">
            <a:spAutoFit/>
          </a:bodyPr>
          <a:lstStyle/>
          <a:p>
            <a:pPr marL="12700">
              <a:lnSpc>
                <a:spcPct val="100000"/>
              </a:lnSpc>
              <a:spcBef>
                <a:spcPts val="105"/>
              </a:spcBef>
            </a:pPr>
            <a:r>
              <a:rPr sz="4050" b="1" spc="700" dirty="0">
                <a:solidFill>
                  <a:srgbClr val="FFFFFF"/>
                </a:solidFill>
                <a:latin typeface="Arial"/>
                <a:cs typeface="Arial"/>
              </a:rPr>
              <a:t>02</a:t>
            </a:r>
            <a:endParaRPr sz="4050">
              <a:latin typeface="Arial"/>
              <a:cs typeface="Arial"/>
            </a:endParaRPr>
          </a:p>
        </p:txBody>
      </p:sp>
      <p:sp>
        <p:nvSpPr>
          <p:cNvPr id="11" name="object 11"/>
          <p:cNvSpPr/>
          <p:nvPr/>
        </p:nvSpPr>
        <p:spPr>
          <a:xfrm>
            <a:off x="13469323" y="2150989"/>
            <a:ext cx="1374775" cy="1374775"/>
          </a:xfrm>
          <a:custGeom>
            <a:avLst/>
            <a:gdLst/>
            <a:ahLst/>
            <a:cxnLst/>
            <a:rect l="l" t="t" r="r" b="b"/>
            <a:pathLst>
              <a:path w="1374775" h="1374775">
                <a:moveTo>
                  <a:pt x="687143" y="1374286"/>
                </a:moveTo>
                <a:lnTo>
                  <a:pt x="640097" y="1372701"/>
                </a:lnTo>
                <a:lnTo>
                  <a:pt x="593902" y="1368013"/>
                </a:lnTo>
                <a:lnTo>
                  <a:pt x="548659" y="1360325"/>
                </a:lnTo>
                <a:lnTo>
                  <a:pt x="504473" y="1349740"/>
                </a:lnTo>
                <a:lnTo>
                  <a:pt x="461444" y="1336360"/>
                </a:lnTo>
                <a:lnTo>
                  <a:pt x="419675" y="1320287"/>
                </a:lnTo>
                <a:lnTo>
                  <a:pt x="379269" y="1301623"/>
                </a:lnTo>
                <a:lnTo>
                  <a:pt x="340328" y="1280471"/>
                </a:lnTo>
                <a:lnTo>
                  <a:pt x="302954" y="1256933"/>
                </a:lnTo>
                <a:lnTo>
                  <a:pt x="267249" y="1231111"/>
                </a:lnTo>
                <a:lnTo>
                  <a:pt x="233317" y="1203108"/>
                </a:lnTo>
                <a:lnTo>
                  <a:pt x="201258" y="1173026"/>
                </a:lnTo>
                <a:lnTo>
                  <a:pt x="171177" y="1140968"/>
                </a:lnTo>
                <a:lnTo>
                  <a:pt x="143174" y="1107035"/>
                </a:lnTo>
                <a:lnTo>
                  <a:pt x="117352" y="1071331"/>
                </a:lnTo>
                <a:lnTo>
                  <a:pt x="93814" y="1033957"/>
                </a:lnTo>
                <a:lnTo>
                  <a:pt x="72662" y="995016"/>
                </a:lnTo>
                <a:lnTo>
                  <a:pt x="53998" y="954610"/>
                </a:lnTo>
                <a:lnTo>
                  <a:pt x="37925" y="912841"/>
                </a:lnTo>
                <a:lnTo>
                  <a:pt x="24544" y="869812"/>
                </a:lnTo>
                <a:lnTo>
                  <a:pt x="13959" y="825626"/>
                </a:lnTo>
                <a:lnTo>
                  <a:pt x="6272" y="780384"/>
                </a:lnTo>
                <a:lnTo>
                  <a:pt x="1584" y="734189"/>
                </a:lnTo>
                <a:lnTo>
                  <a:pt x="0" y="687160"/>
                </a:lnTo>
                <a:lnTo>
                  <a:pt x="1584" y="640097"/>
                </a:lnTo>
                <a:lnTo>
                  <a:pt x="6272" y="593901"/>
                </a:lnTo>
                <a:lnTo>
                  <a:pt x="13959" y="548659"/>
                </a:lnTo>
                <a:lnTo>
                  <a:pt x="24544" y="504473"/>
                </a:lnTo>
                <a:lnTo>
                  <a:pt x="37925" y="461444"/>
                </a:lnTo>
                <a:lnTo>
                  <a:pt x="53998" y="419675"/>
                </a:lnTo>
                <a:lnTo>
                  <a:pt x="72662" y="379269"/>
                </a:lnTo>
                <a:lnTo>
                  <a:pt x="93814" y="340328"/>
                </a:lnTo>
                <a:lnTo>
                  <a:pt x="117352" y="302954"/>
                </a:lnTo>
                <a:lnTo>
                  <a:pt x="143174" y="267250"/>
                </a:lnTo>
                <a:lnTo>
                  <a:pt x="171177" y="233317"/>
                </a:lnTo>
                <a:lnTo>
                  <a:pt x="201258" y="201259"/>
                </a:lnTo>
                <a:lnTo>
                  <a:pt x="233317" y="171177"/>
                </a:lnTo>
                <a:lnTo>
                  <a:pt x="267249" y="143174"/>
                </a:lnTo>
                <a:lnTo>
                  <a:pt x="302954" y="117353"/>
                </a:lnTo>
                <a:lnTo>
                  <a:pt x="340328" y="93815"/>
                </a:lnTo>
                <a:lnTo>
                  <a:pt x="379269" y="72662"/>
                </a:lnTo>
                <a:lnTo>
                  <a:pt x="419675" y="53999"/>
                </a:lnTo>
                <a:lnTo>
                  <a:pt x="461444" y="37925"/>
                </a:lnTo>
                <a:lnTo>
                  <a:pt x="504473" y="24545"/>
                </a:lnTo>
                <a:lnTo>
                  <a:pt x="548659" y="13960"/>
                </a:lnTo>
                <a:lnTo>
                  <a:pt x="593902" y="6272"/>
                </a:lnTo>
                <a:lnTo>
                  <a:pt x="640097" y="1585"/>
                </a:lnTo>
                <a:lnTo>
                  <a:pt x="687141" y="0"/>
                </a:lnTo>
                <a:lnTo>
                  <a:pt x="734189" y="1585"/>
                </a:lnTo>
                <a:lnTo>
                  <a:pt x="780384" y="6272"/>
                </a:lnTo>
                <a:lnTo>
                  <a:pt x="825626" y="13960"/>
                </a:lnTo>
                <a:lnTo>
                  <a:pt x="869813" y="24545"/>
                </a:lnTo>
                <a:lnTo>
                  <a:pt x="912841" y="37925"/>
                </a:lnTo>
                <a:lnTo>
                  <a:pt x="954610" y="53999"/>
                </a:lnTo>
                <a:lnTo>
                  <a:pt x="995016" y="72662"/>
                </a:lnTo>
                <a:lnTo>
                  <a:pt x="1033957" y="93815"/>
                </a:lnTo>
                <a:lnTo>
                  <a:pt x="1071331" y="117353"/>
                </a:lnTo>
                <a:lnTo>
                  <a:pt x="1107035" y="143174"/>
                </a:lnTo>
                <a:lnTo>
                  <a:pt x="1140968" y="171177"/>
                </a:lnTo>
                <a:lnTo>
                  <a:pt x="1173026" y="201259"/>
                </a:lnTo>
                <a:lnTo>
                  <a:pt x="1203108" y="233317"/>
                </a:lnTo>
                <a:lnTo>
                  <a:pt x="1231111" y="267250"/>
                </a:lnTo>
                <a:lnTo>
                  <a:pt x="1256932" y="302954"/>
                </a:lnTo>
                <a:lnTo>
                  <a:pt x="1280470" y="340328"/>
                </a:lnTo>
                <a:lnTo>
                  <a:pt x="1301622" y="379269"/>
                </a:lnTo>
                <a:lnTo>
                  <a:pt x="1320286" y="419675"/>
                </a:lnTo>
                <a:lnTo>
                  <a:pt x="1336360" y="461444"/>
                </a:lnTo>
                <a:lnTo>
                  <a:pt x="1349740" y="504473"/>
                </a:lnTo>
                <a:lnTo>
                  <a:pt x="1360325" y="548659"/>
                </a:lnTo>
                <a:lnTo>
                  <a:pt x="1368013" y="593901"/>
                </a:lnTo>
                <a:lnTo>
                  <a:pt x="1372700" y="640097"/>
                </a:lnTo>
                <a:lnTo>
                  <a:pt x="1374285" y="687125"/>
                </a:lnTo>
                <a:lnTo>
                  <a:pt x="1372700" y="734189"/>
                </a:lnTo>
                <a:lnTo>
                  <a:pt x="1368013" y="780384"/>
                </a:lnTo>
                <a:lnTo>
                  <a:pt x="1360325" y="825626"/>
                </a:lnTo>
                <a:lnTo>
                  <a:pt x="1349740" y="869812"/>
                </a:lnTo>
                <a:lnTo>
                  <a:pt x="1336360" y="912841"/>
                </a:lnTo>
                <a:lnTo>
                  <a:pt x="1320286" y="954610"/>
                </a:lnTo>
                <a:lnTo>
                  <a:pt x="1301622" y="995016"/>
                </a:lnTo>
                <a:lnTo>
                  <a:pt x="1280470" y="1033957"/>
                </a:lnTo>
                <a:lnTo>
                  <a:pt x="1256932" y="1071331"/>
                </a:lnTo>
                <a:lnTo>
                  <a:pt x="1231111" y="1107035"/>
                </a:lnTo>
                <a:lnTo>
                  <a:pt x="1203108" y="1140968"/>
                </a:lnTo>
                <a:lnTo>
                  <a:pt x="1173026" y="1173026"/>
                </a:lnTo>
                <a:lnTo>
                  <a:pt x="1140968" y="1203108"/>
                </a:lnTo>
                <a:lnTo>
                  <a:pt x="1107035" y="1231111"/>
                </a:lnTo>
                <a:lnTo>
                  <a:pt x="1071331" y="1256933"/>
                </a:lnTo>
                <a:lnTo>
                  <a:pt x="1033957" y="1280471"/>
                </a:lnTo>
                <a:lnTo>
                  <a:pt x="995016" y="1301623"/>
                </a:lnTo>
                <a:lnTo>
                  <a:pt x="954610" y="1320287"/>
                </a:lnTo>
                <a:lnTo>
                  <a:pt x="912841" y="1336360"/>
                </a:lnTo>
                <a:lnTo>
                  <a:pt x="869813" y="1349740"/>
                </a:lnTo>
                <a:lnTo>
                  <a:pt x="825626" y="1360325"/>
                </a:lnTo>
                <a:lnTo>
                  <a:pt x="780384" y="1368013"/>
                </a:lnTo>
                <a:lnTo>
                  <a:pt x="734189" y="1372701"/>
                </a:lnTo>
                <a:lnTo>
                  <a:pt x="687143" y="1374286"/>
                </a:lnTo>
                <a:close/>
              </a:path>
            </a:pathLst>
          </a:custGeom>
          <a:solidFill>
            <a:srgbClr val="21408B"/>
          </a:solidFill>
        </p:spPr>
        <p:txBody>
          <a:bodyPr wrap="square" lIns="0" tIns="0" rIns="0" bIns="0" rtlCol="0"/>
          <a:lstStyle/>
          <a:p>
            <a:endParaRPr/>
          </a:p>
        </p:txBody>
      </p:sp>
      <p:sp>
        <p:nvSpPr>
          <p:cNvPr id="12" name="object 12"/>
          <p:cNvSpPr txBox="1"/>
          <p:nvPr/>
        </p:nvSpPr>
        <p:spPr>
          <a:xfrm>
            <a:off x="13785415" y="2496703"/>
            <a:ext cx="742315" cy="643890"/>
          </a:xfrm>
          <a:prstGeom prst="rect">
            <a:avLst/>
          </a:prstGeom>
        </p:spPr>
        <p:txBody>
          <a:bodyPr vert="horz" wrap="square" lIns="0" tIns="13335" rIns="0" bIns="0" rtlCol="0">
            <a:spAutoFit/>
          </a:bodyPr>
          <a:lstStyle/>
          <a:p>
            <a:pPr marL="12700">
              <a:lnSpc>
                <a:spcPct val="100000"/>
              </a:lnSpc>
              <a:spcBef>
                <a:spcPts val="105"/>
              </a:spcBef>
            </a:pPr>
            <a:r>
              <a:rPr sz="4050" b="1" spc="520" dirty="0">
                <a:solidFill>
                  <a:srgbClr val="FFFFFF"/>
                </a:solidFill>
                <a:latin typeface="Arial"/>
                <a:cs typeface="Arial"/>
              </a:rPr>
              <a:t>03</a:t>
            </a:r>
            <a:endParaRPr sz="4050">
              <a:latin typeface="Arial"/>
              <a:cs typeface="Arial"/>
            </a:endParaRPr>
          </a:p>
        </p:txBody>
      </p:sp>
      <p:sp>
        <p:nvSpPr>
          <p:cNvPr id="13" name="object 13"/>
          <p:cNvSpPr txBox="1"/>
          <p:nvPr/>
        </p:nvSpPr>
        <p:spPr>
          <a:xfrm>
            <a:off x="14842480" y="8242644"/>
            <a:ext cx="455295" cy="225425"/>
          </a:xfrm>
          <a:prstGeom prst="rect">
            <a:avLst/>
          </a:prstGeom>
        </p:spPr>
        <p:txBody>
          <a:bodyPr vert="horz" wrap="square" lIns="0" tIns="13970" rIns="0" bIns="0" rtlCol="0">
            <a:spAutoFit/>
          </a:bodyPr>
          <a:lstStyle/>
          <a:p>
            <a:pPr marL="12700">
              <a:lnSpc>
                <a:spcPct val="100000"/>
              </a:lnSpc>
              <a:spcBef>
                <a:spcPts val="110"/>
              </a:spcBef>
            </a:pPr>
            <a:r>
              <a:rPr sz="1300" b="1" spc="30" dirty="0">
                <a:solidFill>
                  <a:srgbClr val="737373"/>
                </a:solidFill>
                <a:latin typeface="Roboto"/>
                <a:cs typeface="Roboto"/>
              </a:rPr>
              <a:t>ATTA</a:t>
            </a:r>
            <a:endParaRPr sz="1300">
              <a:latin typeface="Roboto"/>
              <a:cs typeface="Roboto"/>
            </a:endParaRPr>
          </a:p>
        </p:txBody>
      </p:sp>
      <p:pic>
        <p:nvPicPr>
          <p:cNvPr id="14" name="object 14"/>
          <p:cNvPicPr/>
          <p:nvPr/>
        </p:nvPicPr>
        <p:blipFill>
          <a:blip r:embed="rId2" cstate="print"/>
          <a:stretch>
            <a:fillRect/>
          </a:stretch>
        </p:blipFill>
        <p:spPr>
          <a:xfrm>
            <a:off x="13793210" y="6525420"/>
            <a:ext cx="962024" cy="752474"/>
          </a:xfrm>
          <a:prstGeom prst="rect">
            <a:avLst/>
          </a:prstGeom>
        </p:spPr>
      </p:pic>
      <p:grpSp>
        <p:nvGrpSpPr>
          <p:cNvPr id="15" name="object 15"/>
          <p:cNvGrpSpPr/>
          <p:nvPr/>
        </p:nvGrpSpPr>
        <p:grpSpPr>
          <a:xfrm>
            <a:off x="14631714" y="6483575"/>
            <a:ext cx="1674495" cy="1754505"/>
            <a:chOff x="14631714" y="6483575"/>
            <a:chExt cx="1674495" cy="1754505"/>
          </a:xfrm>
        </p:grpSpPr>
        <p:pic>
          <p:nvPicPr>
            <p:cNvPr id="16" name="object 16"/>
            <p:cNvPicPr/>
            <p:nvPr/>
          </p:nvPicPr>
          <p:blipFill>
            <a:blip r:embed="rId3" cstate="print"/>
            <a:stretch>
              <a:fillRect/>
            </a:stretch>
          </p:blipFill>
          <p:spPr>
            <a:xfrm>
              <a:off x="15534253" y="6483575"/>
              <a:ext cx="771524" cy="876299"/>
            </a:xfrm>
            <a:prstGeom prst="rect">
              <a:avLst/>
            </a:prstGeom>
          </p:spPr>
        </p:pic>
        <p:pic>
          <p:nvPicPr>
            <p:cNvPr id="17" name="object 17"/>
            <p:cNvPicPr/>
            <p:nvPr/>
          </p:nvPicPr>
          <p:blipFill>
            <a:blip r:embed="rId4" cstate="print"/>
            <a:stretch>
              <a:fillRect/>
            </a:stretch>
          </p:blipFill>
          <p:spPr>
            <a:xfrm>
              <a:off x="14631714" y="7361511"/>
              <a:ext cx="904874" cy="876299"/>
            </a:xfrm>
            <a:prstGeom prst="rect">
              <a:avLst/>
            </a:prstGeom>
          </p:spPr>
        </p:pic>
      </p:grpSp>
      <p:pic>
        <p:nvPicPr>
          <p:cNvPr id="18" name="object 18"/>
          <p:cNvPicPr/>
          <p:nvPr/>
        </p:nvPicPr>
        <p:blipFill>
          <a:blip r:embed="rId5" cstate="print"/>
          <a:stretch>
            <a:fillRect/>
          </a:stretch>
        </p:blipFill>
        <p:spPr>
          <a:xfrm>
            <a:off x="12005471" y="6671258"/>
            <a:ext cx="1343024" cy="457199"/>
          </a:xfrm>
          <a:prstGeom prst="rect">
            <a:avLst/>
          </a:prstGeom>
        </p:spPr>
      </p:pic>
      <p:pic>
        <p:nvPicPr>
          <p:cNvPr id="19" name="object 19"/>
          <p:cNvPicPr/>
          <p:nvPr/>
        </p:nvPicPr>
        <p:blipFill>
          <a:blip r:embed="rId6" cstate="print"/>
          <a:stretch>
            <a:fillRect/>
          </a:stretch>
        </p:blipFill>
        <p:spPr>
          <a:xfrm>
            <a:off x="12728840" y="7341282"/>
            <a:ext cx="1247774" cy="1276349"/>
          </a:xfrm>
          <a:prstGeom prst="rect">
            <a:avLst/>
          </a:prstGeom>
        </p:spPr>
      </p:pic>
      <p:sp>
        <p:nvSpPr>
          <p:cNvPr id="20" name="object 20"/>
          <p:cNvSpPr txBox="1"/>
          <p:nvPr/>
        </p:nvSpPr>
        <p:spPr>
          <a:xfrm>
            <a:off x="637985" y="384150"/>
            <a:ext cx="891984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4.</a:t>
            </a:r>
            <a:r>
              <a:rPr sz="3000" spc="-85" dirty="0">
                <a:solidFill>
                  <a:srgbClr val="FFFFFF"/>
                </a:solidFill>
                <a:latin typeface="Roboto"/>
                <a:cs typeface="Roboto"/>
              </a:rPr>
              <a:t> </a:t>
            </a:r>
            <a:r>
              <a:rPr sz="3000" dirty="0">
                <a:solidFill>
                  <a:srgbClr val="FFFFFF"/>
                </a:solidFill>
                <a:latin typeface="Roboto"/>
                <a:cs typeface="Roboto"/>
              </a:rPr>
              <a:t>¿Cómo</a:t>
            </a:r>
            <a:r>
              <a:rPr sz="3000" spc="-80" dirty="0">
                <a:solidFill>
                  <a:srgbClr val="FFFFFF"/>
                </a:solidFill>
                <a:latin typeface="Roboto"/>
                <a:cs typeface="Roboto"/>
              </a:rPr>
              <a:t> </a:t>
            </a:r>
            <a:r>
              <a:rPr sz="3000" spc="-25" dirty="0">
                <a:solidFill>
                  <a:srgbClr val="FFFFFF"/>
                </a:solidFill>
                <a:latin typeface="Roboto"/>
                <a:cs typeface="Roboto"/>
              </a:rPr>
              <a:t>distribuir</a:t>
            </a:r>
            <a:r>
              <a:rPr sz="3000" spc="-80" dirty="0">
                <a:solidFill>
                  <a:srgbClr val="FFFFFF"/>
                </a:solidFill>
                <a:latin typeface="Roboto"/>
                <a:cs typeface="Roboto"/>
              </a:rPr>
              <a:t> </a:t>
            </a:r>
            <a:r>
              <a:rPr sz="3000" dirty="0">
                <a:solidFill>
                  <a:srgbClr val="FFFFFF"/>
                </a:solidFill>
                <a:latin typeface="Roboto"/>
                <a:cs typeface="Roboto"/>
              </a:rPr>
              <a:t>el</a:t>
            </a:r>
            <a:r>
              <a:rPr sz="3000" spc="-80" dirty="0">
                <a:solidFill>
                  <a:srgbClr val="FFFFFF"/>
                </a:solidFill>
                <a:latin typeface="Roboto"/>
                <a:cs typeface="Roboto"/>
              </a:rPr>
              <a:t> </a:t>
            </a:r>
            <a:r>
              <a:rPr sz="3000" spc="-10" dirty="0">
                <a:solidFill>
                  <a:srgbClr val="FFFFFF"/>
                </a:solidFill>
                <a:latin typeface="Roboto"/>
                <a:cs typeface="Roboto"/>
              </a:rPr>
              <a:t>impacto</a:t>
            </a:r>
            <a:r>
              <a:rPr sz="3000" spc="-80" dirty="0">
                <a:solidFill>
                  <a:srgbClr val="FFFFFF"/>
                </a:solidFill>
                <a:latin typeface="Roboto"/>
                <a:cs typeface="Roboto"/>
              </a:rPr>
              <a:t> </a:t>
            </a:r>
            <a:r>
              <a:rPr sz="3000" spc="-10" dirty="0">
                <a:solidFill>
                  <a:srgbClr val="FFFFFF"/>
                </a:solidFill>
                <a:latin typeface="Roboto"/>
                <a:cs typeface="Roboto"/>
              </a:rPr>
              <a:t>positivo</a:t>
            </a:r>
            <a:r>
              <a:rPr sz="3000" spc="-80" dirty="0">
                <a:solidFill>
                  <a:srgbClr val="FFFFFF"/>
                </a:solidFill>
                <a:latin typeface="Roboto"/>
                <a:cs typeface="Roboto"/>
              </a:rPr>
              <a:t> </a:t>
            </a:r>
            <a:r>
              <a:rPr sz="3000" dirty="0">
                <a:solidFill>
                  <a:srgbClr val="FFFFFF"/>
                </a:solidFill>
                <a:latin typeface="Roboto"/>
                <a:cs typeface="Roboto"/>
              </a:rPr>
              <a:t>del</a:t>
            </a:r>
            <a:r>
              <a:rPr sz="3000" spc="-80" dirty="0">
                <a:solidFill>
                  <a:srgbClr val="FFFFFF"/>
                </a:solidFill>
                <a:latin typeface="Roboto"/>
                <a:cs typeface="Roboto"/>
              </a:rPr>
              <a:t> </a:t>
            </a:r>
            <a:r>
              <a:rPr sz="3000" spc="-10" dirty="0">
                <a:solidFill>
                  <a:srgbClr val="FFFFFF"/>
                </a:solidFill>
                <a:latin typeface="Roboto"/>
                <a:cs typeface="Roboto"/>
              </a:rPr>
              <a:t>turismo?</a:t>
            </a:r>
            <a:endParaRPr sz="3000">
              <a:latin typeface="Roboto"/>
              <a:cs typeface="Roboto"/>
            </a:endParaRPr>
          </a:p>
        </p:txBody>
      </p:sp>
      <p:sp>
        <p:nvSpPr>
          <p:cNvPr id="21" name="object 21"/>
          <p:cNvSpPr txBox="1"/>
          <p:nvPr/>
        </p:nvSpPr>
        <p:spPr>
          <a:xfrm>
            <a:off x="1171078" y="4126241"/>
            <a:ext cx="3196590" cy="1010285"/>
          </a:xfrm>
          <a:prstGeom prst="rect">
            <a:avLst/>
          </a:prstGeom>
        </p:spPr>
        <p:txBody>
          <a:bodyPr vert="horz" wrap="square" lIns="0" tIns="12700" rIns="0" bIns="0" rtlCol="0">
            <a:spAutoFit/>
          </a:bodyPr>
          <a:lstStyle/>
          <a:p>
            <a:pPr algn="ctr">
              <a:lnSpc>
                <a:spcPts val="3875"/>
              </a:lnSpc>
              <a:spcBef>
                <a:spcPts val="100"/>
              </a:spcBef>
            </a:pPr>
            <a:r>
              <a:rPr sz="3400" dirty="0">
                <a:solidFill>
                  <a:srgbClr val="E3112B"/>
                </a:solidFill>
                <a:latin typeface="Roboto"/>
                <a:cs typeface="Roboto"/>
              </a:rPr>
              <a:t>Cooperando</a:t>
            </a:r>
            <a:r>
              <a:rPr sz="3400" spc="-180" dirty="0">
                <a:solidFill>
                  <a:srgbClr val="E3112B"/>
                </a:solidFill>
                <a:latin typeface="Roboto"/>
                <a:cs typeface="Roboto"/>
              </a:rPr>
              <a:t> </a:t>
            </a:r>
            <a:r>
              <a:rPr sz="3400" spc="-25" dirty="0">
                <a:solidFill>
                  <a:srgbClr val="E3112B"/>
                </a:solidFill>
                <a:latin typeface="Roboto"/>
                <a:cs typeface="Roboto"/>
              </a:rPr>
              <a:t>con</a:t>
            </a:r>
            <a:endParaRPr sz="3400" dirty="0">
              <a:latin typeface="Roboto"/>
              <a:cs typeface="Roboto"/>
            </a:endParaRPr>
          </a:p>
          <a:p>
            <a:pPr marL="107314" algn="ctr">
              <a:lnSpc>
                <a:spcPts val="3879"/>
              </a:lnSpc>
            </a:pPr>
            <a:r>
              <a:rPr lang="es-ES" sz="3400" b="1" dirty="0">
                <a:solidFill>
                  <a:srgbClr val="E3112B"/>
                </a:solidFill>
                <a:latin typeface="Roboto"/>
                <a:cs typeface="Roboto"/>
              </a:rPr>
              <a:t>l</a:t>
            </a:r>
            <a:r>
              <a:rPr sz="3400" b="1" dirty="0">
                <a:solidFill>
                  <a:srgbClr val="E3112B"/>
                </a:solidFill>
                <a:latin typeface="Roboto"/>
                <a:cs typeface="Roboto"/>
              </a:rPr>
              <a:t>as</a:t>
            </a:r>
            <a:r>
              <a:rPr sz="3400" b="1" spc="-55" dirty="0">
                <a:solidFill>
                  <a:srgbClr val="E3112B"/>
                </a:solidFill>
                <a:latin typeface="Roboto"/>
                <a:cs typeface="Roboto"/>
              </a:rPr>
              <a:t> </a:t>
            </a:r>
            <a:r>
              <a:rPr sz="3400" b="1" spc="-10" dirty="0">
                <a:solidFill>
                  <a:srgbClr val="E3112B"/>
                </a:solidFill>
                <a:latin typeface="Roboto"/>
                <a:cs typeface="Roboto"/>
              </a:rPr>
              <a:t>Regiones</a:t>
            </a:r>
            <a:endParaRPr sz="3400" dirty="0">
              <a:latin typeface="Roboto"/>
              <a:cs typeface="Roboto"/>
            </a:endParaRPr>
          </a:p>
        </p:txBody>
      </p:sp>
      <p:sp>
        <p:nvSpPr>
          <p:cNvPr id="22" name="object 22"/>
          <p:cNvSpPr txBox="1"/>
          <p:nvPr/>
        </p:nvSpPr>
        <p:spPr>
          <a:xfrm>
            <a:off x="5959484" y="4129161"/>
            <a:ext cx="3396615" cy="1028700"/>
          </a:xfrm>
          <a:prstGeom prst="rect">
            <a:avLst/>
          </a:prstGeom>
        </p:spPr>
        <p:txBody>
          <a:bodyPr vert="horz" wrap="square" lIns="0" tIns="13335" rIns="0" bIns="0" rtlCol="0">
            <a:spAutoFit/>
          </a:bodyPr>
          <a:lstStyle/>
          <a:p>
            <a:pPr algn="ctr">
              <a:lnSpc>
                <a:spcPts val="3945"/>
              </a:lnSpc>
              <a:spcBef>
                <a:spcPts val="105"/>
              </a:spcBef>
            </a:pPr>
            <a:r>
              <a:rPr sz="3450" dirty="0">
                <a:solidFill>
                  <a:srgbClr val="E3112B"/>
                </a:solidFill>
                <a:latin typeface="Roboto"/>
                <a:cs typeface="Roboto"/>
              </a:rPr>
              <a:t>Cooperando</a:t>
            </a:r>
            <a:r>
              <a:rPr sz="3450" spc="-170" dirty="0">
                <a:solidFill>
                  <a:srgbClr val="E3112B"/>
                </a:solidFill>
                <a:latin typeface="Roboto"/>
                <a:cs typeface="Roboto"/>
              </a:rPr>
              <a:t> </a:t>
            </a:r>
            <a:r>
              <a:rPr sz="3450" spc="-20" dirty="0">
                <a:solidFill>
                  <a:srgbClr val="E3112B"/>
                </a:solidFill>
                <a:latin typeface="Roboto"/>
                <a:cs typeface="Roboto"/>
              </a:rPr>
              <a:t>para</a:t>
            </a:r>
            <a:endParaRPr sz="3450">
              <a:latin typeface="Roboto"/>
              <a:cs typeface="Roboto"/>
            </a:endParaRPr>
          </a:p>
          <a:p>
            <a:pPr algn="ctr">
              <a:lnSpc>
                <a:spcPts val="3945"/>
              </a:lnSpc>
            </a:pPr>
            <a:r>
              <a:rPr sz="3450" b="1" spc="-10" dirty="0">
                <a:solidFill>
                  <a:srgbClr val="E3112B"/>
                </a:solidFill>
                <a:latin typeface="Roboto"/>
                <a:cs typeface="Roboto"/>
              </a:rPr>
              <a:t>conectividad</a:t>
            </a:r>
            <a:endParaRPr sz="3450">
              <a:latin typeface="Roboto"/>
              <a:cs typeface="Roboto"/>
            </a:endParaRPr>
          </a:p>
        </p:txBody>
      </p:sp>
      <p:sp>
        <p:nvSpPr>
          <p:cNvPr id="23" name="object 23"/>
          <p:cNvSpPr txBox="1"/>
          <p:nvPr/>
        </p:nvSpPr>
        <p:spPr>
          <a:xfrm>
            <a:off x="11102547" y="4129161"/>
            <a:ext cx="6108065" cy="1028700"/>
          </a:xfrm>
          <a:prstGeom prst="rect">
            <a:avLst/>
          </a:prstGeom>
        </p:spPr>
        <p:txBody>
          <a:bodyPr vert="horz" wrap="square" lIns="0" tIns="70485" rIns="0" bIns="0" rtlCol="0">
            <a:spAutoFit/>
          </a:bodyPr>
          <a:lstStyle/>
          <a:p>
            <a:pPr marL="67310" marR="5080" indent="-55244">
              <a:lnSpc>
                <a:spcPts val="3750"/>
              </a:lnSpc>
              <a:spcBef>
                <a:spcPts val="555"/>
              </a:spcBef>
            </a:pPr>
            <a:r>
              <a:rPr sz="3450" spc="-10" dirty="0">
                <a:solidFill>
                  <a:srgbClr val="E3112B"/>
                </a:solidFill>
                <a:latin typeface="Roboto"/>
                <a:cs typeface="Roboto"/>
              </a:rPr>
              <a:t>Trabajando</a:t>
            </a:r>
            <a:r>
              <a:rPr sz="3450" spc="-125" dirty="0">
                <a:solidFill>
                  <a:srgbClr val="E3112B"/>
                </a:solidFill>
                <a:latin typeface="Roboto"/>
                <a:cs typeface="Roboto"/>
              </a:rPr>
              <a:t> </a:t>
            </a:r>
            <a:r>
              <a:rPr sz="3450" dirty="0">
                <a:solidFill>
                  <a:srgbClr val="E3112B"/>
                </a:solidFill>
                <a:latin typeface="Roboto"/>
                <a:cs typeface="Roboto"/>
              </a:rPr>
              <a:t>con</a:t>
            </a:r>
            <a:r>
              <a:rPr sz="3450" spc="-125" dirty="0">
                <a:solidFill>
                  <a:srgbClr val="E3112B"/>
                </a:solidFill>
                <a:latin typeface="Roboto"/>
                <a:cs typeface="Roboto"/>
              </a:rPr>
              <a:t> </a:t>
            </a:r>
            <a:r>
              <a:rPr sz="3450" b="1" dirty="0">
                <a:solidFill>
                  <a:srgbClr val="E3112B"/>
                </a:solidFill>
                <a:latin typeface="Roboto"/>
                <a:cs typeface="Roboto"/>
              </a:rPr>
              <a:t>organismos</a:t>
            </a:r>
            <a:r>
              <a:rPr sz="3450" b="1" spc="-120" dirty="0">
                <a:solidFill>
                  <a:srgbClr val="E3112B"/>
                </a:solidFill>
                <a:latin typeface="Roboto"/>
                <a:cs typeface="Roboto"/>
              </a:rPr>
              <a:t> </a:t>
            </a:r>
            <a:r>
              <a:rPr sz="3450" b="1" spc="-25" dirty="0">
                <a:solidFill>
                  <a:srgbClr val="E3112B"/>
                </a:solidFill>
                <a:latin typeface="Roboto"/>
                <a:cs typeface="Roboto"/>
              </a:rPr>
              <a:t>de </a:t>
            </a:r>
            <a:r>
              <a:rPr sz="3450" b="1" dirty="0">
                <a:solidFill>
                  <a:srgbClr val="E3112B"/>
                </a:solidFill>
                <a:latin typeface="Roboto"/>
                <a:cs typeface="Roboto"/>
              </a:rPr>
              <a:t>posicionamiento</a:t>
            </a:r>
            <a:r>
              <a:rPr sz="3450" b="1" spc="-204" dirty="0">
                <a:solidFill>
                  <a:srgbClr val="E3112B"/>
                </a:solidFill>
                <a:latin typeface="Roboto"/>
                <a:cs typeface="Roboto"/>
              </a:rPr>
              <a:t> </a:t>
            </a:r>
            <a:r>
              <a:rPr sz="3450" b="1" spc="-10" dirty="0">
                <a:solidFill>
                  <a:srgbClr val="E3112B"/>
                </a:solidFill>
                <a:latin typeface="Roboto"/>
                <a:cs typeface="Roboto"/>
              </a:rPr>
              <a:t>internacional</a:t>
            </a:r>
            <a:endParaRPr sz="3450">
              <a:latin typeface="Roboto"/>
              <a:cs typeface="Roboto"/>
            </a:endParaRPr>
          </a:p>
        </p:txBody>
      </p:sp>
      <p:sp>
        <p:nvSpPr>
          <p:cNvPr id="24" name="object 24"/>
          <p:cNvSpPr txBox="1">
            <a:spLocks noGrp="1"/>
          </p:cNvSpPr>
          <p:nvPr>
            <p:ph type="title"/>
          </p:nvPr>
        </p:nvSpPr>
        <p:spPr>
          <a:xfrm>
            <a:off x="2462951" y="2496703"/>
            <a:ext cx="612775" cy="643890"/>
          </a:xfrm>
          <a:prstGeom prst="rect">
            <a:avLst/>
          </a:prstGeom>
        </p:spPr>
        <p:txBody>
          <a:bodyPr vert="horz" wrap="square" lIns="0" tIns="13335" rIns="0" bIns="0" rtlCol="0">
            <a:spAutoFit/>
          </a:bodyPr>
          <a:lstStyle/>
          <a:p>
            <a:pPr marL="12700">
              <a:lnSpc>
                <a:spcPct val="100000"/>
              </a:lnSpc>
              <a:spcBef>
                <a:spcPts val="105"/>
              </a:spcBef>
            </a:pPr>
            <a:r>
              <a:rPr sz="4050" b="1" spc="-25" dirty="0">
                <a:latin typeface="Arial"/>
                <a:cs typeface="Arial"/>
              </a:rPr>
              <a:t>01</a:t>
            </a:r>
            <a:endParaRPr sz="4050">
              <a:latin typeface="Arial"/>
              <a:cs typeface="Arial"/>
            </a:endParaRPr>
          </a:p>
        </p:txBody>
      </p:sp>
      <p:sp>
        <p:nvSpPr>
          <p:cNvPr id="25" name="object 25"/>
          <p:cNvSpPr txBox="1"/>
          <p:nvPr/>
        </p:nvSpPr>
        <p:spPr>
          <a:xfrm>
            <a:off x="7117410" y="5881076"/>
            <a:ext cx="1050290" cy="325120"/>
          </a:xfrm>
          <a:prstGeom prst="rect">
            <a:avLst/>
          </a:prstGeom>
        </p:spPr>
        <p:txBody>
          <a:bodyPr vert="horz" wrap="square" lIns="0" tIns="14604" rIns="0" bIns="0" rtlCol="0">
            <a:spAutoFit/>
          </a:bodyPr>
          <a:lstStyle/>
          <a:p>
            <a:pPr marL="12700">
              <a:lnSpc>
                <a:spcPct val="100000"/>
              </a:lnSpc>
              <a:spcBef>
                <a:spcPts val="114"/>
              </a:spcBef>
            </a:pPr>
            <a:r>
              <a:rPr sz="1950" spc="-10" dirty="0">
                <a:solidFill>
                  <a:srgbClr val="737373"/>
                </a:solidFill>
                <a:latin typeface="Roboto"/>
                <a:cs typeface="Roboto"/>
              </a:rPr>
              <a:t>Ejemplos</a:t>
            </a:r>
            <a:endParaRPr sz="1950">
              <a:latin typeface="Roboto"/>
              <a:cs typeface="Roboto"/>
            </a:endParaRPr>
          </a:p>
        </p:txBody>
      </p:sp>
      <p:pic>
        <p:nvPicPr>
          <p:cNvPr id="26" name="object 26"/>
          <p:cNvPicPr/>
          <p:nvPr/>
        </p:nvPicPr>
        <p:blipFill>
          <a:blip r:embed="rId7" cstate="print"/>
          <a:stretch>
            <a:fillRect/>
          </a:stretch>
        </p:blipFill>
        <p:spPr>
          <a:xfrm>
            <a:off x="5740081" y="7373172"/>
            <a:ext cx="1941855" cy="685799"/>
          </a:xfrm>
          <a:prstGeom prst="rect">
            <a:avLst/>
          </a:prstGeom>
        </p:spPr>
      </p:pic>
      <p:pic>
        <p:nvPicPr>
          <p:cNvPr id="27" name="object 27"/>
          <p:cNvPicPr/>
          <p:nvPr/>
        </p:nvPicPr>
        <p:blipFill>
          <a:blip r:embed="rId8" cstate="print"/>
          <a:stretch>
            <a:fillRect/>
          </a:stretch>
        </p:blipFill>
        <p:spPr>
          <a:xfrm>
            <a:off x="7271970" y="6450952"/>
            <a:ext cx="1098256" cy="676274"/>
          </a:xfrm>
          <a:prstGeom prst="rect">
            <a:avLst/>
          </a:prstGeom>
        </p:spPr>
      </p:pic>
      <p:pic>
        <p:nvPicPr>
          <p:cNvPr id="28" name="object 28"/>
          <p:cNvPicPr/>
          <p:nvPr/>
        </p:nvPicPr>
        <p:blipFill>
          <a:blip r:embed="rId9" cstate="print"/>
          <a:stretch>
            <a:fillRect/>
          </a:stretch>
        </p:blipFill>
        <p:spPr>
          <a:xfrm>
            <a:off x="8567139" y="6450952"/>
            <a:ext cx="1400174" cy="781049"/>
          </a:xfrm>
          <a:prstGeom prst="rect">
            <a:avLst/>
          </a:prstGeom>
        </p:spPr>
      </p:pic>
      <p:pic>
        <p:nvPicPr>
          <p:cNvPr id="29" name="object 29"/>
          <p:cNvPicPr/>
          <p:nvPr/>
        </p:nvPicPr>
        <p:blipFill>
          <a:blip r:embed="rId10" cstate="print"/>
          <a:stretch>
            <a:fillRect/>
          </a:stretch>
        </p:blipFill>
        <p:spPr>
          <a:xfrm>
            <a:off x="7865998" y="7483477"/>
            <a:ext cx="1400174" cy="457199"/>
          </a:xfrm>
          <a:prstGeom prst="rect">
            <a:avLst/>
          </a:prstGeom>
        </p:spPr>
      </p:pic>
      <p:pic>
        <p:nvPicPr>
          <p:cNvPr id="30" name="object 30"/>
          <p:cNvPicPr/>
          <p:nvPr/>
        </p:nvPicPr>
        <p:blipFill>
          <a:blip r:embed="rId11" cstate="print"/>
          <a:stretch>
            <a:fillRect/>
          </a:stretch>
        </p:blipFill>
        <p:spPr>
          <a:xfrm>
            <a:off x="5346961" y="6400059"/>
            <a:ext cx="1526799" cy="781049"/>
          </a:xfrm>
          <a:prstGeom prst="rect">
            <a:avLst/>
          </a:prstGeom>
        </p:spPr>
      </p:pic>
      <p:sp>
        <p:nvSpPr>
          <p:cNvPr id="31" name="object 31"/>
          <p:cNvSpPr txBox="1"/>
          <p:nvPr/>
        </p:nvSpPr>
        <p:spPr>
          <a:xfrm>
            <a:off x="7225648" y="8087637"/>
            <a:ext cx="850900" cy="325120"/>
          </a:xfrm>
          <a:prstGeom prst="rect">
            <a:avLst/>
          </a:prstGeom>
        </p:spPr>
        <p:txBody>
          <a:bodyPr vert="horz" wrap="square" lIns="0" tIns="14604" rIns="0" bIns="0" rtlCol="0">
            <a:spAutoFit/>
          </a:bodyPr>
          <a:lstStyle/>
          <a:p>
            <a:pPr marL="12700">
              <a:lnSpc>
                <a:spcPct val="100000"/>
              </a:lnSpc>
              <a:spcBef>
                <a:spcPts val="114"/>
              </a:spcBef>
            </a:pPr>
            <a:r>
              <a:rPr sz="1950" dirty="0">
                <a:solidFill>
                  <a:srgbClr val="737373"/>
                </a:solidFill>
                <a:latin typeface="Roboto"/>
                <a:cs typeface="Roboto"/>
              </a:rPr>
              <a:t>y</a:t>
            </a:r>
            <a:r>
              <a:rPr sz="1950" spc="-60" dirty="0">
                <a:solidFill>
                  <a:srgbClr val="737373"/>
                </a:solidFill>
                <a:latin typeface="Roboto"/>
                <a:cs typeface="Roboto"/>
              </a:rPr>
              <a:t> </a:t>
            </a:r>
            <a:r>
              <a:rPr sz="1950" spc="-10" dirty="0">
                <a:solidFill>
                  <a:srgbClr val="737373"/>
                </a:solidFill>
                <a:latin typeface="Roboto"/>
                <a:cs typeface="Roboto"/>
              </a:rPr>
              <a:t>otros.</a:t>
            </a:r>
            <a:endParaRPr sz="1950">
              <a:latin typeface="Roboto"/>
              <a:cs typeface="Roboto"/>
            </a:endParaRPr>
          </a:p>
        </p:txBody>
      </p:sp>
      <p:sp>
        <p:nvSpPr>
          <p:cNvPr id="32" name="object 32"/>
          <p:cNvSpPr txBox="1"/>
          <p:nvPr/>
        </p:nvSpPr>
        <p:spPr>
          <a:xfrm>
            <a:off x="13616195" y="5881076"/>
            <a:ext cx="1050290" cy="325120"/>
          </a:xfrm>
          <a:prstGeom prst="rect">
            <a:avLst/>
          </a:prstGeom>
        </p:spPr>
        <p:txBody>
          <a:bodyPr vert="horz" wrap="square" lIns="0" tIns="14604" rIns="0" bIns="0" rtlCol="0">
            <a:spAutoFit/>
          </a:bodyPr>
          <a:lstStyle/>
          <a:p>
            <a:pPr marL="12700">
              <a:lnSpc>
                <a:spcPct val="100000"/>
              </a:lnSpc>
              <a:spcBef>
                <a:spcPts val="114"/>
              </a:spcBef>
            </a:pPr>
            <a:r>
              <a:rPr sz="1950" spc="-10" dirty="0">
                <a:solidFill>
                  <a:srgbClr val="737373"/>
                </a:solidFill>
                <a:latin typeface="Roboto"/>
                <a:cs typeface="Roboto"/>
              </a:rPr>
              <a:t>Ejemplos</a:t>
            </a:r>
            <a:endParaRPr sz="1950">
              <a:latin typeface="Roboto"/>
              <a:cs typeface="Roboto"/>
            </a:endParaRPr>
          </a:p>
        </p:txBody>
      </p:sp>
      <p:pic>
        <p:nvPicPr>
          <p:cNvPr id="33" name="object 33"/>
          <p:cNvPicPr/>
          <p:nvPr/>
        </p:nvPicPr>
        <p:blipFill>
          <a:blip r:embed="rId12" cstate="print"/>
          <a:stretch>
            <a:fillRect/>
          </a:stretch>
        </p:blipFill>
        <p:spPr>
          <a:xfrm>
            <a:off x="17316450" y="237491"/>
            <a:ext cx="742949" cy="819149"/>
          </a:xfrm>
          <a:prstGeom prst="rect">
            <a:avLst/>
          </a:prstGeom>
        </p:spPr>
      </p:pic>
      <p:sp>
        <p:nvSpPr>
          <p:cNvPr id="34" name="object 34"/>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35" name="object 35"/>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29</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8715795"/>
            <a:ext cx="17954625" cy="1059815"/>
          </a:xfrm>
          <a:custGeom>
            <a:avLst/>
            <a:gdLst/>
            <a:ahLst/>
            <a:cxnLst/>
            <a:rect l="l" t="t" r="r" b="b"/>
            <a:pathLst>
              <a:path w="17954625" h="1059815">
                <a:moveTo>
                  <a:pt x="0" y="1059579"/>
                </a:moveTo>
                <a:lnTo>
                  <a:pt x="17954029" y="1059579"/>
                </a:lnTo>
                <a:lnTo>
                  <a:pt x="17954029" y="0"/>
                </a:lnTo>
                <a:lnTo>
                  <a:pt x="0" y="0"/>
                </a:lnTo>
                <a:lnTo>
                  <a:pt x="0" y="1059579"/>
                </a:lnTo>
                <a:close/>
              </a:path>
            </a:pathLst>
          </a:custGeom>
          <a:solidFill>
            <a:srgbClr val="EFEBE2">
              <a:alpha val="55690"/>
            </a:srgbClr>
          </a:solidFill>
        </p:spPr>
        <p:txBody>
          <a:bodyPr wrap="square" lIns="0" tIns="0" rIns="0" bIns="0" rtlCol="0"/>
          <a:lstStyle/>
          <a:p>
            <a:endParaRPr/>
          </a:p>
        </p:txBody>
      </p:sp>
      <p:sp>
        <p:nvSpPr>
          <p:cNvPr id="3" name="object 3"/>
          <p:cNvSpPr/>
          <p:nvPr/>
        </p:nvSpPr>
        <p:spPr>
          <a:xfrm>
            <a:off x="166956" y="1113694"/>
            <a:ext cx="17954625" cy="4516120"/>
          </a:xfrm>
          <a:custGeom>
            <a:avLst/>
            <a:gdLst/>
            <a:ahLst/>
            <a:cxnLst/>
            <a:rect l="l" t="t" r="r" b="b"/>
            <a:pathLst>
              <a:path w="17954625" h="4516120">
                <a:moveTo>
                  <a:pt x="0" y="4516002"/>
                </a:moveTo>
                <a:lnTo>
                  <a:pt x="17954029" y="4516002"/>
                </a:lnTo>
                <a:lnTo>
                  <a:pt x="17954029" y="0"/>
                </a:lnTo>
                <a:lnTo>
                  <a:pt x="0" y="0"/>
                </a:lnTo>
                <a:lnTo>
                  <a:pt x="0" y="4516002"/>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6" y="171496"/>
            <a:ext cx="17954625" cy="13335"/>
          </a:xfrm>
          <a:custGeom>
            <a:avLst/>
            <a:gdLst/>
            <a:ahLst/>
            <a:cxnLst/>
            <a:rect l="l" t="t" r="r" b="b"/>
            <a:pathLst>
              <a:path w="17954625" h="13335">
                <a:moveTo>
                  <a:pt x="0" y="13336"/>
                </a:moveTo>
                <a:lnTo>
                  <a:pt x="17954029" y="13336"/>
                </a:lnTo>
                <a:lnTo>
                  <a:pt x="17954029" y="0"/>
                </a:lnTo>
                <a:lnTo>
                  <a:pt x="0" y="0"/>
                </a:lnTo>
                <a:lnTo>
                  <a:pt x="0" y="13336"/>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0" y="5629696"/>
            <a:ext cx="18288000" cy="3086100"/>
          </a:xfrm>
          <a:custGeom>
            <a:avLst/>
            <a:gdLst/>
            <a:ahLst/>
            <a:cxnLst/>
            <a:rect l="l" t="t" r="r" b="b"/>
            <a:pathLst>
              <a:path w="18288000" h="3086100">
                <a:moveTo>
                  <a:pt x="18287999" y="3086099"/>
                </a:moveTo>
                <a:lnTo>
                  <a:pt x="0" y="3086099"/>
                </a:lnTo>
                <a:lnTo>
                  <a:pt x="0" y="0"/>
                </a:lnTo>
                <a:lnTo>
                  <a:pt x="18287999" y="0"/>
                </a:lnTo>
                <a:lnTo>
                  <a:pt x="18287999" y="3086099"/>
                </a:lnTo>
                <a:close/>
              </a:path>
            </a:pathLst>
          </a:custGeom>
          <a:solidFill>
            <a:srgbClr val="FFFFFF"/>
          </a:solidFill>
        </p:spPr>
        <p:txBody>
          <a:bodyPr wrap="square" lIns="0" tIns="0" rIns="0" bIns="0" rtlCol="0"/>
          <a:lstStyle/>
          <a:p>
            <a:endParaRPr/>
          </a:p>
        </p:txBody>
      </p:sp>
      <p:sp>
        <p:nvSpPr>
          <p:cNvPr id="6" name="object 6"/>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pic>
        <p:nvPicPr>
          <p:cNvPr id="7" name="object 7"/>
          <p:cNvPicPr/>
          <p:nvPr/>
        </p:nvPicPr>
        <p:blipFill>
          <a:blip r:embed="rId2" cstate="print"/>
          <a:stretch>
            <a:fillRect/>
          </a:stretch>
        </p:blipFill>
        <p:spPr>
          <a:xfrm>
            <a:off x="7232779" y="7716406"/>
            <a:ext cx="1523999" cy="657224"/>
          </a:xfrm>
          <a:prstGeom prst="rect">
            <a:avLst/>
          </a:prstGeom>
        </p:spPr>
      </p:pic>
      <p:pic>
        <p:nvPicPr>
          <p:cNvPr id="8" name="object 8"/>
          <p:cNvPicPr/>
          <p:nvPr/>
        </p:nvPicPr>
        <p:blipFill>
          <a:blip r:embed="rId3" cstate="print"/>
          <a:stretch>
            <a:fillRect/>
          </a:stretch>
        </p:blipFill>
        <p:spPr>
          <a:xfrm>
            <a:off x="4540834" y="7505659"/>
            <a:ext cx="1628774" cy="838199"/>
          </a:xfrm>
          <a:prstGeom prst="rect">
            <a:avLst/>
          </a:prstGeom>
        </p:spPr>
      </p:pic>
      <p:pic>
        <p:nvPicPr>
          <p:cNvPr id="9" name="object 9"/>
          <p:cNvPicPr/>
          <p:nvPr/>
        </p:nvPicPr>
        <p:blipFill>
          <a:blip r:embed="rId4" cstate="print"/>
          <a:stretch>
            <a:fillRect/>
          </a:stretch>
        </p:blipFill>
        <p:spPr>
          <a:xfrm>
            <a:off x="9819895" y="7485698"/>
            <a:ext cx="1428749" cy="933449"/>
          </a:xfrm>
          <a:prstGeom prst="rect">
            <a:avLst/>
          </a:prstGeom>
        </p:spPr>
      </p:pic>
      <p:pic>
        <p:nvPicPr>
          <p:cNvPr id="10" name="object 10"/>
          <p:cNvPicPr/>
          <p:nvPr/>
        </p:nvPicPr>
        <p:blipFill>
          <a:blip r:embed="rId5" cstate="print"/>
          <a:stretch>
            <a:fillRect/>
          </a:stretch>
        </p:blipFill>
        <p:spPr>
          <a:xfrm>
            <a:off x="12309307" y="7679576"/>
            <a:ext cx="1438274" cy="695324"/>
          </a:xfrm>
          <a:prstGeom prst="rect">
            <a:avLst/>
          </a:prstGeom>
        </p:spPr>
      </p:pic>
      <p:pic>
        <p:nvPicPr>
          <p:cNvPr id="11" name="object 11"/>
          <p:cNvPicPr/>
          <p:nvPr/>
        </p:nvPicPr>
        <p:blipFill>
          <a:blip r:embed="rId6" cstate="print"/>
          <a:stretch>
            <a:fillRect/>
          </a:stretch>
        </p:blipFill>
        <p:spPr>
          <a:xfrm>
            <a:off x="6443083" y="6323851"/>
            <a:ext cx="1743074" cy="752474"/>
          </a:xfrm>
          <a:prstGeom prst="rect">
            <a:avLst/>
          </a:prstGeom>
        </p:spPr>
      </p:pic>
      <p:pic>
        <p:nvPicPr>
          <p:cNvPr id="12" name="object 12"/>
          <p:cNvPicPr/>
          <p:nvPr/>
        </p:nvPicPr>
        <p:blipFill>
          <a:blip r:embed="rId7" cstate="print"/>
          <a:stretch>
            <a:fillRect/>
          </a:stretch>
        </p:blipFill>
        <p:spPr>
          <a:xfrm>
            <a:off x="13747165" y="6158089"/>
            <a:ext cx="1495424" cy="1200149"/>
          </a:xfrm>
          <a:prstGeom prst="rect">
            <a:avLst/>
          </a:prstGeom>
        </p:spPr>
      </p:pic>
      <p:pic>
        <p:nvPicPr>
          <p:cNvPr id="13" name="object 13"/>
          <p:cNvPicPr/>
          <p:nvPr/>
        </p:nvPicPr>
        <p:blipFill>
          <a:blip r:embed="rId8" cstate="print"/>
          <a:stretch>
            <a:fillRect/>
          </a:stretch>
        </p:blipFill>
        <p:spPr>
          <a:xfrm>
            <a:off x="8835882" y="6423193"/>
            <a:ext cx="1876424" cy="552449"/>
          </a:xfrm>
          <a:prstGeom prst="rect">
            <a:avLst/>
          </a:prstGeom>
        </p:spPr>
      </p:pic>
      <p:pic>
        <p:nvPicPr>
          <p:cNvPr id="14" name="object 14"/>
          <p:cNvPicPr/>
          <p:nvPr/>
        </p:nvPicPr>
        <p:blipFill>
          <a:blip r:embed="rId9" cstate="print"/>
          <a:stretch>
            <a:fillRect/>
          </a:stretch>
        </p:blipFill>
        <p:spPr>
          <a:xfrm>
            <a:off x="3406089" y="6358435"/>
            <a:ext cx="2390774" cy="771524"/>
          </a:xfrm>
          <a:prstGeom prst="rect">
            <a:avLst/>
          </a:prstGeom>
        </p:spPr>
      </p:pic>
      <p:pic>
        <p:nvPicPr>
          <p:cNvPr id="15" name="object 15"/>
          <p:cNvPicPr/>
          <p:nvPr/>
        </p:nvPicPr>
        <p:blipFill>
          <a:blip r:embed="rId10" cstate="print"/>
          <a:stretch>
            <a:fillRect/>
          </a:stretch>
        </p:blipFill>
        <p:spPr>
          <a:xfrm>
            <a:off x="11363737" y="6255000"/>
            <a:ext cx="1733549" cy="971549"/>
          </a:xfrm>
          <a:prstGeom prst="rect">
            <a:avLst/>
          </a:prstGeom>
        </p:spPr>
      </p:pic>
      <p:sp>
        <p:nvSpPr>
          <p:cNvPr id="16" name="object 16"/>
          <p:cNvSpPr txBox="1"/>
          <p:nvPr/>
        </p:nvSpPr>
        <p:spPr>
          <a:xfrm>
            <a:off x="637985" y="384148"/>
            <a:ext cx="891984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4.</a:t>
            </a:r>
            <a:r>
              <a:rPr sz="3000" spc="-85" dirty="0">
                <a:solidFill>
                  <a:srgbClr val="FFFFFF"/>
                </a:solidFill>
                <a:latin typeface="Roboto"/>
                <a:cs typeface="Roboto"/>
              </a:rPr>
              <a:t> </a:t>
            </a:r>
            <a:r>
              <a:rPr sz="3000" dirty="0">
                <a:solidFill>
                  <a:srgbClr val="FFFFFF"/>
                </a:solidFill>
                <a:latin typeface="Roboto"/>
                <a:cs typeface="Roboto"/>
              </a:rPr>
              <a:t>¿Cómo</a:t>
            </a:r>
            <a:r>
              <a:rPr sz="3000" spc="-80" dirty="0">
                <a:solidFill>
                  <a:srgbClr val="FFFFFF"/>
                </a:solidFill>
                <a:latin typeface="Roboto"/>
                <a:cs typeface="Roboto"/>
              </a:rPr>
              <a:t> </a:t>
            </a:r>
            <a:r>
              <a:rPr sz="3000" spc="-25" dirty="0">
                <a:solidFill>
                  <a:srgbClr val="FFFFFF"/>
                </a:solidFill>
                <a:latin typeface="Roboto"/>
                <a:cs typeface="Roboto"/>
              </a:rPr>
              <a:t>distribuir</a:t>
            </a:r>
            <a:r>
              <a:rPr sz="3000" spc="-80" dirty="0">
                <a:solidFill>
                  <a:srgbClr val="FFFFFF"/>
                </a:solidFill>
                <a:latin typeface="Roboto"/>
                <a:cs typeface="Roboto"/>
              </a:rPr>
              <a:t> </a:t>
            </a:r>
            <a:r>
              <a:rPr sz="3000" dirty="0">
                <a:solidFill>
                  <a:srgbClr val="FFFFFF"/>
                </a:solidFill>
                <a:latin typeface="Roboto"/>
                <a:cs typeface="Roboto"/>
              </a:rPr>
              <a:t>el</a:t>
            </a:r>
            <a:r>
              <a:rPr sz="3000" spc="-80" dirty="0">
                <a:solidFill>
                  <a:srgbClr val="FFFFFF"/>
                </a:solidFill>
                <a:latin typeface="Roboto"/>
                <a:cs typeface="Roboto"/>
              </a:rPr>
              <a:t> </a:t>
            </a:r>
            <a:r>
              <a:rPr sz="3000" spc="-10" dirty="0">
                <a:solidFill>
                  <a:srgbClr val="FFFFFF"/>
                </a:solidFill>
                <a:latin typeface="Roboto"/>
                <a:cs typeface="Roboto"/>
              </a:rPr>
              <a:t>impacto</a:t>
            </a:r>
            <a:r>
              <a:rPr sz="3000" spc="-80" dirty="0">
                <a:solidFill>
                  <a:srgbClr val="FFFFFF"/>
                </a:solidFill>
                <a:latin typeface="Roboto"/>
                <a:cs typeface="Roboto"/>
              </a:rPr>
              <a:t> </a:t>
            </a:r>
            <a:r>
              <a:rPr sz="3000" spc="-10" dirty="0">
                <a:solidFill>
                  <a:srgbClr val="FFFFFF"/>
                </a:solidFill>
                <a:latin typeface="Roboto"/>
                <a:cs typeface="Roboto"/>
              </a:rPr>
              <a:t>positivo</a:t>
            </a:r>
            <a:r>
              <a:rPr sz="3000" spc="-80" dirty="0">
                <a:solidFill>
                  <a:srgbClr val="FFFFFF"/>
                </a:solidFill>
                <a:latin typeface="Roboto"/>
                <a:cs typeface="Roboto"/>
              </a:rPr>
              <a:t> </a:t>
            </a:r>
            <a:r>
              <a:rPr sz="3000" dirty="0">
                <a:solidFill>
                  <a:srgbClr val="FFFFFF"/>
                </a:solidFill>
                <a:latin typeface="Roboto"/>
                <a:cs typeface="Roboto"/>
              </a:rPr>
              <a:t>del</a:t>
            </a:r>
            <a:r>
              <a:rPr sz="3000" spc="-80" dirty="0">
                <a:solidFill>
                  <a:srgbClr val="FFFFFF"/>
                </a:solidFill>
                <a:latin typeface="Roboto"/>
                <a:cs typeface="Roboto"/>
              </a:rPr>
              <a:t> </a:t>
            </a:r>
            <a:r>
              <a:rPr sz="3000" spc="-10" dirty="0">
                <a:solidFill>
                  <a:srgbClr val="FFFFFF"/>
                </a:solidFill>
                <a:latin typeface="Roboto"/>
                <a:cs typeface="Roboto"/>
              </a:rPr>
              <a:t>turismo?</a:t>
            </a:r>
            <a:endParaRPr sz="3000">
              <a:latin typeface="Roboto"/>
              <a:cs typeface="Roboto"/>
            </a:endParaRPr>
          </a:p>
        </p:txBody>
      </p:sp>
      <p:sp>
        <p:nvSpPr>
          <p:cNvPr id="17" name="object 17"/>
          <p:cNvSpPr txBox="1"/>
          <p:nvPr/>
        </p:nvSpPr>
        <p:spPr>
          <a:xfrm>
            <a:off x="8464053" y="5734615"/>
            <a:ext cx="1050290" cy="325120"/>
          </a:xfrm>
          <a:prstGeom prst="rect">
            <a:avLst/>
          </a:prstGeom>
        </p:spPr>
        <p:txBody>
          <a:bodyPr vert="horz" wrap="square" lIns="0" tIns="14604" rIns="0" bIns="0" rtlCol="0">
            <a:spAutoFit/>
          </a:bodyPr>
          <a:lstStyle/>
          <a:p>
            <a:pPr marL="12700">
              <a:lnSpc>
                <a:spcPct val="100000"/>
              </a:lnSpc>
              <a:spcBef>
                <a:spcPts val="114"/>
              </a:spcBef>
            </a:pPr>
            <a:r>
              <a:rPr sz="1950" spc="-10" dirty="0">
                <a:solidFill>
                  <a:srgbClr val="737373"/>
                </a:solidFill>
                <a:latin typeface="Roboto"/>
                <a:cs typeface="Roboto"/>
              </a:rPr>
              <a:t>Ejemplos</a:t>
            </a:r>
            <a:endParaRPr sz="1950">
              <a:latin typeface="Roboto"/>
              <a:cs typeface="Roboto"/>
            </a:endParaRPr>
          </a:p>
        </p:txBody>
      </p:sp>
      <p:sp>
        <p:nvSpPr>
          <p:cNvPr id="18" name="object 18"/>
          <p:cNvSpPr/>
          <p:nvPr/>
        </p:nvSpPr>
        <p:spPr>
          <a:xfrm>
            <a:off x="8360190" y="2150990"/>
            <a:ext cx="1374775" cy="1374775"/>
          </a:xfrm>
          <a:custGeom>
            <a:avLst/>
            <a:gdLst/>
            <a:ahLst/>
            <a:cxnLst/>
            <a:rect l="l" t="t" r="r" b="b"/>
            <a:pathLst>
              <a:path w="1374775" h="1374775">
                <a:moveTo>
                  <a:pt x="687144" y="1374286"/>
                </a:moveTo>
                <a:lnTo>
                  <a:pt x="640097" y="1372701"/>
                </a:lnTo>
                <a:lnTo>
                  <a:pt x="593901" y="1368013"/>
                </a:lnTo>
                <a:lnTo>
                  <a:pt x="548659" y="1360326"/>
                </a:lnTo>
                <a:lnTo>
                  <a:pt x="504473" y="1349740"/>
                </a:lnTo>
                <a:lnTo>
                  <a:pt x="461444" y="1336360"/>
                </a:lnTo>
                <a:lnTo>
                  <a:pt x="419676" y="1320287"/>
                </a:lnTo>
                <a:lnTo>
                  <a:pt x="379270" y="1301623"/>
                </a:lnTo>
                <a:lnTo>
                  <a:pt x="340328" y="1280471"/>
                </a:lnTo>
                <a:lnTo>
                  <a:pt x="302954" y="1256933"/>
                </a:lnTo>
                <a:lnTo>
                  <a:pt x="267250" y="1231111"/>
                </a:lnTo>
                <a:lnTo>
                  <a:pt x="233317" y="1203108"/>
                </a:lnTo>
                <a:lnTo>
                  <a:pt x="201259" y="1173026"/>
                </a:lnTo>
                <a:lnTo>
                  <a:pt x="171177" y="1140968"/>
                </a:lnTo>
                <a:lnTo>
                  <a:pt x="143174" y="1107035"/>
                </a:lnTo>
                <a:lnTo>
                  <a:pt x="117353" y="1071331"/>
                </a:lnTo>
                <a:lnTo>
                  <a:pt x="93815" y="1033957"/>
                </a:lnTo>
                <a:lnTo>
                  <a:pt x="72662" y="995016"/>
                </a:lnTo>
                <a:lnTo>
                  <a:pt x="53999" y="954610"/>
                </a:lnTo>
                <a:lnTo>
                  <a:pt x="37925" y="912841"/>
                </a:lnTo>
                <a:lnTo>
                  <a:pt x="24545" y="869813"/>
                </a:lnTo>
                <a:lnTo>
                  <a:pt x="13960" y="825626"/>
                </a:lnTo>
                <a:lnTo>
                  <a:pt x="6272" y="780384"/>
                </a:lnTo>
                <a:lnTo>
                  <a:pt x="1585" y="734189"/>
                </a:lnTo>
                <a:lnTo>
                  <a:pt x="0" y="687147"/>
                </a:lnTo>
                <a:lnTo>
                  <a:pt x="1585" y="640097"/>
                </a:lnTo>
                <a:lnTo>
                  <a:pt x="6272" y="593901"/>
                </a:lnTo>
                <a:lnTo>
                  <a:pt x="13960" y="548659"/>
                </a:lnTo>
                <a:lnTo>
                  <a:pt x="24545" y="504473"/>
                </a:lnTo>
                <a:lnTo>
                  <a:pt x="37925" y="461444"/>
                </a:lnTo>
                <a:lnTo>
                  <a:pt x="53999" y="419676"/>
                </a:lnTo>
                <a:lnTo>
                  <a:pt x="72662" y="379270"/>
                </a:lnTo>
                <a:lnTo>
                  <a:pt x="93815" y="340328"/>
                </a:lnTo>
                <a:lnTo>
                  <a:pt x="117353" y="302954"/>
                </a:lnTo>
                <a:lnTo>
                  <a:pt x="143174" y="267250"/>
                </a:lnTo>
                <a:lnTo>
                  <a:pt x="171177" y="233317"/>
                </a:lnTo>
                <a:lnTo>
                  <a:pt x="201259" y="201259"/>
                </a:lnTo>
                <a:lnTo>
                  <a:pt x="233317" y="171177"/>
                </a:lnTo>
                <a:lnTo>
                  <a:pt x="267250" y="143174"/>
                </a:lnTo>
                <a:lnTo>
                  <a:pt x="302954" y="117353"/>
                </a:lnTo>
                <a:lnTo>
                  <a:pt x="340328" y="93815"/>
                </a:lnTo>
                <a:lnTo>
                  <a:pt x="379270" y="72663"/>
                </a:lnTo>
                <a:lnTo>
                  <a:pt x="419676" y="53999"/>
                </a:lnTo>
                <a:lnTo>
                  <a:pt x="461444" y="37925"/>
                </a:lnTo>
                <a:lnTo>
                  <a:pt x="504473" y="24545"/>
                </a:lnTo>
                <a:lnTo>
                  <a:pt x="548659" y="13960"/>
                </a:lnTo>
                <a:lnTo>
                  <a:pt x="593901" y="6272"/>
                </a:lnTo>
                <a:lnTo>
                  <a:pt x="640097" y="1585"/>
                </a:lnTo>
                <a:lnTo>
                  <a:pt x="687143" y="0"/>
                </a:lnTo>
                <a:lnTo>
                  <a:pt x="734189" y="1585"/>
                </a:lnTo>
                <a:lnTo>
                  <a:pt x="780384" y="6272"/>
                </a:lnTo>
                <a:lnTo>
                  <a:pt x="825626" y="13960"/>
                </a:lnTo>
                <a:lnTo>
                  <a:pt x="869813" y="24545"/>
                </a:lnTo>
                <a:lnTo>
                  <a:pt x="912841" y="37925"/>
                </a:lnTo>
                <a:lnTo>
                  <a:pt x="954610" y="53999"/>
                </a:lnTo>
                <a:lnTo>
                  <a:pt x="995016" y="72663"/>
                </a:lnTo>
                <a:lnTo>
                  <a:pt x="1033957" y="93815"/>
                </a:lnTo>
                <a:lnTo>
                  <a:pt x="1071331" y="117353"/>
                </a:lnTo>
                <a:lnTo>
                  <a:pt x="1107036" y="143174"/>
                </a:lnTo>
                <a:lnTo>
                  <a:pt x="1140968" y="171177"/>
                </a:lnTo>
                <a:lnTo>
                  <a:pt x="1173026" y="201259"/>
                </a:lnTo>
                <a:lnTo>
                  <a:pt x="1203108" y="233317"/>
                </a:lnTo>
                <a:lnTo>
                  <a:pt x="1231111" y="267250"/>
                </a:lnTo>
                <a:lnTo>
                  <a:pt x="1256933" y="302954"/>
                </a:lnTo>
                <a:lnTo>
                  <a:pt x="1280471" y="340328"/>
                </a:lnTo>
                <a:lnTo>
                  <a:pt x="1301623" y="379270"/>
                </a:lnTo>
                <a:lnTo>
                  <a:pt x="1320287" y="419676"/>
                </a:lnTo>
                <a:lnTo>
                  <a:pt x="1336360" y="461444"/>
                </a:lnTo>
                <a:lnTo>
                  <a:pt x="1349740" y="504473"/>
                </a:lnTo>
                <a:lnTo>
                  <a:pt x="1360326" y="548659"/>
                </a:lnTo>
                <a:lnTo>
                  <a:pt x="1368013" y="593901"/>
                </a:lnTo>
                <a:lnTo>
                  <a:pt x="1372701" y="640097"/>
                </a:lnTo>
                <a:lnTo>
                  <a:pt x="1374285" y="687147"/>
                </a:lnTo>
                <a:lnTo>
                  <a:pt x="1372701" y="734189"/>
                </a:lnTo>
                <a:lnTo>
                  <a:pt x="1368013" y="780384"/>
                </a:lnTo>
                <a:lnTo>
                  <a:pt x="1360326" y="825626"/>
                </a:lnTo>
                <a:lnTo>
                  <a:pt x="1349740" y="869813"/>
                </a:lnTo>
                <a:lnTo>
                  <a:pt x="1336360" y="912841"/>
                </a:lnTo>
                <a:lnTo>
                  <a:pt x="1320287" y="954610"/>
                </a:lnTo>
                <a:lnTo>
                  <a:pt x="1301623" y="995016"/>
                </a:lnTo>
                <a:lnTo>
                  <a:pt x="1280471" y="1033957"/>
                </a:lnTo>
                <a:lnTo>
                  <a:pt x="1256933" y="1071331"/>
                </a:lnTo>
                <a:lnTo>
                  <a:pt x="1231111" y="1107035"/>
                </a:lnTo>
                <a:lnTo>
                  <a:pt x="1203108" y="1140968"/>
                </a:lnTo>
                <a:lnTo>
                  <a:pt x="1173026" y="1173026"/>
                </a:lnTo>
                <a:lnTo>
                  <a:pt x="1140968" y="1203108"/>
                </a:lnTo>
                <a:lnTo>
                  <a:pt x="1107036" y="1231111"/>
                </a:lnTo>
                <a:lnTo>
                  <a:pt x="1071331" y="1256933"/>
                </a:lnTo>
                <a:lnTo>
                  <a:pt x="1033957" y="1280471"/>
                </a:lnTo>
                <a:lnTo>
                  <a:pt x="995016" y="1301623"/>
                </a:lnTo>
                <a:lnTo>
                  <a:pt x="954610" y="1320287"/>
                </a:lnTo>
                <a:lnTo>
                  <a:pt x="912841" y="1336360"/>
                </a:lnTo>
                <a:lnTo>
                  <a:pt x="869813" y="1349740"/>
                </a:lnTo>
                <a:lnTo>
                  <a:pt x="825626" y="1360326"/>
                </a:lnTo>
                <a:lnTo>
                  <a:pt x="780384" y="1368013"/>
                </a:lnTo>
                <a:lnTo>
                  <a:pt x="734189" y="1372701"/>
                </a:lnTo>
                <a:lnTo>
                  <a:pt x="687144" y="1374286"/>
                </a:lnTo>
                <a:close/>
              </a:path>
            </a:pathLst>
          </a:custGeom>
          <a:solidFill>
            <a:srgbClr val="21408B"/>
          </a:solidFill>
        </p:spPr>
        <p:txBody>
          <a:bodyPr wrap="square" lIns="0" tIns="0" rIns="0" bIns="0" rtlCol="0"/>
          <a:lstStyle/>
          <a:p>
            <a:endParaRPr/>
          </a:p>
        </p:txBody>
      </p:sp>
      <p:sp>
        <p:nvSpPr>
          <p:cNvPr id="19" name="object 19"/>
          <p:cNvSpPr txBox="1">
            <a:spLocks noGrp="1"/>
          </p:cNvSpPr>
          <p:nvPr>
            <p:ph type="title"/>
          </p:nvPr>
        </p:nvSpPr>
        <p:spPr>
          <a:xfrm>
            <a:off x="8675985" y="2496703"/>
            <a:ext cx="742950" cy="643890"/>
          </a:xfrm>
          <a:prstGeom prst="rect">
            <a:avLst/>
          </a:prstGeom>
        </p:spPr>
        <p:txBody>
          <a:bodyPr vert="horz" wrap="square" lIns="0" tIns="13335" rIns="0" bIns="0" rtlCol="0">
            <a:spAutoFit/>
          </a:bodyPr>
          <a:lstStyle/>
          <a:p>
            <a:pPr marL="12700">
              <a:lnSpc>
                <a:spcPct val="100000"/>
              </a:lnSpc>
              <a:spcBef>
                <a:spcPts val="105"/>
              </a:spcBef>
            </a:pPr>
            <a:r>
              <a:rPr sz="4050" b="1" spc="520" dirty="0">
                <a:latin typeface="Arial"/>
                <a:cs typeface="Arial"/>
              </a:rPr>
              <a:t>04</a:t>
            </a:r>
            <a:endParaRPr sz="4050">
              <a:latin typeface="Arial"/>
              <a:cs typeface="Arial"/>
            </a:endParaRPr>
          </a:p>
        </p:txBody>
      </p:sp>
      <p:sp>
        <p:nvSpPr>
          <p:cNvPr id="20" name="object 20"/>
          <p:cNvSpPr txBox="1"/>
          <p:nvPr/>
        </p:nvSpPr>
        <p:spPr>
          <a:xfrm>
            <a:off x="3023953" y="3846561"/>
            <a:ext cx="12162790" cy="1213485"/>
          </a:xfrm>
          <a:prstGeom prst="rect">
            <a:avLst/>
          </a:prstGeom>
        </p:spPr>
        <p:txBody>
          <a:bodyPr vert="horz" wrap="square" lIns="0" tIns="13335" rIns="0" bIns="0" rtlCol="0">
            <a:spAutoFit/>
          </a:bodyPr>
          <a:lstStyle/>
          <a:p>
            <a:pPr marL="12700">
              <a:lnSpc>
                <a:spcPct val="100000"/>
              </a:lnSpc>
              <a:spcBef>
                <a:spcPts val="105"/>
              </a:spcBef>
            </a:pPr>
            <a:r>
              <a:rPr sz="3850" dirty="0">
                <a:solidFill>
                  <a:srgbClr val="E3112B"/>
                </a:solidFill>
                <a:latin typeface="Roboto"/>
                <a:cs typeface="Roboto"/>
              </a:rPr>
              <a:t>Cooperando</a:t>
            </a:r>
            <a:r>
              <a:rPr sz="3850" spc="-60" dirty="0">
                <a:solidFill>
                  <a:srgbClr val="E3112B"/>
                </a:solidFill>
                <a:latin typeface="Roboto"/>
                <a:cs typeface="Roboto"/>
              </a:rPr>
              <a:t> </a:t>
            </a:r>
            <a:r>
              <a:rPr sz="3850" dirty="0">
                <a:solidFill>
                  <a:srgbClr val="E3112B"/>
                </a:solidFill>
                <a:latin typeface="Roboto"/>
                <a:cs typeface="Roboto"/>
              </a:rPr>
              <a:t>con</a:t>
            </a:r>
            <a:r>
              <a:rPr sz="3850" spc="-55" dirty="0">
                <a:solidFill>
                  <a:srgbClr val="E3112B"/>
                </a:solidFill>
                <a:latin typeface="Roboto"/>
                <a:cs typeface="Roboto"/>
              </a:rPr>
              <a:t> </a:t>
            </a:r>
            <a:r>
              <a:rPr sz="3850" dirty="0">
                <a:solidFill>
                  <a:srgbClr val="E3112B"/>
                </a:solidFill>
                <a:latin typeface="Roboto"/>
                <a:cs typeface="Roboto"/>
              </a:rPr>
              <a:t>el</a:t>
            </a:r>
            <a:r>
              <a:rPr sz="3850" spc="-60" dirty="0">
                <a:solidFill>
                  <a:srgbClr val="E3112B"/>
                </a:solidFill>
                <a:latin typeface="Roboto"/>
                <a:cs typeface="Roboto"/>
              </a:rPr>
              <a:t> </a:t>
            </a:r>
            <a:r>
              <a:rPr sz="3850" b="1" dirty="0">
                <a:solidFill>
                  <a:srgbClr val="E3112B"/>
                </a:solidFill>
                <a:latin typeface="Roboto"/>
                <a:cs typeface="Roboto"/>
              </a:rPr>
              <a:t>trade</a:t>
            </a:r>
            <a:r>
              <a:rPr sz="3850" b="1" spc="-55" dirty="0">
                <a:solidFill>
                  <a:srgbClr val="E3112B"/>
                </a:solidFill>
                <a:latin typeface="Roboto"/>
                <a:cs typeface="Roboto"/>
              </a:rPr>
              <a:t> </a:t>
            </a:r>
            <a:r>
              <a:rPr sz="3850" b="1" dirty="0">
                <a:solidFill>
                  <a:srgbClr val="E3112B"/>
                </a:solidFill>
                <a:latin typeface="Roboto"/>
                <a:cs typeface="Roboto"/>
              </a:rPr>
              <a:t>y</a:t>
            </a:r>
            <a:r>
              <a:rPr sz="3850" b="1" spc="-50" dirty="0">
                <a:solidFill>
                  <a:srgbClr val="E3112B"/>
                </a:solidFill>
                <a:latin typeface="Roboto"/>
                <a:cs typeface="Roboto"/>
              </a:rPr>
              <a:t> </a:t>
            </a:r>
            <a:r>
              <a:rPr sz="3850" b="1" dirty="0">
                <a:solidFill>
                  <a:srgbClr val="E3112B"/>
                </a:solidFill>
                <a:latin typeface="Roboto"/>
                <a:cs typeface="Roboto"/>
              </a:rPr>
              <a:t>sector</a:t>
            </a:r>
            <a:r>
              <a:rPr sz="3850" b="1" spc="-55" dirty="0">
                <a:solidFill>
                  <a:srgbClr val="E3112B"/>
                </a:solidFill>
                <a:latin typeface="Roboto"/>
                <a:cs typeface="Roboto"/>
              </a:rPr>
              <a:t> </a:t>
            </a:r>
            <a:r>
              <a:rPr sz="3850" b="1" dirty="0">
                <a:solidFill>
                  <a:srgbClr val="E3112B"/>
                </a:solidFill>
                <a:latin typeface="Roboto"/>
                <a:cs typeface="Roboto"/>
              </a:rPr>
              <a:t>público</a:t>
            </a:r>
            <a:r>
              <a:rPr sz="3850" b="1" spc="-50" dirty="0">
                <a:solidFill>
                  <a:srgbClr val="E3112B"/>
                </a:solidFill>
                <a:latin typeface="Roboto"/>
                <a:cs typeface="Roboto"/>
              </a:rPr>
              <a:t> </a:t>
            </a:r>
            <a:r>
              <a:rPr sz="3850" b="1" dirty="0">
                <a:solidFill>
                  <a:srgbClr val="E3112B"/>
                </a:solidFill>
                <a:latin typeface="Roboto"/>
                <a:cs typeface="Roboto"/>
              </a:rPr>
              <a:t>de</a:t>
            </a:r>
            <a:r>
              <a:rPr sz="3850" b="1" spc="-55" dirty="0">
                <a:solidFill>
                  <a:srgbClr val="E3112B"/>
                </a:solidFill>
                <a:latin typeface="Roboto"/>
                <a:cs typeface="Roboto"/>
              </a:rPr>
              <a:t> </a:t>
            </a:r>
            <a:r>
              <a:rPr sz="3850" b="1" dirty="0">
                <a:solidFill>
                  <a:srgbClr val="E3112B"/>
                </a:solidFill>
                <a:latin typeface="Roboto"/>
                <a:cs typeface="Roboto"/>
              </a:rPr>
              <a:t>Chile</a:t>
            </a:r>
            <a:r>
              <a:rPr sz="3850" b="1" spc="-60" dirty="0">
                <a:solidFill>
                  <a:srgbClr val="E3112B"/>
                </a:solidFill>
                <a:latin typeface="Roboto"/>
                <a:cs typeface="Roboto"/>
              </a:rPr>
              <a:t> </a:t>
            </a:r>
            <a:r>
              <a:rPr sz="3850" spc="-10" dirty="0">
                <a:solidFill>
                  <a:srgbClr val="E3112B"/>
                </a:solidFill>
                <a:latin typeface="Roboto"/>
                <a:cs typeface="Roboto"/>
              </a:rPr>
              <a:t>para:</a:t>
            </a:r>
            <a:endParaRPr sz="3850">
              <a:latin typeface="Roboto"/>
              <a:cs typeface="Roboto"/>
            </a:endParaRPr>
          </a:p>
          <a:p>
            <a:pPr marL="90170">
              <a:lnSpc>
                <a:spcPct val="100000"/>
              </a:lnSpc>
              <a:spcBef>
                <a:spcPts val="105"/>
              </a:spcBef>
            </a:pPr>
            <a:r>
              <a:rPr sz="3850" b="1" dirty="0">
                <a:solidFill>
                  <a:srgbClr val="737373"/>
                </a:solidFill>
                <a:latin typeface="Roboto"/>
                <a:cs typeface="Roboto"/>
              </a:rPr>
              <a:t>Planificar,</a:t>
            </a:r>
            <a:r>
              <a:rPr sz="3850" b="1" spc="-90" dirty="0">
                <a:solidFill>
                  <a:srgbClr val="737373"/>
                </a:solidFill>
                <a:latin typeface="Roboto"/>
                <a:cs typeface="Roboto"/>
              </a:rPr>
              <a:t> </a:t>
            </a:r>
            <a:r>
              <a:rPr sz="3850" b="1" dirty="0">
                <a:solidFill>
                  <a:srgbClr val="737373"/>
                </a:solidFill>
                <a:latin typeface="Roboto"/>
                <a:cs typeface="Roboto"/>
              </a:rPr>
              <a:t>ejecutar</a:t>
            </a:r>
            <a:r>
              <a:rPr sz="3850" b="1" spc="-85" dirty="0">
                <a:solidFill>
                  <a:srgbClr val="737373"/>
                </a:solidFill>
                <a:latin typeface="Roboto"/>
                <a:cs typeface="Roboto"/>
              </a:rPr>
              <a:t> </a:t>
            </a:r>
            <a:r>
              <a:rPr sz="3850" b="1" dirty="0">
                <a:solidFill>
                  <a:srgbClr val="737373"/>
                </a:solidFill>
                <a:latin typeface="Roboto"/>
                <a:cs typeface="Roboto"/>
              </a:rPr>
              <a:t>y</a:t>
            </a:r>
            <a:r>
              <a:rPr sz="3850" b="1" spc="-85" dirty="0">
                <a:solidFill>
                  <a:srgbClr val="737373"/>
                </a:solidFill>
                <a:latin typeface="Roboto"/>
                <a:cs typeface="Roboto"/>
              </a:rPr>
              <a:t> </a:t>
            </a:r>
            <a:r>
              <a:rPr sz="3850" b="1" dirty="0">
                <a:solidFill>
                  <a:srgbClr val="737373"/>
                </a:solidFill>
                <a:latin typeface="Roboto"/>
                <a:cs typeface="Roboto"/>
              </a:rPr>
              <a:t>evaluar</a:t>
            </a:r>
            <a:r>
              <a:rPr sz="3850" b="1" spc="-95" dirty="0">
                <a:solidFill>
                  <a:srgbClr val="737373"/>
                </a:solidFill>
                <a:latin typeface="Roboto"/>
                <a:cs typeface="Roboto"/>
              </a:rPr>
              <a:t> </a:t>
            </a:r>
            <a:r>
              <a:rPr sz="3850" dirty="0">
                <a:solidFill>
                  <a:srgbClr val="737373"/>
                </a:solidFill>
                <a:latin typeface="Roboto"/>
                <a:cs typeface="Roboto"/>
              </a:rPr>
              <a:t>las</a:t>
            </a:r>
            <a:r>
              <a:rPr sz="3850" spc="-90" dirty="0">
                <a:solidFill>
                  <a:srgbClr val="737373"/>
                </a:solidFill>
                <a:latin typeface="Roboto"/>
                <a:cs typeface="Roboto"/>
              </a:rPr>
              <a:t> </a:t>
            </a:r>
            <a:r>
              <a:rPr sz="3850" spc="-10" dirty="0">
                <a:solidFill>
                  <a:srgbClr val="737373"/>
                </a:solidFill>
                <a:latin typeface="Roboto"/>
                <a:cs typeface="Roboto"/>
              </a:rPr>
              <a:t>acciones</a:t>
            </a:r>
            <a:r>
              <a:rPr sz="3850" spc="-90" dirty="0">
                <a:solidFill>
                  <a:srgbClr val="737373"/>
                </a:solidFill>
                <a:latin typeface="Roboto"/>
                <a:cs typeface="Roboto"/>
              </a:rPr>
              <a:t> </a:t>
            </a:r>
            <a:r>
              <a:rPr sz="3850" dirty="0">
                <a:solidFill>
                  <a:srgbClr val="737373"/>
                </a:solidFill>
                <a:latin typeface="Roboto"/>
                <a:cs typeface="Roboto"/>
              </a:rPr>
              <a:t>de</a:t>
            </a:r>
            <a:r>
              <a:rPr sz="3850" spc="-90" dirty="0">
                <a:solidFill>
                  <a:srgbClr val="737373"/>
                </a:solidFill>
                <a:latin typeface="Roboto"/>
                <a:cs typeface="Roboto"/>
              </a:rPr>
              <a:t> </a:t>
            </a:r>
            <a:r>
              <a:rPr sz="3850" spc="-10" dirty="0">
                <a:solidFill>
                  <a:srgbClr val="737373"/>
                </a:solidFill>
                <a:latin typeface="Roboto"/>
                <a:cs typeface="Roboto"/>
              </a:rPr>
              <a:t>marketing</a:t>
            </a:r>
            <a:endParaRPr sz="3850">
              <a:latin typeface="Roboto"/>
              <a:cs typeface="Roboto"/>
            </a:endParaRPr>
          </a:p>
        </p:txBody>
      </p:sp>
      <p:pic>
        <p:nvPicPr>
          <p:cNvPr id="21" name="object 21"/>
          <p:cNvPicPr/>
          <p:nvPr/>
        </p:nvPicPr>
        <p:blipFill>
          <a:blip r:embed="rId11" cstate="print"/>
          <a:stretch>
            <a:fillRect/>
          </a:stretch>
        </p:blipFill>
        <p:spPr>
          <a:xfrm>
            <a:off x="17316450" y="237491"/>
            <a:ext cx="742949" cy="819149"/>
          </a:xfrm>
          <a:prstGeom prst="rect">
            <a:avLst/>
          </a:prstGeom>
        </p:spPr>
      </p:pic>
      <p:sp>
        <p:nvSpPr>
          <p:cNvPr id="22" name="object 22"/>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23" name="object 23"/>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30</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p:nvPr/>
        </p:nvSpPr>
        <p:spPr>
          <a:xfrm>
            <a:off x="166956" y="1113694"/>
            <a:ext cx="17954625" cy="8678006"/>
          </a:xfrm>
          <a:custGeom>
            <a:avLst/>
            <a:gdLst/>
            <a:ahLst/>
            <a:cxnLst/>
            <a:rect l="l" t="t" r="r" b="b"/>
            <a:pathLst>
              <a:path w="17954625" h="4516120">
                <a:moveTo>
                  <a:pt x="0" y="4516002"/>
                </a:moveTo>
                <a:lnTo>
                  <a:pt x="17954029" y="4516002"/>
                </a:lnTo>
                <a:lnTo>
                  <a:pt x="17954029" y="0"/>
                </a:lnTo>
                <a:lnTo>
                  <a:pt x="0" y="0"/>
                </a:lnTo>
                <a:lnTo>
                  <a:pt x="0" y="4516002"/>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6" y="171496"/>
            <a:ext cx="17954625" cy="13335"/>
          </a:xfrm>
          <a:custGeom>
            <a:avLst/>
            <a:gdLst/>
            <a:ahLst/>
            <a:cxnLst/>
            <a:rect l="l" t="t" r="r" b="b"/>
            <a:pathLst>
              <a:path w="17954625" h="13335">
                <a:moveTo>
                  <a:pt x="0" y="13336"/>
                </a:moveTo>
                <a:lnTo>
                  <a:pt x="17954029" y="13336"/>
                </a:lnTo>
                <a:lnTo>
                  <a:pt x="17954029" y="0"/>
                </a:lnTo>
                <a:lnTo>
                  <a:pt x="0" y="0"/>
                </a:lnTo>
                <a:lnTo>
                  <a:pt x="0" y="13336"/>
                </a:lnTo>
                <a:close/>
              </a:path>
            </a:pathLst>
          </a:custGeom>
          <a:solidFill>
            <a:srgbClr val="EFEBE2">
              <a:alpha val="55690"/>
            </a:srgbClr>
          </a:solidFill>
        </p:spPr>
        <p:txBody>
          <a:bodyPr wrap="square" lIns="0" tIns="0" rIns="0" bIns="0" rtlCol="0"/>
          <a:lstStyle/>
          <a:p>
            <a:endParaRPr/>
          </a:p>
        </p:txBody>
      </p:sp>
      <p:sp>
        <p:nvSpPr>
          <p:cNvPr id="6" name="object 6"/>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sp>
        <p:nvSpPr>
          <p:cNvPr id="16" name="object 16"/>
          <p:cNvSpPr txBox="1"/>
          <p:nvPr/>
        </p:nvSpPr>
        <p:spPr>
          <a:xfrm>
            <a:off x="637985" y="384148"/>
            <a:ext cx="891984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4.</a:t>
            </a:r>
            <a:r>
              <a:rPr sz="3000" spc="-85" dirty="0">
                <a:solidFill>
                  <a:srgbClr val="FFFFFF"/>
                </a:solidFill>
                <a:latin typeface="Roboto"/>
                <a:cs typeface="Roboto"/>
              </a:rPr>
              <a:t> </a:t>
            </a:r>
            <a:r>
              <a:rPr sz="3000" dirty="0">
                <a:solidFill>
                  <a:srgbClr val="FFFFFF"/>
                </a:solidFill>
                <a:latin typeface="Roboto"/>
                <a:cs typeface="Roboto"/>
              </a:rPr>
              <a:t>¿Cómo</a:t>
            </a:r>
            <a:r>
              <a:rPr sz="3000" spc="-80" dirty="0">
                <a:solidFill>
                  <a:srgbClr val="FFFFFF"/>
                </a:solidFill>
                <a:latin typeface="Roboto"/>
                <a:cs typeface="Roboto"/>
              </a:rPr>
              <a:t> </a:t>
            </a:r>
            <a:r>
              <a:rPr sz="3000" spc="-25" dirty="0">
                <a:solidFill>
                  <a:srgbClr val="FFFFFF"/>
                </a:solidFill>
                <a:latin typeface="Roboto"/>
                <a:cs typeface="Roboto"/>
              </a:rPr>
              <a:t>distribuir</a:t>
            </a:r>
            <a:r>
              <a:rPr sz="3000" spc="-80" dirty="0">
                <a:solidFill>
                  <a:srgbClr val="FFFFFF"/>
                </a:solidFill>
                <a:latin typeface="Roboto"/>
                <a:cs typeface="Roboto"/>
              </a:rPr>
              <a:t> </a:t>
            </a:r>
            <a:r>
              <a:rPr sz="3000" dirty="0">
                <a:solidFill>
                  <a:srgbClr val="FFFFFF"/>
                </a:solidFill>
                <a:latin typeface="Roboto"/>
                <a:cs typeface="Roboto"/>
              </a:rPr>
              <a:t>el</a:t>
            </a:r>
            <a:r>
              <a:rPr sz="3000" spc="-80" dirty="0">
                <a:solidFill>
                  <a:srgbClr val="FFFFFF"/>
                </a:solidFill>
                <a:latin typeface="Roboto"/>
                <a:cs typeface="Roboto"/>
              </a:rPr>
              <a:t> </a:t>
            </a:r>
            <a:r>
              <a:rPr sz="3000" spc="-10" dirty="0">
                <a:solidFill>
                  <a:srgbClr val="FFFFFF"/>
                </a:solidFill>
                <a:latin typeface="Roboto"/>
                <a:cs typeface="Roboto"/>
              </a:rPr>
              <a:t>impacto</a:t>
            </a:r>
            <a:r>
              <a:rPr sz="3000" spc="-80" dirty="0">
                <a:solidFill>
                  <a:srgbClr val="FFFFFF"/>
                </a:solidFill>
                <a:latin typeface="Roboto"/>
                <a:cs typeface="Roboto"/>
              </a:rPr>
              <a:t> </a:t>
            </a:r>
            <a:r>
              <a:rPr sz="3000" spc="-10" dirty="0">
                <a:solidFill>
                  <a:srgbClr val="FFFFFF"/>
                </a:solidFill>
                <a:latin typeface="Roboto"/>
                <a:cs typeface="Roboto"/>
              </a:rPr>
              <a:t>positivo</a:t>
            </a:r>
            <a:r>
              <a:rPr sz="3000" spc="-80" dirty="0">
                <a:solidFill>
                  <a:srgbClr val="FFFFFF"/>
                </a:solidFill>
                <a:latin typeface="Roboto"/>
                <a:cs typeface="Roboto"/>
              </a:rPr>
              <a:t> </a:t>
            </a:r>
            <a:r>
              <a:rPr sz="3000" dirty="0">
                <a:solidFill>
                  <a:srgbClr val="FFFFFF"/>
                </a:solidFill>
                <a:latin typeface="Roboto"/>
                <a:cs typeface="Roboto"/>
              </a:rPr>
              <a:t>del</a:t>
            </a:r>
            <a:r>
              <a:rPr sz="3000" spc="-80" dirty="0">
                <a:solidFill>
                  <a:srgbClr val="FFFFFF"/>
                </a:solidFill>
                <a:latin typeface="Roboto"/>
                <a:cs typeface="Roboto"/>
              </a:rPr>
              <a:t> </a:t>
            </a:r>
            <a:r>
              <a:rPr sz="3000" spc="-10" dirty="0">
                <a:solidFill>
                  <a:srgbClr val="FFFFFF"/>
                </a:solidFill>
                <a:latin typeface="Roboto"/>
                <a:cs typeface="Roboto"/>
              </a:rPr>
              <a:t>turismo?</a:t>
            </a:r>
            <a:endParaRPr sz="3000">
              <a:latin typeface="Roboto"/>
              <a:cs typeface="Roboto"/>
            </a:endParaRPr>
          </a:p>
        </p:txBody>
      </p:sp>
      <p:sp>
        <p:nvSpPr>
          <p:cNvPr id="18" name="object 18"/>
          <p:cNvSpPr/>
          <p:nvPr/>
        </p:nvSpPr>
        <p:spPr>
          <a:xfrm>
            <a:off x="1085714" y="1783273"/>
            <a:ext cx="1374775" cy="1374775"/>
          </a:xfrm>
          <a:custGeom>
            <a:avLst/>
            <a:gdLst/>
            <a:ahLst/>
            <a:cxnLst/>
            <a:rect l="l" t="t" r="r" b="b"/>
            <a:pathLst>
              <a:path w="1374775" h="1374775">
                <a:moveTo>
                  <a:pt x="687144" y="1374286"/>
                </a:moveTo>
                <a:lnTo>
                  <a:pt x="640097" y="1372701"/>
                </a:lnTo>
                <a:lnTo>
                  <a:pt x="593901" y="1368013"/>
                </a:lnTo>
                <a:lnTo>
                  <a:pt x="548659" y="1360326"/>
                </a:lnTo>
                <a:lnTo>
                  <a:pt x="504473" y="1349740"/>
                </a:lnTo>
                <a:lnTo>
                  <a:pt x="461444" y="1336360"/>
                </a:lnTo>
                <a:lnTo>
                  <a:pt x="419676" y="1320287"/>
                </a:lnTo>
                <a:lnTo>
                  <a:pt x="379270" y="1301623"/>
                </a:lnTo>
                <a:lnTo>
                  <a:pt x="340328" y="1280471"/>
                </a:lnTo>
                <a:lnTo>
                  <a:pt x="302954" y="1256933"/>
                </a:lnTo>
                <a:lnTo>
                  <a:pt x="267250" y="1231111"/>
                </a:lnTo>
                <a:lnTo>
                  <a:pt x="233317" y="1203108"/>
                </a:lnTo>
                <a:lnTo>
                  <a:pt x="201259" y="1173026"/>
                </a:lnTo>
                <a:lnTo>
                  <a:pt x="171177" y="1140968"/>
                </a:lnTo>
                <a:lnTo>
                  <a:pt x="143174" y="1107035"/>
                </a:lnTo>
                <a:lnTo>
                  <a:pt x="117353" y="1071331"/>
                </a:lnTo>
                <a:lnTo>
                  <a:pt x="93815" y="1033957"/>
                </a:lnTo>
                <a:lnTo>
                  <a:pt x="72662" y="995016"/>
                </a:lnTo>
                <a:lnTo>
                  <a:pt x="53999" y="954610"/>
                </a:lnTo>
                <a:lnTo>
                  <a:pt x="37925" y="912841"/>
                </a:lnTo>
                <a:lnTo>
                  <a:pt x="24545" y="869813"/>
                </a:lnTo>
                <a:lnTo>
                  <a:pt x="13960" y="825626"/>
                </a:lnTo>
                <a:lnTo>
                  <a:pt x="6272" y="780384"/>
                </a:lnTo>
                <a:lnTo>
                  <a:pt x="1585" y="734189"/>
                </a:lnTo>
                <a:lnTo>
                  <a:pt x="0" y="687147"/>
                </a:lnTo>
                <a:lnTo>
                  <a:pt x="1585" y="640097"/>
                </a:lnTo>
                <a:lnTo>
                  <a:pt x="6272" y="593901"/>
                </a:lnTo>
                <a:lnTo>
                  <a:pt x="13960" y="548659"/>
                </a:lnTo>
                <a:lnTo>
                  <a:pt x="24545" y="504473"/>
                </a:lnTo>
                <a:lnTo>
                  <a:pt x="37925" y="461444"/>
                </a:lnTo>
                <a:lnTo>
                  <a:pt x="53999" y="419676"/>
                </a:lnTo>
                <a:lnTo>
                  <a:pt x="72662" y="379270"/>
                </a:lnTo>
                <a:lnTo>
                  <a:pt x="93815" y="340328"/>
                </a:lnTo>
                <a:lnTo>
                  <a:pt x="117353" y="302954"/>
                </a:lnTo>
                <a:lnTo>
                  <a:pt x="143174" y="267250"/>
                </a:lnTo>
                <a:lnTo>
                  <a:pt x="171177" y="233317"/>
                </a:lnTo>
                <a:lnTo>
                  <a:pt x="201259" y="201259"/>
                </a:lnTo>
                <a:lnTo>
                  <a:pt x="233317" y="171177"/>
                </a:lnTo>
                <a:lnTo>
                  <a:pt x="267250" y="143174"/>
                </a:lnTo>
                <a:lnTo>
                  <a:pt x="302954" y="117353"/>
                </a:lnTo>
                <a:lnTo>
                  <a:pt x="340328" y="93815"/>
                </a:lnTo>
                <a:lnTo>
                  <a:pt x="379270" y="72663"/>
                </a:lnTo>
                <a:lnTo>
                  <a:pt x="419676" y="53999"/>
                </a:lnTo>
                <a:lnTo>
                  <a:pt x="461444" y="37925"/>
                </a:lnTo>
                <a:lnTo>
                  <a:pt x="504473" y="24545"/>
                </a:lnTo>
                <a:lnTo>
                  <a:pt x="548659" y="13960"/>
                </a:lnTo>
                <a:lnTo>
                  <a:pt x="593901" y="6272"/>
                </a:lnTo>
                <a:lnTo>
                  <a:pt x="640097" y="1585"/>
                </a:lnTo>
                <a:lnTo>
                  <a:pt x="687143" y="0"/>
                </a:lnTo>
                <a:lnTo>
                  <a:pt x="734189" y="1585"/>
                </a:lnTo>
                <a:lnTo>
                  <a:pt x="780384" y="6272"/>
                </a:lnTo>
                <a:lnTo>
                  <a:pt x="825626" y="13960"/>
                </a:lnTo>
                <a:lnTo>
                  <a:pt x="869813" y="24545"/>
                </a:lnTo>
                <a:lnTo>
                  <a:pt x="912841" y="37925"/>
                </a:lnTo>
                <a:lnTo>
                  <a:pt x="954610" y="53999"/>
                </a:lnTo>
                <a:lnTo>
                  <a:pt x="995016" y="72663"/>
                </a:lnTo>
                <a:lnTo>
                  <a:pt x="1033957" y="93815"/>
                </a:lnTo>
                <a:lnTo>
                  <a:pt x="1071331" y="117353"/>
                </a:lnTo>
                <a:lnTo>
                  <a:pt x="1107036" y="143174"/>
                </a:lnTo>
                <a:lnTo>
                  <a:pt x="1140968" y="171177"/>
                </a:lnTo>
                <a:lnTo>
                  <a:pt x="1173026" y="201259"/>
                </a:lnTo>
                <a:lnTo>
                  <a:pt x="1203108" y="233317"/>
                </a:lnTo>
                <a:lnTo>
                  <a:pt x="1231111" y="267250"/>
                </a:lnTo>
                <a:lnTo>
                  <a:pt x="1256933" y="302954"/>
                </a:lnTo>
                <a:lnTo>
                  <a:pt x="1280471" y="340328"/>
                </a:lnTo>
                <a:lnTo>
                  <a:pt x="1301623" y="379270"/>
                </a:lnTo>
                <a:lnTo>
                  <a:pt x="1320287" y="419676"/>
                </a:lnTo>
                <a:lnTo>
                  <a:pt x="1336360" y="461444"/>
                </a:lnTo>
                <a:lnTo>
                  <a:pt x="1349740" y="504473"/>
                </a:lnTo>
                <a:lnTo>
                  <a:pt x="1360326" y="548659"/>
                </a:lnTo>
                <a:lnTo>
                  <a:pt x="1368013" y="593901"/>
                </a:lnTo>
                <a:lnTo>
                  <a:pt x="1372701" y="640097"/>
                </a:lnTo>
                <a:lnTo>
                  <a:pt x="1374285" y="687147"/>
                </a:lnTo>
                <a:lnTo>
                  <a:pt x="1372701" y="734189"/>
                </a:lnTo>
                <a:lnTo>
                  <a:pt x="1368013" y="780384"/>
                </a:lnTo>
                <a:lnTo>
                  <a:pt x="1360326" y="825626"/>
                </a:lnTo>
                <a:lnTo>
                  <a:pt x="1349740" y="869813"/>
                </a:lnTo>
                <a:lnTo>
                  <a:pt x="1336360" y="912841"/>
                </a:lnTo>
                <a:lnTo>
                  <a:pt x="1320287" y="954610"/>
                </a:lnTo>
                <a:lnTo>
                  <a:pt x="1301623" y="995016"/>
                </a:lnTo>
                <a:lnTo>
                  <a:pt x="1280471" y="1033957"/>
                </a:lnTo>
                <a:lnTo>
                  <a:pt x="1256933" y="1071331"/>
                </a:lnTo>
                <a:lnTo>
                  <a:pt x="1231111" y="1107035"/>
                </a:lnTo>
                <a:lnTo>
                  <a:pt x="1203108" y="1140968"/>
                </a:lnTo>
                <a:lnTo>
                  <a:pt x="1173026" y="1173026"/>
                </a:lnTo>
                <a:lnTo>
                  <a:pt x="1140968" y="1203108"/>
                </a:lnTo>
                <a:lnTo>
                  <a:pt x="1107036" y="1231111"/>
                </a:lnTo>
                <a:lnTo>
                  <a:pt x="1071331" y="1256933"/>
                </a:lnTo>
                <a:lnTo>
                  <a:pt x="1033957" y="1280471"/>
                </a:lnTo>
                <a:lnTo>
                  <a:pt x="995016" y="1301623"/>
                </a:lnTo>
                <a:lnTo>
                  <a:pt x="954610" y="1320287"/>
                </a:lnTo>
                <a:lnTo>
                  <a:pt x="912841" y="1336360"/>
                </a:lnTo>
                <a:lnTo>
                  <a:pt x="869813" y="1349740"/>
                </a:lnTo>
                <a:lnTo>
                  <a:pt x="825626" y="1360326"/>
                </a:lnTo>
                <a:lnTo>
                  <a:pt x="780384" y="1368013"/>
                </a:lnTo>
                <a:lnTo>
                  <a:pt x="734189" y="1372701"/>
                </a:lnTo>
                <a:lnTo>
                  <a:pt x="687144" y="1374286"/>
                </a:lnTo>
                <a:close/>
              </a:path>
            </a:pathLst>
          </a:custGeom>
          <a:solidFill>
            <a:srgbClr val="21408B"/>
          </a:solidFill>
        </p:spPr>
        <p:txBody>
          <a:bodyPr wrap="square" lIns="0" tIns="0" rIns="0" bIns="0" rtlCol="0"/>
          <a:lstStyle/>
          <a:p>
            <a:endParaRPr/>
          </a:p>
        </p:txBody>
      </p:sp>
      <p:sp>
        <p:nvSpPr>
          <p:cNvPr id="19" name="object 19"/>
          <p:cNvSpPr txBox="1">
            <a:spLocks noGrp="1"/>
          </p:cNvSpPr>
          <p:nvPr>
            <p:ph type="title"/>
          </p:nvPr>
        </p:nvSpPr>
        <p:spPr>
          <a:xfrm>
            <a:off x="1401509" y="2128986"/>
            <a:ext cx="742950" cy="643890"/>
          </a:xfrm>
          <a:prstGeom prst="rect">
            <a:avLst/>
          </a:prstGeom>
        </p:spPr>
        <p:txBody>
          <a:bodyPr vert="horz" wrap="square" lIns="0" tIns="13335" rIns="0" bIns="0" rtlCol="0">
            <a:spAutoFit/>
          </a:bodyPr>
          <a:lstStyle/>
          <a:p>
            <a:pPr marL="12700" algn="ctr">
              <a:lnSpc>
                <a:spcPct val="100000"/>
              </a:lnSpc>
              <a:spcBef>
                <a:spcPts val="105"/>
              </a:spcBef>
            </a:pPr>
            <a:r>
              <a:rPr lang="es-ES" sz="4050" b="1" dirty="0">
                <a:latin typeface="Arial"/>
                <a:cs typeface="Arial"/>
              </a:rPr>
              <a:t>01</a:t>
            </a:r>
            <a:endParaRPr sz="4050" dirty="0">
              <a:latin typeface="Arial"/>
              <a:cs typeface="Arial"/>
            </a:endParaRPr>
          </a:p>
        </p:txBody>
      </p:sp>
      <p:sp>
        <p:nvSpPr>
          <p:cNvPr id="20" name="object 20"/>
          <p:cNvSpPr txBox="1"/>
          <p:nvPr/>
        </p:nvSpPr>
        <p:spPr>
          <a:xfrm>
            <a:off x="2780491" y="2237280"/>
            <a:ext cx="12162790" cy="515077"/>
          </a:xfrm>
          <a:prstGeom prst="rect">
            <a:avLst/>
          </a:prstGeom>
        </p:spPr>
        <p:txBody>
          <a:bodyPr vert="horz" wrap="square" lIns="0" tIns="13335" rIns="0" bIns="0" rtlCol="0">
            <a:spAutoFit/>
          </a:bodyPr>
          <a:lstStyle/>
          <a:p>
            <a:pPr algn="l">
              <a:lnSpc>
                <a:spcPts val="3875"/>
              </a:lnSpc>
              <a:spcBef>
                <a:spcPts val="100"/>
              </a:spcBef>
            </a:pPr>
            <a:r>
              <a:rPr lang="en-US" sz="4000" dirty="0" err="1">
                <a:solidFill>
                  <a:srgbClr val="E3112B"/>
                </a:solidFill>
                <a:latin typeface="Roboto"/>
                <a:cs typeface="Roboto"/>
              </a:rPr>
              <a:t>Cooperación</a:t>
            </a:r>
            <a:r>
              <a:rPr lang="en-US" sz="4000" spc="-180" dirty="0">
                <a:solidFill>
                  <a:srgbClr val="E3112B"/>
                </a:solidFill>
                <a:latin typeface="Roboto"/>
                <a:cs typeface="Roboto"/>
              </a:rPr>
              <a:t> </a:t>
            </a:r>
            <a:r>
              <a:rPr lang="en-US" sz="4000" spc="-25" dirty="0">
                <a:solidFill>
                  <a:srgbClr val="E3112B"/>
                </a:solidFill>
                <a:latin typeface="Roboto"/>
                <a:cs typeface="Roboto"/>
              </a:rPr>
              <a:t>con</a:t>
            </a:r>
            <a:r>
              <a:rPr lang="en-US" sz="4000" spc="-25" dirty="0">
                <a:latin typeface="Roboto"/>
                <a:cs typeface="Roboto"/>
              </a:rPr>
              <a:t> </a:t>
            </a:r>
            <a:r>
              <a:rPr lang="en-US" sz="4000" b="1" dirty="0">
                <a:solidFill>
                  <a:srgbClr val="E3112B"/>
                </a:solidFill>
                <a:latin typeface="Roboto"/>
                <a:cs typeface="Roboto"/>
              </a:rPr>
              <a:t>las</a:t>
            </a:r>
            <a:r>
              <a:rPr lang="en-US" sz="4000" b="1" spc="-55" dirty="0">
                <a:solidFill>
                  <a:srgbClr val="E3112B"/>
                </a:solidFill>
                <a:latin typeface="Roboto"/>
                <a:cs typeface="Roboto"/>
              </a:rPr>
              <a:t> </a:t>
            </a:r>
            <a:r>
              <a:rPr lang="en-US" sz="4000" b="1" spc="-10" dirty="0" err="1">
                <a:solidFill>
                  <a:srgbClr val="E3112B"/>
                </a:solidFill>
                <a:latin typeface="Roboto"/>
                <a:cs typeface="Roboto"/>
              </a:rPr>
              <a:t>Regiones</a:t>
            </a:r>
            <a:endParaRPr lang="en-US" sz="4000" dirty="0">
              <a:latin typeface="Roboto"/>
              <a:cs typeface="Roboto"/>
            </a:endParaRPr>
          </a:p>
        </p:txBody>
      </p:sp>
      <p:pic>
        <p:nvPicPr>
          <p:cNvPr id="21" name="object 21"/>
          <p:cNvPicPr/>
          <p:nvPr/>
        </p:nvPicPr>
        <p:blipFill>
          <a:blip r:embed="rId2" cstate="print"/>
          <a:stretch>
            <a:fillRect/>
          </a:stretch>
        </p:blipFill>
        <p:spPr>
          <a:xfrm>
            <a:off x="17316450" y="237491"/>
            <a:ext cx="742949" cy="819149"/>
          </a:xfrm>
          <a:prstGeom prst="rect">
            <a:avLst/>
          </a:prstGeom>
        </p:spPr>
      </p:pic>
      <p:sp>
        <p:nvSpPr>
          <p:cNvPr id="22" name="object 22"/>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23" name="object 23"/>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30</a:t>
            </a:r>
          </a:p>
        </p:txBody>
      </p:sp>
      <p:sp>
        <p:nvSpPr>
          <p:cNvPr id="24" name="object 20">
            <a:extLst>
              <a:ext uri="{FF2B5EF4-FFF2-40B4-BE49-F238E27FC236}">
                <a16:creationId xmlns:a16="http://schemas.microsoft.com/office/drawing/2014/main" id="{5D92A1F5-D8DF-9ED2-CADF-A108CACD3222}"/>
              </a:ext>
            </a:extLst>
          </p:cNvPr>
          <p:cNvSpPr txBox="1"/>
          <p:nvPr/>
        </p:nvSpPr>
        <p:spPr>
          <a:xfrm>
            <a:off x="1752600" y="3594180"/>
            <a:ext cx="16059201" cy="5503110"/>
          </a:xfrm>
          <a:prstGeom prst="rect">
            <a:avLst/>
          </a:prstGeom>
        </p:spPr>
        <p:txBody>
          <a:bodyPr vert="horz" wrap="square" lIns="0" tIns="13335" rIns="0" bIns="0" rtlCol="0">
            <a:spAutoFit/>
          </a:bodyPr>
          <a:lstStyle/>
          <a:p>
            <a:pPr marL="742950" indent="-742950" algn="l">
              <a:lnSpc>
                <a:spcPts val="3875"/>
              </a:lnSpc>
              <a:spcBef>
                <a:spcPts val="100"/>
              </a:spcBef>
              <a:buFont typeface="+mj-lt"/>
              <a:buAutoNum type="arabicPeriod"/>
            </a:pPr>
            <a:r>
              <a:rPr lang="es-ES_tradnl" sz="2400" dirty="0">
                <a:solidFill>
                  <a:schemeClr val="tx1"/>
                </a:solidFill>
                <a:latin typeface="Roboto"/>
                <a:cs typeface="Roboto"/>
              </a:rPr>
              <a:t>Las regiones son socios estratégicos en la implementación del plan.</a:t>
            </a:r>
            <a:endParaRPr lang="es-ES_tradnl" sz="2400" b="1" dirty="0">
              <a:solidFill>
                <a:schemeClr val="tx1"/>
              </a:solidFill>
              <a:latin typeface="Roboto"/>
              <a:cs typeface="Roboto"/>
            </a:endParaRPr>
          </a:p>
          <a:p>
            <a:pPr marL="742950" indent="-742950" algn="l">
              <a:lnSpc>
                <a:spcPts val="3875"/>
              </a:lnSpc>
              <a:spcBef>
                <a:spcPts val="100"/>
              </a:spcBef>
              <a:buFont typeface="+mj-lt"/>
              <a:buAutoNum type="arabicPeriod"/>
            </a:pPr>
            <a:r>
              <a:rPr lang="es-ES_tradnl" sz="2400" dirty="0">
                <a:solidFill>
                  <a:schemeClr val="tx1"/>
                </a:solidFill>
                <a:latin typeface="Roboto"/>
              </a:rPr>
              <a:t>S</a:t>
            </a:r>
            <a:r>
              <a:rPr lang="es-ES" sz="2400" dirty="0"/>
              <a:t>e recomienda a las Regiones realizar su plan de promoción turística internacional alineado a la estrategia del PMTI, para optimizar esfuerzos y resultados, ser más eficientes y eficaces en la promoción. </a:t>
            </a:r>
          </a:p>
          <a:p>
            <a:pPr marL="742950" indent="-742950" algn="l">
              <a:lnSpc>
                <a:spcPts val="3875"/>
              </a:lnSpc>
              <a:spcBef>
                <a:spcPts val="100"/>
              </a:spcBef>
              <a:buFont typeface="+mj-lt"/>
              <a:buAutoNum type="arabicPeriod"/>
            </a:pPr>
            <a:r>
              <a:rPr lang="es-ES" sz="2400" dirty="0"/>
              <a:t>Ideal levantar </a:t>
            </a:r>
            <a:r>
              <a:rPr lang="es-ES" sz="2400" b="1" dirty="0"/>
              <a:t>FNDR</a:t>
            </a:r>
            <a:r>
              <a:rPr lang="es-ES" sz="2400" dirty="0"/>
              <a:t> con foco en la promoción de su destino para realizar </a:t>
            </a:r>
            <a:r>
              <a:rPr lang="es-ES" sz="2400" b="1" dirty="0"/>
              <a:t>acciones específicas </a:t>
            </a:r>
            <a:r>
              <a:rPr lang="es-ES" sz="2400" dirty="0"/>
              <a:t>de su interés según las características de La Región. </a:t>
            </a:r>
          </a:p>
          <a:p>
            <a:pPr marL="742950" indent="-742950" algn="l">
              <a:lnSpc>
                <a:spcPts val="3875"/>
              </a:lnSpc>
              <a:spcBef>
                <a:spcPts val="100"/>
              </a:spcBef>
              <a:buFont typeface="+mj-lt"/>
              <a:buAutoNum type="arabicPeriod"/>
            </a:pPr>
            <a:r>
              <a:rPr lang="es-ES" sz="2400" dirty="0"/>
              <a:t>Debido a la política de descentralización de Chile, es de suma importancia que los </a:t>
            </a:r>
            <a:r>
              <a:rPr lang="es-ES" sz="2400" b="1" dirty="0"/>
              <a:t>Gobernadores, Core y Municipalidades </a:t>
            </a:r>
            <a:r>
              <a:rPr lang="es-ES" sz="2400" dirty="0"/>
              <a:t>estén </a:t>
            </a:r>
            <a:r>
              <a:rPr lang="es-ES" sz="2400" b="1" dirty="0"/>
              <a:t>capacitados</a:t>
            </a:r>
            <a:r>
              <a:rPr lang="es-ES" sz="2400" dirty="0"/>
              <a:t> sobre la relevancia de la industria del turismo como un sector importante de desarrollo para La Región. Que conozcan el PMTI facilita la hoja de ruta conjunta además del desarrollo de un </a:t>
            </a:r>
            <a:r>
              <a:rPr lang="es-ES" sz="2400" b="1" dirty="0"/>
              <a:t>plan Regional </a:t>
            </a:r>
            <a:r>
              <a:rPr lang="es-ES" sz="2400" dirty="0"/>
              <a:t>dentro de ese marco estratégico, con fondos FNDR. De esta forma, Chile en su conjunto, podría tener un mayor impacto en la promoción internacional por </a:t>
            </a:r>
            <a:r>
              <a:rPr lang="es-ES" sz="2400" b="1" dirty="0"/>
              <a:t>optimización de recursos y mensajes clave estratégicos </a:t>
            </a:r>
            <a:r>
              <a:rPr lang="es-ES" sz="2400" dirty="0"/>
              <a:t>más contundentes.</a:t>
            </a:r>
            <a:endParaRPr lang="es-ES_tradnl" sz="2400" dirty="0">
              <a:solidFill>
                <a:schemeClr val="tx1"/>
              </a:solidFill>
              <a:latin typeface="Roboto"/>
              <a:cs typeface="Roboto"/>
            </a:endParaRPr>
          </a:p>
        </p:txBody>
      </p:sp>
    </p:spTree>
    <p:extLst>
      <p:ext uri="{BB962C8B-B14F-4D97-AF65-F5344CB8AC3E}">
        <p14:creationId xmlns:p14="http://schemas.microsoft.com/office/powerpoint/2010/main" val="37343269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113691"/>
            <a:ext cx="17954625" cy="8675370"/>
            <a:chOff x="166956" y="1113691"/>
            <a:chExt cx="17954625" cy="8675370"/>
          </a:xfrm>
        </p:grpSpPr>
        <p:sp>
          <p:nvSpPr>
            <p:cNvPr id="3" name="object 3"/>
            <p:cNvSpPr/>
            <p:nvPr/>
          </p:nvSpPr>
          <p:spPr>
            <a:xfrm>
              <a:off x="166956" y="1113691"/>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2043579" y="7540186"/>
              <a:ext cx="3036570" cy="1179195"/>
            </a:xfrm>
            <a:custGeom>
              <a:avLst/>
              <a:gdLst/>
              <a:ahLst/>
              <a:cxnLst/>
              <a:rect l="l" t="t" r="r" b="b"/>
              <a:pathLst>
                <a:path w="3036570" h="1179195">
                  <a:moveTo>
                    <a:pt x="2447083" y="1178745"/>
                  </a:moveTo>
                  <a:lnTo>
                    <a:pt x="589372" y="1178745"/>
                  </a:lnTo>
                  <a:lnTo>
                    <a:pt x="541035" y="1176791"/>
                  </a:lnTo>
                  <a:lnTo>
                    <a:pt x="493773" y="1171031"/>
                  </a:lnTo>
                  <a:lnTo>
                    <a:pt x="447739" y="1161616"/>
                  </a:lnTo>
                  <a:lnTo>
                    <a:pt x="403085" y="1148698"/>
                  </a:lnTo>
                  <a:lnTo>
                    <a:pt x="359962" y="1132429"/>
                  </a:lnTo>
                  <a:lnTo>
                    <a:pt x="318522" y="1112960"/>
                  </a:lnTo>
                  <a:lnTo>
                    <a:pt x="278916" y="1090443"/>
                  </a:lnTo>
                  <a:lnTo>
                    <a:pt x="241296" y="1065030"/>
                  </a:lnTo>
                  <a:lnTo>
                    <a:pt x="205815" y="1036872"/>
                  </a:lnTo>
                  <a:lnTo>
                    <a:pt x="172623" y="1006122"/>
                  </a:lnTo>
                  <a:lnTo>
                    <a:pt x="141872" y="972930"/>
                  </a:lnTo>
                  <a:lnTo>
                    <a:pt x="113714" y="937448"/>
                  </a:lnTo>
                  <a:lnTo>
                    <a:pt x="88301" y="899829"/>
                  </a:lnTo>
                  <a:lnTo>
                    <a:pt x="65784" y="860223"/>
                  </a:lnTo>
                  <a:lnTo>
                    <a:pt x="46315" y="818783"/>
                  </a:lnTo>
                  <a:lnTo>
                    <a:pt x="30046" y="775660"/>
                  </a:lnTo>
                  <a:lnTo>
                    <a:pt x="17128" y="731005"/>
                  </a:lnTo>
                  <a:lnTo>
                    <a:pt x="7713" y="684971"/>
                  </a:lnTo>
                  <a:lnTo>
                    <a:pt x="1953" y="637710"/>
                  </a:lnTo>
                  <a:lnTo>
                    <a:pt x="0" y="589372"/>
                  </a:lnTo>
                  <a:lnTo>
                    <a:pt x="1953" y="541034"/>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2" y="65784"/>
                  </a:lnTo>
                  <a:lnTo>
                    <a:pt x="359962" y="46315"/>
                  </a:lnTo>
                  <a:lnTo>
                    <a:pt x="403085" y="30046"/>
                  </a:lnTo>
                  <a:lnTo>
                    <a:pt x="447739" y="17128"/>
                  </a:lnTo>
                  <a:lnTo>
                    <a:pt x="493773" y="7713"/>
                  </a:lnTo>
                  <a:lnTo>
                    <a:pt x="541035" y="1953"/>
                  </a:lnTo>
                  <a:lnTo>
                    <a:pt x="589372" y="0"/>
                  </a:lnTo>
                  <a:lnTo>
                    <a:pt x="2447083" y="0"/>
                  </a:lnTo>
                  <a:lnTo>
                    <a:pt x="2495421" y="1953"/>
                  </a:lnTo>
                  <a:lnTo>
                    <a:pt x="2542682" y="7713"/>
                  </a:lnTo>
                  <a:lnTo>
                    <a:pt x="2588716" y="17128"/>
                  </a:lnTo>
                  <a:lnTo>
                    <a:pt x="2633370" y="30046"/>
                  </a:lnTo>
                  <a:lnTo>
                    <a:pt x="2676493" y="46315"/>
                  </a:lnTo>
                  <a:lnTo>
                    <a:pt x="2717934" y="65784"/>
                  </a:lnTo>
                  <a:lnTo>
                    <a:pt x="2757539" y="88301"/>
                  </a:lnTo>
                  <a:lnTo>
                    <a:pt x="2795159" y="113714"/>
                  </a:lnTo>
                  <a:lnTo>
                    <a:pt x="2830640" y="141872"/>
                  </a:lnTo>
                  <a:lnTo>
                    <a:pt x="2863832" y="172623"/>
                  </a:lnTo>
                  <a:lnTo>
                    <a:pt x="2894583" y="205815"/>
                  </a:lnTo>
                  <a:lnTo>
                    <a:pt x="2922741" y="241296"/>
                  </a:lnTo>
                  <a:lnTo>
                    <a:pt x="2948154" y="278916"/>
                  </a:lnTo>
                  <a:lnTo>
                    <a:pt x="2970671" y="318522"/>
                  </a:lnTo>
                  <a:lnTo>
                    <a:pt x="2990140" y="359962"/>
                  </a:lnTo>
                  <a:lnTo>
                    <a:pt x="3006409" y="403085"/>
                  </a:lnTo>
                  <a:lnTo>
                    <a:pt x="3019327" y="447739"/>
                  </a:lnTo>
                  <a:lnTo>
                    <a:pt x="3028742" y="493773"/>
                  </a:lnTo>
                  <a:lnTo>
                    <a:pt x="3034502" y="541034"/>
                  </a:lnTo>
                  <a:lnTo>
                    <a:pt x="3036456" y="589372"/>
                  </a:lnTo>
                  <a:lnTo>
                    <a:pt x="3034502" y="637710"/>
                  </a:lnTo>
                  <a:lnTo>
                    <a:pt x="3028742" y="684971"/>
                  </a:lnTo>
                  <a:lnTo>
                    <a:pt x="3019327" y="731005"/>
                  </a:lnTo>
                  <a:lnTo>
                    <a:pt x="3006409" y="775660"/>
                  </a:lnTo>
                  <a:lnTo>
                    <a:pt x="2990140" y="818783"/>
                  </a:lnTo>
                  <a:lnTo>
                    <a:pt x="2970671" y="860223"/>
                  </a:lnTo>
                  <a:lnTo>
                    <a:pt x="2948154" y="899829"/>
                  </a:lnTo>
                  <a:lnTo>
                    <a:pt x="2922741" y="937448"/>
                  </a:lnTo>
                  <a:lnTo>
                    <a:pt x="2894583" y="972930"/>
                  </a:lnTo>
                  <a:lnTo>
                    <a:pt x="2863832" y="1006122"/>
                  </a:lnTo>
                  <a:lnTo>
                    <a:pt x="2830640" y="1036872"/>
                  </a:lnTo>
                  <a:lnTo>
                    <a:pt x="2795159" y="1065030"/>
                  </a:lnTo>
                  <a:lnTo>
                    <a:pt x="2757539" y="1090443"/>
                  </a:lnTo>
                  <a:lnTo>
                    <a:pt x="2717934" y="1112960"/>
                  </a:lnTo>
                  <a:lnTo>
                    <a:pt x="2676493" y="1132429"/>
                  </a:lnTo>
                  <a:lnTo>
                    <a:pt x="2633370" y="1148698"/>
                  </a:lnTo>
                  <a:lnTo>
                    <a:pt x="2588716" y="1161616"/>
                  </a:lnTo>
                  <a:lnTo>
                    <a:pt x="2542682" y="1171031"/>
                  </a:lnTo>
                  <a:lnTo>
                    <a:pt x="2495421" y="1176791"/>
                  </a:lnTo>
                  <a:lnTo>
                    <a:pt x="2447083" y="1178745"/>
                  </a:lnTo>
                  <a:close/>
                </a:path>
              </a:pathLst>
            </a:custGeom>
            <a:solidFill>
              <a:srgbClr val="21408B"/>
            </a:solidFill>
          </p:spPr>
          <p:txBody>
            <a:bodyPr wrap="square" lIns="0" tIns="0" rIns="0" bIns="0" rtlCol="0"/>
            <a:lstStyle/>
            <a:p>
              <a:endParaRPr/>
            </a:p>
          </p:txBody>
        </p:sp>
        <p:sp>
          <p:nvSpPr>
            <p:cNvPr id="5" name="object 5"/>
            <p:cNvSpPr/>
            <p:nvPr/>
          </p:nvSpPr>
          <p:spPr>
            <a:xfrm>
              <a:off x="2018757" y="3686609"/>
              <a:ext cx="3086100" cy="3086100"/>
            </a:xfrm>
            <a:custGeom>
              <a:avLst/>
              <a:gdLst/>
              <a:ahLst/>
              <a:cxnLst/>
              <a:rect l="l" t="t" r="r" b="b"/>
              <a:pathLst>
                <a:path w="3086100" h="3086100">
                  <a:moveTo>
                    <a:pt x="1543076" y="3086099"/>
                  </a:moveTo>
                  <a:lnTo>
                    <a:pt x="1494987" y="3085365"/>
                  </a:lnTo>
                  <a:lnTo>
                    <a:pt x="1447291" y="3083177"/>
                  </a:lnTo>
                  <a:lnTo>
                    <a:pt x="1399983" y="3079555"/>
                  </a:lnTo>
                  <a:lnTo>
                    <a:pt x="1353083" y="3074522"/>
                  </a:lnTo>
                  <a:lnTo>
                    <a:pt x="1306613" y="3068099"/>
                  </a:lnTo>
                  <a:lnTo>
                    <a:pt x="1260594" y="3060306"/>
                  </a:lnTo>
                  <a:lnTo>
                    <a:pt x="1215048" y="3051166"/>
                  </a:lnTo>
                  <a:lnTo>
                    <a:pt x="1169996" y="3040700"/>
                  </a:lnTo>
                  <a:lnTo>
                    <a:pt x="1125459" y="3028929"/>
                  </a:lnTo>
                  <a:lnTo>
                    <a:pt x="1081460" y="3015874"/>
                  </a:lnTo>
                  <a:lnTo>
                    <a:pt x="1038018" y="3001557"/>
                  </a:lnTo>
                  <a:lnTo>
                    <a:pt x="995155" y="2985999"/>
                  </a:lnTo>
                  <a:lnTo>
                    <a:pt x="952894" y="2969221"/>
                  </a:lnTo>
                  <a:lnTo>
                    <a:pt x="911254" y="2951246"/>
                  </a:lnTo>
                  <a:lnTo>
                    <a:pt x="870258" y="2932093"/>
                  </a:lnTo>
                  <a:lnTo>
                    <a:pt x="829926" y="2911785"/>
                  </a:lnTo>
                  <a:lnTo>
                    <a:pt x="790281" y="2890342"/>
                  </a:lnTo>
                  <a:lnTo>
                    <a:pt x="751343" y="2867787"/>
                  </a:lnTo>
                  <a:lnTo>
                    <a:pt x="713134" y="2844140"/>
                  </a:lnTo>
                  <a:lnTo>
                    <a:pt x="675675" y="2819423"/>
                  </a:lnTo>
                  <a:lnTo>
                    <a:pt x="638987" y="2793658"/>
                  </a:lnTo>
                  <a:lnTo>
                    <a:pt x="603092" y="2766864"/>
                  </a:lnTo>
                  <a:lnTo>
                    <a:pt x="568012" y="2739065"/>
                  </a:lnTo>
                  <a:lnTo>
                    <a:pt x="533766" y="2710280"/>
                  </a:lnTo>
                  <a:lnTo>
                    <a:pt x="500378" y="2680532"/>
                  </a:lnTo>
                  <a:lnTo>
                    <a:pt x="467868" y="2649842"/>
                  </a:lnTo>
                  <a:lnTo>
                    <a:pt x="436257" y="2618231"/>
                  </a:lnTo>
                  <a:lnTo>
                    <a:pt x="405567" y="2585721"/>
                  </a:lnTo>
                  <a:lnTo>
                    <a:pt x="375819" y="2552333"/>
                  </a:lnTo>
                  <a:lnTo>
                    <a:pt x="347034" y="2518087"/>
                  </a:lnTo>
                  <a:lnTo>
                    <a:pt x="319235" y="2483007"/>
                  </a:lnTo>
                  <a:lnTo>
                    <a:pt x="292441" y="2447112"/>
                  </a:lnTo>
                  <a:lnTo>
                    <a:pt x="266676" y="2410424"/>
                  </a:lnTo>
                  <a:lnTo>
                    <a:pt x="241959" y="2372965"/>
                  </a:lnTo>
                  <a:lnTo>
                    <a:pt x="218312" y="2334756"/>
                  </a:lnTo>
                  <a:lnTo>
                    <a:pt x="195757" y="2295818"/>
                  </a:lnTo>
                  <a:lnTo>
                    <a:pt x="174314" y="2256172"/>
                  </a:lnTo>
                  <a:lnTo>
                    <a:pt x="154006" y="2215841"/>
                  </a:lnTo>
                  <a:lnTo>
                    <a:pt x="134853" y="2174845"/>
                  </a:lnTo>
                  <a:lnTo>
                    <a:pt x="116878"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8"/>
                  </a:lnTo>
                  <a:lnTo>
                    <a:pt x="734" y="1591112"/>
                  </a:lnTo>
                  <a:lnTo>
                    <a:pt x="0" y="1543050"/>
                  </a:lnTo>
                  <a:lnTo>
                    <a:pt x="734" y="1494988"/>
                  </a:lnTo>
                  <a:lnTo>
                    <a:pt x="2922" y="1447292"/>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8" y="952894"/>
                  </a:lnTo>
                  <a:lnTo>
                    <a:pt x="134853" y="911254"/>
                  </a:lnTo>
                  <a:lnTo>
                    <a:pt x="154006" y="870258"/>
                  </a:lnTo>
                  <a:lnTo>
                    <a:pt x="174314" y="829927"/>
                  </a:lnTo>
                  <a:lnTo>
                    <a:pt x="195757" y="790281"/>
                  </a:lnTo>
                  <a:lnTo>
                    <a:pt x="218312" y="751343"/>
                  </a:lnTo>
                  <a:lnTo>
                    <a:pt x="241959" y="713134"/>
                  </a:lnTo>
                  <a:lnTo>
                    <a:pt x="266676" y="675675"/>
                  </a:lnTo>
                  <a:lnTo>
                    <a:pt x="292441" y="638987"/>
                  </a:lnTo>
                  <a:lnTo>
                    <a:pt x="319235" y="603092"/>
                  </a:lnTo>
                  <a:lnTo>
                    <a:pt x="347034" y="568012"/>
                  </a:lnTo>
                  <a:lnTo>
                    <a:pt x="375819" y="533766"/>
                  </a:lnTo>
                  <a:lnTo>
                    <a:pt x="405567" y="500378"/>
                  </a:lnTo>
                  <a:lnTo>
                    <a:pt x="436257" y="467868"/>
                  </a:lnTo>
                  <a:lnTo>
                    <a:pt x="467868" y="436257"/>
                  </a:lnTo>
                  <a:lnTo>
                    <a:pt x="500378" y="405567"/>
                  </a:lnTo>
                  <a:lnTo>
                    <a:pt x="533766" y="375819"/>
                  </a:lnTo>
                  <a:lnTo>
                    <a:pt x="568012" y="347034"/>
                  </a:lnTo>
                  <a:lnTo>
                    <a:pt x="603092" y="319235"/>
                  </a:lnTo>
                  <a:lnTo>
                    <a:pt x="638987" y="292442"/>
                  </a:lnTo>
                  <a:lnTo>
                    <a:pt x="675675" y="266676"/>
                  </a:lnTo>
                  <a:lnTo>
                    <a:pt x="713134" y="241959"/>
                  </a:lnTo>
                  <a:lnTo>
                    <a:pt x="751343" y="218312"/>
                  </a:lnTo>
                  <a:lnTo>
                    <a:pt x="790281" y="195757"/>
                  </a:lnTo>
                  <a:lnTo>
                    <a:pt x="829926" y="174314"/>
                  </a:lnTo>
                  <a:lnTo>
                    <a:pt x="870258" y="154006"/>
                  </a:lnTo>
                  <a:lnTo>
                    <a:pt x="911254" y="134853"/>
                  </a:lnTo>
                  <a:lnTo>
                    <a:pt x="952894" y="116878"/>
                  </a:lnTo>
                  <a:lnTo>
                    <a:pt x="995155" y="100100"/>
                  </a:lnTo>
                  <a:lnTo>
                    <a:pt x="1038018" y="84542"/>
                  </a:lnTo>
                  <a:lnTo>
                    <a:pt x="1081460" y="70225"/>
                  </a:lnTo>
                  <a:lnTo>
                    <a:pt x="1125459" y="57170"/>
                  </a:lnTo>
                  <a:lnTo>
                    <a:pt x="1169996" y="45399"/>
                  </a:lnTo>
                  <a:lnTo>
                    <a:pt x="1215048" y="34933"/>
                  </a:lnTo>
                  <a:lnTo>
                    <a:pt x="1260594" y="25793"/>
                  </a:lnTo>
                  <a:lnTo>
                    <a:pt x="1306613" y="18000"/>
                  </a:lnTo>
                  <a:lnTo>
                    <a:pt x="1353083" y="11577"/>
                  </a:lnTo>
                  <a:lnTo>
                    <a:pt x="1399983"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5" y="134853"/>
                  </a:lnTo>
                  <a:lnTo>
                    <a:pt x="2215841" y="154006"/>
                  </a:lnTo>
                  <a:lnTo>
                    <a:pt x="2256172" y="174314"/>
                  </a:lnTo>
                  <a:lnTo>
                    <a:pt x="2295818" y="195757"/>
                  </a:lnTo>
                  <a:lnTo>
                    <a:pt x="2334756" y="218312"/>
                  </a:lnTo>
                  <a:lnTo>
                    <a:pt x="2372965" y="241959"/>
                  </a:lnTo>
                  <a:lnTo>
                    <a:pt x="2410424" y="266676"/>
                  </a:lnTo>
                  <a:lnTo>
                    <a:pt x="2447112" y="292442"/>
                  </a:lnTo>
                  <a:lnTo>
                    <a:pt x="2483006" y="319235"/>
                  </a:lnTo>
                  <a:lnTo>
                    <a:pt x="2518087" y="347034"/>
                  </a:lnTo>
                  <a:lnTo>
                    <a:pt x="2552333"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6" y="911254"/>
                  </a:lnTo>
                  <a:lnTo>
                    <a:pt x="2969221" y="952894"/>
                  </a:lnTo>
                  <a:lnTo>
                    <a:pt x="2985999" y="995156"/>
                  </a:lnTo>
                  <a:lnTo>
                    <a:pt x="3001557" y="1038018"/>
                  </a:lnTo>
                  <a:lnTo>
                    <a:pt x="3015874" y="1081460"/>
                  </a:lnTo>
                  <a:lnTo>
                    <a:pt x="3028928" y="1125460"/>
                  </a:lnTo>
                  <a:lnTo>
                    <a:pt x="3040700" y="1169996"/>
                  </a:lnTo>
                  <a:lnTo>
                    <a:pt x="3051166" y="1215048"/>
                  </a:lnTo>
                  <a:lnTo>
                    <a:pt x="3060306" y="1260594"/>
                  </a:lnTo>
                  <a:lnTo>
                    <a:pt x="3068098" y="1306613"/>
                  </a:lnTo>
                  <a:lnTo>
                    <a:pt x="3074522" y="1353083"/>
                  </a:lnTo>
                  <a:lnTo>
                    <a:pt x="3079555" y="1399983"/>
                  </a:lnTo>
                  <a:lnTo>
                    <a:pt x="3083176" y="1447292"/>
                  </a:lnTo>
                  <a:lnTo>
                    <a:pt x="3085365" y="1494988"/>
                  </a:lnTo>
                  <a:lnTo>
                    <a:pt x="3086099" y="1543050"/>
                  </a:lnTo>
                  <a:lnTo>
                    <a:pt x="3085365" y="1591112"/>
                  </a:lnTo>
                  <a:lnTo>
                    <a:pt x="3083176" y="1638808"/>
                  </a:lnTo>
                  <a:lnTo>
                    <a:pt x="3079555" y="1686116"/>
                  </a:lnTo>
                  <a:lnTo>
                    <a:pt x="3074522" y="1733016"/>
                  </a:lnTo>
                  <a:lnTo>
                    <a:pt x="3068098" y="1779486"/>
                  </a:lnTo>
                  <a:lnTo>
                    <a:pt x="3060306" y="1825505"/>
                  </a:lnTo>
                  <a:lnTo>
                    <a:pt x="3051166" y="1871051"/>
                  </a:lnTo>
                  <a:lnTo>
                    <a:pt x="3040700" y="1916103"/>
                  </a:lnTo>
                  <a:lnTo>
                    <a:pt x="3028928" y="1960639"/>
                  </a:lnTo>
                  <a:lnTo>
                    <a:pt x="3015874" y="2004639"/>
                  </a:lnTo>
                  <a:lnTo>
                    <a:pt x="3001557" y="2048081"/>
                  </a:lnTo>
                  <a:lnTo>
                    <a:pt x="2985999" y="2090943"/>
                  </a:lnTo>
                  <a:lnTo>
                    <a:pt x="2969221" y="2133205"/>
                  </a:lnTo>
                  <a:lnTo>
                    <a:pt x="2951246"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7"/>
                  </a:lnTo>
                  <a:lnTo>
                    <a:pt x="2739064" y="2518087"/>
                  </a:lnTo>
                  <a:lnTo>
                    <a:pt x="2710280" y="2552333"/>
                  </a:lnTo>
                  <a:lnTo>
                    <a:pt x="2680532" y="2585721"/>
                  </a:lnTo>
                  <a:lnTo>
                    <a:pt x="2649842" y="2618231"/>
                  </a:lnTo>
                  <a:lnTo>
                    <a:pt x="2618231" y="2649842"/>
                  </a:lnTo>
                  <a:lnTo>
                    <a:pt x="2585721" y="2680532"/>
                  </a:lnTo>
                  <a:lnTo>
                    <a:pt x="2552333" y="2710280"/>
                  </a:lnTo>
                  <a:lnTo>
                    <a:pt x="2518087" y="2739065"/>
                  </a:lnTo>
                  <a:lnTo>
                    <a:pt x="2483006" y="2766864"/>
                  </a:lnTo>
                  <a:lnTo>
                    <a:pt x="2447112" y="2793658"/>
                  </a:lnTo>
                  <a:lnTo>
                    <a:pt x="2410424" y="2819423"/>
                  </a:lnTo>
                  <a:lnTo>
                    <a:pt x="2372965" y="2844140"/>
                  </a:lnTo>
                  <a:lnTo>
                    <a:pt x="2334756" y="2867787"/>
                  </a:lnTo>
                  <a:lnTo>
                    <a:pt x="2295818" y="2890342"/>
                  </a:lnTo>
                  <a:lnTo>
                    <a:pt x="2256172" y="2911785"/>
                  </a:lnTo>
                  <a:lnTo>
                    <a:pt x="2215841" y="2932093"/>
                  </a:lnTo>
                  <a:lnTo>
                    <a:pt x="2174845"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9"/>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6" name="object 6"/>
            <p:cNvSpPr/>
            <p:nvPr/>
          </p:nvSpPr>
          <p:spPr>
            <a:xfrm>
              <a:off x="2857131" y="4437709"/>
              <a:ext cx="1410335" cy="1704339"/>
            </a:xfrm>
            <a:custGeom>
              <a:avLst/>
              <a:gdLst/>
              <a:ahLst/>
              <a:cxnLst/>
              <a:rect l="l" t="t" r="r" b="b"/>
              <a:pathLst>
                <a:path w="1410335" h="1704339">
                  <a:moveTo>
                    <a:pt x="530402" y="1267675"/>
                  </a:moveTo>
                  <a:lnTo>
                    <a:pt x="357124" y="1051687"/>
                  </a:lnTo>
                  <a:lnTo>
                    <a:pt x="344741" y="1044778"/>
                  </a:lnTo>
                  <a:lnTo>
                    <a:pt x="326072" y="1037361"/>
                  </a:lnTo>
                  <a:lnTo>
                    <a:pt x="305092" y="1034249"/>
                  </a:lnTo>
                  <a:lnTo>
                    <a:pt x="285762" y="1040231"/>
                  </a:lnTo>
                  <a:lnTo>
                    <a:pt x="273659" y="1054100"/>
                  </a:lnTo>
                  <a:lnTo>
                    <a:pt x="270192" y="1069174"/>
                  </a:lnTo>
                  <a:lnTo>
                    <a:pt x="271805" y="1082713"/>
                  </a:lnTo>
                  <a:lnTo>
                    <a:pt x="274891" y="1091946"/>
                  </a:lnTo>
                  <a:lnTo>
                    <a:pt x="331279" y="1180109"/>
                  </a:lnTo>
                  <a:lnTo>
                    <a:pt x="335381" y="1190434"/>
                  </a:lnTo>
                  <a:lnTo>
                    <a:pt x="314236" y="1224292"/>
                  </a:lnTo>
                  <a:lnTo>
                    <a:pt x="303491" y="1225105"/>
                  </a:lnTo>
                  <a:lnTo>
                    <a:pt x="293141" y="1221994"/>
                  </a:lnTo>
                  <a:lnTo>
                    <a:pt x="284289" y="1215072"/>
                  </a:lnTo>
                  <a:lnTo>
                    <a:pt x="111607" y="1014082"/>
                  </a:lnTo>
                  <a:lnTo>
                    <a:pt x="109258" y="1007021"/>
                  </a:lnTo>
                  <a:lnTo>
                    <a:pt x="113372" y="622376"/>
                  </a:lnTo>
                  <a:lnTo>
                    <a:pt x="107010" y="606869"/>
                  </a:lnTo>
                  <a:lnTo>
                    <a:pt x="94716" y="593356"/>
                  </a:lnTo>
                  <a:lnTo>
                    <a:pt x="78676" y="583692"/>
                  </a:lnTo>
                  <a:lnTo>
                    <a:pt x="61087" y="579767"/>
                  </a:lnTo>
                  <a:lnTo>
                    <a:pt x="34734" y="584314"/>
                  </a:lnTo>
                  <a:lnTo>
                    <a:pt x="16560" y="597433"/>
                  </a:lnTo>
                  <a:lnTo>
                    <a:pt x="5372" y="613029"/>
                  </a:lnTo>
                  <a:lnTo>
                    <a:pt x="0" y="625017"/>
                  </a:lnTo>
                  <a:lnTo>
                    <a:pt x="0" y="1089304"/>
                  </a:lnTo>
                  <a:lnTo>
                    <a:pt x="270789" y="1414297"/>
                  </a:lnTo>
                  <a:lnTo>
                    <a:pt x="273138" y="1421066"/>
                  </a:lnTo>
                  <a:lnTo>
                    <a:pt x="273138" y="1427822"/>
                  </a:lnTo>
                  <a:lnTo>
                    <a:pt x="273138" y="1508340"/>
                  </a:lnTo>
                  <a:lnTo>
                    <a:pt x="528637" y="1508340"/>
                  </a:lnTo>
                  <a:lnTo>
                    <a:pt x="530402" y="1267675"/>
                  </a:lnTo>
                  <a:close/>
                </a:path>
                <a:path w="1410335" h="1704339">
                  <a:moveTo>
                    <a:pt x="580923" y="1567395"/>
                  </a:moveTo>
                  <a:lnTo>
                    <a:pt x="223799" y="1567395"/>
                  </a:lnTo>
                  <a:lnTo>
                    <a:pt x="223799" y="1704327"/>
                  </a:lnTo>
                  <a:lnTo>
                    <a:pt x="580923" y="1704327"/>
                  </a:lnTo>
                  <a:lnTo>
                    <a:pt x="580923" y="1567395"/>
                  </a:lnTo>
                  <a:close/>
                </a:path>
                <a:path w="1410335" h="1704339">
                  <a:moveTo>
                    <a:pt x="1167117" y="455472"/>
                  </a:moveTo>
                  <a:lnTo>
                    <a:pt x="1164729" y="408952"/>
                  </a:lnTo>
                  <a:lnTo>
                    <a:pt x="1157706" y="363766"/>
                  </a:lnTo>
                  <a:lnTo>
                    <a:pt x="1146302" y="320141"/>
                  </a:lnTo>
                  <a:lnTo>
                    <a:pt x="1130731" y="278307"/>
                  </a:lnTo>
                  <a:lnTo>
                    <a:pt x="1111250" y="238493"/>
                  </a:lnTo>
                  <a:lnTo>
                    <a:pt x="1088072" y="200939"/>
                  </a:lnTo>
                  <a:lnTo>
                    <a:pt x="1061440" y="165874"/>
                  </a:lnTo>
                  <a:lnTo>
                    <a:pt x="1031582" y="133515"/>
                  </a:lnTo>
                  <a:lnTo>
                    <a:pt x="998740" y="104101"/>
                  </a:lnTo>
                  <a:lnTo>
                    <a:pt x="963142" y="77863"/>
                  </a:lnTo>
                  <a:lnTo>
                    <a:pt x="925029" y="55029"/>
                  </a:lnTo>
                  <a:lnTo>
                    <a:pt x="884631" y="35839"/>
                  </a:lnTo>
                  <a:lnTo>
                    <a:pt x="860310" y="27063"/>
                  </a:lnTo>
                  <a:lnTo>
                    <a:pt x="860310" y="536816"/>
                  </a:lnTo>
                  <a:lnTo>
                    <a:pt x="858088" y="563422"/>
                  </a:lnTo>
                  <a:lnTo>
                    <a:pt x="849579" y="589305"/>
                  </a:lnTo>
                  <a:lnTo>
                    <a:pt x="834961" y="613562"/>
                  </a:lnTo>
                  <a:lnTo>
                    <a:pt x="834364" y="613562"/>
                  </a:lnTo>
                  <a:lnTo>
                    <a:pt x="817397" y="629932"/>
                  </a:lnTo>
                  <a:lnTo>
                    <a:pt x="793953" y="643864"/>
                  </a:lnTo>
                  <a:lnTo>
                    <a:pt x="765606" y="654761"/>
                  </a:lnTo>
                  <a:lnTo>
                    <a:pt x="733933" y="662038"/>
                  </a:lnTo>
                  <a:lnTo>
                    <a:pt x="733933" y="719937"/>
                  </a:lnTo>
                  <a:lnTo>
                    <a:pt x="731608" y="731342"/>
                  </a:lnTo>
                  <a:lnTo>
                    <a:pt x="725297" y="740689"/>
                  </a:lnTo>
                  <a:lnTo>
                    <a:pt x="715962" y="747001"/>
                  </a:lnTo>
                  <a:lnTo>
                    <a:pt x="704557" y="749312"/>
                  </a:lnTo>
                  <a:lnTo>
                    <a:pt x="693153" y="747001"/>
                  </a:lnTo>
                  <a:lnTo>
                    <a:pt x="683818" y="740689"/>
                  </a:lnTo>
                  <a:lnTo>
                    <a:pt x="677506" y="731342"/>
                  </a:lnTo>
                  <a:lnTo>
                    <a:pt x="675195" y="719937"/>
                  </a:lnTo>
                  <a:lnTo>
                    <a:pt x="675195" y="663803"/>
                  </a:lnTo>
                  <a:lnTo>
                    <a:pt x="645731" y="659663"/>
                  </a:lnTo>
                  <a:lnTo>
                    <a:pt x="589330" y="640918"/>
                  </a:lnTo>
                  <a:lnTo>
                    <a:pt x="554685" y="618045"/>
                  </a:lnTo>
                  <a:lnTo>
                    <a:pt x="549948" y="596442"/>
                  </a:lnTo>
                  <a:lnTo>
                    <a:pt x="554189" y="585647"/>
                  </a:lnTo>
                  <a:lnTo>
                    <a:pt x="562343" y="577329"/>
                  </a:lnTo>
                  <a:lnTo>
                    <a:pt x="572693" y="572858"/>
                  </a:lnTo>
                  <a:lnTo>
                    <a:pt x="583933" y="572579"/>
                  </a:lnTo>
                  <a:lnTo>
                    <a:pt x="594715" y="576821"/>
                  </a:lnTo>
                  <a:lnTo>
                    <a:pt x="625284" y="592785"/>
                  </a:lnTo>
                  <a:lnTo>
                    <a:pt x="654456" y="602030"/>
                  </a:lnTo>
                  <a:lnTo>
                    <a:pt x="680910" y="606082"/>
                  </a:lnTo>
                  <a:lnTo>
                    <a:pt x="703389" y="606501"/>
                  </a:lnTo>
                  <a:lnTo>
                    <a:pt x="734733" y="602424"/>
                  </a:lnTo>
                  <a:lnTo>
                    <a:pt x="760069" y="594791"/>
                  </a:lnTo>
                  <a:lnTo>
                    <a:pt x="778141" y="585889"/>
                  </a:lnTo>
                  <a:lnTo>
                    <a:pt x="787679" y="578002"/>
                  </a:lnTo>
                  <a:lnTo>
                    <a:pt x="790981" y="572579"/>
                  </a:lnTo>
                  <a:lnTo>
                    <a:pt x="795210" y="565670"/>
                  </a:lnTo>
                  <a:lnTo>
                    <a:pt x="799680" y="552767"/>
                  </a:lnTo>
                  <a:lnTo>
                    <a:pt x="801014" y="539699"/>
                  </a:lnTo>
                  <a:lnTo>
                    <a:pt x="799122" y="526872"/>
                  </a:lnTo>
                  <a:lnTo>
                    <a:pt x="766216" y="489102"/>
                  </a:lnTo>
                  <a:lnTo>
                    <a:pt x="731583" y="474865"/>
                  </a:lnTo>
                  <a:lnTo>
                    <a:pt x="723061" y="471919"/>
                  </a:lnTo>
                  <a:lnTo>
                    <a:pt x="658914" y="447967"/>
                  </a:lnTo>
                  <a:lnTo>
                    <a:pt x="623277" y="427659"/>
                  </a:lnTo>
                  <a:lnTo>
                    <a:pt x="591947" y="399580"/>
                  </a:lnTo>
                  <a:lnTo>
                    <a:pt x="568871" y="361734"/>
                  </a:lnTo>
                  <a:lnTo>
                    <a:pt x="562241" y="336435"/>
                  </a:lnTo>
                  <a:lnTo>
                    <a:pt x="562495" y="310527"/>
                  </a:lnTo>
                  <a:lnTo>
                    <a:pt x="582968" y="260642"/>
                  </a:lnTo>
                  <a:lnTo>
                    <a:pt x="623392" y="223697"/>
                  </a:lnTo>
                  <a:lnTo>
                    <a:pt x="675487" y="205689"/>
                  </a:lnTo>
                  <a:lnTo>
                    <a:pt x="675487" y="149567"/>
                  </a:lnTo>
                  <a:lnTo>
                    <a:pt x="677799" y="138163"/>
                  </a:lnTo>
                  <a:lnTo>
                    <a:pt x="684110" y="128816"/>
                  </a:lnTo>
                  <a:lnTo>
                    <a:pt x="693445" y="122504"/>
                  </a:lnTo>
                  <a:lnTo>
                    <a:pt x="704850" y="120180"/>
                  </a:lnTo>
                  <a:lnTo>
                    <a:pt x="716254" y="122504"/>
                  </a:lnTo>
                  <a:lnTo>
                    <a:pt x="725601" y="128816"/>
                  </a:lnTo>
                  <a:lnTo>
                    <a:pt x="731901" y="138163"/>
                  </a:lnTo>
                  <a:lnTo>
                    <a:pt x="734225" y="149567"/>
                  </a:lnTo>
                  <a:lnTo>
                    <a:pt x="734225" y="209511"/>
                  </a:lnTo>
                  <a:lnTo>
                    <a:pt x="755573" y="215379"/>
                  </a:lnTo>
                  <a:lnTo>
                    <a:pt x="798068" y="232613"/>
                  </a:lnTo>
                  <a:lnTo>
                    <a:pt x="828459" y="262585"/>
                  </a:lnTo>
                  <a:lnTo>
                    <a:pt x="828230" y="273812"/>
                  </a:lnTo>
                  <a:lnTo>
                    <a:pt x="823506" y="284441"/>
                  </a:lnTo>
                  <a:lnTo>
                    <a:pt x="815022" y="292442"/>
                  </a:lnTo>
                  <a:lnTo>
                    <a:pt x="804519" y="296456"/>
                  </a:lnTo>
                  <a:lnTo>
                    <a:pt x="793318" y="296227"/>
                  </a:lnTo>
                  <a:lnTo>
                    <a:pt x="782675" y="291503"/>
                  </a:lnTo>
                  <a:lnTo>
                    <a:pt x="764819" y="281419"/>
                  </a:lnTo>
                  <a:lnTo>
                    <a:pt x="743292" y="272834"/>
                  </a:lnTo>
                  <a:lnTo>
                    <a:pt x="721271" y="266458"/>
                  </a:lnTo>
                  <a:lnTo>
                    <a:pt x="701916" y="262991"/>
                  </a:lnTo>
                  <a:lnTo>
                    <a:pt x="697801" y="262699"/>
                  </a:lnTo>
                  <a:lnTo>
                    <a:pt x="678675" y="264274"/>
                  </a:lnTo>
                  <a:lnTo>
                    <a:pt x="644029" y="280758"/>
                  </a:lnTo>
                  <a:lnTo>
                    <a:pt x="621995" y="313093"/>
                  </a:lnTo>
                  <a:lnTo>
                    <a:pt x="620560" y="325551"/>
                  </a:lnTo>
                  <a:lnTo>
                    <a:pt x="623506" y="339394"/>
                  </a:lnTo>
                  <a:lnTo>
                    <a:pt x="661568" y="382117"/>
                  </a:lnTo>
                  <a:lnTo>
                    <a:pt x="714844" y="406984"/>
                  </a:lnTo>
                  <a:lnTo>
                    <a:pt x="741565" y="415798"/>
                  </a:lnTo>
                  <a:lnTo>
                    <a:pt x="755548" y="420458"/>
                  </a:lnTo>
                  <a:lnTo>
                    <a:pt x="799528" y="440131"/>
                  </a:lnTo>
                  <a:lnTo>
                    <a:pt x="844067" y="483463"/>
                  </a:lnTo>
                  <a:lnTo>
                    <a:pt x="860310" y="536816"/>
                  </a:lnTo>
                  <a:lnTo>
                    <a:pt x="860310" y="27063"/>
                  </a:lnTo>
                  <a:lnTo>
                    <a:pt x="842175" y="20497"/>
                  </a:lnTo>
                  <a:lnTo>
                    <a:pt x="797902" y="9258"/>
                  </a:lnTo>
                  <a:lnTo>
                    <a:pt x="752055" y="2349"/>
                  </a:lnTo>
                  <a:lnTo>
                    <a:pt x="704850" y="0"/>
                  </a:lnTo>
                  <a:lnTo>
                    <a:pt x="657656" y="2349"/>
                  </a:lnTo>
                  <a:lnTo>
                    <a:pt x="611797" y="9258"/>
                  </a:lnTo>
                  <a:lnTo>
                    <a:pt x="567537" y="20497"/>
                  </a:lnTo>
                  <a:lnTo>
                    <a:pt x="525081" y="35839"/>
                  </a:lnTo>
                  <a:lnTo>
                    <a:pt x="484682" y="55029"/>
                  </a:lnTo>
                  <a:lnTo>
                    <a:pt x="446570" y="77863"/>
                  </a:lnTo>
                  <a:lnTo>
                    <a:pt x="410972" y="104101"/>
                  </a:lnTo>
                  <a:lnTo>
                    <a:pt x="378129" y="133515"/>
                  </a:lnTo>
                  <a:lnTo>
                    <a:pt x="348272" y="165874"/>
                  </a:lnTo>
                  <a:lnTo>
                    <a:pt x="321640" y="200939"/>
                  </a:lnTo>
                  <a:lnTo>
                    <a:pt x="298462" y="238493"/>
                  </a:lnTo>
                  <a:lnTo>
                    <a:pt x="278968" y="278307"/>
                  </a:lnTo>
                  <a:lnTo>
                    <a:pt x="263410" y="320141"/>
                  </a:lnTo>
                  <a:lnTo>
                    <a:pt x="251993" y="363766"/>
                  </a:lnTo>
                  <a:lnTo>
                    <a:pt x="244983" y="408952"/>
                  </a:lnTo>
                  <a:lnTo>
                    <a:pt x="242595" y="455472"/>
                  </a:lnTo>
                  <a:lnTo>
                    <a:pt x="244983" y="501980"/>
                  </a:lnTo>
                  <a:lnTo>
                    <a:pt x="251993" y="547166"/>
                  </a:lnTo>
                  <a:lnTo>
                    <a:pt x="263410" y="590791"/>
                  </a:lnTo>
                  <a:lnTo>
                    <a:pt x="278968" y="632625"/>
                  </a:lnTo>
                  <a:lnTo>
                    <a:pt x="298462" y="672439"/>
                  </a:lnTo>
                  <a:lnTo>
                    <a:pt x="321640" y="709993"/>
                  </a:lnTo>
                  <a:lnTo>
                    <a:pt x="348272" y="745058"/>
                  </a:lnTo>
                  <a:lnTo>
                    <a:pt x="378129" y="777417"/>
                  </a:lnTo>
                  <a:lnTo>
                    <a:pt x="410972" y="806831"/>
                  </a:lnTo>
                  <a:lnTo>
                    <a:pt x="446570" y="833069"/>
                  </a:lnTo>
                  <a:lnTo>
                    <a:pt x="484682" y="855903"/>
                  </a:lnTo>
                  <a:lnTo>
                    <a:pt x="525081" y="875106"/>
                  </a:lnTo>
                  <a:lnTo>
                    <a:pt x="567537" y="890435"/>
                  </a:lnTo>
                  <a:lnTo>
                    <a:pt x="611797" y="901674"/>
                  </a:lnTo>
                  <a:lnTo>
                    <a:pt x="657656" y="908583"/>
                  </a:lnTo>
                  <a:lnTo>
                    <a:pt x="704850" y="910932"/>
                  </a:lnTo>
                  <a:lnTo>
                    <a:pt x="752055" y="908583"/>
                  </a:lnTo>
                  <a:lnTo>
                    <a:pt x="797902" y="901674"/>
                  </a:lnTo>
                  <a:lnTo>
                    <a:pt x="842175" y="890435"/>
                  </a:lnTo>
                  <a:lnTo>
                    <a:pt x="884631" y="875106"/>
                  </a:lnTo>
                  <a:lnTo>
                    <a:pt x="925029" y="855903"/>
                  </a:lnTo>
                  <a:lnTo>
                    <a:pt x="963142" y="833069"/>
                  </a:lnTo>
                  <a:lnTo>
                    <a:pt x="998740" y="806831"/>
                  </a:lnTo>
                  <a:lnTo>
                    <a:pt x="1031582" y="777417"/>
                  </a:lnTo>
                  <a:lnTo>
                    <a:pt x="1057503" y="749312"/>
                  </a:lnTo>
                  <a:lnTo>
                    <a:pt x="1061440" y="745058"/>
                  </a:lnTo>
                  <a:lnTo>
                    <a:pt x="1088072" y="709993"/>
                  </a:lnTo>
                  <a:lnTo>
                    <a:pt x="1111250" y="672439"/>
                  </a:lnTo>
                  <a:lnTo>
                    <a:pt x="1130731" y="632625"/>
                  </a:lnTo>
                  <a:lnTo>
                    <a:pt x="1146302" y="590791"/>
                  </a:lnTo>
                  <a:lnTo>
                    <a:pt x="1157706" y="547166"/>
                  </a:lnTo>
                  <a:lnTo>
                    <a:pt x="1164729" y="501980"/>
                  </a:lnTo>
                  <a:lnTo>
                    <a:pt x="1167117" y="455472"/>
                  </a:lnTo>
                  <a:close/>
                </a:path>
                <a:path w="1410335" h="1704339">
                  <a:moveTo>
                    <a:pt x="1185913" y="1567395"/>
                  </a:moveTo>
                  <a:lnTo>
                    <a:pt x="828789" y="1567395"/>
                  </a:lnTo>
                  <a:lnTo>
                    <a:pt x="828789" y="1704327"/>
                  </a:lnTo>
                  <a:lnTo>
                    <a:pt x="1185913" y="1704327"/>
                  </a:lnTo>
                  <a:lnTo>
                    <a:pt x="1185913" y="1567395"/>
                  </a:lnTo>
                  <a:close/>
                </a:path>
                <a:path w="1410335" h="1704339">
                  <a:moveTo>
                    <a:pt x="1409992" y="620318"/>
                  </a:moveTo>
                  <a:lnTo>
                    <a:pt x="1408531" y="608330"/>
                  </a:lnTo>
                  <a:lnTo>
                    <a:pt x="1402257" y="594271"/>
                  </a:lnTo>
                  <a:lnTo>
                    <a:pt x="1388313" y="582587"/>
                  </a:lnTo>
                  <a:lnTo>
                    <a:pt x="1363891" y="577710"/>
                  </a:lnTo>
                  <a:lnTo>
                    <a:pt x="1345565" y="579907"/>
                  </a:lnTo>
                  <a:lnTo>
                    <a:pt x="1323581" y="588035"/>
                  </a:lnTo>
                  <a:lnTo>
                    <a:pt x="1304785" y="604367"/>
                  </a:lnTo>
                  <a:lnTo>
                    <a:pt x="1296339" y="631190"/>
                  </a:lnTo>
                  <a:lnTo>
                    <a:pt x="1300454" y="1006729"/>
                  </a:lnTo>
                  <a:lnTo>
                    <a:pt x="1298105" y="1013777"/>
                  </a:lnTo>
                  <a:lnTo>
                    <a:pt x="1125410" y="1214780"/>
                  </a:lnTo>
                  <a:lnTo>
                    <a:pt x="1116698" y="1221701"/>
                  </a:lnTo>
                  <a:lnTo>
                    <a:pt x="1106322" y="1224800"/>
                  </a:lnTo>
                  <a:lnTo>
                    <a:pt x="1095514" y="1223987"/>
                  </a:lnTo>
                  <a:lnTo>
                    <a:pt x="1085469" y="1219187"/>
                  </a:lnTo>
                  <a:lnTo>
                    <a:pt x="1077976" y="1211008"/>
                  </a:lnTo>
                  <a:lnTo>
                    <a:pt x="1074127" y="1200924"/>
                  </a:lnTo>
                  <a:lnTo>
                    <a:pt x="1074204" y="1190129"/>
                  </a:lnTo>
                  <a:lnTo>
                    <a:pt x="1078420" y="1179804"/>
                  </a:lnTo>
                  <a:lnTo>
                    <a:pt x="1135100" y="1091653"/>
                  </a:lnTo>
                  <a:lnTo>
                    <a:pt x="1138072" y="1082713"/>
                  </a:lnTo>
                  <a:lnTo>
                    <a:pt x="1139698" y="1069251"/>
                  </a:lnTo>
                  <a:lnTo>
                    <a:pt x="1136307" y="1054138"/>
                  </a:lnTo>
                  <a:lnTo>
                    <a:pt x="1124242" y="1040231"/>
                  </a:lnTo>
                  <a:lnTo>
                    <a:pt x="1104950" y="1034288"/>
                  </a:lnTo>
                  <a:lnTo>
                    <a:pt x="1084046" y="1037475"/>
                  </a:lnTo>
                  <a:lnTo>
                    <a:pt x="1065390" y="1044905"/>
                  </a:lnTo>
                  <a:lnTo>
                    <a:pt x="1052868" y="1051687"/>
                  </a:lnTo>
                  <a:lnTo>
                    <a:pt x="879602" y="1267675"/>
                  </a:lnTo>
                  <a:lnTo>
                    <a:pt x="881354" y="1508340"/>
                  </a:lnTo>
                  <a:lnTo>
                    <a:pt x="1136865" y="1508340"/>
                  </a:lnTo>
                  <a:lnTo>
                    <a:pt x="1136865" y="1420761"/>
                  </a:lnTo>
                  <a:lnTo>
                    <a:pt x="1139215" y="1414005"/>
                  </a:lnTo>
                  <a:lnTo>
                    <a:pt x="1409992" y="1089012"/>
                  </a:lnTo>
                  <a:lnTo>
                    <a:pt x="1409992" y="620318"/>
                  </a:lnTo>
                  <a:close/>
                </a:path>
              </a:pathLst>
            </a:custGeom>
            <a:solidFill>
              <a:srgbClr val="FFFFFF"/>
            </a:solidFill>
          </p:spPr>
          <p:txBody>
            <a:bodyPr wrap="square" lIns="0" tIns="0" rIns="0" bIns="0" rtlCol="0"/>
            <a:lstStyle/>
            <a:p>
              <a:endParaRPr/>
            </a:p>
          </p:txBody>
        </p:sp>
      </p:grpSp>
      <p:sp>
        <p:nvSpPr>
          <p:cNvPr id="7" name="object 7"/>
          <p:cNvSpPr txBox="1"/>
          <p:nvPr/>
        </p:nvSpPr>
        <p:spPr>
          <a:xfrm>
            <a:off x="2477593" y="7621688"/>
            <a:ext cx="2104390" cy="927100"/>
          </a:xfrm>
          <a:prstGeom prst="rect">
            <a:avLst/>
          </a:prstGeom>
        </p:spPr>
        <p:txBody>
          <a:bodyPr vert="horz" wrap="square" lIns="0" tIns="34925" rIns="0" bIns="0" rtlCol="0">
            <a:spAutoFit/>
          </a:bodyPr>
          <a:lstStyle/>
          <a:p>
            <a:pPr marL="12065" marR="5080" algn="ctr">
              <a:lnSpc>
                <a:spcPts val="2330"/>
              </a:lnSpc>
              <a:spcBef>
                <a:spcPts val="275"/>
              </a:spcBef>
            </a:pPr>
            <a:r>
              <a:rPr sz="2000" b="1" spc="-10" dirty="0">
                <a:solidFill>
                  <a:srgbClr val="FFFFFF"/>
                </a:solidFill>
                <a:latin typeface="Roboto"/>
                <a:cs typeface="Roboto"/>
              </a:rPr>
              <a:t>Situación </a:t>
            </a:r>
            <a:r>
              <a:rPr sz="2000" b="1" dirty="0">
                <a:solidFill>
                  <a:srgbClr val="FFFFFF"/>
                </a:solidFill>
                <a:latin typeface="Roboto"/>
                <a:cs typeface="Roboto"/>
              </a:rPr>
              <a:t>económico-</a:t>
            </a:r>
            <a:r>
              <a:rPr sz="2000" b="1" spc="-10" dirty="0">
                <a:solidFill>
                  <a:srgbClr val="FFFFFF"/>
                </a:solidFill>
                <a:latin typeface="Roboto"/>
                <a:cs typeface="Roboto"/>
              </a:rPr>
              <a:t>social </a:t>
            </a:r>
            <a:r>
              <a:rPr sz="2000" b="1" dirty="0">
                <a:solidFill>
                  <a:srgbClr val="FFFFFF"/>
                </a:solidFill>
                <a:latin typeface="Roboto"/>
                <a:cs typeface="Roboto"/>
              </a:rPr>
              <a:t>de</a:t>
            </a:r>
            <a:r>
              <a:rPr sz="2000" b="1" spc="50" dirty="0">
                <a:solidFill>
                  <a:srgbClr val="FFFFFF"/>
                </a:solidFill>
                <a:latin typeface="Roboto"/>
                <a:cs typeface="Roboto"/>
              </a:rPr>
              <a:t> </a:t>
            </a:r>
            <a:r>
              <a:rPr sz="2000" b="1" spc="-10" dirty="0">
                <a:solidFill>
                  <a:srgbClr val="FFFFFF"/>
                </a:solidFill>
                <a:latin typeface="Roboto"/>
                <a:cs typeface="Roboto"/>
              </a:rPr>
              <a:t>Argentina</a:t>
            </a:r>
            <a:endParaRPr sz="2000">
              <a:latin typeface="Roboto"/>
              <a:cs typeface="Roboto"/>
            </a:endParaRPr>
          </a:p>
        </p:txBody>
      </p:sp>
      <p:sp>
        <p:nvSpPr>
          <p:cNvPr id="8" name="object 8"/>
          <p:cNvSpPr txBox="1"/>
          <p:nvPr/>
        </p:nvSpPr>
        <p:spPr>
          <a:xfrm>
            <a:off x="5256519" y="1864490"/>
            <a:ext cx="7775575" cy="1062990"/>
          </a:xfrm>
          <a:prstGeom prst="rect">
            <a:avLst/>
          </a:prstGeom>
        </p:spPr>
        <p:txBody>
          <a:bodyPr vert="horz" wrap="square" lIns="0" tIns="33655" rIns="0" bIns="0" rtlCol="0">
            <a:spAutoFit/>
          </a:bodyPr>
          <a:lstStyle/>
          <a:p>
            <a:pPr marL="12700" marR="5080" indent="152400">
              <a:lnSpc>
                <a:spcPts val="4050"/>
              </a:lnSpc>
              <a:spcBef>
                <a:spcPts val="265"/>
              </a:spcBef>
            </a:pPr>
            <a:r>
              <a:rPr sz="3400" b="1" dirty="0">
                <a:solidFill>
                  <a:srgbClr val="E3112B"/>
                </a:solidFill>
                <a:latin typeface="Roboto"/>
                <a:cs typeface="Roboto"/>
              </a:rPr>
              <a:t>Chile</a:t>
            </a:r>
            <a:r>
              <a:rPr sz="3400" b="1" spc="100" dirty="0">
                <a:solidFill>
                  <a:srgbClr val="E3112B"/>
                </a:solidFill>
                <a:latin typeface="Roboto"/>
                <a:cs typeface="Roboto"/>
              </a:rPr>
              <a:t> </a:t>
            </a:r>
            <a:r>
              <a:rPr sz="3400" b="1" dirty="0">
                <a:solidFill>
                  <a:srgbClr val="E3112B"/>
                </a:solidFill>
                <a:latin typeface="Roboto"/>
                <a:cs typeface="Roboto"/>
              </a:rPr>
              <a:t>pierde</a:t>
            </a:r>
            <a:r>
              <a:rPr sz="3400" b="1" spc="105" dirty="0">
                <a:solidFill>
                  <a:srgbClr val="E3112B"/>
                </a:solidFill>
                <a:latin typeface="Roboto"/>
                <a:cs typeface="Roboto"/>
              </a:rPr>
              <a:t> </a:t>
            </a:r>
            <a:r>
              <a:rPr sz="3400" b="1" dirty="0">
                <a:solidFill>
                  <a:srgbClr val="E3112B"/>
                </a:solidFill>
                <a:latin typeface="Roboto"/>
                <a:cs typeface="Roboto"/>
              </a:rPr>
              <a:t>mercado</a:t>
            </a:r>
            <a:r>
              <a:rPr sz="3400" b="1" spc="105" dirty="0">
                <a:solidFill>
                  <a:srgbClr val="E3112B"/>
                </a:solidFill>
                <a:latin typeface="Roboto"/>
                <a:cs typeface="Roboto"/>
              </a:rPr>
              <a:t> </a:t>
            </a:r>
            <a:r>
              <a:rPr sz="3400" b="1" dirty="0">
                <a:solidFill>
                  <a:srgbClr val="E3112B"/>
                </a:solidFill>
                <a:latin typeface="Roboto"/>
                <a:cs typeface="Roboto"/>
              </a:rPr>
              <a:t>desde</a:t>
            </a:r>
            <a:r>
              <a:rPr sz="3400" b="1" spc="100" dirty="0">
                <a:solidFill>
                  <a:srgbClr val="E3112B"/>
                </a:solidFill>
                <a:latin typeface="Roboto"/>
                <a:cs typeface="Roboto"/>
              </a:rPr>
              <a:t> </a:t>
            </a:r>
            <a:r>
              <a:rPr sz="3400" b="1" dirty="0">
                <a:solidFill>
                  <a:srgbClr val="E3112B"/>
                </a:solidFill>
                <a:latin typeface="Roboto"/>
                <a:cs typeface="Roboto"/>
              </a:rPr>
              <a:t>2017</a:t>
            </a:r>
            <a:r>
              <a:rPr sz="3400" b="1" spc="105" dirty="0">
                <a:solidFill>
                  <a:srgbClr val="E3112B"/>
                </a:solidFill>
                <a:latin typeface="Roboto"/>
                <a:cs typeface="Roboto"/>
              </a:rPr>
              <a:t> </a:t>
            </a:r>
            <a:r>
              <a:rPr sz="3400" b="1" spc="-25" dirty="0">
                <a:solidFill>
                  <a:srgbClr val="E3112B"/>
                </a:solidFill>
                <a:latin typeface="Roboto"/>
                <a:cs typeface="Roboto"/>
              </a:rPr>
              <a:t>por </a:t>
            </a:r>
            <a:r>
              <a:rPr sz="3400" b="1" dirty="0">
                <a:solidFill>
                  <a:srgbClr val="E3112B"/>
                </a:solidFill>
                <a:latin typeface="Roboto"/>
                <a:cs typeface="Roboto"/>
              </a:rPr>
              <a:t>factores</a:t>
            </a:r>
            <a:r>
              <a:rPr sz="3400" b="1" spc="105" dirty="0">
                <a:solidFill>
                  <a:srgbClr val="E3112B"/>
                </a:solidFill>
                <a:latin typeface="Roboto"/>
                <a:cs typeface="Roboto"/>
              </a:rPr>
              <a:t> </a:t>
            </a:r>
            <a:r>
              <a:rPr sz="3400" b="1" dirty="0">
                <a:solidFill>
                  <a:srgbClr val="E3112B"/>
                </a:solidFill>
                <a:latin typeface="Roboto"/>
                <a:cs typeface="Roboto"/>
              </a:rPr>
              <a:t>externos</a:t>
            </a:r>
            <a:r>
              <a:rPr sz="3400" b="1" spc="110" dirty="0">
                <a:solidFill>
                  <a:srgbClr val="E3112B"/>
                </a:solidFill>
                <a:latin typeface="Roboto"/>
                <a:cs typeface="Roboto"/>
              </a:rPr>
              <a:t> </a:t>
            </a:r>
            <a:r>
              <a:rPr sz="3400" b="1" dirty="0">
                <a:solidFill>
                  <a:srgbClr val="E3112B"/>
                </a:solidFill>
                <a:latin typeface="Roboto"/>
                <a:cs typeface="Roboto"/>
              </a:rPr>
              <a:t>al</a:t>
            </a:r>
            <a:r>
              <a:rPr sz="3400" b="1" spc="110" dirty="0">
                <a:solidFill>
                  <a:srgbClr val="E3112B"/>
                </a:solidFill>
                <a:latin typeface="Roboto"/>
                <a:cs typeface="Roboto"/>
              </a:rPr>
              <a:t> </a:t>
            </a:r>
            <a:r>
              <a:rPr sz="3400" b="1" dirty="0">
                <a:solidFill>
                  <a:srgbClr val="E3112B"/>
                </a:solidFill>
                <a:latin typeface="Roboto"/>
                <a:cs typeface="Roboto"/>
              </a:rPr>
              <a:t>marketing</a:t>
            </a:r>
            <a:r>
              <a:rPr sz="3400" b="1" spc="105" dirty="0">
                <a:solidFill>
                  <a:srgbClr val="E3112B"/>
                </a:solidFill>
                <a:latin typeface="Roboto"/>
                <a:cs typeface="Roboto"/>
              </a:rPr>
              <a:t> </a:t>
            </a:r>
            <a:r>
              <a:rPr sz="3400" b="1" spc="-10" dirty="0">
                <a:solidFill>
                  <a:srgbClr val="E3112B"/>
                </a:solidFill>
                <a:latin typeface="Roboto"/>
                <a:cs typeface="Roboto"/>
              </a:rPr>
              <a:t>turístico</a:t>
            </a:r>
            <a:endParaRPr sz="3400">
              <a:latin typeface="Roboto"/>
              <a:cs typeface="Roboto"/>
            </a:endParaRPr>
          </a:p>
        </p:txBody>
      </p:sp>
      <p:sp>
        <p:nvSpPr>
          <p:cNvPr id="9" name="object 9"/>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sp>
        <p:nvSpPr>
          <p:cNvPr id="10" name="object 10"/>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1.</a:t>
            </a:r>
            <a:r>
              <a:rPr spc="-110" dirty="0"/>
              <a:t> </a:t>
            </a:r>
            <a:r>
              <a:rPr spc="-30" dirty="0"/>
              <a:t>Situación</a:t>
            </a:r>
            <a:r>
              <a:rPr spc="-105" dirty="0"/>
              <a:t> </a:t>
            </a:r>
            <a:r>
              <a:rPr spc="-10" dirty="0"/>
              <a:t>general</a:t>
            </a:r>
            <a:r>
              <a:rPr spc="-110" dirty="0"/>
              <a:t> </a:t>
            </a:r>
            <a:r>
              <a:rPr dirty="0"/>
              <a:t>del</a:t>
            </a:r>
            <a:r>
              <a:rPr spc="-105" dirty="0"/>
              <a:t> </a:t>
            </a:r>
            <a:r>
              <a:rPr spc="-10" dirty="0"/>
              <a:t>turismo</a:t>
            </a:r>
            <a:r>
              <a:rPr spc="-105" dirty="0"/>
              <a:t> </a:t>
            </a:r>
            <a:r>
              <a:rPr dirty="0"/>
              <a:t>hacia</a:t>
            </a:r>
            <a:r>
              <a:rPr spc="-110" dirty="0"/>
              <a:t> </a:t>
            </a:r>
            <a:r>
              <a:rPr spc="-10" dirty="0"/>
              <a:t>Chile</a:t>
            </a:r>
          </a:p>
        </p:txBody>
      </p:sp>
      <p:pic>
        <p:nvPicPr>
          <p:cNvPr id="11" name="object 11"/>
          <p:cNvPicPr/>
          <p:nvPr/>
        </p:nvPicPr>
        <p:blipFill>
          <a:blip r:embed="rId2" cstate="print"/>
          <a:stretch>
            <a:fillRect/>
          </a:stretch>
        </p:blipFill>
        <p:spPr>
          <a:xfrm>
            <a:off x="17316450" y="237491"/>
            <a:ext cx="742949" cy="819149"/>
          </a:xfrm>
          <a:prstGeom prst="rect">
            <a:avLst/>
          </a:prstGeom>
        </p:spPr>
      </p:pic>
      <p:sp>
        <p:nvSpPr>
          <p:cNvPr id="12" name="object 12"/>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13" name="object 13"/>
          <p:cNvSpPr txBox="1"/>
          <p:nvPr/>
        </p:nvSpPr>
        <p:spPr>
          <a:xfrm>
            <a:off x="17811802" y="9932972"/>
            <a:ext cx="203835"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01</a:t>
            </a:r>
            <a:endParaRPr sz="900">
              <a:latin typeface="Arial"/>
              <a:cs typeface="Aria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BDF97B3D-682A-CE43-66F8-38939E2FF07D}"/>
              </a:ext>
            </a:extLst>
          </p:cNvPr>
          <p:cNvSpPr/>
          <p:nvPr/>
        </p:nvSpPr>
        <p:spPr>
          <a:xfrm>
            <a:off x="166956" y="1113694"/>
            <a:ext cx="17954625" cy="8678006"/>
          </a:xfrm>
          <a:custGeom>
            <a:avLst/>
            <a:gdLst/>
            <a:ahLst/>
            <a:cxnLst/>
            <a:rect l="l" t="t" r="r" b="b"/>
            <a:pathLst>
              <a:path w="17954625" h="4516120">
                <a:moveTo>
                  <a:pt x="0" y="4516002"/>
                </a:moveTo>
                <a:lnTo>
                  <a:pt x="17954029" y="4516002"/>
                </a:lnTo>
                <a:lnTo>
                  <a:pt x="17954029" y="0"/>
                </a:lnTo>
                <a:lnTo>
                  <a:pt x="0" y="0"/>
                </a:lnTo>
                <a:lnTo>
                  <a:pt x="0" y="4516002"/>
                </a:lnTo>
                <a:close/>
              </a:path>
            </a:pathLst>
          </a:custGeom>
          <a:solidFill>
            <a:srgbClr val="EFEBE2">
              <a:alpha val="55690"/>
            </a:srgbClr>
          </a:solidFill>
        </p:spPr>
        <p:txBody>
          <a:bodyPr wrap="square" lIns="0" tIns="0" rIns="0" bIns="0" rtlCol="0"/>
          <a:lstStyle/>
          <a:p>
            <a:endParaRPr/>
          </a:p>
        </p:txBody>
      </p:sp>
      <p:sp>
        <p:nvSpPr>
          <p:cNvPr id="9" name="object 4">
            <a:extLst>
              <a:ext uri="{FF2B5EF4-FFF2-40B4-BE49-F238E27FC236}">
                <a16:creationId xmlns:a16="http://schemas.microsoft.com/office/drawing/2014/main" id="{670B6591-F454-82E9-306D-55F252D5F071}"/>
              </a:ext>
            </a:extLst>
          </p:cNvPr>
          <p:cNvSpPr/>
          <p:nvPr/>
        </p:nvSpPr>
        <p:spPr>
          <a:xfrm>
            <a:off x="166956" y="171496"/>
            <a:ext cx="17954625" cy="13335"/>
          </a:xfrm>
          <a:custGeom>
            <a:avLst/>
            <a:gdLst/>
            <a:ahLst/>
            <a:cxnLst/>
            <a:rect l="l" t="t" r="r" b="b"/>
            <a:pathLst>
              <a:path w="17954625" h="13335">
                <a:moveTo>
                  <a:pt x="0" y="13336"/>
                </a:moveTo>
                <a:lnTo>
                  <a:pt x="17954029" y="13336"/>
                </a:lnTo>
                <a:lnTo>
                  <a:pt x="17954029" y="0"/>
                </a:lnTo>
                <a:lnTo>
                  <a:pt x="0" y="0"/>
                </a:lnTo>
                <a:lnTo>
                  <a:pt x="0" y="13336"/>
                </a:lnTo>
                <a:close/>
              </a:path>
            </a:pathLst>
          </a:custGeom>
          <a:solidFill>
            <a:srgbClr val="EFEBE2">
              <a:alpha val="55690"/>
            </a:srgbClr>
          </a:solidFill>
        </p:spPr>
        <p:txBody>
          <a:bodyPr wrap="square" lIns="0" tIns="0" rIns="0" bIns="0" rtlCol="0"/>
          <a:lstStyle/>
          <a:p>
            <a:endParaRPr/>
          </a:p>
        </p:txBody>
      </p:sp>
      <p:sp>
        <p:nvSpPr>
          <p:cNvPr id="16" name="object 6">
            <a:extLst>
              <a:ext uri="{FF2B5EF4-FFF2-40B4-BE49-F238E27FC236}">
                <a16:creationId xmlns:a16="http://schemas.microsoft.com/office/drawing/2014/main" id="{88032A9C-16F9-33E3-6E2F-61047188D400}"/>
              </a:ext>
            </a:extLst>
          </p:cNvPr>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sp>
        <p:nvSpPr>
          <p:cNvPr id="17" name="object 16">
            <a:extLst>
              <a:ext uri="{FF2B5EF4-FFF2-40B4-BE49-F238E27FC236}">
                <a16:creationId xmlns:a16="http://schemas.microsoft.com/office/drawing/2014/main" id="{C281CCB8-CAC1-689F-95D4-FDBF6C9A0A8A}"/>
              </a:ext>
            </a:extLst>
          </p:cNvPr>
          <p:cNvSpPr txBox="1"/>
          <p:nvPr/>
        </p:nvSpPr>
        <p:spPr>
          <a:xfrm>
            <a:off x="637985" y="384148"/>
            <a:ext cx="891984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4.</a:t>
            </a:r>
            <a:r>
              <a:rPr sz="3000" spc="-85" dirty="0">
                <a:solidFill>
                  <a:srgbClr val="FFFFFF"/>
                </a:solidFill>
                <a:latin typeface="Roboto"/>
                <a:cs typeface="Roboto"/>
              </a:rPr>
              <a:t> </a:t>
            </a:r>
            <a:r>
              <a:rPr sz="3000" dirty="0">
                <a:solidFill>
                  <a:srgbClr val="FFFFFF"/>
                </a:solidFill>
                <a:latin typeface="Roboto"/>
                <a:cs typeface="Roboto"/>
              </a:rPr>
              <a:t>¿Cómo</a:t>
            </a:r>
            <a:r>
              <a:rPr sz="3000" spc="-80" dirty="0">
                <a:solidFill>
                  <a:srgbClr val="FFFFFF"/>
                </a:solidFill>
                <a:latin typeface="Roboto"/>
                <a:cs typeface="Roboto"/>
              </a:rPr>
              <a:t> </a:t>
            </a:r>
            <a:r>
              <a:rPr sz="3000" spc="-25" dirty="0">
                <a:solidFill>
                  <a:srgbClr val="FFFFFF"/>
                </a:solidFill>
                <a:latin typeface="Roboto"/>
                <a:cs typeface="Roboto"/>
              </a:rPr>
              <a:t>distribuir</a:t>
            </a:r>
            <a:r>
              <a:rPr sz="3000" spc="-80" dirty="0">
                <a:solidFill>
                  <a:srgbClr val="FFFFFF"/>
                </a:solidFill>
                <a:latin typeface="Roboto"/>
                <a:cs typeface="Roboto"/>
              </a:rPr>
              <a:t> </a:t>
            </a:r>
            <a:r>
              <a:rPr sz="3000" dirty="0">
                <a:solidFill>
                  <a:srgbClr val="FFFFFF"/>
                </a:solidFill>
                <a:latin typeface="Roboto"/>
                <a:cs typeface="Roboto"/>
              </a:rPr>
              <a:t>el</a:t>
            </a:r>
            <a:r>
              <a:rPr sz="3000" spc="-80" dirty="0">
                <a:solidFill>
                  <a:srgbClr val="FFFFFF"/>
                </a:solidFill>
                <a:latin typeface="Roboto"/>
                <a:cs typeface="Roboto"/>
              </a:rPr>
              <a:t> </a:t>
            </a:r>
            <a:r>
              <a:rPr sz="3000" spc="-10" dirty="0">
                <a:solidFill>
                  <a:srgbClr val="FFFFFF"/>
                </a:solidFill>
                <a:latin typeface="Roboto"/>
                <a:cs typeface="Roboto"/>
              </a:rPr>
              <a:t>impacto</a:t>
            </a:r>
            <a:r>
              <a:rPr sz="3000" spc="-80" dirty="0">
                <a:solidFill>
                  <a:srgbClr val="FFFFFF"/>
                </a:solidFill>
                <a:latin typeface="Roboto"/>
                <a:cs typeface="Roboto"/>
              </a:rPr>
              <a:t> </a:t>
            </a:r>
            <a:r>
              <a:rPr sz="3000" spc="-10" dirty="0">
                <a:solidFill>
                  <a:srgbClr val="FFFFFF"/>
                </a:solidFill>
                <a:latin typeface="Roboto"/>
                <a:cs typeface="Roboto"/>
              </a:rPr>
              <a:t>positivo</a:t>
            </a:r>
            <a:r>
              <a:rPr sz="3000" spc="-80" dirty="0">
                <a:solidFill>
                  <a:srgbClr val="FFFFFF"/>
                </a:solidFill>
                <a:latin typeface="Roboto"/>
                <a:cs typeface="Roboto"/>
              </a:rPr>
              <a:t> </a:t>
            </a:r>
            <a:r>
              <a:rPr sz="3000" dirty="0">
                <a:solidFill>
                  <a:srgbClr val="FFFFFF"/>
                </a:solidFill>
                <a:latin typeface="Roboto"/>
                <a:cs typeface="Roboto"/>
              </a:rPr>
              <a:t>del</a:t>
            </a:r>
            <a:r>
              <a:rPr sz="3000" spc="-80" dirty="0">
                <a:solidFill>
                  <a:srgbClr val="FFFFFF"/>
                </a:solidFill>
                <a:latin typeface="Roboto"/>
                <a:cs typeface="Roboto"/>
              </a:rPr>
              <a:t> </a:t>
            </a:r>
            <a:r>
              <a:rPr sz="3000" spc="-10" dirty="0">
                <a:solidFill>
                  <a:srgbClr val="FFFFFF"/>
                </a:solidFill>
                <a:latin typeface="Roboto"/>
                <a:cs typeface="Roboto"/>
              </a:rPr>
              <a:t>turismo?</a:t>
            </a:r>
            <a:endParaRPr sz="3000">
              <a:latin typeface="Roboto"/>
              <a:cs typeface="Roboto"/>
            </a:endParaRPr>
          </a:p>
        </p:txBody>
      </p:sp>
      <p:pic>
        <p:nvPicPr>
          <p:cNvPr id="18" name="object 21">
            <a:extLst>
              <a:ext uri="{FF2B5EF4-FFF2-40B4-BE49-F238E27FC236}">
                <a16:creationId xmlns:a16="http://schemas.microsoft.com/office/drawing/2014/main" id="{AC506325-FCA5-AA36-D0E1-E9500FC59F74}"/>
              </a:ext>
            </a:extLst>
          </p:cNvPr>
          <p:cNvPicPr/>
          <p:nvPr/>
        </p:nvPicPr>
        <p:blipFill>
          <a:blip r:embed="rId4" cstate="print"/>
          <a:stretch>
            <a:fillRect/>
          </a:stretch>
        </p:blipFill>
        <p:spPr>
          <a:xfrm>
            <a:off x="17316450" y="237491"/>
            <a:ext cx="742949" cy="819149"/>
          </a:xfrm>
          <a:prstGeom prst="rect">
            <a:avLst/>
          </a:prstGeom>
        </p:spPr>
      </p:pic>
      <p:sp>
        <p:nvSpPr>
          <p:cNvPr id="19" name="object 22">
            <a:extLst>
              <a:ext uri="{FF2B5EF4-FFF2-40B4-BE49-F238E27FC236}">
                <a16:creationId xmlns:a16="http://schemas.microsoft.com/office/drawing/2014/main" id="{ADB19FEF-D7F1-1CFC-1BAB-85688801E84D}"/>
              </a:ext>
            </a:extLst>
          </p:cNvPr>
          <p:cNvSpPr txBox="1">
            <a:spLocks noGrp="1"/>
          </p:cNvSpPr>
          <p:nvPr>
            <p:ph type="ftr" sz="quarter" idx="5"/>
          </p:nvPr>
        </p:nvSpPr>
        <p:spPr>
          <a:xfrm>
            <a:off x="230690" y="9928082"/>
            <a:ext cx="4718050" cy="169107"/>
          </a:xfrm>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graphicFrame>
        <p:nvGraphicFramePr>
          <p:cNvPr id="8" name="Objeto 7" hidden="1">
            <a:extLst>
              <a:ext uri="{FF2B5EF4-FFF2-40B4-BE49-F238E27FC236}">
                <a16:creationId xmlns:a16="http://schemas.microsoft.com/office/drawing/2014/main" id="{02F99F2B-1F14-424F-474D-F6E2FF825636}"/>
              </a:ext>
            </a:extLst>
          </p:cNvPr>
          <p:cNvGraphicFramePr>
            <a:graphicFrameLocks noChangeAspect="1"/>
          </p:cNvGraphicFramePr>
          <p:nvPr>
            <p:custDataLst>
              <p:tags r:id="rId1"/>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Diapositiva de think-cell" r:id="rId5" imgW="360" imgH="360" progId="TCLayout.ActiveDocument.1">
                  <p:embed/>
                </p:oleObj>
              </mc:Choice>
              <mc:Fallback>
                <p:oleObj name="Diapositiva de think-cell" r:id="rId5" imgW="360" imgH="360" progId="TCLayout.ActiveDocument.1">
                  <p:embed/>
                  <p:pic>
                    <p:nvPicPr>
                      <p:cNvPr id="8" name="Objeto 7" hidden="1">
                        <a:extLst>
                          <a:ext uri="{FF2B5EF4-FFF2-40B4-BE49-F238E27FC236}">
                            <a16:creationId xmlns:a16="http://schemas.microsoft.com/office/drawing/2014/main" id="{02F99F2B-1F14-424F-474D-F6E2FF825636}"/>
                          </a:ext>
                        </a:extLst>
                      </p:cNvPr>
                      <p:cNvPicPr/>
                      <p:nvPr/>
                    </p:nvPicPr>
                    <p:blipFill>
                      <a:blip r:embed="rId6"/>
                      <a:stretch>
                        <a:fillRect/>
                      </a:stretch>
                    </p:blipFill>
                    <p:spPr>
                      <a:xfrm>
                        <a:off x="2382" y="2382"/>
                        <a:ext cx="2382" cy="2382"/>
                      </a:xfrm>
                      <a:prstGeom prst="rect">
                        <a:avLst/>
                      </a:prstGeom>
                    </p:spPr>
                  </p:pic>
                </p:oleObj>
              </mc:Fallback>
            </mc:AlternateContent>
          </a:graphicData>
        </a:graphic>
      </p:graphicFrame>
      <p:graphicFrame>
        <p:nvGraphicFramePr>
          <p:cNvPr id="7" name="Tabla 8">
            <a:extLst>
              <a:ext uri="{FF2B5EF4-FFF2-40B4-BE49-F238E27FC236}">
                <a16:creationId xmlns:a16="http://schemas.microsoft.com/office/drawing/2014/main" id="{B22C0A41-2CD2-C365-79A0-4C6B7AD99A5A}"/>
              </a:ext>
            </a:extLst>
          </p:cNvPr>
          <p:cNvGraphicFramePr>
            <a:graphicFrameLocks noGrp="1"/>
          </p:cNvGraphicFramePr>
          <p:nvPr>
            <p:extLst>
              <p:ext uri="{D42A27DB-BD31-4B8C-83A1-F6EECF244321}">
                <p14:modId xmlns:p14="http://schemas.microsoft.com/office/powerpoint/2010/main" val="313903173"/>
              </p:ext>
            </p:extLst>
          </p:nvPr>
        </p:nvGraphicFramePr>
        <p:xfrm>
          <a:off x="942975" y="1765273"/>
          <a:ext cx="16903141" cy="518160"/>
        </p:xfrm>
        <a:graphic>
          <a:graphicData uri="http://schemas.openxmlformats.org/drawingml/2006/table">
            <a:tbl>
              <a:tblPr firstRow="1" bandRow="1">
                <a:tableStyleId>{5C22544A-7EE6-4342-B048-85BDC9FD1C3A}</a:tableStyleId>
              </a:tblPr>
              <a:tblGrid>
                <a:gridCol w="1853567">
                  <a:extLst>
                    <a:ext uri="{9D8B030D-6E8A-4147-A177-3AD203B41FA5}">
                      <a16:colId xmlns:a16="http://schemas.microsoft.com/office/drawing/2014/main" val="1478560369"/>
                    </a:ext>
                  </a:extLst>
                </a:gridCol>
                <a:gridCol w="11105374">
                  <a:extLst>
                    <a:ext uri="{9D8B030D-6E8A-4147-A177-3AD203B41FA5}">
                      <a16:colId xmlns:a16="http://schemas.microsoft.com/office/drawing/2014/main" val="4026721192"/>
                    </a:ext>
                  </a:extLst>
                </a:gridCol>
                <a:gridCol w="2109398">
                  <a:extLst>
                    <a:ext uri="{9D8B030D-6E8A-4147-A177-3AD203B41FA5}">
                      <a16:colId xmlns:a16="http://schemas.microsoft.com/office/drawing/2014/main" val="2553683764"/>
                    </a:ext>
                  </a:extLst>
                </a:gridCol>
                <a:gridCol w="1834802">
                  <a:extLst>
                    <a:ext uri="{9D8B030D-6E8A-4147-A177-3AD203B41FA5}">
                      <a16:colId xmlns:a16="http://schemas.microsoft.com/office/drawing/2014/main" val="1433554987"/>
                    </a:ext>
                  </a:extLst>
                </a:gridCol>
              </a:tblGrid>
              <a:tr h="504722">
                <a:tc>
                  <a:txBody>
                    <a:bodyPr/>
                    <a:lstStyle/>
                    <a:p>
                      <a:pPr algn="ctr"/>
                      <a:r>
                        <a:rPr lang="es-ES" sz="1700" dirty="0">
                          <a:solidFill>
                            <a:schemeClr val="bg1"/>
                          </a:solidFill>
                        </a:rPr>
                        <a:t>PARTNER ESTRATÉGICO</a:t>
                      </a:r>
                    </a:p>
                  </a:txBody>
                  <a:tcPr marL="137160" marR="137160" marT="0" marB="0" anchor="ctr">
                    <a:solidFill>
                      <a:schemeClr val="tx2"/>
                    </a:solidFill>
                  </a:tcPr>
                </a:tc>
                <a:tc>
                  <a:txBody>
                    <a:bodyPr/>
                    <a:lstStyle/>
                    <a:p>
                      <a:pPr algn="ctr"/>
                      <a:r>
                        <a:rPr lang="es-ES" sz="1700" dirty="0">
                          <a:solidFill>
                            <a:schemeClr val="bg1"/>
                          </a:solidFill>
                        </a:rPr>
                        <a:t>ACTIVIDADES A REALIZAR</a:t>
                      </a:r>
                    </a:p>
                  </a:txBody>
                  <a:tcPr marL="137160" marR="137160" marT="0" marB="0" anchor="ctr">
                    <a:solidFill>
                      <a:schemeClr val="tx2"/>
                    </a:solidFill>
                  </a:tcPr>
                </a:tc>
                <a:tc>
                  <a:txBody>
                    <a:bodyPr/>
                    <a:lstStyle/>
                    <a:p>
                      <a:pPr algn="ctr"/>
                      <a:r>
                        <a:rPr lang="es-ES" sz="1700" dirty="0">
                          <a:solidFill>
                            <a:schemeClr val="bg1"/>
                          </a:solidFill>
                        </a:rPr>
                        <a:t>TIMINGS</a:t>
                      </a:r>
                    </a:p>
                  </a:txBody>
                  <a:tcPr marL="137160" marR="137160" marT="0" marB="0" anchor="ctr">
                    <a:solidFill>
                      <a:schemeClr val="tx2"/>
                    </a:solidFill>
                  </a:tcPr>
                </a:tc>
                <a:tc>
                  <a:txBody>
                    <a:bodyPr/>
                    <a:lstStyle/>
                    <a:p>
                      <a:pPr algn="ctr"/>
                      <a:r>
                        <a:rPr lang="es-ES" sz="1700" dirty="0">
                          <a:solidFill>
                            <a:schemeClr val="bg1"/>
                          </a:solidFill>
                        </a:rPr>
                        <a:t>TARGET</a:t>
                      </a:r>
                    </a:p>
                  </a:txBody>
                  <a:tcPr marL="137160" marR="137160" marT="0" marB="0" anchor="ctr">
                    <a:solidFill>
                      <a:schemeClr val="tx2"/>
                    </a:solidFill>
                  </a:tcPr>
                </a:tc>
                <a:extLst>
                  <a:ext uri="{0D108BD9-81ED-4DB2-BD59-A6C34878D82A}">
                    <a16:rowId xmlns:a16="http://schemas.microsoft.com/office/drawing/2014/main" val="1987373965"/>
                  </a:ext>
                </a:extLst>
              </a:tr>
            </a:tbl>
          </a:graphicData>
        </a:graphic>
      </p:graphicFrame>
      <p:graphicFrame>
        <p:nvGraphicFramePr>
          <p:cNvPr id="11" name="Tabla 10"/>
          <p:cNvGraphicFramePr>
            <a:graphicFrameLocks noGrp="1"/>
          </p:cNvGraphicFramePr>
          <p:nvPr>
            <p:extLst>
              <p:ext uri="{D42A27DB-BD31-4B8C-83A1-F6EECF244321}">
                <p14:modId xmlns:p14="http://schemas.microsoft.com/office/powerpoint/2010/main" val="207428929"/>
              </p:ext>
            </p:extLst>
          </p:nvPr>
        </p:nvGraphicFramePr>
        <p:xfrm>
          <a:off x="942976" y="2327049"/>
          <a:ext cx="16887825" cy="5224780"/>
        </p:xfrm>
        <a:graphic>
          <a:graphicData uri="http://schemas.openxmlformats.org/drawingml/2006/table">
            <a:tbl>
              <a:tblPr firstRow="1" bandRow="1">
                <a:tableStyleId>{5C22544A-7EE6-4342-B048-85BDC9FD1C3A}</a:tableStyleId>
              </a:tblPr>
              <a:tblGrid>
                <a:gridCol w="1853566">
                  <a:extLst>
                    <a:ext uri="{9D8B030D-6E8A-4147-A177-3AD203B41FA5}">
                      <a16:colId xmlns:a16="http://schemas.microsoft.com/office/drawing/2014/main" val="20000"/>
                    </a:ext>
                  </a:extLst>
                </a:gridCol>
                <a:gridCol w="11130762">
                  <a:extLst>
                    <a:ext uri="{9D8B030D-6E8A-4147-A177-3AD203B41FA5}">
                      <a16:colId xmlns:a16="http://schemas.microsoft.com/office/drawing/2014/main" val="20001"/>
                    </a:ext>
                  </a:extLst>
                </a:gridCol>
                <a:gridCol w="2070357">
                  <a:extLst>
                    <a:ext uri="{9D8B030D-6E8A-4147-A177-3AD203B41FA5}">
                      <a16:colId xmlns:a16="http://schemas.microsoft.com/office/drawing/2014/main" val="20002"/>
                    </a:ext>
                  </a:extLst>
                </a:gridCol>
                <a:gridCol w="1833140">
                  <a:extLst>
                    <a:ext uri="{9D8B030D-6E8A-4147-A177-3AD203B41FA5}">
                      <a16:colId xmlns:a16="http://schemas.microsoft.com/office/drawing/2014/main" val="20003"/>
                    </a:ext>
                  </a:extLst>
                </a:gridCol>
              </a:tblGrid>
              <a:tr h="5107234">
                <a:tc>
                  <a:txBody>
                    <a:bodyPr/>
                    <a:lstStyle/>
                    <a:p>
                      <a:pPr>
                        <a:spcAft>
                          <a:spcPts val="500"/>
                        </a:spcAft>
                      </a:pPr>
                      <a:r>
                        <a:rPr lang="es-ES" sz="1600" b="0" i="0" kern="1200" dirty="0">
                          <a:solidFill>
                            <a:schemeClr val="tx1"/>
                          </a:solidFill>
                          <a:latin typeface="Roboto" panose="02000000000000000000" pitchFamily="2" charset="0"/>
                          <a:ea typeface="Roboto" panose="02000000000000000000" pitchFamily="2" charset="0"/>
                          <a:cs typeface="+mn-cs"/>
                        </a:rPr>
                        <a:t>SERNATUR Regional, Gobernadores, CORES,</a:t>
                      </a:r>
                      <a:r>
                        <a:rPr lang="es-ES" sz="1600" b="0" i="0" kern="1200" baseline="0" dirty="0">
                          <a:solidFill>
                            <a:schemeClr val="tx1"/>
                          </a:solidFill>
                          <a:latin typeface="Roboto" panose="02000000000000000000" pitchFamily="2" charset="0"/>
                          <a:ea typeface="Roboto" panose="02000000000000000000" pitchFamily="2" charset="0"/>
                          <a:cs typeface="+mn-cs"/>
                        </a:rPr>
                        <a:t> Municipalidades.</a:t>
                      </a:r>
                      <a:endParaRPr lang="es-ES" sz="1600" b="0" i="0" kern="1200" dirty="0">
                        <a:solidFill>
                          <a:schemeClr val="tx1"/>
                        </a:solidFill>
                        <a:latin typeface="Roboto" panose="02000000000000000000" pitchFamily="2" charset="0"/>
                        <a:ea typeface="Roboto" panose="02000000000000000000" pitchFamily="2" charset="0"/>
                        <a:cs typeface="+mn-cs"/>
                      </a:endParaRPr>
                    </a:p>
                  </a:txBody>
                  <a:tcPr marL="137160" marR="137160" marT="68580" marB="68580" anchor="ctr">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marL="228600" indent="-228600" algn="l" defTabSz="914400" rtl="0" eaLnBrk="1" latinLnBrk="0" hangingPunct="1">
                        <a:spcAft>
                          <a:spcPts val="500"/>
                        </a:spcAft>
                        <a:buClr>
                          <a:srgbClr val="0070C0"/>
                        </a:buClr>
                        <a:buFont typeface="+mj-lt"/>
                        <a:buAutoNum type="arabicPeriod"/>
                      </a:pPr>
                      <a:r>
                        <a:rPr lang="es-ES" sz="1700" b="0" kern="1200" dirty="0">
                          <a:solidFill>
                            <a:schemeClr val="tx1"/>
                          </a:solidFill>
                          <a:latin typeface="Roboto" panose="02000000000000000000" pitchFamily="2" charset="0"/>
                          <a:ea typeface="Roboto" panose="02000000000000000000" pitchFamily="2" charset="0"/>
                          <a:cs typeface="+mn-cs"/>
                        </a:rPr>
                        <a:t>Levantar las problemáticas de las Regiones sobre la promoción internacional, tanto limítrofe como de larga distancia. </a:t>
                      </a:r>
                    </a:p>
                    <a:p>
                      <a:pPr marL="228600" marR="0" lvl="0" indent="-228600" algn="l" defTabSz="914400" rtl="0" eaLnBrk="1" fontAlgn="auto" latinLnBrk="0" hangingPunct="1">
                        <a:lnSpc>
                          <a:spcPct val="100000"/>
                        </a:lnSpc>
                        <a:spcBef>
                          <a:spcPts val="0"/>
                        </a:spcBef>
                        <a:spcAft>
                          <a:spcPts val="500"/>
                        </a:spcAft>
                        <a:buClr>
                          <a:srgbClr val="0070C0"/>
                        </a:buClr>
                        <a:buSzTx/>
                        <a:buFont typeface="+mj-lt"/>
                        <a:buAutoNum type="arabicPeriod"/>
                        <a:tabLst/>
                        <a:defRPr/>
                      </a:pPr>
                      <a:r>
                        <a:rPr lang="es-ES" sz="1700" b="0" kern="1200" dirty="0">
                          <a:solidFill>
                            <a:schemeClr val="tx1"/>
                          </a:solidFill>
                          <a:latin typeface="Roboto" panose="02000000000000000000" pitchFamily="2" charset="0"/>
                          <a:ea typeface="Roboto" panose="02000000000000000000" pitchFamily="2" charset="0"/>
                          <a:cs typeface="+mn-cs"/>
                        </a:rPr>
                        <a:t>Capacitación a las Regiones y sus empresarios sobre el PMTI, los contenidos clave, los mercados y segmentos a trabajar, las acciones a llevar a cabo, y las coordinaciones necesarias con Las Regiones. El objetivo es que todos puedan participar en la promoción </a:t>
                      </a:r>
                      <a:r>
                        <a:rPr lang="es-ES" sz="1700" b="0" dirty="0">
                          <a:solidFill>
                            <a:schemeClr val="tx1"/>
                          </a:solidFill>
                          <a:latin typeface="Roboto" panose="02000000000000000000" pitchFamily="2" charset="0"/>
                          <a:ea typeface="Roboto" panose="02000000000000000000" pitchFamily="2" charset="0"/>
                        </a:rPr>
                        <a:t>internacional bajo los mismos criterios y </a:t>
                      </a:r>
                      <a:r>
                        <a:rPr lang="es-ES" sz="1700" b="0" dirty="0" err="1">
                          <a:solidFill>
                            <a:schemeClr val="tx1"/>
                          </a:solidFill>
                          <a:latin typeface="Roboto" panose="02000000000000000000" pitchFamily="2" charset="0"/>
                          <a:ea typeface="Roboto" panose="02000000000000000000" pitchFamily="2" charset="0"/>
                        </a:rPr>
                        <a:t>storytelling</a:t>
                      </a:r>
                      <a:r>
                        <a:rPr lang="es-ES" sz="1700" b="0" dirty="0">
                          <a:solidFill>
                            <a:schemeClr val="tx1"/>
                          </a:solidFill>
                          <a:latin typeface="Roboto" panose="02000000000000000000" pitchFamily="2" charset="0"/>
                          <a:ea typeface="Roboto" panose="02000000000000000000" pitchFamily="2" charset="0"/>
                        </a:rPr>
                        <a:t>. </a:t>
                      </a:r>
                    </a:p>
                    <a:p>
                      <a:pPr marL="228600" marR="0" lvl="0" indent="-228600" algn="l" defTabSz="914400" rtl="0" eaLnBrk="1" fontAlgn="auto" latinLnBrk="0" hangingPunct="1">
                        <a:lnSpc>
                          <a:spcPct val="100000"/>
                        </a:lnSpc>
                        <a:spcBef>
                          <a:spcPts val="0"/>
                        </a:spcBef>
                        <a:spcAft>
                          <a:spcPts val="500"/>
                        </a:spcAft>
                        <a:buClr>
                          <a:srgbClr val="0070C0"/>
                        </a:buClr>
                        <a:buSzTx/>
                        <a:buFont typeface="+mj-lt"/>
                        <a:buAutoNum type="arabicPeriod"/>
                        <a:tabLst/>
                        <a:defRPr/>
                      </a:pPr>
                      <a:r>
                        <a:rPr lang="es-ES" sz="1700" b="0" dirty="0">
                          <a:solidFill>
                            <a:schemeClr val="tx1"/>
                          </a:solidFill>
                          <a:latin typeface="Roboto" panose="02000000000000000000" pitchFamily="2" charset="0"/>
                          <a:ea typeface="Roboto" panose="02000000000000000000" pitchFamily="2" charset="0"/>
                        </a:rPr>
                        <a:t>Creación de los Grupos de Trabajo (</a:t>
                      </a:r>
                      <a:r>
                        <a:rPr lang="es-ES" sz="1700" b="0" dirty="0" err="1">
                          <a:solidFill>
                            <a:schemeClr val="tx1"/>
                          </a:solidFill>
                          <a:latin typeface="Roboto" panose="02000000000000000000" pitchFamily="2" charset="0"/>
                          <a:ea typeface="Roboto" panose="02000000000000000000" pitchFamily="2" charset="0"/>
                        </a:rPr>
                        <a:t>GdT</a:t>
                      </a:r>
                      <a:r>
                        <a:rPr lang="es-ES" sz="1700" b="0" dirty="0">
                          <a:solidFill>
                            <a:schemeClr val="tx1"/>
                          </a:solidFill>
                          <a:latin typeface="Roboto" panose="02000000000000000000" pitchFamily="2" charset="0"/>
                          <a:ea typeface="Roboto" panose="02000000000000000000" pitchFamily="2" charset="0"/>
                        </a:rPr>
                        <a:t>/WG) para la promoción internacional a nivel regional. Apoyar con las convocatorias al sector privado de la región para coordinar la ejecución de las acciones del PMTI.</a:t>
                      </a:r>
                    </a:p>
                    <a:p>
                      <a:pPr marL="228600" indent="-228600" algn="l">
                        <a:spcAft>
                          <a:spcPts val="500"/>
                        </a:spcAft>
                        <a:buClr>
                          <a:srgbClr val="0070C0"/>
                        </a:buClr>
                        <a:buFont typeface="+mj-lt"/>
                        <a:buAutoNum type="arabicPeriod"/>
                      </a:pPr>
                      <a:r>
                        <a:rPr lang="es-ES" sz="1700" b="0" dirty="0">
                          <a:solidFill>
                            <a:schemeClr val="tx1"/>
                          </a:solidFill>
                          <a:latin typeface="Roboto" panose="02000000000000000000" pitchFamily="2" charset="0"/>
                          <a:ea typeface="Roboto" panose="02000000000000000000" pitchFamily="2" charset="0"/>
                        </a:rPr>
                        <a:t>Trabajar con las Regiones en las siguientes acciones del PMTI, a través de los </a:t>
                      </a:r>
                      <a:r>
                        <a:rPr lang="es-ES" sz="1700" b="0" dirty="0" err="1">
                          <a:solidFill>
                            <a:schemeClr val="tx1"/>
                          </a:solidFill>
                          <a:latin typeface="Roboto" panose="02000000000000000000" pitchFamily="2" charset="0"/>
                          <a:ea typeface="Roboto" panose="02000000000000000000" pitchFamily="2" charset="0"/>
                        </a:rPr>
                        <a:t>GdT</a:t>
                      </a:r>
                      <a:r>
                        <a:rPr lang="es-ES" sz="1700" b="0" dirty="0">
                          <a:solidFill>
                            <a:schemeClr val="tx1"/>
                          </a:solidFill>
                          <a:latin typeface="Roboto" panose="02000000000000000000" pitchFamily="2" charset="0"/>
                          <a:ea typeface="Roboto" panose="02000000000000000000" pitchFamily="2" charset="0"/>
                        </a:rPr>
                        <a:t>: </a:t>
                      </a:r>
                    </a:p>
                    <a:p>
                      <a:pPr marL="714375" lvl="1" indent="-436563" algn="l">
                        <a:spcAft>
                          <a:spcPts val="500"/>
                        </a:spcAft>
                        <a:buClr>
                          <a:srgbClr val="0070C0"/>
                        </a:buClr>
                        <a:buFont typeface="+mj-lt"/>
                        <a:buAutoNum type="romanLcPeriod"/>
                        <a:tabLst/>
                      </a:pPr>
                      <a:r>
                        <a:rPr lang="es-ES" sz="1500" b="0" i="0" dirty="0">
                          <a:solidFill>
                            <a:schemeClr val="tx1"/>
                          </a:solidFill>
                          <a:latin typeface="Roboto" panose="02000000000000000000" pitchFamily="2" charset="0"/>
                          <a:ea typeface="Roboto" panose="02000000000000000000" pitchFamily="2" charset="0"/>
                        </a:rPr>
                        <a:t>Desarrollo de planes de acción cooperada con cada Región, tanto para la promoción limítrofe como para el resto.</a:t>
                      </a:r>
                    </a:p>
                    <a:p>
                      <a:pPr marL="714375" lvl="1" indent="-436563" algn="l">
                        <a:spcAft>
                          <a:spcPts val="500"/>
                        </a:spcAft>
                        <a:buClr>
                          <a:srgbClr val="0070C0"/>
                        </a:buClr>
                        <a:buFont typeface="+mj-lt"/>
                        <a:buAutoNum type="romanLcPeriod"/>
                        <a:tabLst/>
                      </a:pPr>
                      <a:r>
                        <a:rPr lang="es-ES" sz="1500" b="0" i="0" dirty="0">
                          <a:solidFill>
                            <a:schemeClr val="tx1"/>
                          </a:solidFill>
                          <a:latin typeface="Roboto" panose="02000000000000000000" pitchFamily="2" charset="0"/>
                          <a:ea typeface="Roboto" panose="02000000000000000000" pitchFamily="2" charset="0"/>
                        </a:rPr>
                        <a:t>Ejecución de las campañas de promoción limítrofe acordadas SERNATUR-Regiones.</a:t>
                      </a:r>
                    </a:p>
                    <a:p>
                      <a:pPr marL="714375" lvl="1" indent="-436563" algn="l">
                        <a:spcAft>
                          <a:spcPts val="500"/>
                        </a:spcAft>
                        <a:buClr>
                          <a:srgbClr val="0070C0"/>
                        </a:buClr>
                        <a:buFont typeface="+mj-lt"/>
                        <a:buAutoNum type="romanLcPeriod"/>
                        <a:tabLst/>
                      </a:pPr>
                      <a:r>
                        <a:rPr lang="es-ES" sz="1500" b="0" i="0" dirty="0">
                          <a:solidFill>
                            <a:schemeClr val="tx1"/>
                          </a:solidFill>
                          <a:latin typeface="Roboto" panose="02000000000000000000" pitchFamily="2" charset="0"/>
                          <a:ea typeface="Roboto" panose="02000000000000000000" pitchFamily="2" charset="0"/>
                        </a:rPr>
                        <a:t>Desarrollo de itinerarios: levantamiento de itinerarios por región (experiencias, destinos únicos y emergentes)</a:t>
                      </a:r>
                    </a:p>
                    <a:p>
                      <a:pPr marL="714375" lvl="1" indent="-436563" algn="l">
                        <a:spcAft>
                          <a:spcPts val="500"/>
                        </a:spcAft>
                        <a:buClr>
                          <a:srgbClr val="0070C0"/>
                        </a:buClr>
                        <a:buFont typeface="+mj-lt"/>
                        <a:buAutoNum type="romanLcPeriod"/>
                        <a:tabLst/>
                      </a:pPr>
                      <a:r>
                        <a:rPr lang="es-ES" sz="1500" b="0" i="0" dirty="0" err="1">
                          <a:solidFill>
                            <a:schemeClr val="tx1"/>
                          </a:solidFill>
                          <a:latin typeface="Roboto" panose="02000000000000000000" pitchFamily="2" charset="0"/>
                          <a:ea typeface="Roboto" panose="02000000000000000000" pitchFamily="2" charset="0"/>
                        </a:rPr>
                        <a:t>Fam</a:t>
                      </a:r>
                      <a:r>
                        <a:rPr lang="es-ES" sz="1500" b="0" i="0" dirty="0">
                          <a:solidFill>
                            <a:schemeClr val="tx1"/>
                          </a:solidFill>
                          <a:latin typeface="Roboto" panose="02000000000000000000" pitchFamily="2" charset="0"/>
                          <a:ea typeface="Roboto" panose="02000000000000000000" pitchFamily="2" charset="0"/>
                        </a:rPr>
                        <a:t> y </a:t>
                      </a:r>
                      <a:r>
                        <a:rPr lang="es-ES" sz="1500" b="0" i="0" dirty="0" err="1">
                          <a:solidFill>
                            <a:schemeClr val="tx1"/>
                          </a:solidFill>
                          <a:latin typeface="Roboto" panose="02000000000000000000" pitchFamily="2" charset="0"/>
                          <a:ea typeface="Roboto" panose="02000000000000000000" pitchFamily="2" charset="0"/>
                        </a:rPr>
                        <a:t>press</a:t>
                      </a:r>
                      <a:r>
                        <a:rPr lang="es-ES" sz="1500" b="0" i="0" dirty="0">
                          <a:solidFill>
                            <a:schemeClr val="tx1"/>
                          </a:solidFill>
                          <a:latin typeface="Roboto" panose="02000000000000000000" pitchFamily="2" charset="0"/>
                          <a:ea typeface="Roboto" panose="02000000000000000000" pitchFamily="2" charset="0"/>
                        </a:rPr>
                        <a:t> </a:t>
                      </a:r>
                      <a:r>
                        <a:rPr lang="es-ES" sz="1500" b="0" i="0" dirty="0" err="1">
                          <a:solidFill>
                            <a:schemeClr val="tx1"/>
                          </a:solidFill>
                          <a:latin typeface="Roboto" panose="02000000000000000000" pitchFamily="2" charset="0"/>
                          <a:ea typeface="Roboto" panose="02000000000000000000" pitchFamily="2" charset="0"/>
                        </a:rPr>
                        <a:t>trips</a:t>
                      </a:r>
                      <a:r>
                        <a:rPr lang="es-ES" sz="1500" b="0" i="0" dirty="0">
                          <a:solidFill>
                            <a:schemeClr val="tx1"/>
                          </a:solidFill>
                          <a:latin typeface="Roboto" panose="02000000000000000000" pitchFamily="2" charset="0"/>
                          <a:ea typeface="Roboto" panose="02000000000000000000" pitchFamily="2" charset="0"/>
                        </a:rPr>
                        <a:t>: colaboración para su ejecución en la región (recursos y de apoyo de los empresarios)</a:t>
                      </a:r>
                    </a:p>
                    <a:p>
                      <a:pPr marL="714375" lvl="1" indent="-436563" algn="l">
                        <a:spcAft>
                          <a:spcPts val="500"/>
                        </a:spcAft>
                        <a:buClr>
                          <a:srgbClr val="0070C0"/>
                        </a:buClr>
                        <a:buFont typeface="+mj-lt"/>
                        <a:buAutoNum type="romanLcPeriod"/>
                        <a:tabLst/>
                      </a:pPr>
                      <a:r>
                        <a:rPr lang="es-ES" sz="1500" b="0" i="0" dirty="0">
                          <a:solidFill>
                            <a:schemeClr val="tx1"/>
                          </a:solidFill>
                          <a:latin typeface="Roboto" panose="02000000000000000000" pitchFamily="2" charset="0"/>
                          <a:ea typeface="Roboto" panose="02000000000000000000" pitchFamily="2" charset="0"/>
                        </a:rPr>
                        <a:t>Capacitación / </a:t>
                      </a:r>
                      <a:r>
                        <a:rPr lang="es-ES" sz="1500" b="0" i="0" dirty="0" err="1">
                          <a:solidFill>
                            <a:schemeClr val="tx1"/>
                          </a:solidFill>
                          <a:latin typeface="Roboto" panose="02000000000000000000" pitchFamily="2" charset="0"/>
                          <a:ea typeface="Roboto" panose="02000000000000000000" pitchFamily="2" charset="0"/>
                        </a:rPr>
                        <a:t>webinars</a:t>
                      </a:r>
                      <a:r>
                        <a:rPr lang="es-ES" sz="1500" b="0" i="0" dirty="0">
                          <a:solidFill>
                            <a:schemeClr val="tx1"/>
                          </a:solidFill>
                          <a:latin typeface="Roboto" panose="02000000000000000000" pitchFamily="2" charset="0"/>
                          <a:ea typeface="Roboto" panose="02000000000000000000" pitchFamily="2" charset="0"/>
                        </a:rPr>
                        <a:t> específicos: ej. presentar Cultura mapuche, destino Isla Rapa Nui, etc.</a:t>
                      </a:r>
                    </a:p>
                    <a:p>
                      <a:pPr marL="714375" lvl="1" indent="-436563" algn="l">
                        <a:spcAft>
                          <a:spcPts val="500"/>
                        </a:spcAft>
                        <a:buClr>
                          <a:srgbClr val="0070C0"/>
                        </a:buClr>
                        <a:buFont typeface="+mj-lt"/>
                        <a:buAutoNum type="romanLcPeriod"/>
                        <a:tabLst/>
                      </a:pPr>
                      <a:r>
                        <a:rPr lang="es-ES" sz="1500" b="0" i="0" dirty="0">
                          <a:solidFill>
                            <a:schemeClr val="tx1"/>
                          </a:solidFill>
                          <a:latin typeface="Roboto" panose="02000000000000000000" pitchFamily="2" charset="0"/>
                          <a:ea typeface="Roboto" panose="02000000000000000000" pitchFamily="2" charset="0"/>
                        </a:rPr>
                        <a:t>Workshops, ferias y eventos: potenciar a las regiones realizando activaciones (ej. Exposición de joyería mapuche, bailes, exposición de fotografías etc.)</a:t>
                      </a:r>
                    </a:p>
                    <a:p>
                      <a:pPr marL="714375" lvl="1" indent="-436563" algn="l">
                        <a:spcAft>
                          <a:spcPts val="500"/>
                        </a:spcAft>
                        <a:buClr>
                          <a:srgbClr val="0070C0"/>
                        </a:buClr>
                        <a:buFont typeface="+mj-lt"/>
                        <a:buAutoNum type="romanLcPeriod"/>
                        <a:tabLst/>
                      </a:pPr>
                      <a:r>
                        <a:rPr lang="es-ES" sz="1500" b="0" i="0" dirty="0">
                          <a:solidFill>
                            <a:schemeClr val="tx1"/>
                          </a:solidFill>
                          <a:latin typeface="Roboto" panose="02000000000000000000" pitchFamily="2" charset="0"/>
                          <a:ea typeface="Roboto" panose="02000000000000000000" pitchFamily="2" charset="0"/>
                        </a:rPr>
                        <a:t>Material soporte: que las regiones puedan producir su propio material audiovisual alineado al PMTI. </a:t>
                      </a:r>
                    </a:p>
                    <a:p>
                      <a:pPr marL="714375" lvl="1" indent="-436563" algn="l">
                        <a:spcAft>
                          <a:spcPts val="500"/>
                        </a:spcAft>
                        <a:buClr>
                          <a:srgbClr val="0070C0"/>
                        </a:buClr>
                        <a:buFont typeface="+mj-lt"/>
                        <a:buAutoNum type="romanLcPeriod"/>
                        <a:tabLst/>
                      </a:pPr>
                      <a:r>
                        <a:rPr lang="es-ES" sz="1500" b="0" i="0" dirty="0">
                          <a:solidFill>
                            <a:schemeClr val="tx1"/>
                          </a:solidFill>
                          <a:latin typeface="Roboto" panose="02000000000000000000" pitchFamily="2" charset="0"/>
                          <a:ea typeface="Roboto" panose="02000000000000000000" pitchFamily="2" charset="0"/>
                        </a:rPr>
                        <a:t>Levantamiento de inteligencia de mercado desde las regiones </a:t>
                      </a:r>
                    </a:p>
                  </a:txBody>
                  <a:tcPr marL="137160" marR="137160" marT="68580" marB="6858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lang="es-ES" sz="1600" b="0" i="0" kern="1200" dirty="0">
                          <a:solidFill>
                            <a:schemeClr val="tx1"/>
                          </a:solidFill>
                          <a:latin typeface="Roboto" panose="02000000000000000000" pitchFamily="2" charset="0"/>
                          <a:ea typeface="Roboto" panose="02000000000000000000" pitchFamily="2" charset="0"/>
                          <a:cs typeface="+mn-cs"/>
                        </a:rPr>
                        <a:t>Puntos 1 a 4.i desde junio a octubre.</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lang="es-ES" sz="1600" b="0" i="0" kern="1200" dirty="0">
                          <a:solidFill>
                            <a:schemeClr val="tx1"/>
                          </a:solidFill>
                          <a:latin typeface="Roboto" panose="02000000000000000000" pitchFamily="2" charset="0"/>
                          <a:ea typeface="Roboto" panose="02000000000000000000" pitchFamily="2" charset="0"/>
                          <a:cs typeface="+mn-cs"/>
                        </a:rPr>
                        <a:t>Resto de puntos, desde noviembre en adelante</a:t>
                      </a:r>
                    </a:p>
                  </a:txBody>
                  <a:tcPr marL="137160" marR="13716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lang="es-ES" sz="1600" b="0" i="0" kern="1200" dirty="0">
                          <a:solidFill>
                            <a:schemeClr val="tx1"/>
                          </a:solidFill>
                          <a:latin typeface="Roboto" panose="02000000000000000000" pitchFamily="2" charset="0"/>
                          <a:ea typeface="Roboto" panose="02000000000000000000" pitchFamily="2" charset="0"/>
                          <a:cs typeface="+mn-cs"/>
                        </a:rPr>
                        <a:t>SERNATUR Regional</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lang="es-ES" sz="1600" b="0" i="0" kern="1200" dirty="0">
                          <a:solidFill>
                            <a:schemeClr val="tx1"/>
                          </a:solidFill>
                          <a:latin typeface="Roboto" panose="02000000000000000000" pitchFamily="2" charset="0"/>
                          <a:ea typeface="Roboto" panose="02000000000000000000" pitchFamily="2" charset="0"/>
                          <a:cs typeface="+mn-cs"/>
                        </a:rPr>
                        <a:t>Gobernadores</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lang="es-ES" sz="1600" b="0" i="0" kern="1200" dirty="0">
                          <a:solidFill>
                            <a:schemeClr val="tx1"/>
                          </a:solidFill>
                          <a:latin typeface="Roboto" panose="02000000000000000000" pitchFamily="2" charset="0"/>
                          <a:ea typeface="Roboto" panose="02000000000000000000" pitchFamily="2" charset="0"/>
                          <a:cs typeface="+mn-cs"/>
                        </a:rPr>
                        <a:t>Líderes regionales + encargados de los planes de marketing regionales</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lang="es-ES" sz="1600" b="0" i="0" kern="1200" dirty="0">
                          <a:solidFill>
                            <a:schemeClr val="tx1"/>
                          </a:solidFill>
                          <a:latin typeface="Roboto" panose="02000000000000000000" pitchFamily="2" charset="0"/>
                          <a:ea typeface="Roboto" panose="02000000000000000000" pitchFamily="2" charset="0"/>
                          <a:cs typeface="+mn-cs"/>
                        </a:rPr>
                        <a:t>Sector privado turístico regional</a:t>
                      </a:r>
                    </a:p>
                  </a:txBody>
                  <a:tcPr marL="137160" marR="137160" marT="0" marB="0" anchor="ct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2" name="Rectángulo 11">
            <a:extLst>
              <a:ext uri="{FF2B5EF4-FFF2-40B4-BE49-F238E27FC236}">
                <a16:creationId xmlns:a16="http://schemas.microsoft.com/office/drawing/2014/main" id="{24C6E9E3-18E9-D4FE-D75E-82F28EB2EE30}"/>
              </a:ext>
            </a:extLst>
          </p:cNvPr>
          <p:cNvSpPr/>
          <p:nvPr/>
        </p:nvSpPr>
        <p:spPr>
          <a:xfrm>
            <a:off x="942975" y="7996059"/>
            <a:ext cx="9392241" cy="458298"/>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b="1" dirty="0">
                <a:solidFill>
                  <a:schemeClr val="bg1"/>
                </a:solidFill>
                <a:latin typeface="Roboto" panose="02000000000000000000" pitchFamily="2" charset="0"/>
                <a:ea typeface="Roboto" panose="02000000000000000000" pitchFamily="2" charset="0"/>
              </a:rPr>
              <a:t>Matices y recomendaciones para la difusión y trabajo conjunto </a:t>
            </a:r>
          </a:p>
        </p:txBody>
      </p:sp>
      <p:sp>
        <p:nvSpPr>
          <p:cNvPr id="13" name="Rectángulo 12">
            <a:extLst>
              <a:ext uri="{FF2B5EF4-FFF2-40B4-BE49-F238E27FC236}">
                <a16:creationId xmlns:a16="http://schemas.microsoft.com/office/drawing/2014/main" id="{C0B47C6E-D267-E205-6239-989A0DA69717}"/>
              </a:ext>
            </a:extLst>
          </p:cNvPr>
          <p:cNvSpPr/>
          <p:nvPr/>
        </p:nvSpPr>
        <p:spPr>
          <a:xfrm>
            <a:off x="10439546" y="7996059"/>
            <a:ext cx="7422231" cy="43200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b="1" dirty="0">
                <a:solidFill>
                  <a:schemeClr val="bg1"/>
                </a:solidFill>
                <a:latin typeface="Roboto" panose="02000000000000000000" pitchFamily="2" charset="0"/>
                <a:ea typeface="Roboto" panose="02000000000000000000" pitchFamily="2" charset="0"/>
              </a:rPr>
              <a:t>Documentos de trabajo y control </a:t>
            </a:r>
          </a:p>
        </p:txBody>
      </p:sp>
      <p:sp>
        <p:nvSpPr>
          <p:cNvPr id="14" name="CuadroTexto 13">
            <a:extLst>
              <a:ext uri="{FF2B5EF4-FFF2-40B4-BE49-F238E27FC236}">
                <a16:creationId xmlns:a16="http://schemas.microsoft.com/office/drawing/2014/main" id="{5CD42DC7-8244-AFAB-7F74-3D436B335817}"/>
              </a:ext>
            </a:extLst>
          </p:cNvPr>
          <p:cNvSpPr txBox="1"/>
          <p:nvPr/>
        </p:nvSpPr>
        <p:spPr>
          <a:xfrm>
            <a:off x="10440665" y="8521727"/>
            <a:ext cx="7390135" cy="865281"/>
          </a:xfrm>
          <a:prstGeom prst="rect">
            <a:avLst/>
          </a:prstGeom>
          <a:solidFill>
            <a:schemeClr val="bg1"/>
          </a:solidFill>
          <a:ln w="9525" cap="rnd">
            <a:solidFill>
              <a:schemeClr val="bg1">
                <a:lumMod val="8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defPPr>
              <a:defRPr lang="es-ES"/>
            </a:defPPr>
            <a:lvl1pPr marL="228600" indent="-228600">
              <a:buFont typeface="Arial" panose="020B0604020202020204" pitchFamily="34" charset="0"/>
              <a:buChar char="•"/>
              <a:defRPr sz="1100" b="0">
                <a:solidFill>
                  <a:schemeClr val="tx1"/>
                </a:solidFill>
              </a:defRPr>
            </a:lvl1pPr>
          </a:lstStyle>
          <a:p>
            <a:r>
              <a:rPr lang="es-ES" sz="1650" dirty="0">
                <a:latin typeface="Roboto" panose="02000000000000000000" pitchFamily="2" charset="0"/>
                <a:ea typeface="Roboto" panose="02000000000000000000" pitchFamily="2" charset="0"/>
              </a:rPr>
              <a:t>Hojas de rutas y control de KPI trimestral/semestral </a:t>
            </a:r>
          </a:p>
          <a:p>
            <a:r>
              <a:rPr lang="es-ES" sz="1650" dirty="0">
                <a:latin typeface="Roboto" panose="02000000000000000000" pitchFamily="2" charset="0"/>
                <a:ea typeface="Roboto" panose="02000000000000000000" pitchFamily="2" charset="0"/>
              </a:rPr>
              <a:t>Comunicación trimestral/semestral dependiendo del tema</a:t>
            </a:r>
          </a:p>
        </p:txBody>
      </p:sp>
      <p:sp>
        <p:nvSpPr>
          <p:cNvPr id="15" name="CuadroTexto 14">
            <a:extLst>
              <a:ext uri="{FF2B5EF4-FFF2-40B4-BE49-F238E27FC236}">
                <a16:creationId xmlns:a16="http://schemas.microsoft.com/office/drawing/2014/main" id="{5CD42DC7-8244-AFAB-7F74-3D436B335817}"/>
              </a:ext>
            </a:extLst>
          </p:cNvPr>
          <p:cNvSpPr txBox="1"/>
          <p:nvPr/>
        </p:nvSpPr>
        <p:spPr>
          <a:xfrm>
            <a:off x="942975" y="8521727"/>
            <a:ext cx="9392241" cy="865281"/>
          </a:xfrm>
          <a:prstGeom prst="rect">
            <a:avLst/>
          </a:prstGeom>
          <a:solidFill>
            <a:schemeClr val="bg1"/>
          </a:solidFill>
          <a:ln w="9525" cap="rnd">
            <a:solidFill>
              <a:schemeClr val="bg1">
                <a:lumMod val="8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defPPr>
              <a:defRPr lang="es-ES"/>
            </a:defPPr>
            <a:lvl1pPr marL="228600" indent="-228600">
              <a:buFont typeface="+mj-lt"/>
              <a:buAutoNum type="alphaLcPeriod"/>
              <a:defRPr sz="1100" b="0">
                <a:solidFill>
                  <a:schemeClr val="tx1"/>
                </a:solidFill>
              </a:defRPr>
            </a:lvl1pPr>
          </a:lstStyle>
          <a:p>
            <a:r>
              <a:rPr lang="es-ES" sz="1650" dirty="0">
                <a:latin typeface="Roboto" panose="02000000000000000000" pitchFamily="2" charset="0"/>
                <a:ea typeface="Roboto" panose="02000000000000000000" pitchFamily="2" charset="0"/>
              </a:rPr>
              <a:t>Apoyar a levantar recursos desde los FNDR regionales para que puedan unirse a más actividades de promoción internacional.</a:t>
            </a:r>
          </a:p>
        </p:txBody>
      </p:sp>
    </p:spTree>
    <p:extLst>
      <p:ext uri="{BB962C8B-B14F-4D97-AF65-F5344CB8AC3E}">
        <p14:creationId xmlns:p14="http://schemas.microsoft.com/office/powerpoint/2010/main" val="23867601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BDF97B3D-682A-CE43-66F8-38939E2FF07D}"/>
              </a:ext>
            </a:extLst>
          </p:cNvPr>
          <p:cNvSpPr/>
          <p:nvPr/>
        </p:nvSpPr>
        <p:spPr>
          <a:xfrm>
            <a:off x="166956" y="1113694"/>
            <a:ext cx="17954625" cy="8678006"/>
          </a:xfrm>
          <a:custGeom>
            <a:avLst/>
            <a:gdLst/>
            <a:ahLst/>
            <a:cxnLst/>
            <a:rect l="l" t="t" r="r" b="b"/>
            <a:pathLst>
              <a:path w="17954625" h="4516120">
                <a:moveTo>
                  <a:pt x="0" y="4516002"/>
                </a:moveTo>
                <a:lnTo>
                  <a:pt x="17954029" y="4516002"/>
                </a:lnTo>
                <a:lnTo>
                  <a:pt x="17954029" y="0"/>
                </a:lnTo>
                <a:lnTo>
                  <a:pt x="0" y="0"/>
                </a:lnTo>
                <a:lnTo>
                  <a:pt x="0" y="4516002"/>
                </a:lnTo>
                <a:close/>
              </a:path>
            </a:pathLst>
          </a:custGeom>
          <a:solidFill>
            <a:srgbClr val="EFEBE2">
              <a:alpha val="55690"/>
            </a:srgbClr>
          </a:solidFill>
        </p:spPr>
        <p:txBody>
          <a:bodyPr wrap="square" lIns="0" tIns="0" rIns="0" bIns="0" rtlCol="0"/>
          <a:lstStyle/>
          <a:p>
            <a:endParaRPr/>
          </a:p>
        </p:txBody>
      </p:sp>
      <p:sp>
        <p:nvSpPr>
          <p:cNvPr id="9" name="object 4">
            <a:extLst>
              <a:ext uri="{FF2B5EF4-FFF2-40B4-BE49-F238E27FC236}">
                <a16:creationId xmlns:a16="http://schemas.microsoft.com/office/drawing/2014/main" id="{670B6591-F454-82E9-306D-55F252D5F071}"/>
              </a:ext>
            </a:extLst>
          </p:cNvPr>
          <p:cNvSpPr/>
          <p:nvPr/>
        </p:nvSpPr>
        <p:spPr>
          <a:xfrm>
            <a:off x="166956" y="171496"/>
            <a:ext cx="17954625" cy="13335"/>
          </a:xfrm>
          <a:custGeom>
            <a:avLst/>
            <a:gdLst/>
            <a:ahLst/>
            <a:cxnLst/>
            <a:rect l="l" t="t" r="r" b="b"/>
            <a:pathLst>
              <a:path w="17954625" h="13335">
                <a:moveTo>
                  <a:pt x="0" y="13336"/>
                </a:moveTo>
                <a:lnTo>
                  <a:pt x="17954029" y="13336"/>
                </a:lnTo>
                <a:lnTo>
                  <a:pt x="17954029" y="0"/>
                </a:lnTo>
                <a:lnTo>
                  <a:pt x="0" y="0"/>
                </a:lnTo>
                <a:lnTo>
                  <a:pt x="0" y="13336"/>
                </a:lnTo>
                <a:close/>
              </a:path>
            </a:pathLst>
          </a:custGeom>
          <a:solidFill>
            <a:srgbClr val="EFEBE2">
              <a:alpha val="55690"/>
            </a:srgbClr>
          </a:solidFill>
        </p:spPr>
        <p:txBody>
          <a:bodyPr wrap="square" lIns="0" tIns="0" rIns="0" bIns="0" rtlCol="0"/>
          <a:lstStyle/>
          <a:p>
            <a:endParaRPr/>
          </a:p>
        </p:txBody>
      </p:sp>
      <p:sp>
        <p:nvSpPr>
          <p:cNvPr id="16" name="object 6">
            <a:extLst>
              <a:ext uri="{FF2B5EF4-FFF2-40B4-BE49-F238E27FC236}">
                <a16:creationId xmlns:a16="http://schemas.microsoft.com/office/drawing/2014/main" id="{88032A9C-16F9-33E3-6E2F-61047188D400}"/>
              </a:ext>
            </a:extLst>
          </p:cNvPr>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F5A316"/>
          </a:solidFill>
        </p:spPr>
        <p:txBody>
          <a:bodyPr wrap="square" lIns="0" tIns="0" rIns="0" bIns="0" rtlCol="0"/>
          <a:lstStyle/>
          <a:p>
            <a:endParaRPr/>
          </a:p>
        </p:txBody>
      </p:sp>
      <p:sp>
        <p:nvSpPr>
          <p:cNvPr id="17" name="object 16">
            <a:extLst>
              <a:ext uri="{FF2B5EF4-FFF2-40B4-BE49-F238E27FC236}">
                <a16:creationId xmlns:a16="http://schemas.microsoft.com/office/drawing/2014/main" id="{C281CCB8-CAC1-689F-95D4-FDBF6C9A0A8A}"/>
              </a:ext>
            </a:extLst>
          </p:cNvPr>
          <p:cNvSpPr txBox="1"/>
          <p:nvPr/>
        </p:nvSpPr>
        <p:spPr>
          <a:xfrm>
            <a:off x="637985" y="384148"/>
            <a:ext cx="891984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4.</a:t>
            </a:r>
            <a:r>
              <a:rPr sz="3000" spc="-85" dirty="0">
                <a:solidFill>
                  <a:srgbClr val="FFFFFF"/>
                </a:solidFill>
                <a:latin typeface="Roboto"/>
                <a:cs typeface="Roboto"/>
              </a:rPr>
              <a:t> </a:t>
            </a:r>
            <a:r>
              <a:rPr sz="3000" dirty="0">
                <a:solidFill>
                  <a:srgbClr val="FFFFFF"/>
                </a:solidFill>
                <a:latin typeface="Roboto"/>
                <a:cs typeface="Roboto"/>
              </a:rPr>
              <a:t>¿Cómo</a:t>
            </a:r>
            <a:r>
              <a:rPr sz="3000" spc="-80" dirty="0">
                <a:solidFill>
                  <a:srgbClr val="FFFFFF"/>
                </a:solidFill>
                <a:latin typeface="Roboto"/>
                <a:cs typeface="Roboto"/>
              </a:rPr>
              <a:t> </a:t>
            </a:r>
            <a:r>
              <a:rPr sz="3000" spc="-25" dirty="0">
                <a:solidFill>
                  <a:srgbClr val="FFFFFF"/>
                </a:solidFill>
                <a:latin typeface="Roboto"/>
                <a:cs typeface="Roboto"/>
              </a:rPr>
              <a:t>distribuir</a:t>
            </a:r>
            <a:r>
              <a:rPr sz="3000" spc="-80" dirty="0">
                <a:solidFill>
                  <a:srgbClr val="FFFFFF"/>
                </a:solidFill>
                <a:latin typeface="Roboto"/>
                <a:cs typeface="Roboto"/>
              </a:rPr>
              <a:t> </a:t>
            </a:r>
            <a:r>
              <a:rPr sz="3000" dirty="0">
                <a:solidFill>
                  <a:srgbClr val="FFFFFF"/>
                </a:solidFill>
                <a:latin typeface="Roboto"/>
                <a:cs typeface="Roboto"/>
              </a:rPr>
              <a:t>el</a:t>
            </a:r>
            <a:r>
              <a:rPr sz="3000" spc="-80" dirty="0">
                <a:solidFill>
                  <a:srgbClr val="FFFFFF"/>
                </a:solidFill>
                <a:latin typeface="Roboto"/>
                <a:cs typeface="Roboto"/>
              </a:rPr>
              <a:t> </a:t>
            </a:r>
            <a:r>
              <a:rPr sz="3000" spc="-10" dirty="0">
                <a:solidFill>
                  <a:srgbClr val="FFFFFF"/>
                </a:solidFill>
                <a:latin typeface="Roboto"/>
                <a:cs typeface="Roboto"/>
              </a:rPr>
              <a:t>impacto</a:t>
            </a:r>
            <a:r>
              <a:rPr sz="3000" spc="-80" dirty="0">
                <a:solidFill>
                  <a:srgbClr val="FFFFFF"/>
                </a:solidFill>
                <a:latin typeface="Roboto"/>
                <a:cs typeface="Roboto"/>
              </a:rPr>
              <a:t> </a:t>
            </a:r>
            <a:r>
              <a:rPr sz="3000" spc="-10" dirty="0">
                <a:solidFill>
                  <a:srgbClr val="FFFFFF"/>
                </a:solidFill>
                <a:latin typeface="Roboto"/>
                <a:cs typeface="Roboto"/>
              </a:rPr>
              <a:t>positivo</a:t>
            </a:r>
            <a:r>
              <a:rPr sz="3000" spc="-80" dirty="0">
                <a:solidFill>
                  <a:srgbClr val="FFFFFF"/>
                </a:solidFill>
                <a:latin typeface="Roboto"/>
                <a:cs typeface="Roboto"/>
              </a:rPr>
              <a:t> </a:t>
            </a:r>
            <a:r>
              <a:rPr sz="3000" dirty="0">
                <a:solidFill>
                  <a:srgbClr val="FFFFFF"/>
                </a:solidFill>
                <a:latin typeface="Roboto"/>
                <a:cs typeface="Roboto"/>
              </a:rPr>
              <a:t>del</a:t>
            </a:r>
            <a:r>
              <a:rPr sz="3000" spc="-80" dirty="0">
                <a:solidFill>
                  <a:srgbClr val="FFFFFF"/>
                </a:solidFill>
                <a:latin typeface="Roboto"/>
                <a:cs typeface="Roboto"/>
              </a:rPr>
              <a:t> </a:t>
            </a:r>
            <a:r>
              <a:rPr sz="3000" spc="-10" dirty="0">
                <a:solidFill>
                  <a:srgbClr val="FFFFFF"/>
                </a:solidFill>
                <a:latin typeface="Roboto"/>
                <a:cs typeface="Roboto"/>
              </a:rPr>
              <a:t>turismo?</a:t>
            </a:r>
            <a:endParaRPr sz="3000">
              <a:latin typeface="Roboto"/>
              <a:cs typeface="Roboto"/>
            </a:endParaRPr>
          </a:p>
        </p:txBody>
      </p:sp>
      <p:pic>
        <p:nvPicPr>
          <p:cNvPr id="18" name="object 21">
            <a:extLst>
              <a:ext uri="{FF2B5EF4-FFF2-40B4-BE49-F238E27FC236}">
                <a16:creationId xmlns:a16="http://schemas.microsoft.com/office/drawing/2014/main" id="{AC506325-FCA5-AA36-D0E1-E9500FC59F74}"/>
              </a:ext>
            </a:extLst>
          </p:cNvPr>
          <p:cNvPicPr/>
          <p:nvPr/>
        </p:nvPicPr>
        <p:blipFill>
          <a:blip r:embed="rId4" cstate="print"/>
          <a:stretch>
            <a:fillRect/>
          </a:stretch>
        </p:blipFill>
        <p:spPr>
          <a:xfrm>
            <a:off x="17316450" y="237491"/>
            <a:ext cx="742949" cy="819149"/>
          </a:xfrm>
          <a:prstGeom prst="rect">
            <a:avLst/>
          </a:prstGeom>
        </p:spPr>
      </p:pic>
      <p:sp>
        <p:nvSpPr>
          <p:cNvPr id="19" name="object 22">
            <a:extLst>
              <a:ext uri="{FF2B5EF4-FFF2-40B4-BE49-F238E27FC236}">
                <a16:creationId xmlns:a16="http://schemas.microsoft.com/office/drawing/2014/main" id="{ADB19FEF-D7F1-1CFC-1BAB-85688801E84D}"/>
              </a:ext>
            </a:extLst>
          </p:cNvPr>
          <p:cNvSpPr txBox="1">
            <a:spLocks noGrp="1"/>
          </p:cNvSpPr>
          <p:nvPr>
            <p:ph type="ftr" sz="quarter" idx="5"/>
          </p:nvPr>
        </p:nvSpPr>
        <p:spPr>
          <a:xfrm>
            <a:off x="230690" y="9928082"/>
            <a:ext cx="4718050" cy="169107"/>
          </a:xfrm>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graphicFrame>
        <p:nvGraphicFramePr>
          <p:cNvPr id="8" name="Objeto 7" hidden="1">
            <a:extLst>
              <a:ext uri="{FF2B5EF4-FFF2-40B4-BE49-F238E27FC236}">
                <a16:creationId xmlns:a16="http://schemas.microsoft.com/office/drawing/2014/main" id="{02F99F2B-1F14-424F-474D-F6E2FF825636}"/>
              </a:ext>
            </a:extLst>
          </p:cNvPr>
          <p:cNvGraphicFramePr>
            <a:graphicFrameLocks noChangeAspect="1"/>
          </p:cNvGraphicFramePr>
          <p:nvPr>
            <p:custDataLst>
              <p:tags r:id="rId1"/>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Diapositiva de think-cell" r:id="rId5" imgW="360" imgH="360" progId="TCLayout.ActiveDocument.1">
                  <p:embed/>
                </p:oleObj>
              </mc:Choice>
              <mc:Fallback>
                <p:oleObj name="Diapositiva de think-cell" r:id="rId5" imgW="360" imgH="360" progId="TCLayout.ActiveDocument.1">
                  <p:embed/>
                  <p:pic>
                    <p:nvPicPr>
                      <p:cNvPr id="8" name="Objeto 7" hidden="1">
                        <a:extLst>
                          <a:ext uri="{FF2B5EF4-FFF2-40B4-BE49-F238E27FC236}">
                            <a16:creationId xmlns:a16="http://schemas.microsoft.com/office/drawing/2014/main" id="{02F99F2B-1F14-424F-474D-F6E2FF825636}"/>
                          </a:ext>
                        </a:extLst>
                      </p:cNvPr>
                      <p:cNvPicPr/>
                      <p:nvPr/>
                    </p:nvPicPr>
                    <p:blipFill>
                      <a:blip r:embed="rId6"/>
                      <a:stretch>
                        <a:fillRect/>
                      </a:stretch>
                    </p:blipFill>
                    <p:spPr>
                      <a:xfrm>
                        <a:off x="2382" y="2382"/>
                        <a:ext cx="2382" cy="2382"/>
                      </a:xfrm>
                      <a:prstGeom prst="rect">
                        <a:avLst/>
                      </a:prstGeom>
                    </p:spPr>
                  </p:pic>
                </p:oleObj>
              </mc:Fallback>
            </mc:AlternateContent>
          </a:graphicData>
        </a:graphic>
      </p:graphicFrame>
      <p:sp>
        <p:nvSpPr>
          <p:cNvPr id="2" name="Rectángulo: esquinas redondeadas 145">
            <a:extLst>
              <a:ext uri="{FF2B5EF4-FFF2-40B4-BE49-F238E27FC236}">
                <a16:creationId xmlns:a16="http://schemas.microsoft.com/office/drawing/2014/main" id="{4A5D48F2-36D2-105A-DA6B-D2FD00648BAD}"/>
              </a:ext>
            </a:extLst>
          </p:cNvPr>
          <p:cNvSpPr/>
          <p:nvPr/>
        </p:nvSpPr>
        <p:spPr>
          <a:xfrm>
            <a:off x="2121095" y="2946072"/>
            <a:ext cx="15161271" cy="4882869"/>
          </a:xfrm>
          <a:prstGeom prst="round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endParaRPr lang="en-GB">
              <a:solidFill>
                <a:srgbClr val="FFFFFF"/>
              </a:solidFill>
              <a:latin typeface="Roboto" panose="02000000000000000000" pitchFamily="2" charset="0"/>
              <a:ea typeface="Roboto" panose="02000000000000000000" pitchFamily="2" charset="0"/>
            </a:endParaRPr>
          </a:p>
        </p:txBody>
      </p:sp>
      <p:cxnSp>
        <p:nvCxnSpPr>
          <p:cNvPr id="3" name="Conector recto 107">
            <a:extLst>
              <a:ext uri="{FF2B5EF4-FFF2-40B4-BE49-F238E27FC236}">
                <a16:creationId xmlns:a16="http://schemas.microsoft.com/office/drawing/2014/main" id="{1D441FFC-0A06-3C52-E5A2-4592A1E72472}"/>
              </a:ext>
            </a:extLst>
          </p:cNvPr>
          <p:cNvCxnSpPr>
            <a:cxnSpLocks/>
          </p:cNvCxnSpPr>
          <p:nvPr/>
        </p:nvCxnSpPr>
        <p:spPr>
          <a:xfrm>
            <a:off x="1022690" y="5943637"/>
            <a:ext cx="0" cy="291267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 name="CuadroTexto 9">
            <a:extLst>
              <a:ext uri="{FF2B5EF4-FFF2-40B4-BE49-F238E27FC236}">
                <a16:creationId xmlns:a16="http://schemas.microsoft.com/office/drawing/2014/main" id="{EBC12E9B-8DCE-9AF6-A9E1-F64B2BEF69B9}"/>
              </a:ext>
            </a:extLst>
          </p:cNvPr>
          <p:cNvSpPr txBox="1"/>
          <p:nvPr/>
        </p:nvSpPr>
        <p:spPr>
          <a:xfrm>
            <a:off x="674856" y="4899531"/>
            <a:ext cx="1686008" cy="865281"/>
          </a:xfrm>
          <a:prstGeom prst="rect">
            <a:avLst/>
          </a:prstGeom>
          <a:solidFill>
            <a:schemeClr val="tx2"/>
          </a:solidFill>
          <a:ln w="9525"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2100" b="1" dirty="0">
                <a:solidFill>
                  <a:schemeClr val="bg1"/>
                </a:solidFill>
                <a:latin typeface="Roboto" panose="02000000000000000000" pitchFamily="2" charset="0"/>
                <a:ea typeface="Roboto" panose="02000000000000000000" pitchFamily="2" charset="0"/>
              </a:rPr>
              <a:t>REGIONES</a:t>
            </a:r>
          </a:p>
        </p:txBody>
      </p:sp>
      <p:cxnSp>
        <p:nvCxnSpPr>
          <p:cNvPr id="10" name="Conector recto 13">
            <a:extLst>
              <a:ext uri="{FF2B5EF4-FFF2-40B4-BE49-F238E27FC236}">
                <a16:creationId xmlns:a16="http://schemas.microsoft.com/office/drawing/2014/main" id="{6504580E-1D82-AA8E-81CF-D93EC57C8BCB}"/>
              </a:ext>
            </a:extLst>
          </p:cNvPr>
          <p:cNvCxnSpPr>
            <a:cxnSpLocks/>
          </p:cNvCxnSpPr>
          <p:nvPr/>
        </p:nvCxnSpPr>
        <p:spPr>
          <a:xfrm>
            <a:off x="1157414" y="7828941"/>
            <a:ext cx="16124952" cy="0"/>
          </a:xfrm>
          <a:prstGeom prst="line">
            <a:avLst/>
          </a:prstGeom>
          <a:ln w="9525" cap="rnd">
            <a:solidFill>
              <a:schemeClr val="tx1">
                <a:lumMod val="60000"/>
                <a:lumOff val="40000"/>
              </a:schemeClr>
            </a:solidFill>
            <a:prstDash val="dashDot"/>
            <a:round/>
          </a:ln>
        </p:spPr>
        <p:style>
          <a:lnRef idx="1">
            <a:schemeClr val="accent1"/>
          </a:lnRef>
          <a:fillRef idx="0">
            <a:schemeClr val="accent1"/>
          </a:fillRef>
          <a:effectRef idx="0">
            <a:schemeClr val="accent1"/>
          </a:effectRef>
          <a:fontRef idx="minor">
            <a:schemeClr val="tx1"/>
          </a:fontRef>
        </p:style>
      </p:cxnSp>
      <p:cxnSp>
        <p:nvCxnSpPr>
          <p:cNvPr id="20" name="Conector recto 14">
            <a:extLst>
              <a:ext uri="{FF2B5EF4-FFF2-40B4-BE49-F238E27FC236}">
                <a16:creationId xmlns:a16="http://schemas.microsoft.com/office/drawing/2014/main" id="{C46B1BE1-B50B-F573-9AA7-AB2A8DF5AC32}"/>
              </a:ext>
            </a:extLst>
          </p:cNvPr>
          <p:cNvCxnSpPr/>
          <p:nvPr/>
        </p:nvCxnSpPr>
        <p:spPr>
          <a:xfrm>
            <a:off x="1157414" y="2946072"/>
            <a:ext cx="16187387" cy="0"/>
          </a:xfrm>
          <a:prstGeom prst="line">
            <a:avLst/>
          </a:prstGeom>
          <a:ln w="9525" cap="rnd">
            <a:solidFill>
              <a:schemeClr val="tx1">
                <a:lumMod val="60000"/>
                <a:lumOff val="40000"/>
              </a:schemeClr>
            </a:solidFill>
            <a:prstDash val="dashDot"/>
            <a:round/>
          </a:ln>
        </p:spPr>
        <p:style>
          <a:lnRef idx="1">
            <a:schemeClr val="accent1"/>
          </a:lnRef>
          <a:fillRef idx="0">
            <a:schemeClr val="accent1"/>
          </a:fillRef>
          <a:effectRef idx="0">
            <a:schemeClr val="accent1"/>
          </a:effectRef>
          <a:fontRef idx="minor">
            <a:schemeClr val="tx1"/>
          </a:fontRef>
        </p:style>
      </p:cxnSp>
      <p:cxnSp>
        <p:nvCxnSpPr>
          <p:cNvPr id="21" name="Conector recto 16">
            <a:extLst>
              <a:ext uri="{FF2B5EF4-FFF2-40B4-BE49-F238E27FC236}">
                <a16:creationId xmlns:a16="http://schemas.microsoft.com/office/drawing/2014/main" id="{DB0D66CB-56AE-8A6B-E2A0-7B047C41BEC8}"/>
              </a:ext>
            </a:extLst>
          </p:cNvPr>
          <p:cNvCxnSpPr>
            <a:cxnSpLocks/>
            <a:stCxn id="6" idx="3"/>
          </p:cNvCxnSpPr>
          <p:nvPr/>
        </p:nvCxnSpPr>
        <p:spPr>
          <a:xfrm>
            <a:off x="2360864" y="5332172"/>
            <a:ext cx="14921506" cy="45126"/>
          </a:xfrm>
          <a:prstGeom prst="line">
            <a:avLst/>
          </a:prstGeom>
          <a:ln w="19050" cap="rnd">
            <a:solidFill>
              <a:srgbClr val="37373A"/>
            </a:solidFill>
            <a:prstDash val="solid"/>
            <a:round/>
          </a:ln>
        </p:spPr>
        <p:style>
          <a:lnRef idx="1">
            <a:schemeClr val="accent1"/>
          </a:lnRef>
          <a:fillRef idx="0">
            <a:schemeClr val="accent1"/>
          </a:fillRef>
          <a:effectRef idx="0">
            <a:schemeClr val="accent1"/>
          </a:effectRef>
          <a:fontRef idx="minor">
            <a:schemeClr val="tx1"/>
          </a:fontRef>
        </p:style>
      </p:cxnSp>
      <p:cxnSp>
        <p:nvCxnSpPr>
          <p:cNvPr id="22" name="Conector recto 25">
            <a:extLst>
              <a:ext uri="{FF2B5EF4-FFF2-40B4-BE49-F238E27FC236}">
                <a16:creationId xmlns:a16="http://schemas.microsoft.com/office/drawing/2014/main" id="{26F16E02-11B2-C982-26B7-7468B34A6096}"/>
              </a:ext>
            </a:extLst>
          </p:cNvPr>
          <p:cNvCxnSpPr>
            <a:cxnSpLocks/>
          </p:cNvCxnSpPr>
          <p:nvPr/>
        </p:nvCxnSpPr>
        <p:spPr>
          <a:xfrm>
            <a:off x="3265682" y="4807097"/>
            <a:ext cx="0" cy="519311"/>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3" name="Conector recto 32">
            <a:extLst>
              <a:ext uri="{FF2B5EF4-FFF2-40B4-BE49-F238E27FC236}">
                <a16:creationId xmlns:a16="http://schemas.microsoft.com/office/drawing/2014/main" id="{F8521C28-FF66-BCDE-CA70-E9F94999602F}"/>
              </a:ext>
            </a:extLst>
          </p:cNvPr>
          <p:cNvCxnSpPr>
            <a:cxnSpLocks/>
          </p:cNvCxnSpPr>
          <p:nvPr/>
        </p:nvCxnSpPr>
        <p:spPr>
          <a:xfrm>
            <a:off x="5567272" y="5330947"/>
            <a:ext cx="23909" cy="134471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CuadroTexto 42">
            <a:extLst>
              <a:ext uri="{FF2B5EF4-FFF2-40B4-BE49-F238E27FC236}">
                <a16:creationId xmlns:a16="http://schemas.microsoft.com/office/drawing/2014/main" id="{6B9D303F-1CE0-DE5C-8310-0A3B61C85314}"/>
              </a:ext>
            </a:extLst>
          </p:cNvPr>
          <p:cNvSpPr txBox="1"/>
          <p:nvPr/>
        </p:nvSpPr>
        <p:spPr>
          <a:xfrm>
            <a:off x="2583080" y="3893092"/>
            <a:ext cx="1494294" cy="6232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algn="ctr"/>
            <a:r>
              <a:rPr lang="es-ES" sz="1050" dirty="0">
                <a:solidFill>
                  <a:srgbClr val="575757"/>
                </a:solidFill>
                <a:latin typeface="Roboto" panose="02000000000000000000" pitchFamily="2" charset="0"/>
                <a:ea typeface="Roboto" panose="02000000000000000000" pitchFamily="2" charset="0"/>
              </a:rPr>
              <a:t>Presentar PMIT a SERNATUR Regional </a:t>
            </a:r>
          </a:p>
        </p:txBody>
      </p:sp>
      <p:cxnSp>
        <p:nvCxnSpPr>
          <p:cNvPr id="25" name="Conector recto 44">
            <a:extLst>
              <a:ext uri="{FF2B5EF4-FFF2-40B4-BE49-F238E27FC236}">
                <a16:creationId xmlns:a16="http://schemas.microsoft.com/office/drawing/2014/main" id="{BBC5DCEB-1CEE-98DE-052B-C48BD4A48086}"/>
              </a:ext>
            </a:extLst>
          </p:cNvPr>
          <p:cNvCxnSpPr>
            <a:cxnSpLocks/>
          </p:cNvCxnSpPr>
          <p:nvPr/>
        </p:nvCxnSpPr>
        <p:spPr>
          <a:xfrm>
            <a:off x="4035077" y="3745655"/>
            <a:ext cx="0" cy="1590897"/>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CuadroTexto 45">
            <a:extLst>
              <a:ext uri="{FF2B5EF4-FFF2-40B4-BE49-F238E27FC236}">
                <a16:creationId xmlns:a16="http://schemas.microsoft.com/office/drawing/2014/main" id="{240447CD-2CDB-7CF0-91B4-D21665917616}"/>
              </a:ext>
            </a:extLst>
          </p:cNvPr>
          <p:cNvSpPr txBox="1"/>
          <p:nvPr/>
        </p:nvSpPr>
        <p:spPr>
          <a:xfrm>
            <a:off x="2594971" y="6036263"/>
            <a:ext cx="1199045" cy="4434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050" dirty="0">
                <a:solidFill>
                  <a:srgbClr val="575757"/>
                </a:solidFill>
                <a:latin typeface="Roboto" panose="02000000000000000000" pitchFamily="2" charset="0"/>
                <a:ea typeface="Roboto" panose="02000000000000000000" pitchFamily="2" charset="0"/>
              </a:rPr>
              <a:t>Levantamiento de inquietudes de Regiones </a:t>
            </a:r>
          </a:p>
        </p:txBody>
      </p:sp>
      <p:cxnSp>
        <p:nvCxnSpPr>
          <p:cNvPr id="27" name="Conector recto 48">
            <a:extLst>
              <a:ext uri="{FF2B5EF4-FFF2-40B4-BE49-F238E27FC236}">
                <a16:creationId xmlns:a16="http://schemas.microsoft.com/office/drawing/2014/main" id="{C2AF878B-31FD-C30A-AE7A-7AC613ED2910}"/>
              </a:ext>
            </a:extLst>
          </p:cNvPr>
          <p:cNvCxnSpPr>
            <a:cxnSpLocks/>
          </p:cNvCxnSpPr>
          <p:nvPr/>
        </p:nvCxnSpPr>
        <p:spPr>
          <a:xfrm flipH="1">
            <a:off x="5052928" y="3706681"/>
            <a:ext cx="3038" cy="1613753"/>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8" name="CuadroTexto 50">
            <a:extLst>
              <a:ext uri="{FF2B5EF4-FFF2-40B4-BE49-F238E27FC236}">
                <a16:creationId xmlns:a16="http://schemas.microsoft.com/office/drawing/2014/main" id="{704B6505-7C5F-780A-EECB-F89024B97BA3}"/>
              </a:ext>
            </a:extLst>
          </p:cNvPr>
          <p:cNvSpPr txBox="1"/>
          <p:nvPr/>
        </p:nvSpPr>
        <p:spPr>
          <a:xfrm>
            <a:off x="3945119" y="3893092"/>
            <a:ext cx="1176488" cy="7848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algn="ctr"/>
            <a:r>
              <a:rPr lang="es-ES" sz="1050" dirty="0">
                <a:solidFill>
                  <a:srgbClr val="575757"/>
                </a:solidFill>
                <a:latin typeface="Roboto" panose="02000000000000000000" pitchFamily="2" charset="0"/>
                <a:ea typeface="Roboto" panose="02000000000000000000" pitchFamily="2" charset="0"/>
              </a:rPr>
              <a:t>Comienzo de proceso para establecer un plan conjunto</a:t>
            </a:r>
          </a:p>
        </p:txBody>
      </p:sp>
      <p:cxnSp>
        <p:nvCxnSpPr>
          <p:cNvPr id="29" name="Conector recto 53">
            <a:extLst>
              <a:ext uri="{FF2B5EF4-FFF2-40B4-BE49-F238E27FC236}">
                <a16:creationId xmlns:a16="http://schemas.microsoft.com/office/drawing/2014/main" id="{F8A31F44-5E3E-200D-E17A-CC59C88C6F28}"/>
              </a:ext>
            </a:extLst>
          </p:cNvPr>
          <p:cNvCxnSpPr>
            <a:cxnSpLocks/>
          </p:cNvCxnSpPr>
          <p:nvPr/>
        </p:nvCxnSpPr>
        <p:spPr>
          <a:xfrm flipH="1">
            <a:off x="5576803" y="4807097"/>
            <a:ext cx="4757" cy="510758"/>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CuadroTexto 54">
            <a:extLst>
              <a:ext uri="{FF2B5EF4-FFF2-40B4-BE49-F238E27FC236}">
                <a16:creationId xmlns:a16="http://schemas.microsoft.com/office/drawing/2014/main" id="{B106C5A3-C602-C1B3-D11E-27E240A6EEE7}"/>
              </a:ext>
            </a:extLst>
          </p:cNvPr>
          <p:cNvSpPr txBox="1"/>
          <p:nvPr/>
        </p:nvSpPr>
        <p:spPr>
          <a:xfrm>
            <a:off x="5041495" y="3893092"/>
            <a:ext cx="1198776" cy="9464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algn="ctr"/>
            <a:r>
              <a:rPr lang="es-ES" sz="1050" dirty="0">
                <a:solidFill>
                  <a:srgbClr val="575757"/>
                </a:solidFill>
                <a:latin typeface="Roboto" panose="02000000000000000000" pitchFamily="2" charset="0"/>
                <a:ea typeface="Roboto" panose="02000000000000000000" pitchFamily="2" charset="0"/>
              </a:rPr>
              <a:t>Definición de presupuestos cooperados con Regiones e instituciones</a:t>
            </a:r>
          </a:p>
        </p:txBody>
      </p:sp>
      <p:sp>
        <p:nvSpPr>
          <p:cNvPr id="31" name="CuadroTexto 59">
            <a:extLst>
              <a:ext uri="{FF2B5EF4-FFF2-40B4-BE49-F238E27FC236}">
                <a16:creationId xmlns:a16="http://schemas.microsoft.com/office/drawing/2014/main" id="{D558E6E9-361F-C6A2-5F30-A9670A9CAB02}"/>
              </a:ext>
            </a:extLst>
          </p:cNvPr>
          <p:cNvSpPr txBox="1"/>
          <p:nvPr/>
        </p:nvSpPr>
        <p:spPr>
          <a:xfrm>
            <a:off x="8190734" y="3893092"/>
            <a:ext cx="1280667" cy="78483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algn="ctr"/>
            <a:r>
              <a:rPr lang="es-ES" sz="1050" dirty="0">
                <a:solidFill>
                  <a:srgbClr val="575757"/>
                </a:solidFill>
                <a:latin typeface="Roboto" panose="02000000000000000000" pitchFamily="2" charset="0"/>
                <a:ea typeface="Roboto" panose="02000000000000000000" pitchFamily="2" charset="0"/>
              </a:rPr>
              <a:t>Ejecución cooperada con Regiones e instituciones</a:t>
            </a:r>
          </a:p>
        </p:txBody>
      </p:sp>
      <p:cxnSp>
        <p:nvCxnSpPr>
          <p:cNvPr id="32" name="Conector recto 61">
            <a:extLst>
              <a:ext uri="{FF2B5EF4-FFF2-40B4-BE49-F238E27FC236}">
                <a16:creationId xmlns:a16="http://schemas.microsoft.com/office/drawing/2014/main" id="{6AE772C3-2D95-D506-B5C4-91B5C6543223}"/>
              </a:ext>
            </a:extLst>
          </p:cNvPr>
          <p:cNvCxnSpPr>
            <a:cxnSpLocks/>
          </p:cNvCxnSpPr>
          <p:nvPr/>
        </p:nvCxnSpPr>
        <p:spPr>
          <a:xfrm>
            <a:off x="8831067" y="4821385"/>
            <a:ext cx="0" cy="516305"/>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CuadroTexto 67">
            <a:extLst>
              <a:ext uri="{FF2B5EF4-FFF2-40B4-BE49-F238E27FC236}">
                <a16:creationId xmlns:a16="http://schemas.microsoft.com/office/drawing/2014/main" id="{81C78F68-08D1-3A36-F357-FEE63E81A4A9}"/>
              </a:ext>
            </a:extLst>
          </p:cNvPr>
          <p:cNvSpPr txBox="1"/>
          <p:nvPr/>
        </p:nvSpPr>
        <p:spPr>
          <a:xfrm>
            <a:off x="6307529" y="6200166"/>
            <a:ext cx="1056945" cy="5466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050" dirty="0">
                <a:solidFill>
                  <a:srgbClr val="575757"/>
                </a:solidFill>
                <a:latin typeface="Roboto" panose="02000000000000000000" pitchFamily="2" charset="0"/>
                <a:ea typeface="Roboto" panose="02000000000000000000" pitchFamily="2" charset="0"/>
              </a:rPr>
              <a:t>Hoja de ruta y KPI de trabajo con las regiones</a:t>
            </a:r>
          </a:p>
        </p:txBody>
      </p:sp>
      <p:cxnSp>
        <p:nvCxnSpPr>
          <p:cNvPr id="34" name="Conector recto 69">
            <a:extLst>
              <a:ext uri="{FF2B5EF4-FFF2-40B4-BE49-F238E27FC236}">
                <a16:creationId xmlns:a16="http://schemas.microsoft.com/office/drawing/2014/main" id="{5B7BA398-AE7F-BD53-1F50-0B00B6BF5F6E}"/>
              </a:ext>
            </a:extLst>
          </p:cNvPr>
          <p:cNvCxnSpPr>
            <a:cxnSpLocks/>
          </p:cNvCxnSpPr>
          <p:nvPr/>
        </p:nvCxnSpPr>
        <p:spPr>
          <a:xfrm>
            <a:off x="6780909" y="5292050"/>
            <a:ext cx="0" cy="741152"/>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5" name="Conector recto 76">
            <a:extLst>
              <a:ext uri="{FF2B5EF4-FFF2-40B4-BE49-F238E27FC236}">
                <a16:creationId xmlns:a16="http://schemas.microsoft.com/office/drawing/2014/main" id="{58699956-B0A7-F577-4DC2-C6A24D47C0AA}"/>
              </a:ext>
            </a:extLst>
          </p:cNvPr>
          <p:cNvCxnSpPr>
            <a:cxnSpLocks/>
          </p:cNvCxnSpPr>
          <p:nvPr/>
        </p:nvCxnSpPr>
        <p:spPr>
          <a:xfrm>
            <a:off x="2890740"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36" name="Conector recto 77">
            <a:extLst>
              <a:ext uri="{FF2B5EF4-FFF2-40B4-BE49-F238E27FC236}">
                <a16:creationId xmlns:a16="http://schemas.microsoft.com/office/drawing/2014/main" id="{7C4A2A66-7D4C-D364-0894-24BB99C9FA06}"/>
              </a:ext>
            </a:extLst>
          </p:cNvPr>
          <p:cNvCxnSpPr>
            <a:cxnSpLocks/>
          </p:cNvCxnSpPr>
          <p:nvPr/>
        </p:nvCxnSpPr>
        <p:spPr>
          <a:xfrm>
            <a:off x="3669182"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37" name="Conector recto 78">
            <a:extLst>
              <a:ext uri="{FF2B5EF4-FFF2-40B4-BE49-F238E27FC236}">
                <a16:creationId xmlns:a16="http://schemas.microsoft.com/office/drawing/2014/main" id="{65CB6E52-9B96-3E9C-F60A-463F7BA2765F}"/>
              </a:ext>
            </a:extLst>
          </p:cNvPr>
          <p:cNvCxnSpPr>
            <a:cxnSpLocks/>
          </p:cNvCxnSpPr>
          <p:nvPr/>
        </p:nvCxnSpPr>
        <p:spPr>
          <a:xfrm>
            <a:off x="4447623"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38" name="Conector recto 79">
            <a:extLst>
              <a:ext uri="{FF2B5EF4-FFF2-40B4-BE49-F238E27FC236}">
                <a16:creationId xmlns:a16="http://schemas.microsoft.com/office/drawing/2014/main" id="{DCB0D95E-0A96-A084-6FE4-68E1A9969623}"/>
              </a:ext>
            </a:extLst>
          </p:cNvPr>
          <p:cNvCxnSpPr>
            <a:cxnSpLocks/>
          </p:cNvCxnSpPr>
          <p:nvPr/>
        </p:nvCxnSpPr>
        <p:spPr>
          <a:xfrm>
            <a:off x="5226065"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39" name="Conector recto 80">
            <a:extLst>
              <a:ext uri="{FF2B5EF4-FFF2-40B4-BE49-F238E27FC236}">
                <a16:creationId xmlns:a16="http://schemas.microsoft.com/office/drawing/2014/main" id="{28E4A752-5C86-CBB3-5BD1-40A051F58E03}"/>
              </a:ext>
            </a:extLst>
          </p:cNvPr>
          <p:cNvCxnSpPr>
            <a:cxnSpLocks/>
          </p:cNvCxnSpPr>
          <p:nvPr/>
        </p:nvCxnSpPr>
        <p:spPr>
          <a:xfrm>
            <a:off x="6004506"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Conector recto 81">
            <a:extLst>
              <a:ext uri="{FF2B5EF4-FFF2-40B4-BE49-F238E27FC236}">
                <a16:creationId xmlns:a16="http://schemas.microsoft.com/office/drawing/2014/main" id="{EB4FEEDF-C5CC-85F1-BF56-A2F39E483F93}"/>
              </a:ext>
            </a:extLst>
          </p:cNvPr>
          <p:cNvCxnSpPr>
            <a:cxnSpLocks/>
          </p:cNvCxnSpPr>
          <p:nvPr/>
        </p:nvCxnSpPr>
        <p:spPr>
          <a:xfrm>
            <a:off x="6782948"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41" name="Conector recto 82">
            <a:extLst>
              <a:ext uri="{FF2B5EF4-FFF2-40B4-BE49-F238E27FC236}">
                <a16:creationId xmlns:a16="http://schemas.microsoft.com/office/drawing/2014/main" id="{2F9953DB-F125-D4EF-D415-0F05D1D0952E}"/>
              </a:ext>
            </a:extLst>
          </p:cNvPr>
          <p:cNvCxnSpPr>
            <a:cxnSpLocks/>
          </p:cNvCxnSpPr>
          <p:nvPr/>
        </p:nvCxnSpPr>
        <p:spPr>
          <a:xfrm>
            <a:off x="7561389"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Conector recto 83">
            <a:extLst>
              <a:ext uri="{FF2B5EF4-FFF2-40B4-BE49-F238E27FC236}">
                <a16:creationId xmlns:a16="http://schemas.microsoft.com/office/drawing/2014/main" id="{02348DBD-A4A9-3B45-9DB0-2D25FA09C9D7}"/>
              </a:ext>
            </a:extLst>
          </p:cNvPr>
          <p:cNvCxnSpPr>
            <a:cxnSpLocks/>
          </p:cNvCxnSpPr>
          <p:nvPr/>
        </p:nvCxnSpPr>
        <p:spPr>
          <a:xfrm>
            <a:off x="8339831"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Conector recto 84">
            <a:extLst>
              <a:ext uri="{FF2B5EF4-FFF2-40B4-BE49-F238E27FC236}">
                <a16:creationId xmlns:a16="http://schemas.microsoft.com/office/drawing/2014/main" id="{40A6C503-576A-775A-486D-F006EDFBB361}"/>
              </a:ext>
            </a:extLst>
          </p:cNvPr>
          <p:cNvCxnSpPr>
            <a:cxnSpLocks/>
          </p:cNvCxnSpPr>
          <p:nvPr/>
        </p:nvCxnSpPr>
        <p:spPr>
          <a:xfrm>
            <a:off x="9118272"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44" name="Conector recto 85">
            <a:extLst>
              <a:ext uri="{FF2B5EF4-FFF2-40B4-BE49-F238E27FC236}">
                <a16:creationId xmlns:a16="http://schemas.microsoft.com/office/drawing/2014/main" id="{BB209EFA-BD37-EA7F-C2AC-B316B9EC9587}"/>
              </a:ext>
            </a:extLst>
          </p:cNvPr>
          <p:cNvCxnSpPr>
            <a:cxnSpLocks/>
          </p:cNvCxnSpPr>
          <p:nvPr/>
        </p:nvCxnSpPr>
        <p:spPr>
          <a:xfrm>
            <a:off x="9896714"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45" name="Conector recto 86">
            <a:extLst>
              <a:ext uri="{FF2B5EF4-FFF2-40B4-BE49-F238E27FC236}">
                <a16:creationId xmlns:a16="http://schemas.microsoft.com/office/drawing/2014/main" id="{761EBE34-2FC6-CAC7-4688-3B7070E9069F}"/>
              </a:ext>
            </a:extLst>
          </p:cNvPr>
          <p:cNvCxnSpPr>
            <a:cxnSpLocks/>
          </p:cNvCxnSpPr>
          <p:nvPr/>
        </p:nvCxnSpPr>
        <p:spPr>
          <a:xfrm>
            <a:off x="10675155"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46" name="Conector recto 87">
            <a:extLst>
              <a:ext uri="{FF2B5EF4-FFF2-40B4-BE49-F238E27FC236}">
                <a16:creationId xmlns:a16="http://schemas.microsoft.com/office/drawing/2014/main" id="{31E8A065-F27F-E36C-68E7-121F026FC770}"/>
              </a:ext>
            </a:extLst>
          </p:cNvPr>
          <p:cNvCxnSpPr>
            <a:cxnSpLocks/>
          </p:cNvCxnSpPr>
          <p:nvPr/>
        </p:nvCxnSpPr>
        <p:spPr>
          <a:xfrm>
            <a:off x="11453597"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47" name="Conector recto 88">
            <a:extLst>
              <a:ext uri="{FF2B5EF4-FFF2-40B4-BE49-F238E27FC236}">
                <a16:creationId xmlns:a16="http://schemas.microsoft.com/office/drawing/2014/main" id="{9F71FA98-7ACC-2A12-32D7-9A4EEC11F160}"/>
              </a:ext>
            </a:extLst>
          </p:cNvPr>
          <p:cNvCxnSpPr>
            <a:cxnSpLocks/>
          </p:cNvCxnSpPr>
          <p:nvPr/>
        </p:nvCxnSpPr>
        <p:spPr>
          <a:xfrm>
            <a:off x="12232038"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48" name="Conector recto 89">
            <a:extLst>
              <a:ext uri="{FF2B5EF4-FFF2-40B4-BE49-F238E27FC236}">
                <a16:creationId xmlns:a16="http://schemas.microsoft.com/office/drawing/2014/main" id="{6DEB7C1B-657D-64C3-EE9E-1721CAAA5B55}"/>
              </a:ext>
            </a:extLst>
          </p:cNvPr>
          <p:cNvCxnSpPr>
            <a:cxnSpLocks/>
          </p:cNvCxnSpPr>
          <p:nvPr/>
        </p:nvCxnSpPr>
        <p:spPr>
          <a:xfrm>
            <a:off x="13010480"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49" name="Conector recto 90">
            <a:extLst>
              <a:ext uri="{FF2B5EF4-FFF2-40B4-BE49-F238E27FC236}">
                <a16:creationId xmlns:a16="http://schemas.microsoft.com/office/drawing/2014/main" id="{CB5ABE97-6F15-3DD0-F1AF-3A68281CA359}"/>
              </a:ext>
            </a:extLst>
          </p:cNvPr>
          <p:cNvCxnSpPr>
            <a:cxnSpLocks/>
          </p:cNvCxnSpPr>
          <p:nvPr/>
        </p:nvCxnSpPr>
        <p:spPr>
          <a:xfrm>
            <a:off x="13788921"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50" name="Conector recto 91">
            <a:extLst>
              <a:ext uri="{FF2B5EF4-FFF2-40B4-BE49-F238E27FC236}">
                <a16:creationId xmlns:a16="http://schemas.microsoft.com/office/drawing/2014/main" id="{3254C464-B69F-C9CA-E87A-BE6BB239EAC6}"/>
              </a:ext>
            </a:extLst>
          </p:cNvPr>
          <p:cNvCxnSpPr>
            <a:cxnSpLocks/>
          </p:cNvCxnSpPr>
          <p:nvPr/>
        </p:nvCxnSpPr>
        <p:spPr>
          <a:xfrm>
            <a:off x="14567363"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51" name="Conector recto 92">
            <a:extLst>
              <a:ext uri="{FF2B5EF4-FFF2-40B4-BE49-F238E27FC236}">
                <a16:creationId xmlns:a16="http://schemas.microsoft.com/office/drawing/2014/main" id="{A80849CE-6C90-70E8-5426-09ABC2B99DFB}"/>
              </a:ext>
            </a:extLst>
          </p:cNvPr>
          <p:cNvCxnSpPr>
            <a:cxnSpLocks/>
          </p:cNvCxnSpPr>
          <p:nvPr/>
        </p:nvCxnSpPr>
        <p:spPr>
          <a:xfrm>
            <a:off x="15345804"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52" name="Conector recto 93">
            <a:extLst>
              <a:ext uri="{FF2B5EF4-FFF2-40B4-BE49-F238E27FC236}">
                <a16:creationId xmlns:a16="http://schemas.microsoft.com/office/drawing/2014/main" id="{18C7D92D-7A97-5041-90C7-87229D3B8F2F}"/>
              </a:ext>
            </a:extLst>
          </p:cNvPr>
          <p:cNvCxnSpPr>
            <a:cxnSpLocks/>
          </p:cNvCxnSpPr>
          <p:nvPr/>
        </p:nvCxnSpPr>
        <p:spPr>
          <a:xfrm>
            <a:off x="16124246"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53" name="Conector recto 94">
            <a:extLst>
              <a:ext uri="{FF2B5EF4-FFF2-40B4-BE49-F238E27FC236}">
                <a16:creationId xmlns:a16="http://schemas.microsoft.com/office/drawing/2014/main" id="{5836524C-E8E8-145F-F811-16CB0C7312BD}"/>
              </a:ext>
            </a:extLst>
          </p:cNvPr>
          <p:cNvCxnSpPr>
            <a:cxnSpLocks/>
          </p:cNvCxnSpPr>
          <p:nvPr/>
        </p:nvCxnSpPr>
        <p:spPr>
          <a:xfrm>
            <a:off x="16902692" y="5204635"/>
            <a:ext cx="0" cy="215006"/>
          </a:xfrm>
          <a:prstGeom prst="line">
            <a:avLst/>
          </a:prstGeom>
          <a:ln w="28575" cap="rnd">
            <a:solidFill>
              <a:srgbClr val="E71C57"/>
            </a:solidFill>
            <a:prstDash val="solid"/>
            <a:round/>
          </a:ln>
        </p:spPr>
        <p:style>
          <a:lnRef idx="1">
            <a:schemeClr val="accent1"/>
          </a:lnRef>
          <a:fillRef idx="0">
            <a:schemeClr val="accent1"/>
          </a:fillRef>
          <a:effectRef idx="0">
            <a:schemeClr val="accent1"/>
          </a:effectRef>
          <a:fontRef idx="minor">
            <a:schemeClr val="tx1"/>
          </a:fontRef>
        </p:style>
      </p:cxnSp>
      <p:cxnSp>
        <p:nvCxnSpPr>
          <p:cNvPr id="54" name="Conector recto 98">
            <a:extLst>
              <a:ext uri="{FF2B5EF4-FFF2-40B4-BE49-F238E27FC236}">
                <a16:creationId xmlns:a16="http://schemas.microsoft.com/office/drawing/2014/main" id="{FA396AA7-14C8-0CBD-2D0E-B0B1BC354EE7}"/>
              </a:ext>
            </a:extLst>
          </p:cNvPr>
          <p:cNvCxnSpPr>
            <a:cxnSpLocks/>
          </p:cNvCxnSpPr>
          <p:nvPr/>
        </p:nvCxnSpPr>
        <p:spPr>
          <a:xfrm>
            <a:off x="7561390" y="2675246"/>
            <a:ext cx="14288" cy="6033945"/>
          </a:xfrm>
          <a:prstGeom prst="line">
            <a:avLst/>
          </a:prstGeom>
          <a:ln w="19050" cap="rnd">
            <a:solidFill>
              <a:srgbClr val="E71C57"/>
            </a:solidFill>
            <a:prstDash val="sysDot"/>
            <a:round/>
          </a:ln>
        </p:spPr>
        <p:style>
          <a:lnRef idx="1">
            <a:schemeClr val="accent1"/>
          </a:lnRef>
          <a:fillRef idx="0">
            <a:schemeClr val="accent1"/>
          </a:fillRef>
          <a:effectRef idx="0">
            <a:schemeClr val="accent1"/>
          </a:effectRef>
          <a:fontRef idx="minor">
            <a:schemeClr val="tx1"/>
          </a:fontRef>
        </p:style>
      </p:cxnSp>
      <p:sp>
        <p:nvSpPr>
          <p:cNvPr id="55" name="CuadroTexto 28">
            <a:extLst>
              <a:ext uri="{FF2B5EF4-FFF2-40B4-BE49-F238E27FC236}">
                <a16:creationId xmlns:a16="http://schemas.microsoft.com/office/drawing/2014/main" id="{F31EC140-E21A-5A7C-71F2-B0FE251E95EE}"/>
              </a:ext>
            </a:extLst>
          </p:cNvPr>
          <p:cNvSpPr txBox="1"/>
          <p:nvPr/>
        </p:nvSpPr>
        <p:spPr>
          <a:xfrm rot="16200000">
            <a:off x="-742033" y="5073064"/>
            <a:ext cx="2313664" cy="32125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650" dirty="0">
                <a:solidFill>
                  <a:srgbClr val="575757"/>
                </a:solidFill>
                <a:latin typeface="Roboto" panose="02000000000000000000" pitchFamily="2" charset="0"/>
                <a:ea typeface="Roboto" panose="02000000000000000000" pitchFamily="2" charset="0"/>
              </a:rPr>
              <a:t>Sector Público</a:t>
            </a:r>
          </a:p>
        </p:txBody>
      </p:sp>
      <p:sp>
        <p:nvSpPr>
          <p:cNvPr id="56" name="CuadroTexto 118">
            <a:extLst>
              <a:ext uri="{FF2B5EF4-FFF2-40B4-BE49-F238E27FC236}">
                <a16:creationId xmlns:a16="http://schemas.microsoft.com/office/drawing/2014/main" id="{EF93836D-28ED-1C60-53E7-5924031741DE}"/>
              </a:ext>
            </a:extLst>
          </p:cNvPr>
          <p:cNvSpPr txBox="1"/>
          <p:nvPr/>
        </p:nvSpPr>
        <p:spPr>
          <a:xfrm>
            <a:off x="5279300" y="2270439"/>
            <a:ext cx="2626976" cy="7540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spAutoFit/>
          </a:bodyPr>
          <a:lstStyle/>
          <a:p>
            <a:pPr algn="ctr"/>
            <a:r>
              <a:rPr lang="es-ES" sz="4000" b="1" dirty="0">
                <a:solidFill>
                  <a:srgbClr val="0070C0"/>
                </a:solidFill>
                <a:latin typeface="Roboto" panose="02000000000000000000" pitchFamily="2" charset="0"/>
                <a:ea typeface="Roboto" panose="02000000000000000000" pitchFamily="2" charset="0"/>
              </a:rPr>
              <a:t>2023</a:t>
            </a:r>
          </a:p>
        </p:txBody>
      </p:sp>
      <p:sp>
        <p:nvSpPr>
          <p:cNvPr id="57" name="CuadroTexto 119">
            <a:extLst>
              <a:ext uri="{FF2B5EF4-FFF2-40B4-BE49-F238E27FC236}">
                <a16:creationId xmlns:a16="http://schemas.microsoft.com/office/drawing/2014/main" id="{4B5C3DFE-CB09-2649-69C3-861093C7F2D4}"/>
              </a:ext>
            </a:extLst>
          </p:cNvPr>
          <p:cNvSpPr txBox="1"/>
          <p:nvPr/>
        </p:nvSpPr>
        <p:spPr>
          <a:xfrm>
            <a:off x="7568534" y="2272394"/>
            <a:ext cx="2626976" cy="7540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spAutoFit/>
          </a:bodyPr>
          <a:lstStyle/>
          <a:p>
            <a:pPr algn="ctr"/>
            <a:r>
              <a:rPr lang="es-ES" sz="4000" b="1" dirty="0">
                <a:solidFill>
                  <a:srgbClr val="0070C0"/>
                </a:solidFill>
                <a:latin typeface="Roboto" panose="02000000000000000000" pitchFamily="2" charset="0"/>
                <a:ea typeface="Roboto" panose="02000000000000000000" pitchFamily="2" charset="0"/>
              </a:rPr>
              <a:t>2024</a:t>
            </a:r>
          </a:p>
        </p:txBody>
      </p:sp>
      <p:cxnSp>
        <p:nvCxnSpPr>
          <p:cNvPr id="58" name="Conector recto 122">
            <a:extLst>
              <a:ext uri="{FF2B5EF4-FFF2-40B4-BE49-F238E27FC236}">
                <a16:creationId xmlns:a16="http://schemas.microsoft.com/office/drawing/2014/main" id="{8A006A1D-6D1C-887F-164C-2096E1392A21}"/>
              </a:ext>
            </a:extLst>
          </p:cNvPr>
          <p:cNvCxnSpPr>
            <a:cxnSpLocks/>
          </p:cNvCxnSpPr>
          <p:nvPr/>
        </p:nvCxnSpPr>
        <p:spPr>
          <a:xfrm flipH="1">
            <a:off x="4590965" y="4821385"/>
            <a:ext cx="4757" cy="510758"/>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9" name="Conector recto 135">
            <a:extLst>
              <a:ext uri="{FF2B5EF4-FFF2-40B4-BE49-F238E27FC236}">
                <a16:creationId xmlns:a16="http://schemas.microsoft.com/office/drawing/2014/main" id="{0D33D2CF-8D9E-E691-1375-7AF112ACAC9A}"/>
              </a:ext>
            </a:extLst>
          </p:cNvPr>
          <p:cNvCxnSpPr>
            <a:cxnSpLocks/>
          </p:cNvCxnSpPr>
          <p:nvPr/>
        </p:nvCxnSpPr>
        <p:spPr>
          <a:xfrm>
            <a:off x="9901691" y="5315585"/>
            <a:ext cx="0" cy="892844"/>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0" name="CuadroTexto 136">
            <a:extLst>
              <a:ext uri="{FF2B5EF4-FFF2-40B4-BE49-F238E27FC236}">
                <a16:creationId xmlns:a16="http://schemas.microsoft.com/office/drawing/2014/main" id="{71032952-0BC8-E5F7-24C2-1143ADF3D8A7}"/>
              </a:ext>
            </a:extLst>
          </p:cNvPr>
          <p:cNvSpPr txBox="1"/>
          <p:nvPr/>
        </p:nvSpPr>
        <p:spPr>
          <a:xfrm>
            <a:off x="13807245" y="6393375"/>
            <a:ext cx="1397004" cy="4485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050" dirty="0">
                <a:solidFill>
                  <a:srgbClr val="575757"/>
                </a:solidFill>
                <a:latin typeface="Roboto" panose="02000000000000000000" pitchFamily="2" charset="0"/>
                <a:ea typeface="Roboto" panose="02000000000000000000" pitchFamily="2" charset="0"/>
              </a:rPr>
              <a:t>Reporte inteligencia de mercados desde Regiones</a:t>
            </a:r>
          </a:p>
        </p:txBody>
      </p:sp>
      <p:cxnSp>
        <p:nvCxnSpPr>
          <p:cNvPr id="61" name="Conector recto 137">
            <a:extLst>
              <a:ext uri="{FF2B5EF4-FFF2-40B4-BE49-F238E27FC236}">
                <a16:creationId xmlns:a16="http://schemas.microsoft.com/office/drawing/2014/main" id="{E0BE5F02-8FAD-8B4D-6E62-F32B196BCA55}"/>
              </a:ext>
            </a:extLst>
          </p:cNvPr>
          <p:cNvCxnSpPr>
            <a:cxnSpLocks/>
          </p:cNvCxnSpPr>
          <p:nvPr/>
        </p:nvCxnSpPr>
        <p:spPr>
          <a:xfrm>
            <a:off x="12225571" y="5315585"/>
            <a:ext cx="17069" cy="834482"/>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2" name="Conector recto 139">
            <a:extLst>
              <a:ext uri="{FF2B5EF4-FFF2-40B4-BE49-F238E27FC236}">
                <a16:creationId xmlns:a16="http://schemas.microsoft.com/office/drawing/2014/main" id="{AF4F5BAA-4E7A-4240-97E7-3FD016016518}"/>
              </a:ext>
            </a:extLst>
          </p:cNvPr>
          <p:cNvCxnSpPr>
            <a:cxnSpLocks/>
          </p:cNvCxnSpPr>
          <p:nvPr/>
        </p:nvCxnSpPr>
        <p:spPr>
          <a:xfrm>
            <a:off x="14566241" y="5315585"/>
            <a:ext cx="1122" cy="884582"/>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CuadroTexto 146">
            <a:extLst>
              <a:ext uri="{FF2B5EF4-FFF2-40B4-BE49-F238E27FC236}">
                <a16:creationId xmlns:a16="http://schemas.microsoft.com/office/drawing/2014/main" id="{823AF0F5-221B-AB68-E3F5-F5F8C970223D}"/>
              </a:ext>
            </a:extLst>
          </p:cNvPr>
          <p:cNvSpPr txBox="1"/>
          <p:nvPr/>
        </p:nvSpPr>
        <p:spPr>
          <a:xfrm>
            <a:off x="2503480"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Jul</a:t>
            </a:r>
          </a:p>
        </p:txBody>
      </p:sp>
      <p:sp>
        <p:nvSpPr>
          <p:cNvPr id="64" name="CuadroTexto 147">
            <a:extLst>
              <a:ext uri="{FF2B5EF4-FFF2-40B4-BE49-F238E27FC236}">
                <a16:creationId xmlns:a16="http://schemas.microsoft.com/office/drawing/2014/main" id="{7FB54210-48C9-CB51-6491-85085E348B4B}"/>
              </a:ext>
            </a:extLst>
          </p:cNvPr>
          <p:cNvSpPr txBox="1"/>
          <p:nvPr/>
        </p:nvSpPr>
        <p:spPr>
          <a:xfrm>
            <a:off x="3277792"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err="1">
                <a:solidFill>
                  <a:srgbClr val="0070C0"/>
                </a:solidFill>
                <a:latin typeface="Roboto" panose="02000000000000000000" pitchFamily="2" charset="0"/>
                <a:ea typeface="Roboto" panose="02000000000000000000" pitchFamily="2" charset="0"/>
              </a:rPr>
              <a:t>Agt</a:t>
            </a:r>
            <a:endParaRPr lang="es-ES" sz="900" b="1" dirty="0">
              <a:solidFill>
                <a:srgbClr val="0070C0"/>
              </a:solidFill>
              <a:latin typeface="Roboto" panose="02000000000000000000" pitchFamily="2" charset="0"/>
              <a:ea typeface="Roboto" panose="02000000000000000000" pitchFamily="2" charset="0"/>
            </a:endParaRPr>
          </a:p>
        </p:txBody>
      </p:sp>
      <p:sp>
        <p:nvSpPr>
          <p:cNvPr id="65" name="CuadroTexto 148">
            <a:extLst>
              <a:ext uri="{FF2B5EF4-FFF2-40B4-BE49-F238E27FC236}">
                <a16:creationId xmlns:a16="http://schemas.microsoft.com/office/drawing/2014/main" id="{4FADA694-358C-0E14-35D5-0B61393F5C7E}"/>
              </a:ext>
            </a:extLst>
          </p:cNvPr>
          <p:cNvSpPr txBox="1"/>
          <p:nvPr/>
        </p:nvSpPr>
        <p:spPr>
          <a:xfrm>
            <a:off x="4064616"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Sept</a:t>
            </a:r>
          </a:p>
        </p:txBody>
      </p:sp>
      <p:sp>
        <p:nvSpPr>
          <p:cNvPr id="66" name="CuadroTexto 149">
            <a:extLst>
              <a:ext uri="{FF2B5EF4-FFF2-40B4-BE49-F238E27FC236}">
                <a16:creationId xmlns:a16="http://schemas.microsoft.com/office/drawing/2014/main" id="{4F74542E-385B-2BBC-350B-98BAD3D6D892}"/>
              </a:ext>
            </a:extLst>
          </p:cNvPr>
          <p:cNvSpPr txBox="1"/>
          <p:nvPr/>
        </p:nvSpPr>
        <p:spPr>
          <a:xfrm>
            <a:off x="4823244"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Oct</a:t>
            </a:r>
          </a:p>
        </p:txBody>
      </p:sp>
      <p:sp>
        <p:nvSpPr>
          <p:cNvPr id="67" name="CuadroTexto 150">
            <a:extLst>
              <a:ext uri="{FF2B5EF4-FFF2-40B4-BE49-F238E27FC236}">
                <a16:creationId xmlns:a16="http://schemas.microsoft.com/office/drawing/2014/main" id="{36959C37-17F8-FAEF-75D1-2D30E4F16684}"/>
              </a:ext>
            </a:extLst>
          </p:cNvPr>
          <p:cNvSpPr txBox="1"/>
          <p:nvPr/>
        </p:nvSpPr>
        <p:spPr>
          <a:xfrm>
            <a:off x="5617159" y="4980470"/>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Nov</a:t>
            </a:r>
          </a:p>
        </p:txBody>
      </p:sp>
      <p:sp>
        <p:nvSpPr>
          <p:cNvPr id="68" name="CuadroTexto 151">
            <a:extLst>
              <a:ext uri="{FF2B5EF4-FFF2-40B4-BE49-F238E27FC236}">
                <a16:creationId xmlns:a16="http://schemas.microsoft.com/office/drawing/2014/main" id="{16307202-040A-FB2A-4C0C-2EC1842CC14E}"/>
              </a:ext>
            </a:extLst>
          </p:cNvPr>
          <p:cNvSpPr txBox="1"/>
          <p:nvPr/>
        </p:nvSpPr>
        <p:spPr>
          <a:xfrm>
            <a:off x="6407126"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Dic</a:t>
            </a:r>
          </a:p>
        </p:txBody>
      </p:sp>
      <p:sp>
        <p:nvSpPr>
          <p:cNvPr id="69" name="CuadroTexto 152">
            <a:extLst>
              <a:ext uri="{FF2B5EF4-FFF2-40B4-BE49-F238E27FC236}">
                <a16:creationId xmlns:a16="http://schemas.microsoft.com/office/drawing/2014/main" id="{CB2BEE18-F22B-9196-81F8-2072867B0F43}"/>
              </a:ext>
            </a:extLst>
          </p:cNvPr>
          <p:cNvSpPr txBox="1"/>
          <p:nvPr/>
        </p:nvSpPr>
        <p:spPr>
          <a:xfrm>
            <a:off x="7242954"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En</a:t>
            </a:r>
          </a:p>
        </p:txBody>
      </p:sp>
      <p:sp>
        <p:nvSpPr>
          <p:cNvPr id="70" name="CuadroTexto 153">
            <a:extLst>
              <a:ext uri="{FF2B5EF4-FFF2-40B4-BE49-F238E27FC236}">
                <a16:creationId xmlns:a16="http://schemas.microsoft.com/office/drawing/2014/main" id="{80CAEF69-E23B-B9FD-12D9-50F21610DDC7}"/>
              </a:ext>
            </a:extLst>
          </p:cNvPr>
          <p:cNvSpPr txBox="1"/>
          <p:nvPr/>
        </p:nvSpPr>
        <p:spPr>
          <a:xfrm>
            <a:off x="7941262"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Feb</a:t>
            </a:r>
          </a:p>
        </p:txBody>
      </p:sp>
      <p:sp>
        <p:nvSpPr>
          <p:cNvPr id="71" name="CuadroTexto 154">
            <a:extLst>
              <a:ext uri="{FF2B5EF4-FFF2-40B4-BE49-F238E27FC236}">
                <a16:creationId xmlns:a16="http://schemas.microsoft.com/office/drawing/2014/main" id="{5D632007-5389-7DA2-9293-037FC98DD45D}"/>
              </a:ext>
            </a:extLst>
          </p:cNvPr>
          <p:cNvSpPr txBox="1"/>
          <p:nvPr/>
        </p:nvSpPr>
        <p:spPr>
          <a:xfrm>
            <a:off x="8739238"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Mar</a:t>
            </a:r>
          </a:p>
        </p:txBody>
      </p:sp>
      <p:sp>
        <p:nvSpPr>
          <p:cNvPr id="72" name="CuadroTexto 155">
            <a:extLst>
              <a:ext uri="{FF2B5EF4-FFF2-40B4-BE49-F238E27FC236}">
                <a16:creationId xmlns:a16="http://schemas.microsoft.com/office/drawing/2014/main" id="{C77B8BD4-23AA-4010-A0E0-DD0BD4E01349}"/>
              </a:ext>
            </a:extLst>
          </p:cNvPr>
          <p:cNvSpPr txBox="1"/>
          <p:nvPr/>
        </p:nvSpPr>
        <p:spPr>
          <a:xfrm>
            <a:off x="9498145"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Abr</a:t>
            </a:r>
          </a:p>
        </p:txBody>
      </p:sp>
      <p:sp>
        <p:nvSpPr>
          <p:cNvPr id="73" name="CuadroTexto 156">
            <a:extLst>
              <a:ext uri="{FF2B5EF4-FFF2-40B4-BE49-F238E27FC236}">
                <a16:creationId xmlns:a16="http://schemas.microsoft.com/office/drawing/2014/main" id="{92EE8094-4904-176A-A4C6-9179A4FCFC68}"/>
              </a:ext>
            </a:extLst>
          </p:cNvPr>
          <p:cNvSpPr txBox="1"/>
          <p:nvPr/>
        </p:nvSpPr>
        <p:spPr>
          <a:xfrm>
            <a:off x="10343061"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May</a:t>
            </a:r>
          </a:p>
        </p:txBody>
      </p:sp>
      <p:sp>
        <p:nvSpPr>
          <p:cNvPr id="74" name="CuadroTexto 157">
            <a:extLst>
              <a:ext uri="{FF2B5EF4-FFF2-40B4-BE49-F238E27FC236}">
                <a16:creationId xmlns:a16="http://schemas.microsoft.com/office/drawing/2014/main" id="{E573670F-CA95-B326-D395-456F08F7E722}"/>
              </a:ext>
            </a:extLst>
          </p:cNvPr>
          <p:cNvSpPr txBox="1"/>
          <p:nvPr/>
        </p:nvSpPr>
        <p:spPr>
          <a:xfrm>
            <a:off x="11046043"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Jun</a:t>
            </a:r>
          </a:p>
        </p:txBody>
      </p:sp>
      <p:sp>
        <p:nvSpPr>
          <p:cNvPr id="75" name="CuadroTexto 164">
            <a:extLst>
              <a:ext uri="{FF2B5EF4-FFF2-40B4-BE49-F238E27FC236}">
                <a16:creationId xmlns:a16="http://schemas.microsoft.com/office/drawing/2014/main" id="{75C51B01-59C2-5885-E6DD-798B2C54B5F5}"/>
              </a:ext>
            </a:extLst>
          </p:cNvPr>
          <p:cNvSpPr txBox="1"/>
          <p:nvPr/>
        </p:nvSpPr>
        <p:spPr>
          <a:xfrm>
            <a:off x="11833072"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Jul</a:t>
            </a:r>
          </a:p>
        </p:txBody>
      </p:sp>
      <p:sp>
        <p:nvSpPr>
          <p:cNvPr id="76" name="CuadroTexto 165">
            <a:extLst>
              <a:ext uri="{FF2B5EF4-FFF2-40B4-BE49-F238E27FC236}">
                <a16:creationId xmlns:a16="http://schemas.microsoft.com/office/drawing/2014/main" id="{1F07973A-E4F1-DC51-D877-DA045E29F7E8}"/>
              </a:ext>
            </a:extLst>
          </p:cNvPr>
          <p:cNvSpPr txBox="1"/>
          <p:nvPr/>
        </p:nvSpPr>
        <p:spPr>
          <a:xfrm>
            <a:off x="12621790"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err="1">
                <a:solidFill>
                  <a:srgbClr val="0070C0"/>
                </a:solidFill>
                <a:latin typeface="Roboto" panose="02000000000000000000" pitchFamily="2" charset="0"/>
                <a:ea typeface="Roboto" panose="02000000000000000000" pitchFamily="2" charset="0"/>
              </a:rPr>
              <a:t>Agt</a:t>
            </a:r>
            <a:endParaRPr lang="es-ES" sz="900" b="1" dirty="0">
              <a:solidFill>
                <a:srgbClr val="0070C0"/>
              </a:solidFill>
              <a:latin typeface="Roboto" panose="02000000000000000000" pitchFamily="2" charset="0"/>
              <a:ea typeface="Roboto" panose="02000000000000000000" pitchFamily="2" charset="0"/>
            </a:endParaRPr>
          </a:p>
        </p:txBody>
      </p:sp>
      <p:sp>
        <p:nvSpPr>
          <p:cNvPr id="77" name="CuadroTexto 166">
            <a:extLst>
              <a:ext uri="{FF2B5EF4-FFF2-40B4-BE49-F238E27FC236}">
                <a16:creationId xmlns:a16="http://schemas.microsoft.com/office/drawing/2014/main" id="{62FEBFF6-D367-363B-2950-7BCFA748FE69}"/>
              </a:ext>
            </a:extLst>
          </p:cNvPr>
          <p:cNvSpPr txBox="1"/>
          <p:nvPr/>
        </p:nvSpPr>
        <p:spPr>
          <a:xfrm>
            <a:off x="13413651"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Sept</a:t>
            </a:r>
          </a:p>
        </p:txBody>
      </p:sp>
      <p:sp>
        <p:nvSpPr>
          <p:cNvPr id="78" name="CuadroTexto 167">
            <a:extLst>
              <a:ext uri="{FF2B5EF4-FFF2-40B4-BE49-F238E27FC236}">
                <a16:creationId xmlns:a16="http://schemas.microsoft.com/office/drawing/2014/main" id="{0B0FB5E3-BEB7-F7A2-2B56-CBC54833E8D6}"/>
              </a:ext>
            </a:extLst>
          </p:cNvPr>
          <p:cNvSpPr txBox="1"/>
          <p:nvPr/>
        </p:nvSpPr>
        <p:spPr>
          <a:xfrm>
            <a:off x="14162204"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a:solidFill>
                  <a:srgbClr val="0070C0"/>
                </a:solidFill>
                <a:latin typeface="Roboto" panose="02000000000000000000" pitchFamily="2" charset="0"/>
                <a:ea typeface="Roboto" panose="02000000000000000000" pitchFamily="2" charset="0"/>
              </a:rPr>
              <a:t>Oct</a:t>
            </a:r>
          </a:p>
        </p:txBody>
      </p:sp>
      <p:sp>
        <p:nvSpPr>
          <p:cNvPr id="79" name="CuadroTexto 168">
            <a:extLst>
              <a:ext uri="{FF2B5EF4-FFF2-40B4-BE49-F238E27FC236}">
                <a16:creationId xmlns:a16="http://schemas.microsoft.com/office/drawing/2014/main" id="{F842F747-2691-54CD-35CB-FC94C23BF6EC}"/>
              </a:ext>
            </a:extLst>
          </p:cNvPr>
          <p:cNvSpPr txBox="1"/>
          <p:nvPr/>
        </p:nvSpPr>
        <p:spPr>
          <a:xfrm>
            <a:off x="14940546"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Nov</a:t>
            </a:r>
          </a:p>
        </p:txBody>
      </p:sp>
      <p:sp>
        <p:nvSpPr>
          <p:cNvPr id="80" name="CuadroTexto 169">
            <a:extLst>
              <a:ext uri="{FF2B5EF4-FFF2-40B4-BE49-F238E27FC236}">
                <a16:creationId xmlns:a16="http://schemas.microsoft.com/office/drawing/2014/main" id="{7EE968D6-6BCD-1072-870C-41C2851C3F63}"/>
              </a:ext>
            </a:extLst>
          </p:cNvPr>
          <p:cNvSpPr txBox="1"/>
          <p:nvPr/>
        </p:nvSpPr>
        <p:spPr>
          <a:xfrm>
            <a:off x="15710350" y="4994041"/>
            <a:ext cx="787458" cy="239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900" b="1" dirty="0">
                <a:solidFill>
                  <a:srgbClr val="0070C0"/>
                </a:solidFill>
                <a:latin typeface="Roboto" panose="02000000000000000000" pitchFamily="2" charset="0"/>
                <a:ea typeface="Roboto" panose="02000000000000000000" pitchFamily="2" charset="0"/>
              </a:rPr>
              <a:t>Dic</a:t>
            </a:r>
          </a:p>
        </p:txBody>
      </p:sp>
      <p:sp>
        <p:nvSpPr>
          <p:cNvPr id="81" name="CuadroTexto 175">
            <a:extLst>
              <a:ext uri="{FF2B5EF4-FFF2-40B4-BE49-F238E27FC236}">
                <a16:creationId xmlns:a16="http://schemas.microsoft.com/office/drawing/2014/main" id="{14C3CB03-FE48-E075-607B-F48A82F89FDC}"/>
              </a:ext>
            </a:extLst>
          </p:cNvPr>
          <p:cNvSpPr txBox="1"/>
          <p:nvPr/>
        </p:nvSpPr>
        <p:spPr>
          <a:xfrm>
            <a:off x="9652901" y="3893092"/>
            <a:ext cx="1109333" cy="7848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algn="ctr"/>
            <a:r>
              <a:rPr lang="es-ES" sz="1050" dirty="0">
                <a:solidFill>
                  <a:srgbClr val="575757"/>
                </a:solidFill>
                <a:latin typeface="Roboto" panose="02000000000000000000" pitchFamily="2" charset="0"/>
                <a:ea typeface="Roboto" panose="02000000000000000000" pitchFamily="2" charset="0"/>
              </a:rPr>
              <a:t>Reunión de seguimiento planes conjuntos</a:t>
            </a:r>
          </a:p>
        </p:txBody>
      </p:sp>
      <p:sp>
        <p:nvSpPr>
          <p:cNvPr id="82" name="CuadroTexto 102">
            <a:extLst>
              <a:ext uri="{FF2B5EF4-FFF2-40B4-BE49-F238E27FC236}">
                <a16:creationId xmlns:a16="http://schemas.microsoft.com/office/drawing/2014/main" id="{31BEFA90-E276-432C-A2D9-765CD5CF020F}"/>
              </a:ext>
            </a:extLst>
          </p:cNvPr>
          <p:cNvSpPr txBox="1"/>
          <p:nvPr/>
        </p:nvSpPr>
        <p:spPr>
          <a:xfrm>
            <a:off x="4897660" y="6950146"/>
            <a:ext cx="1342611" cy="5466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050" dirty="0">
                <a:solidFill>
                  <a:srgbClr val="575757"/>
                </a:solidFill>
                <a:latin typeface="Roboto" panose="02000000000000000000" pitchFamily="2" charset="0"/>
                <a:ea typeface="Roboto" panose="02000000000000000000" pitchFamily="2" charset="0"/>
              </a:rPr>
              <a:t>Inicio exploración Inteligencia de mercados desde Regiones</a:t>
            </a:r>
          </a:p>
        </p:txBody>
      </p:sp>
      <p:cxnSp>
        <p:nvCxnSpPr>
          <p:cNvPr id="83" name="Conector recto 117">
            <a:extLst>
              <a:ext uri="{FF2B5EF4-FFF2-40B4-BE49-F238E27FC236}">
                <a16:creationId xmlns:a16="http://schemas.microsoft.com/office/drawing/2014/main" id="{72CC8EF8-58E8-9290-B4BF-957F3EB8D628}"/>
              </a:ext>
            </a:extLst>
          </p:cNvPr>
          <p:cNvCxnSpPr>
            <a:cxnSpLocks/>
          </p:cNvCxnSpPr>
          <p:nvPr/>
        </p:nvCxnSpPr>
        <p:spPr>
          <a:xfrm>
            <a:off x="3265682" y="5353391"/>
            <a:ext cx="0" cy="519311"/>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4" name="CuadroTexto 124">
            <a:extLst>
              <a:ext uri="{FF2B5EF4-FFF2-40B4-BE49-F238E27FC236}">
                <a16:creationId xmlns:a16="http://schemas.microsoft.com/office/drawing/2014/main" id="{2CD3D37B-994F-C923-62A0-D597F6433254}"/>
              </a:ext>
            </a:extLst>
          </p:cNvPr>
          <p:cNvSpPr txBox="1"/>
          <p:nvPr/>
        </p:nvSpPr>
        <p:spPr>
          <a:xfrm>
            <a:off x="3229942" y="3185317"/>
            <a:ext cx="1616407" cy="3160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050" dirty="0">
                <a:solidFill>
                  <a:srgbClr val="575757"/>
                </a:solidFill>
                <a:latin typeface="Roboto" panose="02000000000000000000" pitchFamily="2" charset="0"/>
                <a:ea typeface="Roboto" panose="02000000000000000000" pitchFamily="2" charset="0"/>
              </a:rPr>
              <a:t>Presentar PMTI a Gobernadores, Cores y municipalidades </a:t>
            </a:r>
          </a:p>
        </p:txBody>
      </p:sp>
      <p:sp>
        <p:nvSpPr>
          <p:cNvPr id="85" name="CuadroTexto 129">
            <a:extLst>
              <a:ext uri="{FF2B5EF4-FFF2-40B4-BE49-F238E27FC236}">
                <a16:creationId xmlns:a16="http://schemas.microsoft.com/office/drawing/2014/main" id="{E5B5E70F-13BC-11A6-A079-ED95284E2106}"/>
              </a:ext>
            </a:extLst>
          </p:cNvPr>
          <p:cNvSpPr txBox="1"/>
          <p:nvPr/>
        </p:nvSpPr>
        <p:spPr>
          <a:xfrm>
            <a:off x="4016946" y="6042015"/>
            <a:ext cx="1199045" cy="4434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050" dirty="0">
                <a:solidFill>
                  <a:srgbClr val="575757"/>
                </a:solidFill>
                <a:latin typeface="Roboto" panose="02000000000000000000" pitchFamily="2" charset="0"/>
                <a:ea typeface="Roboto" panose="02000000000000000000" pitchFamily="2" charset="0"/>
              </a:rPr>
              <a:t>Levantamiento de itinerarios </a:t>
            </a:r>
          </a:p>
        </p:txBody>
      </p:sp>
      <p:cxnSp>
        <p:nvCxnSpPr>
          <p:cNvPr id="86" name="Conector recto 132">
            <a:extLst>
              <a:ext uri="{FF2B5EF4-FFF2-40B4-BE49-F238E27FC236}">
                <a16:creationId xmlns:a16="http://schemas.microsoft.com/office/drawing/2014/main" id="{34B7B59C-1EA3-1D87-8B5D-015643D54BEC}"/>
              </a:ext>
            </a:extLst>
          </p:cNvPr>
          <p:cNvCxnSpPr>
            <a:cxnSpLocks/>
          </p:cNvCxnSpPr>
          <p:nvPr/>
        </p:nvCxnSpPr>
        <p:spPr>
          <a:xfrm>
            <a:off x="4590965" y="5353391"/>
            <a:ext cx="0" cy="519311"/>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7" name="CuadroTexto 133">
            <a:extLst>
              <a:ext uri="{FF2B5EF4-FFF2-40B4-BE49-F238E27FC236}">
                <a16:creationId xmlns:a16="http://schemas.microsoft.com/office/drawing/2014/main" id="{2288DD6C-EA1C-4010-D43F-AB60209C4067}"/>
              </a:ext>
            </a:extLst>
          </p:cNvPr>
          <p:cNvSpPr txBox="1"/>
          <p:nvPr/>
        </p:nvSpPr>
        <p:spPr>
          <a:xfrm>
            <a:off x="11442591" y="6349353"/>
            <a:ext cx="1397004" cy="4485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050" dirty="0">
                <a:solidFill>
                  <a:srgbClr val="575757"/>
                </a:solidFill>
                <a:latin typeface="Roboto" panose="02000000000000000000" pitchFamily="2" charset="0"/>
                <a:ea typeface="Roboto" panose="02000000000000000000" pitchFamily="2" charset="0"/>
              </a:rPr>
              <a:t>Reporte inteligencia de mercados desde Regiones</a:t>
            </a:r>
          </a:p>
        </p:txBody>
      </p:sp>
      <p:sp>
        <p:nvSpPr>
          <p:cNvPr id="88" name="CuadroTexto 134">
            <a:extLst>
              <a:ext uri="{FF2B5EF4-FFF2-40B4-BE49-F238E27FC236}">
                <a16:creationId xmlns:a16="http://schemas.microsoft.com/office/drawing/2014/main" id="{9C5C6836-EF12-9892-3041-1C24CF2560D5}"/>
              </a:ext>
            </a:extLst>
          </p:cNvPr>
          <p:cNvSpPr txBox="1"/>
          <p:nvPr/>
        </p:nvSpPr>
        <p:spPr>
          <a:xfrm>
            <a:off x="9428330" y="6389094"/>
            <a:ext cx="1397004" cy="4485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050" dirty="0">
                <a:solidFill>
                  <a:srgbClr val="575757"/>
                </a:solidFill>
                <a:latin typeface="Roboto" panose="02000000000000000000" pitchFamily="2" charset="0"/>
                <a:ea typeface="Roboto" panose="02000000000000000000" pitchFamily="2" charset="0"/>
              </a:rPr>
              <a:t>Reporte inteligencia de mercados desde Regiones</a:t>
            </a:r>
          </a:p>
        </p:txBody>
      </p:sp>
      <p:sp>
        <p:nvSpPr>
          <p:cNvPr id="89" name="CuadroTexto 141">
            <a:extLst>
              <a:ext uri="{FF2B5EF4-FFF2-40B4-BE49-F238E27FC236}">
                <a16:creationId xmlns:a16="http://schemas.microsoft.com/office/drawing/2014/main" id="{6CB66AB4-4C31-159F-A6F0-BC357AC5BCE5}"/>
              </a:ext>
            </a:extLst>
          </p:cNvPr>
          <p:cNvSpPr txBox="1"/>
          <p:nvPr/>
        </p:nvSpPr>
        <p:spPr>
          <a:xfrm>
            <a:off x="12083351" y="3994001"/>
            <a:ext cx="1280664" cy="682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050" dirty="0">
                <a:solidFill>
                  <a:srgbClr val="575757"/>
                </a:solidFill>
                <a:latin typeface="Roboto" panose="02000000000000000000" pitchFamily="2" charset="0"/>
                <a:ea typeface="Roboto" panose="02000000000000000000" pitchFamily="2" charset="0"/>
              </a:rPr>
              <a:t>Reunión de seguimiento planes conjuntos</a:t>
            </a:r>
          </a:p>
        </p:txBody>
      </p:sp>
      <p:sp>
        <p:nvSpPr>
          <p:cNvPr id="90" name="CuadroTexto 144">
            <a:extLst>
              <a:ext uri="{FF2B5EF4-FFF2-40B4-BE49-F238E27FC236}">
                <a16:creationId xmlns:a16="http://schemas.microsoft.com/office/drawing/2014/main" id="{0B4B52BC-CA12-C1B2-0B6A-22437EA8113B}"/>
              </a:ext>
            </a:extLst>
          </p:cNvPr>
          <p:cNvSpPr txBox="1"/>
          <p:nvPr/>
        </p:nvSpPr>
        <p:spPr>
          <a:xfrm>
            <a:off x="15942581" y="4052786"/>
            <a:ext cx="1109333" cy="682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050" dirty="0">
                <a:solidFill>
                  <a:srgbClr val="575757"/>
                </a:solidFill>
                <a:latin typeface="Roboto" panose="02000000000000000000" pitchFamily="2" charset="0"/>
                <a:ea typeface="Roboto" panose="02000000000000000000" pitchFamily="2" charset="0"/>
              </a:rPr>
              <a:t>Reunión de cierre planes conjuntos</a:t>
            </a:r>
          </a:p>
        </p:txBody>
      </p:sp>
      <p:cxnSp>
        <p:nvCxnSpPr>
          <p:cNvPr id="91" name="Conector recto 159">
            <a:extLst>
              <a:ext uri="{FF2B5EF4-FFF2-40B4-BE49-F238E27FC236}">
                <a16:creationId xmlns:a16="http://schemas.microsoft.com/office/drawing/2014/main" id="{C2956AB7-A47A-440B-0A33-2CC27D2E7018}"/>
              </a:ext>
            </a:extLst>
          </p:cNvPr>
          <p:cNvCxnSpPr>
            <a:cxnSpLocks/>
          </p:cNvCxnSpPr>
          <p:nvPr/>
        </p:nvCxnSpPr>
        <p:spPr>
          <a:xfrm>
            <a:off x="10178282" y="4799281"/>
            <a:ext cx="0" cy="516305"/>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2" name="Conector recto 160">
            <a:extLst>
              <a:ext uri="{FF2B5EF4-FFF2-40B4-BE49-F238E27FC236}">
                <a16:creationId xmlns:a16="http://schemas.microsoft.com/office/drawing/2014/main" id="{BE3EC70F-C865-62F1-64D1-DA67BE84B484}"/>
              </a:ext>
            </a:extLst>
          </p:cNvPr>
          <p:cNvCxnSpPr>
            <a:cxnSpLocks/>
          </p:cNvCxnSpPr>
          <p:nvPr/>
        </p:nvCxnSpPr>
        <p:spPr>
          <a:xfrm>
            <a:off x="12736880" y="4775746"/>
            <a:ext cx="0" cy="516305"/>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3" name="Conector recto 161">
            <a:extLst>
              <a:ext uri="{FF2B5EF4-FFF2-40B4-BE49-F238E27FC236}">
                <a16:creationId xmlns:a16="http://schemas.microsoft.com/office/drawing/2014/main" id="{2DF12C29-0A80-E28B-60BA-E9D03F665572}"/>
              </a:ext>
            </a:extLst>
          </p:cNvPr>
          <p:cNvCxnSpPr>
            <a:cxnSpLocks/>
          </p:cNvCxnSpPr>
          <p:nvPr/>
        </p:nvCxnSpPr>
        <p:spPr>
          <a:xfrm>
            <a:off x="16513139" y="4769990"/>
            <a:ext cx="0" cy="516305"/>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4" name="Conector recto 162">
            <a:extLst>
              <a:ext uri="{FF2B5EF4-FFF2-40B4-BE49-F238E27FC236}">
                <a16:creationId xmlns:a16="http://schemas.microsoft.com/office/drawing/2014/main" id="{483F316C-3E35-FF1A-69D1-5EABFAA7E382}"/>
              </a:ext>
            </a:extLst>
          </p:cNvPr>
          <p:cNvCxnSpPr>
            <a:cxnSpLocks/>
          </p:cNvCxnSpPr>
          <p:nvPr/>
        </p:nvCxnSpPr>
        <p:spPr>
          <a:xfrm>
            <a:off x="1022690" y="2538086"/>
            <a:ext cx="11742" cy="212416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5" name="CuadroTexto 172">
            <a:extLst>
              <a:ext uri="{FF2B5EF4-FFF2-40B4-BE49-F238E27FC236}">
                <a16:creationId xmlns:a16="http://schemas.microsoft.com/office/drawing/2014/main" id="{19D0F536-035A-6974-23AA-C7CB8C1D662F}"/>
              </a:ext>
            </a:extLst>
          </p:cNvPr>
          <p:cNvSpPr txBox="1"/>
          <p:nvPr/>
        </p:nvSpPr>
        <p:spPr>
          <a:xfrm>
            <a:off x="6233895" y="3893092"/>
            <a:ext cx="1145995" cy="9464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algn="ctr"/>
            <a:r>
              <a:rPr lang="es-ES" sz="1050" dirty="0">
                <a:solidFill>
                  <a:srgbClr val="575757"/>
                </a:solidFill>
                <a:latin typeface="Roboto" panose="02000000000000000000" pitchFamily="2" charset="0"/>
                <a:ea typeface="Roboto" panose="02000000000000000000" pitchFamily="2" charset="0"/>
              </a:rPr>
              <a:t>Capacitación a las aéreas de trabajo la agenda conjunta. </a:t>
            </a:r>
          </a:p>
        </p:txBody>
      </p:sp>
      <p:cxnSp>
        <p:nvCxnSpPr>
          <p:cNvPr id="96" name="Conector recto 173">
            <a:extLst>
              <a:ext uri="{FF2B5EF4-FFF2-40B4-BE49-F238E27FC236}">
                <a16:creationId xmlns:a16="http://schemas.microsoft.com/office/drawing/2014/main" id="{76702F69-5355-DD56-409B-67FB14057954}"/>
              </a:ext>
            </a:extLst>
          </p:cNvPr>
          <p:cNvCxnSpPr>
            <a:cxnSpLocks/>
          </p:cNvCxnSpPr>
          <p:nvPr/>
        </p:nvCxnSpPr>
        <p:spPr>
          <a:xfrm flipH="1">
            <a:off x="6794857" y="4773473"/>
            <a:ext cx="4757" cy="510758"/>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7" name="Abrir llave 180">
            <a:extLst>
              <a:ext uri="{FF2B5EF4-FFF2-40B4-BE49-F238E27FC236}">
                <a16:creationId xmlns:a16="http://schemas.microsoft.com/office/drawing/2014/main" id="{350E3FED-5628-565F-5AB3-AB1B8CA7A279}"/>
              </a:ext>
            </a:extLst>
          </p:cNvPr>
          <p:cNvSpPr/>
          <p:nvPr/>
        </p:nvSpPr>
        <p:spPr>
          <a:xfrm rot="5400000">
            <a:off x="12564429" y="3704427"/>
            <a:ext cx="434892" cy="9112308"/>
          </a:xfrm>
          <a:prstGeom prst="leftBrace">
            <a:avLst>
              <a:gd name="adj1" fmla="val 25000"/>
              <a:gd name="adj2" fmla="val 50933"/>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a:latin typeface="Roboto" panose="02000000000000000000" pitchFamily="2" charset="0"/>
              <a:ea typeface="Roboto" panose="02000000000000000000" pitchFamily="2" charset="0"/>
            </a:endParaRPr>
          </a:p>
        </p:txBody>
      </p:sp>
      <p:sp>
        <p:nvSpPr>
          <p:cNvPr id="98" name="CuadroTexto 181">
            <a:extLst>
              <a:ext uri="{FF2B5EF4-FFF2-40B4-BE49-F238E27FC236}">
                <a16:creationId xmlns:a16="http://schemas.microsoft.com/office/drawing/2014/main" id="{E25D1AC3-ECD8-D3F9-3551-E0557FC2C855}"/>
              </a:ext>
            </a:extLst>
          </p:cNvPr>
          <p:cNvSpPr txBox="1"/>
          <p:nvPr/>
        </p:nvSpPr>
        <p:spPr>
          <a:xfrm>
            <a:off x="7967981" y="8521520"/>
            <a:ext cx="9314388" cy="489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CL" sz="1650" i="1" dirty="0">
                <a:solidFill>
                  <a:srgbClr val="37373A"/>
                </a:solidFill>
                <a:latin typeface="Roboto" panose="02000000000000000000" pitchFamily="2" charset="0"/>
                <a:ea typeface="Roboto" panose="02000000000000000000" pitchFamily="2" charset="0"/>
              </a:rPr>
              <a:t>Cada Región tendrá sus tiempos dependiendo de la adjudicación de sus fondos. Se recomienda tomar como referencia estos timing al momento de comenzar a trabajar. </a:t>
            </a:r>
          </a:p>
        </p:txBody>
      </p:sp>
      <p:sp>
        <p:nvSpPr>
          <p:cNvPr id="99" name="CuadroTexto 183">
            <a:extLst>
              <a:ext uri="{FF2B5EF4-FFF2-40B4-BE49-F238E27FC236}">
                <a16:creationId xmlns:a16="http://schemas.microsoft.com/office/drawing/2014/main" id="{23A57FCF-FFA8-E2B0-C2D2-C425636F26BB}"/>
              </a:ext>
            </a:extLst>
          </p:cNvPr>
          <p:cNvSpPr txBox="1"/>
          <p:nvPr/>
        </p:nvSpPr>
        <p:spPr>
          <a:xfrm>
            <a:off x="8272532" y="6995417"/>
            <a:ext cx="1709333" cy="5466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ctr" anchorCtr="0" forceAA="0" compatLnSpc="1">
            <a:prstTxWarp prst="textNoShape">
              <a:avLst/>
            </a:prstTxWarp>
            <a:noAutofit/>
          </a:bodyPr>
          <a:lstStyle/>
          <a:p>
            <a:pPr algn="ctr"/>
            <a:r>
              <a:rPr lang="es-ES" sz="1050" dirty="0">
                <a:solidFill>
                  <a:srgbClr val="575757"/>
                </a:solidFill>
                <a:latin typeface="Roboto" panose="02000000000000000000" pitchFamily="2" charset="0"/>
                <a:ea typeface="Roboto" panose="02000000000000000000" pitchFamily="2" charset="0"/>
              </a:rPr>
              <a:t>Inicio implementación Gestión de Crisis para promoción turística</a:t>
            </a:r>
          </a:p>
        </p:txBody>
      </p:sp>
      <p:cxnSp>
        <p:nvCxnSpPr>
          <p:cNvPr id="100" name="Conector recto 184">
            <a:extLst>
              <a:ext uri="{FF2B5EF4-FFF2-40B4-BE49-F238E27FC236}">
                <a16:creationId xmlns:a16="http://schemas.microsoft.com/office/drawing/2014/main" id="{996DBA2B-BDE8-1B1D-BDE9-E66A4EFC27B4}"/>
              </a:ext>
            </a:extLst>
          </p:cNvPr>
          <p:cNvCxnSpPr>
            <a:cxnSpLocks/>
          </p:cNvCxnSpPr>
          <p:nvPr/>
        </p:nvCxnSpPr>
        <p:spPr>
          <a:xfrm flipH="1">
            <a:off x="9118273" y="5271318"/>
            <a:ext cx="15113" cy="1668579"/>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1" name="CuadroTexto 185">
            <a:extLst>
              <a:ext uri="{FF2B5EF4-FFF2-40B4-BE49-F238E27FC236}">
                <a16:creationId xmlns:a16="http://schemas.microsoft.com/office/drawing/2014/main" id="{675D8958-3F1F-9B5F-FCB1-9DCD3469F4A9}"/>
              </a:ext>
            </a:extLst>
          </p:cNvPr>
          <p:cNvSpPr txBox="1"/>
          <p:nvPr/>
        </p:nvSpPr>
        <p:spPr>
          <a:xfrm>
            <a:off x="7197379" y="3893092"/>
            <a:ext cx="932609" cy="946413"/>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68580" rIns="137160" bIns="68580" numCol="1" spcCol="0" rtlCol="0" fromWordArt="0" anchor="t" anchorCtr="0" forceAA="0" compatLnSpc="1">
            <a:prstTxWarp prst="textNoShape">
              <a:avLst/>
            </a:prstTxWarp>
            <a:spAutoFit/>
          </a:bodyPr>
          <a:lstStyle/>
          <a:p>
            <a:pPr algn="ctr"/>
            <a:r>
              <a:rPr lang="es-ES" sz="1050" dirty="0" err="1">
                <a:solidFill>
                  <a:srgbClr val="575757"/>
                </a:solidFill>
                <a:latin typeface="Roboto" panose="02000000000000000000" pitchFamily="2" charset="0"/>
                <a:ea typeface="Roboto" panose="02000000000000000000" pitchFamily="2" charset="0"/>
              </a:rPr>
              <a:t>Kick</a:t>
            </a:r>
            <a:r>
              <a:rPr lang="es-ES" sz="1050" dirty="0">
                <a:solidFill>
                  <a:srgbClr val="575757"/>
                </a:solidFill>
                <a:latin typeface="Roboto" panose="02000000000000000000" pitchFamily="2" charset="0"/>
                <a:ea typeface="Roboto" panose="02000000000000000000" pitchFamily="2" charset="0"/>
              </a:rPr>
              <a:t> off ejecución de plan de promoción 2024</a:t>
            </a:r>
          </a:p>
        </p:txBody>
      </p:sp>
      <p:cxnSp>
        <p:nvCxnSpPr>
          <p:cNvPr id="102" name="Conector recto 188">
            <a:extLst>
              <a:ext uri="{FF2B5EF4-FFF2-40B4-BE49-F238E27FC236}">
                <a16:creationId xmlns:a16="http://schemas.microsoft.com/office/drawing/2014/main" id="{1F94EE24-A452-3D90-66EE-8EB02F0E2E20}"/>
              </a:ext>
            </a:extLst>
          </p:cNvPr>
          <p:cNvCxnSpPr>
            <a:cxnSpLocks/>
          </p:cNvCxnSpPr>
          <p:nvPr/>
        </p:nvCxnSpPr>
        <p:spPr>
          <a:xfrm>
            <a:off x="7633740" y="4884122"/>
            <a:ext cx="0" cy="442290"/>
          </a:xfrm>
          <a:prstGeom prst="line">
            <a:avLst/>
          </a:prstGeom>
          <a:ln w="9525" cap="rnd">
            <a:solidFill>
              <a:schemeClr val="tx1">
                <a:lumMod val="60000"/>
                <a:lumOff val="4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5" name="object 20">
            <a:extLst>
              <a:ext uri="{FF2B5EF4-FFF2-40B4-BE49-F238E27FC236}">
                <a16:creationId xmlns:a16="http://schemas.microsoft.com/office/drawing/2014/main" id="{5B23FB82-D64D-F5B5-14BB-73CFA3A5E086}"/>
              </a:ext>
            </a:extLst>
          </p:cNvPr>
          <p:cNvSpPr txBox="1"/>
          <p:nvPr/>
        </p:nvSpPr>
        <p:spPr>
          <a:xfrm>
            <a:off x="961405" y="1673581"/>
            <a:ext cx="12162790" cy="515077"/>
          </a:xfrm>
          <a:prstGeom prst="rect">
            <a:avLst/>
          </a:prstGeom>
        </p:spPr>
        <p:txBody>
          <a:bodyPr vert="horz" wrap="square" lIns="0" tIns="13335" rIns="0" bIns="0" rtlCol="0">
            <a:spAutoFit/>
          </a:bodyPr>
          <a:lstStyle/>
          <a:p>
            <a:pPr algn="l">
              <a:lnSpc>
                <a:spcPts val="3875"/>
              </a:lnSpc>
              <a:spcBef>
                <a:spcPts val="100"/>
              </a:spcBef>
            </a:pPr>
            <a:r>
              <a:rPr lang="en-US" sz="4000" dirty="0">
                <a:solidFill>
                  <a:srgbClr val="E3112B"/>
                </a:solidFill>
                <a:latin typeface="Roboto"/>
                <a:cs typeface="Roboto"/>
              </a:rPr>
              <a:t>Hoja de </a:t>
            </a:r>
            <a:r>
              <a:rPr lang="en-US" sz="4000" dirty="0" err="1">
                <a:solidFill>
                  <a:srgbClr val="E3112B"/>
                </a:solidFill>
                <a:latin typeface="Roboto"/>
                <a:cs typeface="Roboto"/>
              </a:rPr>
              <a:t>ruta</a:t>
            </a:r>
            <a:r>
              <a:rPr lang="en-US" sz="4000" dirty="0">
                <a:solidFill>
                  <a:srgbClr val="E3112B"/>
                </a:solidFill>
                <a:latin typeface="Roboto"/>
                <a:cs typeface="Roboto"/>
              </a:rPr>
              <a:t> </a:t>
            </a:r>
            <a:r>
              <a:rPr lang="en-US" i="1" dirty="0">
                <a:solidFill>
                  <a:srgbClr val="E3112B"/>
                </a:solidFill>
                <a:latin typeface="Roboto"/>
                <a:cs typeface="Roboto"/>
              </a:rPr>
              <a:t>(</a:t>
            </a:r>
            <a:r>
              <a:rPr lang="en-US" i="1" dirty="0" err="1">
                <a:solidFill>
                  <a:srgbClr val="E3112B"/>
                </a:solidFill>
                <a:latin typeface="Roboto"/>
                <a:cs typeface="Roboto"/>
              </a:rPr>
              <a:t>tentativa</a:t>
            </a:r>
            <a:r>
              <a:rPr lang="en-US" i="1" dirty="0">
                <a:solidFill>
                  <a:srgbClr val="E3112B"/>
                </a:solidFill>
                <a:latin typeface="Roboto"/>
                <a:cs typeface="Roboto"/>
              </a:rPr>
              <a:t>)</a:t>
            </a:r>
            <a:endParaRPr lang="en-US" i="1" dirty="0">
              <a:latin typeface="Roboto"/>
              <a:cs typeface="Roboto"/>
            </a:endParaRPr>
          </a:p>
        </p:txBody>
      </p:sp>
    </p:spTree>
    <p:extLst>
      <p:ext uri="{BB962C8B-B14F-4D97-AF65-F5344CB8AC3E}">
        <p14:creationId xmlns:p14="http://schemas.microsoft.com/office/powerpoint/2010/main" val="9360816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0"/>
                </a:moveTo>
                <a:lnTo>
                  <a:pt x="18287999" y="0"/>
                </a:lnTo>
                <a:lnTo>
                  <a:pt x="18287999" y="10286999"/>
                </a:lnTo>
                <a:lnTo>
                  <a:pt x="0" y="10286999"/>
                </a:lnTo>
                <a:lnTo>
                  <a:pt x="0" y="0"/>
                </a:lnTo>
                <a:close/>
              </a:path>
            </a:pathLst>
          </a:custGeom>
          <a:solidFill>
            <a:srgbClr val="E3112B"/>
          </a:solidFill>
        </p:spPr>
        <p:txBody>
          <a:bodyPr wrap="square" lIns="0" tIns="0" rIns="0" bIns="0" rtlCol="0"/>
          <a:lstStyle/>
          <a:p>
            <a:endParaRPr/>
          </a:p>
        </p:txBody>
      </p:sp>
      <p:sp>
        <p:nvSpPr>
          <p:cNvPr id="3" name="object 3"/>
          <p:cNvSpPr/>
          <p:nvPr/>
        </p:nvSpPr>
        <p:spPr>
          <a:xfrm>
            <a:off x="201329" y="181841"/>
            <a:ext cx="17897475" cy="9886950"/>
          </a:xfrm>
          <a:custGeom>
            <a:avLst/>
            <a:gdLst/>
            <a:ahLst/>
            <a:cxnLst/>
            <a:rect l="l" t="t" r="r" b="b"/>
            <a:pathLst>
              <a:path w="17897475" h="9886950">
                <a:moveTo>
                  <a:pt x="0" y="0"/>
                </a:moveTo>
                <a:lnTo>
                  <a:pt x="17897461" y="0"/>
                </a:lnTo>
                <a:lnTo>
                  <a:pt x="17897461" y="9886950"/>
                </a:lnTo>
                <a:lnTo>
                  <a:pt x="0" y="9886950"/>
                </a:lnTo>
                <a:lnTo>
                  <a:pt x="0" y="0"/>
                </a:lnTo>
              </a:path>
            </a:pathLst>
          </a:custGeom>
          <a:ln w="38110">
            <a:solidFill>
              <a:srgbClr val="FFFFFF"/>
            </a:solidFill>
          </a:ln>
        </p:spPr>
        <p:txBody>
          <a:bodyPr wrap="square" lIns="0" tIns="0" rIns="0" bIns="0" rtlCol="0"/>
          <a:lstStyle/>
          <a:p>
            <a:endParaRPr/>
          </a:p>
        </p:txBody>
      </p:sp>
      <p:sp>
        <p:nvSpPr>
          <p:cNvPr id="4" name="object 4"/>
          <p:cNvSpPr txBox="1">
            <a:spLocks noGrp="1"/>
          </p:cNvSpPr>
          <p:nvPr>
            <p:ph type="title"/>
          </p:nvPr>
        </p:nvSpPr>
        <p:spPr>
          <a:xfrm>
            <a:off x="6463369" y="4605115"/>
            <a:ext cx="5361305" cy="868044"/>
          </a:xfrm>
          <a:prstGeom prst="rect">
            <a:avLst/>
          </a:prstGeom>
        </p:spPr>
        <p:txBody>
          <a:bodyPr vert="horz" wrap="square" lIns="0" tIns="15875" rIns="0" bIns="0" rtlCol="0">
            <a:spAutoFit/>
          </a:bodyPr>
          <a:lstStyle/>
          <a:p>
            <a:pPr marL="12700">
              <a:lnSpc>
                <a:spcPct val="100000"/>
              </a:lnSpc>
              <a:spcBef>
                <a:spcPts val="125"/>
              </a:spcBef>
            </a:pPr>
            <a:r>
              <a:rPr sz="5500" b="1" spc="75" dirty="0">
                <a:latin typeface="Arial"/>
                <a:cs typeface="Arial"/>
              </a:rPr>
              <a:t>Segmento</a:t>
            </a:r>
            <a:r>
              <a:rPr sz="5500" b="1" spc="-155" dirty="0">
                <a:latin typeface="Arial"/>
                <a:cs typeface="Arial"/>
              </a:rPr>
              <a:t> </a:t>
            </a:r>
            <a:r>
              <a:rPr sz="5500" b="1" spc="-70" dirty="0">
                <a:latin typeface="Arial"/>
                <a:cs typeface="Arial"/>
              </a:rPr>
              <a:t>MICE</a:t>
            </a:r>
            <a:endParaRPr sz="5500">
              <a:latin typeface="Arial"/>
              <a:cs typeface="Arial"/>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sp>
        <p:nvSpPr>
          <p:cNvPr id="3" name="object 3"/>
          <p:cNvSpPr txBox="1"/>
          <p:nvPr/>
        </p:nvSpPr>
        <p:spPr>
          <a:xfrm>
            <a:off x="637985" y="384153"/>
            <a:ext cx="615251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1.</a:t>
            </a:r>
            <a:r>
              <a:rPr sz="3000" spc="-114" dirty="0">
                <a:solidFill>
                  <a:srgbClr val="FFFFFF"/>
                </a:solidFill>
                <a:latin typeface="Roboto"/>
                <a:cs typeface="Roboto"/>
              </a:rPr>
              <a:t> </a:t>
            </a:r>
            <a:r>
              <a:rPr sz="3000" spc="-30" dirty="0">
                <a:solidFill>
                  <a:srgbClr val="FFFFFF"/>
                </a:solidFill>
                <a:latin typeface="Roboto"/>
                <a:cs typeface="Roboto"/>
              </a:rPr>
              <a:t>Situación</a:t>
            </a:r>
            <a:r>
              <a:rPr sz="3000" spc="-110" dirty="0">
                <a:solidFill>
                  <a:srgbClr val="FFFFFF"/>
                </a:solidFill>
                <a:latin typeface="Roboto"/>
                <a:cs typeface="Roboto"/>
              </a:rPr>
              <a:t> </a:t>
            </a:r>
            <a:r>
              <a:rPr sz="3000" spc="-20" dirty="0">
                <a:solidFill>
                  <a:srgbClr val="FFFFFF"/>
                </a:solidFill>
                <a:latin typeface="Roboto"/>
                <a:cs typeface="Roboto"/>
              </a:rPr>
              <a:t>actual</a:t>
            </a:r>
            <a:r>
              <a:rPr sz="3000" spc="-110" dirty="0">
                <a:solidFill>
                  <a:srgbClr val="FFFFFF"/>
                </a:solidFill>
                <a:latin typeface="Roboto"/>
                <a:cs typeface="Roboto"/>
              </a:rPr>
              <a:t> </a:t>
            </a:r>
            <a:r>
              <a:rPr sz="3000" dirty="0">
                <a:solidFill>
                  <a:srgbClr val="FFFFFF"/>
                </a:solidFill>
                <a:latin typeface="Roboto"/>
                <a:cs typeface="Roboto"/>
              </a:rPr>
              <a:t>segmento</a:t>
            </a:r>
            <a:r>
              <a:rPr sz="3000" spc="-110" dirty="0">
                <a:solidFill>
                  <a:srgbClr val="FFFFFF"/>
                </a:solidFill>
                <a:latin typeface="Roboto"/>
                <a:cs typeface="Roboto"/>
              </a:rPr>
              <a:t> </a:t>
            </a:r>
            <a:r>
              <a:rPr sz="3000" spc="-20" dirty="0">
                <a:solidFill>
                  <a:srgbClr val="FFFFFF"/>
                </a:solidFill>
                <a:latin typeface="Roboto"/>
                <a:cs typeface="Roboto"/>
              </a:rPr>
              <a:t>MICE</a:t>
            </a:r>
            <a:endParaRPr sz="3000">
              <a:latin typeface="Roboto"/>
              <a:cs typeface="Roboto"/>
            </a:endParaRPr>
          </a:p>
        </p:txBody>
      </p:sp>
      <p:sp>
        <p:nvSpPr>
          <p:cNvPr id="4" name="object 4"/>
          <p:cNvSpPr txBox="1">
            <a:spLocks noGrp="1"/>
          </p:cNvSpPr>
          <p:nvPr>
            <p:ph type="title"/>
          </p:nvPr>
        </p:nvSpPr>
        <p:spPr>
          <a:xfrm>
            <a:off x="4882646" y="1854018"/>
            <a:ext cx="8481060" cy="643890"/>
          </a:xfrm>
          <a:prstGeom prst="rect">
            <a:avLst/>
          </a:prstGeom>
        </p:spPr>
        <p:txBody>
          <a:bodyPr vert="horz" wrap="square" lIns="0" tIns="13335" rIns="0" bIns="0" rtlCol="0">
            <a:spAutoFit/>
          </a:bodyPr>
          <a:lstStyle/>
          <a:p>
            <a:pPr marL="12700">
              <a:lnSpc>
                <a:spcPct val="100000"/>
              </a:lnSpc>
              <a:spcBef>
                <a:spcPts val="105"/>
              </a:spcBef>
            </a:pPr>
            <a:r>
              <a:rPr sz="4050" spc="-25" dirty="0">
                <a:solidFill>
                  <a:srgbClr val="E3112B"/>
                </a:solidFill>
              </a:rPr>
              <a:t>Puntos</a:t>
            </a:r>
            <a:r>
              <a:rPr sz="4050" spc="-170" dirty="0">
                <a:solidFill>
                  <a:srgbClr val="E3112B"/>
                </a:solidFill>
              </a:rPr>
              <a:t> </a:t>
            </a:r>
            <a:r>
              <a:rPr sz="4050" dirty="0">
                <a:solidFill>
                  <a:srgbClr val="E3112B"/>
                </a:solidFill>
              </a:rPr>
              <a:t>clave</a:t>
            </a:r>
            <a:r>
              <a:rPr sz="4050" spc="-165" dirty="0">
                <a:solidFill>
                  <a:srgbClr val="E3112B"/>
                </a:solidFill>
              </a:rPr>
              <a:t> </a:t>
            </a:r>
            <a:r>
              <a:rPr sz="4050" dirty="0">
                <a:solidFill>
                  <a:srgbClr val="E3112B"/>
                </a:solidFill>
              </a:rPr>
              <a:t>del</a:t>
            </a:r>
            <a:r>
              <a:rPr sz="4050" spc="-170" dirty="0">
                <a:solidFill>
                  <a:srgbClr val="E3112B"/>
                </a:solidFill>
              </a:rPr>
              <a:t> </a:t>
            </a:r>
            <a:r>
              <a:rPr sz="4050" dirty="0">
                <a:solidFill>
                  <a:srgbClr val="E3112B"/>
                </a:solidFill>
              </a:rPr>
              <a:t>sector</a:t>
            </a:r>
            <a:r>
              <a:rPr sz="4050" spc="-165" dirty="0">
                <a:solidFill>
                  <a:srgbClr val="E3112B"/>
                </a:solidFill>
              </a:rPr>
              <a:t> </a:t>
            </a:r>
            <a:r>
              <a:rPr sz="4050" dirty="0">
                <a:solidFill>
                  <a:srgbClr val="E3112B"/>
                </a:solidFill>
              </a:rPr>
              <a:t>MICE</a:t>
            </a:r>
            <a:r>
              <a:rPr sz="4050" spc="-170" dirty="0">
                <a:solidFill>
                  <a:srgbClr val="E3112B"/>
                </a:solidFill>
              </a:rPr>
              <a:t> </a:t>
            </a:r>
            <a:r>
              <a:rPr sz="4050" spc="-10" dirty="0">
                <a:solidFill>
                  <a:srgbClr val="E3112B"/>
                </a:solidFill>
              </a:rPr>
              <a:t>chileno</a:t>
            </a:r>
            <a:endParaRPr sz="4050"/>
          </a:p>
        </p:txBody>
      </p:sp>
      <p:grpSp>
        <p:nvGrpSpPr>
          <p:cNvPr id="5" name="object 5"/>
          <p:cNvGrpSpPr/>
          <p:nvPr/>
        </p:nvGrpSpPr>
        <p:grpSpPr>
          <a:xfrm>
            <a:off x="1636038" y="2864194"/>
            <a:ext cx="3459479" cy="6638925"/>
            <a:chOff x="1636038" y="2864194"/>
            <a:chExt cx="3459479" cy="6638925"/>
          </a:xfrm>
        </p:grpSpPr>
        <p:sp>
          <p:nvSpPr>
            <p:cNvPr id="6" name="object 6"/>
            <p:cNvSpPr/>
            <p:nvPr/>
          </p:nvSpPr>
          <p:spPr>
            <a:xfrm>
              <a:off x="1636038" y="2864194"/>
              <a:ext cx="3459479" cy="6638925"/>
            </a:xfrm>
            <a:custGeom>
              <a:avLst/>
              <a:gdLst/>
              <a:ahLst/>
              <a:cxnLst/>
              <a:rect l="l" t="t" r="r" b="b"/>
              <a:pathLst>
                <a:path w="3459479" h="6638925">
                  <a:moveTo>
                    <a:pt x="3458958" y="6638677"/>
                  </a:moveTo>
                  <a:lnTo>
                    <a:pt x="0" y="6638677"/>
                  </a:lnTo>
                  <a:lnTo>
                    <a:pt x="0" y="0"/>
                  </a:lnTo>
                  <a:lnTo>
                    <a:pt x="3458958" y="0"/>
                  </a:lnTo>
                  <a:lnTo>
                    <a:pt x="3458958" y="6638677"/>
                  </a:lnTo>
                  <a:close/>
                </a:path>
              </a:pathLst>
            </a:custGeom>
            <a:solidFill>
              <a:srgbClr val="0090AE"/>
            </a:solidFill>
          </p:spPr>
          <p:txBody>
            <a:bodyPr wrap="square" lIns="0" tIns="0" rIns="0" bIns="0" rtlCol="0"/>
            <a:lstStyle/>
            <a:p>
              <a:endParaRPr/>
            </a:p>
          </p:txBody>
        </p:sp>
        <p:sp>
          <p:nvSpPr>
            <p:cNvPr id="7" name="object 7"/>
            <p:cNvSpPr/>
            <p:nvPr/>
          </p:nvSpPr>
          <p:spPr>
            <a:xfrm>
              <a:off x="3885657" y="3206722"/>
              <a:ext cx="817880" cy="772160"/>
            </a:xfrm>
            <a:custGeom>
              <a:avLst/>
              <a:gdLst/>
              <a:ahLst/>
              <a:cxnLst/>
              <a:rect l="l" t="t" r="r" b="b"/>
              <a:pathLst>
                <a:path w="817879" h="772160">
                  <a:moveTo>
                    <a:pt x="388582" y="771571"/>
                  </a:moveTo>
                  <a:lnTo>
                    <a:pt x="339839" y="768565"/>
                  </a:lnTo>
                  <a:lnTo>
                    <a:pt x="292903" y="759788"/>
                  </a:lnTo>
                  <a:lnTo>
                    <a:pt x="248138" y="745603"/>
                  </a:lnTo>
                  <a:lnTo>
                    <a:pt x="205907" y="726370"/>
                  </a:lnTo>
                  <a:lnTo>
                    <a:pt x="166576" y="702451"/>
                  </a:lnTo>
                  <a:lnTo>
                    <a:pt x="130509" y="674207"/>
                  </a:lnTo>
                  <a:lnTo>
                    <a:pt x="98069" y="642001"/>
                  </a:lnTo>
                  <a:lnTo>
                    <a:pt x="69620" y="606193"/>
                  </a:lnTo>
                  <a:lnTo>
                    <a:pt x="45528" y="567145"/>
                  </a:lnTo>
                  <a:lnTo>
                    <a:pt x="26155" y="525219"/>
                  </a:lnTo>
                  <a:lnTo>
                    <a:pt x="11867" y="480776"/>
                  </a:lnTo>
                  <a:lnTo>
                    <a:pt x="3027" y="434177"/>
                  </a:lnTo>
                  <a:lnTo>
                    <a:pt x="0" y="385785"/>
                  </a:lnTo>
                  <a:lnTo>
                    <a:pt x="3027" y="337393"/>
                  </a:lnTo>
                  <a:lnTo>
                    <a:pt x="11867" y="290794"/>
                  </a:lnTo>
                  <a:lnTo>
                    <a:pt x="26156" y="246351"/>
                  </a:lnTo>
                  <a:lnTo>
                    <a:pt x="45528" y="204425"/>
                  </a:lnTo>
                  <a:lnTo>
                    <a:pt x="69621" y="165377"/>
                  </a:lnTo>
                  <a:lnTo>
                    <a:pt x="98070" y="129569"/>
                  </a:lnTo>
                  <a:lnTo>
                    <a:pt x="130510" y="97363"/>
                  </a:lnTo>
                  <a:lnTo>
                    <a:pt x="166578" y="69119"/>
                  </a:lnTo>
                  <a:lnTo>
                    <a:pt x="205909" y="45200"/>
                  </a:lnTo>
                  <a:lnTo>
                    <a:pt x="248139" y="25967"/>
                  </a:lnTo>
                  <a:lnTo>
                    <a:pt x="292905" y="11782"/>
                  </a:lnTo>
                  <a:lnTo>
                    <a:pt x="339841" y="3005"/>
                  </a:lnTo>
                  <a:lnTo>
                    <a:pt x="388584" y="0"/>
                  </a:lnTo>
                  <a:lnTo>
                    <a:pt x="434549" y="2673"/>
                  </a:lnTo>
                  <a:lnTo>
                    <a:pt x="478927" y="10490"/>
                  </a:lnTo>
                  <a:lnTo>
                    <a:pt x="521415" y="23145"/>
                  </a:lnTo>
                  <a:lnTo>
                    <a:pt x="561710" y="40334"/>
                  </a:lnTo>
                  <a:lnTo>
                    <a:pt x="566650" y="49097"/>
                  </a:lnTo>
                  <a:lnTo>
                    <a:pt x="565832" y="51618"/>
                  </a:lnTo>
                  <a:lnTo>
                    <a:pt x="517185" y="99915"/>
                  </a:lnTo>
                  <a:lnTo>
                    <a:pt x="388584" y="99915"/>
                  </a:lnTo>
                  <a:lnTo>
                    <a:pt x="341878" y="103656"/>
                  </a:lnTo>
                  <a:lnTo>
                    <a:pt x="297572" y="114489"/>
                  </a:lnTo>
                  <a:lnTo>
                    <a:pt x="256258" y="131823"/>
                  </a:lnTo>
                  <a:lnTo>
                    <a:pt x="218529" y="155071"/>
                  </a:lnTo>
                  <a:lnTo>
                    <a:pt x="184978" y="183644"/>
                  </a:lnTo>
                  <a:lnTo>
                    <a:pt x="156197" y="216954"/>
                  </a:lnTo>
                  <a:lnTo>
                    <a:pt x="132781" y="254411"/>
                  </a:lnTo>
                  <a:lnTo>
                    <a:pt x="115321" y="295428"/>
                  </a:lnTo>
                  <a:lnTo>
                    <a:pt x="104410" y="339415"/>
                  </a:lnTo>
                  <a:lnTo>
                    <a:pt x="100641" y="385785"/>
                  </a:lnTo>
                  <a:lnTo>
                    <a:pt x="104410" y="432155"/>
                  </a:lnTo>
                  <a:lnTo>
                    <a:pt x="115321" y="476142"/>
                  </a:lnTo>
                  <a:lnTo>
                    <a:pt x="132781" y="517159"/>
                  </a:lnTo>
                  <a:lnTo>
                    <a:pt x="156197" y="554617"/>
                  </a:lnTo>
                  <a:lnTo>
                    <a:pt x="184978" y="587926"/>
                  </a:lnTo>
                  <a:lnTo>
                    <a:pt x="218529" y="616499"/>
                  </a:lnTo>
                  <a:lnTo>
                    <a:pt x="256258" y="639747"/>
                  </a:lnTo>
                  <a:lnTo>
                    <a:pt x="297572" y="657082"/>
                  </a:lnTo>
                  <a:lnTo>
                    <a:pt x="341878" y="667914"/>
                  </a:lnTo>
                  <a:lnTo>
                    <a:pt x="388584" y="671655"/>
                  </a:lnTo>
                  <a:lnTo>
                    <a:pt x="649227" y="671655"/>
                  </a:lnTo>
                  <a:lnTo>
                    <a:pt x="646657" y="674207"/>
                  </a:lnTo>
                  <a:lnTo>
                    <a:pt x="610589" y="702451"/>
                  </a:lnTo>
                  <a:lnTo>
                    <a:pt x="571258" y="726370"/>
                  </a:lnTo>
                  <a:lnTo>
                    <a:pt x="529027" y="745603"/>
                  </a:lnTo>
                  <a:lnTo>
                    <a:pt x="484262" y="759788"/>
                  </a:lnTo>
                  <a:lnTo>
                    <a:pt x="437326" y="768565"/>
                  </a:lnTo>
                  <a:lnTo>
                    <a:pt x="388582" y="771571"/>
                  </a:lnTo>
                  <a:close/>
                </a:path>
                <a:path w="817879" h="772160">
                  <a:moveTo>
                    <a:pt x="492750" y="119129"/>
                  </a:moveTo>
                  <a:lnTo>
                    <a:pt x="438994" y="104287"/>
                  </a:lnTo>
                  <a:lnTo>
                    <a:pt x="388584" y="99915"/>
                  </a:lnTo>
                  <a:lnTo>
                    <a:pt x="517185" y="99915"/>
                  </a:lnTo>
                  <a:lnTo>
                    <a:pt x="499286" y="117684"/>
                  </a:lnTo>
                  <a:lnTo>
                    <a:pt x="492750" y="119129"/>
                  </a:lnTo>
                  <a:close/>
                </a:path>
                <a:path w="817879" h="772160">
                  <a:moveTo>
                    <a:pt x="811787" y="385785"/>
                  </a:moveTo>
                  <a:lnTo>
                    <a:pt x="634875" y="385785"/>
                  </a:lnTo>
                  <a:lnTo>
                    <a:pt x="632143" y="384134"/>
                  </a:lnTo>
                  <a:lnTo>
                    <a:pt x="629214" y="378514"/>
                  </a:lnTo>
                  <a:lnTo>
                    <a:pt x="629436" y="375345"/>
                  </a:lnTo>
                  <a:lnTo>
                    <a:pt x="718155" y="250960"/>
                  </a:lnTo>
                  <a:lnTo>
                    <a:pt x="720549" y="249732"/>
                  </a:lnTo>
                  <a:lnTo>
                    <a:pt x="726114" y="249732"/>
                  </a:lnTo>
                  <a:lnTo>
                    <a:pt x="728506" y="250961"/>
                  </a:lnTo>
                  <a:lnTo>
                    <a:pt x="817225" y="375345"/>
                  </a:lnTo>
                  <a:lnTo>
                    <a:pt x="817446" y="378514"/>
                  </a:lnTo>
                  <a:lnTo>
                    <a:pt x="814520" y="384134"/>
                  </a:lnTo>
                  <a:lnTo>
                    <a:pt x="811787" y="385785"/>
                  </a:lnTo>
                  <a:close/>
                </a:path>
                <a:path w="817879" h="772160">
                  <a:moveTo>
                    <a:pt x="472504" y="413303"/>
                  </a:moveTo>
                  <a:lnTo>
                    <a:pt x="358863" y="413303"/>
                  </a:lnTo>
                  <a:lnTo>
                    <a:pt x="498156" y="272999"/>
                  </a:lnTo>
                  <a:lnTo>
                    <a:pt x="511485" y="264159"/>
                  </a:lnTo>
                  <a:lnTo>
                    <a:pt x="526667" y="261182"/>
                  </a:lnTo>
                  <a:lnTo>
                    <a:pt x="541866" y="264075"/>
                  </a:lnTo>
                  <a:lnTo>
                    <a:pt x="555244" y="272843"/>
                  </a:lnTo>
                  <a:lnTo>
                    <a:pt x="564149" y="286076"/>
                  </a:lnTo>
                  <a:lnTo>
                    <a:pt x="567146" y="301149"/>
                  </a:lnTo>
                  <a:lnTo>
                    <a:pt x="564232" y="316238"/>
                  </a:lnTo>
                  <a:lnTo>
                    <a:pt x="555402" y="329520"/>
                  </a:lnTo>
                  <a:lnTo>
                    <a:pt x="509922" y="375345"/>
                  </a:lnTo>
                  <a:lnTo>
                    <a:pt x="472504" y="413303"/>
                  </a:lnTo>
                  <a:close/>
                </a:path>
                <a:path w="817879" h="772160">
                  <a:moveTo>
                    <a:pt x="358926" y="510389"/>
                  </a:moveTo>
                  <a:lnTo>
                    <a:pt x="221878" y="390976"/>
                  </a:lnTo>
                  <a:lnTo>
                    <a:pt x="210023" y="362559"/>
                  </a:lnTo>
                  <a:lnTo>
                    <a:pt x="212987" y="347436"/>
                  </a:lnTo>
                  <a:lnTo>
                    <a:pt x="221879" y="334142"/>
                  </a:lnTo>
                  <a:lnTo>
                    <a:pt x="235269" y="325314"/>
                  </a:lnTo>
                  <a:lnTo>
                    <a:pt x="250502" y="322371"/>
                  </a:lnTo>
                  <a:lnTo>
                    <a:pt x="265735" y="325314"/>
                  </a:lnTo>
                  <a:lnTo>
                    <a:pt x="279126" y="334142"/>
                  </a:lnTo>
                  <a:lnTo>
                    <a:pt x="358863" y="413303"/>
                  </a:lnTo>
                  <a:lnTo>
                    <a:pt x="472504" y="413303"/>
                  </a:lnTo>
                  <a:lnTo>
                    <a:pt x="453908" y="432155"/>
                  </a:lnTo>
                  <a:lnTo>
                    <a:pt x="427406" y="458866"/>
                  </a:lnTo>
                  <a:lnTo>
                    <a:pt x="387548" y="498619"/>
                  </a:lnTo>
                  <a:lnTo>
                    <a:pt x="374158" y="507447"/>
                  </a:lnTo>
                  <a:lnTo>
                    <a:pt x="358926" y="510389"/>
                  </a:lnTo>
                  <a:close/>
                </a:path>
                <a:path w="817879" h="772160">
                  <a:moveTo>
                    <a:pt x="649227" y="671655"/>
                  </a:moveTo>
                  <a:lnTo>
                    <a:pt x="388584" y="671655"/>
                  </a:lnTo>
                  <a:lnTo>
                    <a:pt x="435290" y="667914"/>
                  </a:lnTo>
                  <a:lnTo>
                    <a:pt x="479597" y="657082"/>
                  </a:lnTo>
                  <a:lnTo>
                    <a:pt x="520911" y="639747"/>
                  </a:lnTo>
                  <a:lnTo>
                    <a:pt x="558640" y="616499"/>
                  </a:lnTo>
                  <a:lnTo>
                    <a:pt x="592191" y="587926"/>
                  </a:lnTo>
                  <a:lnTo>
                    <a:pt x="620971" y="554616"/>
                  </a:lnTo>
                  <a:lnTo>
                    <a:pt x="644388" y="517159"/>
                  </a:lnTo>
                  <a:lnTo>
                    <a:pt x="661848" y="476142"/>
                  </a:lnTo>
                  <a:lnTo>
                    <a:pt x="672759" y="432155"/>
                  </a:lnTo>
                  <a:lnTo>
                    <a:pt x="676527" y="385785"/>
                  </a:lnTo>
                  <a:lnTo>
                    <a:pt x="777167" y="385785"/>
                  </a:lnTo>
                  <a:lnTo>
                    <a:pt x="774139" y="434177"/>
                  </a:lnTo>
                  <a:lnTo>
                    <a:pt x="765299" y="480776"/>
                  </a:lnTo>
                  <a:lnTo>
                    <a:pt x="751011" y="525219"/>
                  </a:lnTo>
                  <a:lnTo>
                    <a:pt x="731638" y="567145"/>
                  </a:lnTo>
                  <a:lnTo>
                    <a:pt x="707545" y="606193"/>
                  </a:lnTo>
                  <a:lnTo>
                    <a:pt x="679097" y="642001"/>
                  </a:lnTo>
                  <a:lnTo>
                    <a:pt x="649227" y="671655"/>
                  </a:lnTo>
                  <a:close/>
                </a:path>
              </a:pathLst>
            </a:custGeom>
            <a:solidFill>
              <a:srgbClr val="FFFFFF"/>
            </a:solidFill>
          </p:spPr>
          <p:txBody>
            <a:bodyPr wrap="square" lIns="0" tIns="0" rIns="0" bIns="0" rtlCol="0"/>
            <a:lstStyle/>
            <a:p>
              <a:endParaRPr/>
            </a:p>
          </p:txBody>
        </p:sp>
        <p:pic>
          <p:nvPicPr>
            <p:cNvPr id="8" name="object 8"/>
            <p:cNvPicPr/>
            <p:nvPr/>
          </p:nvPicPr>
          <p:blipFill>
            <a:blip r:embed="rId2" cstate="print"/>
            <a:stretch>
              <a:fillRect/>
            </a:stretch>
          </p:blipFill>
          <p:spPr>
            <a:xfrm>
              <a:off x="2241392" y="5121714"/>
              <a:ext cx="66675" cy="66674"/>
            </a:xfrm>
            <a:prstGeom prst="rect">
              <a:avLst/>
            </a:prstGeom>
          </p:spPr>
        </p:pic>
        <p:pic>
          <p:nvPicPr>
            <p:cNvPr id="9" name="object 9"/>
            <p:cNvPicPr/>
            <p:nvPr/>
          </p:nvPicPr>
          <p:blipFill>
            <a:blip r:embed="rId2" cstate="print"/>
            <a:stretch>
              <a:fillRect/>
            </a:stretch>
          </p:blipFill>
          <p:spPr>
            <a:xfrm>
              <a:off x="2241392" y="5950389"/>
              <a:ext cx="66675" cy="66674"/>
            </a:xfrm>
            <a:prstGeom prst="rect">
              <a:avLst/>
            </a:prstGeom>
          </p:spPr>
        </p:pic>
      </p:grpSp>
      <p:sp>
        <p:nvSpPr>
          <p:cNvPr id="10" name="object 10"/>
          <p:cNvSpPr txBox="1"/>
          <p:nvPr/>
        </p:nvSpPr>
        <p:spPr>
          <a:xfrm>
            <a:off x="1636038" y="2864194"/>
            <a:ext cx="3459479"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395605">
              <a:lnSpc>
                <a:spcPct val="100000"/>
              </a:lnSpc>
            </a:pPr>
            <a:r>
              <a:rPr sz="4600" b="1" spc="35" dirty="0">
                <a:solidFill>
                  <a:srgbClr val="F5A316"/>
                </a:solidFill>
                <a:latin typeface="Arial"/>
                <a:cs typeface="Arial"/>
              </a:rPr>
              <a:t>01</a:t>
            </a:r>
            <a:endParaRPr sz="4600">
              <a:latin typeface="Arial"/>
              <a:cs typeface="Arial"/>
            </a:endParaRPr>
          </a:p>
          <a:p>
            <a:pPr marL="395605">
              <a:lnSpc>
                <a:spcPct val="100000"/>
              </a:lnSpc>
              <a:spcBef>
                <a:spcPts val="305"/>
              </a:spcBef>
            </a:pPr>
            <a:r>
              <a:rPr sz="1850" b="1" spc="50" dirty="0">
                <a:solidFill>
                  <a:srgbClr val="FFFFFF"/>
                </a:solidFill>
                <a:latin typeface="Arial"/>
                <a:cs typeface="Arial"/>
              </a:rPr>
              <a:t>Recuperación</a:t>
            </a:r>
            <a:endParaRPr sz="1850">
              <a:latin typeface="Arial"/>
              <a:cs typeface="Arial"/>
            </a:endParaRPr>
          </a:p>
          <a:p>
            <a:pPr>
              <a:lnSpc>
                <a:spcPct val="100000"/>
              </a:lnSpc>
              <a:spcBef>
                <a:spcPts val="45"/>
              </a:spcBef>
            </a:pPr>
            <a:endParaRPr sz="2300">
              <a:latin typeface="Arial"/>
              <a:cs typeface="Arial"/>
            </a:endParaRPr>
          </a:p>
          <a:p>
            <a:pPr marL="803275" marR="405765">
              <a:lnSpc>
                <a:spcPts val="2180"/>
              </a:lnSpc>
            </a:pPr>
            <a:r>
              <a:rPr sz="1850" dirty="0">
                <a:solidFill>
                  <a:srgbClr val="FFFFFF"/>
                </a:solidFill>
                <a:latin typeface="Roboto"/>
                <a:cs typeface="Roboto"/>
              </a:rPr>
              <a:t>Recuperación</a:t>
            </a:r>
            <a:r>
              <a:rPr sz="1850" spc="-35" dirty="0">
                <a:solidFill>
                  <a:srgbClr val="FFFFFF"/>
                </a:solidFill>
                <a:latin typeface="Roboto"/>
                <a:cs typeface="Roboto"/>
              </a:rPr>
              <a:t> </a:t>
            </a:r>
            <a:r>
              <a:rPr sz="1850" dirty="0">
                <a:solidFill>
                  <a:srgbClr val="FFFFFF"/>
                </a:solidFill>
                <a:latin typeface="Roboto"/>
                <a:cs typeface="Roboto"/>
              </a:rPr>
              <a:t>a</a:t>
            </a:r>
            <a:r>
              <a:rPr sz="1850" spc="-30" dirty="0">
                <a:solidFill>
                  <a:srgbClr val="FFFFFF"/>
                </a:solidFill>
                <a:latin typeface="Roboto"/>
                <a:cs typeface="Roboto"/>
              </a:rPr>
              <a:t> </a:t>
            </a:r>
            <a:r>
              <a:rPr sz="1850" b="1" spc="-20" dirty="0">
                <a:solidFill>
                  <a:srgbClr val="FFFFFF"/>
                </a:solidFill>
                <a:latin typeface="Roboto"/>
                <a:cs typeface="Roboto"/>
              </a:rPr>
              <a:t>buen </a:t>
            </a:r>
            <a:r>
              <a:rPr sz="1850" b="1" spc="-10" dirty="0">
                <a:solidFill>
                  <a:srgbClr val="FFFFFF"/>
                </a:solidFill>
                <a:latin typeface="Roboto"/>
                <a:cs typeface="Roboto"/>
              </a:rPr>
              <a:t>ritmo.</a:t>
            </a:r>
            <a:endParaRPr sz="1850">
              <a:latin typeface="Roboto"/>
              <a:cs typeface="Roboto"/>
            </a:endParaRPr>
          </a:p>
          <a:p>
            <a:pPr>
              <a:lnSpc>
                <a:spcPct val="100000"/>
              </a:lnSpc>
              <a:spcBef>
                <a:spcPts val="60"/>
              </a:spcBef>
            </a:pPr>
            <a:endParaRPr sz="1600">
              <a:latin typeface="Roboto"/>
              <a:cs typeface="Roboto"/>
            </a:endParaRPr>
          </a:p>
          <a:p>
            <a:pPr marL="803275" marR="309880">
              <a:lnSpc>
                <a:spcPts val="2170"/>
              </a:lnSpc>
            </a:pPr>
            <a:r>
              <a:rPr sz="1850" dirty="0">
                <a:solidFill>
                  <a:srgbClr val="FFFFFF"/>
                </a:solidFill>
                <a:latin typeface="Roboto"/>
                <a:cs typeface="Roboto"/>
              </a:rPr>
              <a:t>Recuperar</a:t>
            </a:r>
            <a:r>
              <a:rPr sz="1850" spc="-70" dirty="0">
                <a:solidFill>
                  <a:srgbClr val="FFFFFF"/>
                </a:solidFill>
                <a:latin typeface="Roboto"/>
                <a:cs typeface="Roboto"/>
              </a:rPr>
              <a:t> </a:t>
            </a:r>
            <a:r>
              <a:rPr sz="1850" spc="-25" dirty="0">
                <a:solidFill>
                  <a:srgbClr val="FFFFFF"/>
                </a:solidFill>
                <a:latin typeface="Roboto"/>
                <a:cs typeface="Roboto"/>
              </a:rPr>
              <a:t>la </a:t>
            </a:r>
            <a:r>
              <a:rPr sz="1850" b="1" spc="-10" dirty="0">
                <a:solidFill>
                  <a:srgbClr val="FFFFFF"/>
                </a:solidFill>
                <a:latin typeface="Roboto"/>
                <a:cs typeface="Roboto"/>
              </a:rPr>
              <a:t>conectividad </a:t>
            </a:r>
            <a:r>
              <a:rPr sz="1850" b="1" dirty="0">
                <a:solidFill>
                  <a:srgbClr val="FFFFFF"/>
                </a:solidFill>
                <a:latin typeface="Roboto"/>
                <a:cs typeface="Roboto"/>
              </a:rPr>
              <a:t>internacional</a:t>
            </a:r>
            <a:r>
              <a:rPr sz="1850" b="1" spc="70" dirty="0">
                <a:solidFill>
                  <a:srgbClr val="FFFFFF"/>
                </a:solidFill>
                <a:latin typeface="Roboto"/>
                <a:cs typeface="Roboto"/>
              </a:rPr>
              <a:t> </a:t>
            </a:r>
            <a:r>
              <a:rPr sz="1850" dirty="0">
                <a:solidFill>
                  <a:srgbClr val="FFFFFF"/>
                </a:solidFill>
                <a:latin typeface="Roboto"/>
                <a:cs typeface="Roboto"/>
              </a:rPr>
              <a:t>es</a:t>
            </a:r>
            <a:r>
              <a:rPr sz="1850" spc="75" dirty="0">
                <a:solidFill>
                  <a:srgbClr val="FFFFFF"/>
                </a:solidFill>
                <a:latin typeface="Roboto"/>
                <a:cs typeface="Roboto"/>
              </a:rPr>
              <a:t> </a:t>
            </a:r>
            <a:r>
              <a:rPr sz="1850" spc="-20" dirty="0">
                <a:solidFill>
                  <a:srgbClr val="FFFFFF"/>
                </a:solidFill>
                <a:latin typeface="Roboto"/>
                <a:cs typeface="Roboto"/>
              </a:rPr>
              <a:t>clave </a:t>
            </a:r>
            <a:r>
              <a:rPr sz="1850" dirty="0">
                <a:solidFill>
                  <a:srgbClr val="FFFFFF"/>
                </a:solidFill>
                <a:latin typeface="Roboto"/>
                <a:cs typeface="Roboto"/>
              </a:rPr>
              <a:t>para</a:t>
            </a:r>
            <a:r>
              <a:rPr sz="1850" spc="-10" dirty="0">
                <a:solidFill>
                  <a:srgbClr val="FFFFFF"/>
                </a:solidFill>
                <a:latin typeface="Roboto"/>
                <a:cs typeface="Roboto"/>
              </a:rPr>
              <a:t> </a:t>
            </a:r>
            <a:r>
              <a:rPr sz="1850" dirty="0">
                <a:solidFill>
                  <a:srgbClr val="FFFFFF"/>
                </a:solidFill>
                <a:latin typeface="Roboto"/>
                <a:cs typeface="Roboto"/>
              </a:rPr>
              <a:t>la</a:t>
            </a:r>
            <a:r>
              <a:rPr sz="1850" spc="-5" dirty="0">
                <a:solidFill>
                  <a:srgbClr val="FFFFFF"/>
                </a:solidFill>
                <a:latin typeface="Roboto"/>
                <a:cs typeface="Roboto"/>
              </a:rPr>
              <a:t> </a:t>
            </a:r>
            <a:r>
              <a:rPr sz="1850" dirty="0">
                <a:solidFill>
                  <a:srgbClr val="FFFFFF"/>
                </a:solidFill>
                <a:latin typeface="Roboto"/>
                <a:cs typeface="Roboto"/>
              </a:rPr>
              <a:t>captación</a:t>
            </a:r>
            <a:r>
              <a:rPr sz="1850" spc="-5" dirty="0">
                <a:solidFill>
                  <a:srgbClr val="FFFFFF"/>
                </a:solidFill>
                <a:latin typeface="Roboto"/>
                <a:cs typeface="Roboto"/>
              </a:rPr>
              <a:t> </a:t>
            </a:r>
            <a:r>
              <a:rPr sz="1850" spc="-25" dirty="0">
                <a:solidFill>
                  <a:srgbClr val="FFFFFF"/>
                </a:solidFill>
                <a:latin typeface="Roboto"/>
                <a:cs typeface="Roboto"/>
              </a:rPr>
              <a:t>de </a:t>
            </a:r>
            <a:r>
              <a:rPr sz="1850" dirty="0">
                <a:solidFill>
                  <a:srgbClr val="FFFFFF"/>
                </a:solidFill>
                <a:latin typeface="Roboto"/>
                <a:cs typeface="Roboto"/>
              </a:rPr>
              <a:t>más</a:t>
            </a:r>
            <a:r>
              <a:rPr sz="1850" spc="10" dirty="0">
                <a:solidFill>
                  <a:srgbClr val="FFFFFF"/>
                </a:solidFill>
                <a:latin typeface="Roboto"/>
                <a:cs typeface="Roboto"/>
              </a:rPr>
              <a:t> </a:t>
            </a:r>
            <a:r>
              <a:rPr sz="1850" dirty="0">
                <a:solidFill>
                  <a:srgbClr val="FFFFFF"/>
                </a:solidFill>
                <a:latin typeface="Roboto"/>
                <a:cs typeface="Roboto"/>
              </a:rPr>
              <a:t>reuniones</a:t>
            </a:r>
            <a:r>
              <a:rPr sz="1850" spc="15" dirty="0">
                <a:solidFill>
                  <a:srgbClr val="FFFFFF"/>
                </a:solidFill>
                <a:latin typeface="Roboto"/>
                <a:cs typeface="Roboto"/>
              </a:rPr>
              <a:t> </a:t>
            </a:r>
            <a:r>
              <a:rPr sz="1850" spc="-50" dirty="0">
                <a:solidFill>
                  <a:srgbClr val="FFFFFF"/>
                </a:solidFill>
                <a:latin typeface="Roboto"/>
                <a:cs typeface="Roboto"/>
              </a:rPr>
              <a:t>y </a:t>
            </a:r>
            <a:r>
              <a:rPr sz="1850" spc="-10" dirty="0">
                <a:solidFill>
                  <a:srgbClr val="FFFFFF"/>
                </a:solidFill>
                <a:latin typeface="Roboto"/>
                <a:cs typeface="Roboto"/>
              </a:rPr>
              <a:t>eventos.</a:t>
            </a:r>
            <a:endParaRPr sz="1850">
              <a:latin typeface="Roboto"/>
              <a:cs typeface="Roboto"/>
            </a:endParaRPr>
          </a:p>
        </p:txBody>
      </p:sp>
      <p:pic>
        <p:nvPicPr>
          <p:cNvPr id="11" name="object 11"/>
          <p:cNvPicPr/>
          <p:nvPr/>
        </p:nvPicPr>
        <p:blipFill>
          <a:blip r:embed="rId3" cstate="print"/>
          <a:stretch>
            <a:fillRect/>
          </a:stretch>
        </p:blipFill>
        <p:spPr>
          <a:xfrm>
            <a:off x="17316450" y="237496"/>
            <a:ext cx="742949" cy="819149"/>
          </a:xfrm>
          <a:prstGeom prst="rect">
            <a:avLst/>
          </a:prstGeom>
        </p:spPr>
      </p:pic>
      <p:sp>
        <p:nvSpPr>
          <p:cNvPr id="12" name="object 12"/>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13" name="object 13"/>
          <p:cNvSpPr txBox="1"/>
          <p:nvPr/>
        </p:nvSpPr>
        <p:spPr>
          <a:xfrm>
            <a:off x="17811802" y="9932972"/>
            <a:ext cx="218440"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2</a:t>
            </a:r>
            <a:endParaRPr sz="900">
              <a:latin typeface="Arial"/>
              <a:cs typeface="Arial"/>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37985" y="384149"/>
            <a:ext cx="615251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1.</a:t>
            </a:r>
            <a:r>
              <a:rPr sz="3000" spc="-114" dirty="0">
                <a:solidFill>
                  <a:srgbClr val="FFFFFF"/>
                </a:solidFill>
                <a:latin typeface="Roboto"/>
                <a:cs typeface="Roboto"/>
              </a:rPr>
              <a:t> </a:t>
            </a:r>
            <a:r>
              <a:rPr sz="3000" spc="-30" dirty="0">
                <a:solidFill>
                  <a:srgbClr val="FFFFFF"/>
                </a:solidFill>
                <a:latin typeface="Roboto"/>
                <a:cs typeface="Roboto"/>
              </a:rPr>
              <a:t>Situación</a:t>
            </a:r>
            <a:r>
              <a:rPr sz="3000" spc="-110" dirty="0">
                <a:solidFill>
                  <a:srgbClr val="FFFFFF"/>
                </a:solidFill>
                <a:latin typeface="Roboto"/>
                <a:cs typeface="Roboto"/>
              </a:rPr>
              <a:t> </a:t>
            </a:r>
            <a:r>
              <a:rPr sz="3000" spc="-20" dirty="0">
                <a:solidFill>
                  <a:srgbClr val="FFFFFF"/>
                </a:solidFill>
                <a:latin typeface="Roboto"/>
                <a:cs typeface="Roboto"/>
              </a:rPr>
              <a:t>actual</a:t>
            </a:r>
            <a:r>
              <a:rPr sz="3000" spc="-110" dirty="0">
                <a:solidFill>
                  <a:srgbClr val="FFFFFF"/>
                </a:solidFill>
                <a:latin typeface="Roboto"/>
                <a:cs typeface="Roboto"/>
              </a:rPr>
              <a:t> </a:t>
            </a:r>
            <a:r>
              <a:rPr sz="3000" dirty="0">
                <a:solidFill>
                  <a:srgbClr val="FFFFFF"/>
                </a:solidFill>
                <a:latin typeface="Roboto"/>
                <a:cs typeface="Roboto"/>
              </a:rPr>
              <a:t>segmento</a:t>
            </a:r>
            <a:r>
              <a:rPr sz="3000" spc="-110" dirty="0">
                <a:solidFill>
                  <a:srgbClr val="FFFFFF"/>
                </a:solidFill>
                <a:latin typeface="Roboto"/>
                <a:cs typeface="Roboto"/>
              </a:rPr>
              <a:t> </a:t>
            </a:r>
            <a:r>
              <a:rPr sz="3000" spc="-20" dirty="0">
                <a:solidFill>
                  <a:srgbClr val="FFFFFF"/>
                </a:solidFill>
                <a:latin typeface="Roboto"/>
                <a:cs typeface="Roboto"/>
              </a:rPr>
              <a:t>MICE</a:t>
            </a:r>
            <a:endParaRPr sz="3000">
              <a:latin typeface="Roboto"/>
              <a:cs typeface="Roboto"/>
            </a:endParaRPr>
          </a:p>
        </p:txBody>
      </p:sp>
      <p:sp>
        <p:nvSpPr>
          <p:cNvPr id="3" name="object 3"/>
          <p:cNvSpPr txBox="1">
            <a:spLocks noGrp="1"/>
          </p:cNvSpPr>
          <p:nvPr>
            <p:ph type="title"/>
          </p:nvPr>
        </p:nvSpPr>
        <p:spPr>
          <a:xfrm>
            <a:off x="4882646" y="1854014"/>
            <a:ext cx="8481060" cy="643890"/>
          </a:xfrm>
          <a:prstGeom prst="rect">
            <a:avLst/>
          </a:prstGeom>
        </p:spPr>
        <p:txBody>
          <a:bodyPr vert="horz" wrap="square" lIns="0" tIns="13335" rIns="0" bIns="0" rtlCol="0">
            <a:spAutoFit/>
          </a:bodyPr>
          <a:lstStyle/>
          <a:p>
            <a:pPr marL="12700">
              <a:lnSpc>
                <a:spcPct val="100000"/>
              </a:lnSpc>
              <a:spcBef>
                <a:spcPts val="105"/>
              </a:spcBef>
            </a:pPr>
            <a:r>
              <a:rPr sz="4050" spc="-25" dirty="0">
                <a:solidFill>
                  <a:srgbClr val="E3112B"/>
                </a:solidFill>
              </a:rPr>
              <a:t>Puntos</a:t>
            </a:r>
            <a:r>
              <a:rPr sz="4050" spc="-170" dirty="0">
                <a:solidFill>
                  <a:srgbClr val="E3112B"/>
                </a:solidFill>
              </a:rPr>
              <a:t> </a:t>
            </a:r>
            <a:r>
              <a:rPr sz="4050" dirty="0">
                <a:solidFill>
                  <a:srgbClr val="E3112B"/>
                </a:solidFill>
              </a:rPr>
              <a:t>clave</a:t>
            </a:r>
            <a:r>
              <a:rPr sz="4050" spc="-165" dirty="0">
                <a:solidFill>
                  <a:srgbClr val="E3112B"/>
                </a:solidFill>
              </a:rPr>
              <a:t> </a:t>
            </a:r>
            <a:r>
              <a:rPr sz="4050" dirty="0">
                <a:solidFill>
                  <a:srgbClr val="E3112B"/>
                </a:solidFill>
              </a:rPr>
              <a:t>del</a:t>
            </a:r>
            <a:r>
              <a:rPr sz="4050" spc="-170" dirty="0">
                <a:solidFill>
                  <a:srgbClr val="E3112B"/>
                </a:solidFill>
              </a:rPr>
              <a:t> </a:t>
            </a:r>
            <a:r>
              <a:rPr sz="4050" dirty="0">
                <a:solidFill>
                  <a:srgbClr val="E3112B"/>
                </a:solidFill>
              </a:rPr>
              <a:t>sector</a:t>
            </a:r>
            <a:r>
              <a:rPr sz="4050" spc="-165" dirty="0">
                <a:solidFill>
                  <a:srgbClr val="E3112B"/>
                </a:solidFill>
              </a:rPr>
              <a:t> </a:t>
            </a:r>
            <a:r>
              <a:rPr sz="4050" dirty="0">
                <a:solidFill>
                  <a:srgbClr val="E3112B"/>
                </a:solidFill>
              </a:rPr>
              <a:t>MICE</a:t>
            </a:r>
            <a:r>
              <a:rPr sz="4050" spc="-170" dirty="0">
                <a:solidFill>
                  <a:srgbClr val="E3112B"/>
                </a:solidFill>
              </a:rPr>
              <a:t> </a:t>
            </a:r>
            <a:r>
              <a:rPr sz="4050" spc="-10" dirty="0">
                <a:solidFill>
                  <a:srgbClr val="E3112B"/>
                </a:solidFill>
              </a:rPr>
              <a:t>chileno</a:t>
            </a:r>
            <a:endParaRPr sz="4050"/>
          </a:p>
        </p:txBody>
      </p:sp>
      <p:grpSp>
        <p:nvGrpSpPr>
          <p:cNvPr id="4" name="object 4"/>
          <p:cNvGrpSpPr/>
          <p:nvPr/>
        </p:nvGrpSpPr>
        <p:grpSpPr>
          <a:xfrm>
            <a:off x="1636038" y="2864192"/>
            <a:ext cx="3459479" cy="6638925"/>
            <a:chOff x="1636038" y="2864192"/>
            <a:chExt cx="3459479" cy="6638925"/>
          </a:xfrm>
        </p:grpSpPr>
        <p:sp>
          <p:nvSpPr>
            <p:cNvPr id="5" name="object 5"/>
            <p:cNvSpPr/>
            <p:nvPr/>
          </p:nvSpPr>
          <p:spPr>
            <a:xfrm>
              <a:off x="1636038" y="2864192"/>
              <a:ext cx="3459479" cy="6638925"/>
            </a:xfrm>
            <a:custGeom>
              <a:avLst/>
              <a:gdLst/>
              <a:ahLst/>
              <a:cxnLst/>
              <a:rect l="l" t="t" r="r" b="b"/>
              <a:pathLst>
                <a:path w="3459479" h="6638925">
                  <a:moveTo>
                    <a:pt x="3458958" y="6638677"/>
                  </a:moveTo>
                  <a:lnTo>
                    <a:pt x="0" y="6638677"/>
                  </a:lnTo>
                  <a:lnTo>
                    <a:pt x="0" y="0"/>
                  </a:lnTo>
                  <a:lnTo>
                    <a:pt x="3458958" y="0"/>
                  </a:lnTo>
                  <a:lnTo>
                    <a:pt x="3458958" y="6638677"/>
                  </a:lnTo>
                  <a:close/>
                </a:path>
              </a:pathLst>
            </a:custGeom>
            <a:solidFill>
              <a:srgbClr val="0090AE"/>
            </a:solidFill>
          </p:spPr>
          <p:txBody>
            <a:bodyPr wrap="square" lIns="0" tIns="0" rIns="0" bIns="0" rtlCol="0"/>
            <a:lstStyle/>
            <a:p>
              <a:endParaRPr/>
            </a:p>
          </p:txBody>
        </p:sp>
        <p:sp>
          <p:nvSpPr>
            <p:cNvPr id="6" name="object 6"/>
            <p:cNvSpPr/>
            <p:nvPr/>
          </p:nvSpPr>
          <p:spPr>
            <a:xfrm>
              <a:off x="3885657" y="3206718"/>
              <a:ext cx="817880" cy="772160"/>
            </a:xfrm>
            <a:custGeom>
              <a:avLst/>
              <a:gdLst/>
              <a:ahLst/>
              <a:cxnLst/>
              <a:rect l="l" t="t" r="r" b="b"/>
              <a:pathLst>
                <a:path w="817879" h="772160">
                  <a:moveTo>
                    <a:pt x="388582" y="771571"/>
                  </a:moveTo>
                  <a:lnTo>
                    <a:pt x="339839" y="768565"/>
                  </a:lnTo>
                  <a:lnTo>
                    <a:pt x="292903" y="759788"/>
                  </a:lnTo>
                  <a:lnTo>
                    <a:pt x="248138" y="745603"/>
                  </a:lnTo>
                  <a:lnTo>
                    <a:pt x="205907" y="726370"/>
                  </a:lnTo>
                  <a:lnTo>
                    <a:pt x="166576" y="702451"/>
                  </a:lnTo>
                  <a:lnTo>
                    <a:pt x="130509" y="674207"/>
                  </a:lnTo>
                  <a:lnTo>
                    <a:pt x="98069" y="642001"/>
                  </a:lnTo>
                  <a:lnTo>
                    <a:pt x="69620" y="606193"/>
                  </a:lnTo>
                  <a:lnTo>
                    <a:pt x="45528" y="567145"/>
                  </a:lnTo>
                  <a:lnTo>
                    <a:pt x="26155" y="525219"/>
                  </a:lnTo>
                  <a:lnTo>
                    <a:pt x="11867" y="480776"/>
                  </a:lnTo>
                  <a:lnTo>
                    <a:pt x="3027" y="434177"/>
                  </a:lnTo>
                  <a:lnTo>
                    <a:pt x="0" y="385785"/>
                  </a:lnTo>
                  <a:lnTo>
                    <a:pt x="3027" y="337393"/>
                  </a:lnTo>
                  <a:lnTo>
                    <a:pt x="11867" y="290794"/>
                  </a:lnTo>
                  <a:lnTo>
                    <a:pt x="26156" y="246351"/>
                  </a:lnTo>
                  <a:lnTo>
                    <a:pt x="45528" y="204425"/>
                  </a:lnTo>
                  <a:lnTo>
                    <a:pt x="69621" y="165377"/>
                  </a:lnTo>
                  <a:lnTo>
                    <a:pt x="98070" y="129569"/>
                  </a:lnTo>
                  <a:lnTo>
                    <a:pt x="130510" y="97363"/>
                  </a:lnTo>
                  <a:lnTo>
                    <a:pt x="166578" y="69119"/>
                  </a:lnTo>
                  <a:lnTo>
                    <a:pt x="205909" y="45200"/>
                  </a:lnTo>
                  <a:lnTo>
                    <a:pt x="248139" y="25967"/>
                  </a:lnTo>
                  <a:lnTo>
                    <a:pt x="292905" y="11782"/>
                  </a:lnTo>
                  <a:lnTo>
                    <a:pt x="339841" y="3005"/>
                  </a:lnTo>
                  <a:lnTo>
                    <a:pt x="388584" y="0"/>
                  </a:lnTo>
                  <a:lnTo>
                    <a:pt x="434549" y="2673"/>
                  </a:lnTo>
                  <a:lnTo>
                    <a:pt x="478927" y="10490"/>
                  </a:lnTo>
                  <a:lnTo>
                    <a:pt x="521415" y="23145"/>
                  </a:lnTo>
                  <a:lnTo>
                    <a:pt x="561710" y="40334"/>
                  </a:lnTo>
                  <a:lnTo>
                    <a:pt x="566650" y="49097"/>
                  </a:lnTo>
                  <a:lnTo>
                    <a:pt x="565832" y="51618"/>
                  </a:lnTo>
                  <a:lnTo>
                    <a:pt x="517185" y="99915"/>
                  </a:lnTo>
                  <a:lnTo>
                    <a:pt x="388584" y="99915"/>
                  </a:lnTo>
                  <a:lnTo>
                    <a:pt x="341878" y="103656"/>
                  </a:lnTo>
                  <a:lnTo>
                    <a:pt x="297572" y="114489"/>
                  </a:lnTo>
                  <a:lnTo>
                    <a:pt x="256258" y="131823"/>
                  </a:lnTo>
                  <a:lnTo>
                    <a:pt x="218529" y="155071"/>
                  </a:lnTo>
                  <a:lnTo>
                    <a:pt x="184978" y="183644"/>
                  </a:lnTo>
                  <a:lnTo>
                    <a:pt x="156197" y="216954"/>
                  </a:lnTo>
                  <a:lnTo>
                    <a:pt x="132781" y="254411"/>
                  </a:lnTo>
                  <a:lnTo>
                    <a:pt x="115321" y="295428"/>
                  </a:lnTo>
                  <a:lnTo>
                    <a:pt x="104410" y="339415"/>
                  </a:lnTo>
                  <a:lnTo>
                    <a:pt x="100641" y="385785"/>
                  </a:lnTo>
                  <a:lnTo>
                    <a:pt x="104410" y="432155"/>
                  </a:lnTo>
                  <a:lnTo>
                    <a:pt x="115321" y="476142"/>
                  </a:lnTo>
                  <a:lnTo>
                    <a:pt x="132781" y="517159"/>
                  </a:lnTo>
                  <a:lnTo>
                    <a:pt x="156197" y="554617"/>
                  </a:lnTo>
                  <a:lnTo>
                    <a:pt x="184978" y="587926"/>
                  </a:lnTo>
                  <a:lnTo>
                    <a:pt x="218529" y="616499"/>
                  </a:lnTo>
                  <a:lnTo>
                    <a:pt x="256258" y="639747"/>
                  </a:lnTo>
                  <a:lnTo>
                    <a:pt x="297572" y="657082"/>
                  </a:lnTo>
                  <a:lnTo>
                    <a:pt x="341878" y="667914"/>
                  </a:lnTo>
                  <a:lnTo>
                    <a:pt x="388584" y="671655"/>
                  </a:lnTo>
                  <a:lnTo>
                    <a:pt x="649227" y="671655"/>
                  </a:lnTo>
                  <a:lnTo>
                    <a:pt x="646657" y="674207"/>
                  </a:lnTo>
                  <a:lnTo>
                    <a:pt x="610589" y="702451"/>
                  </a:lnTo>
                  <a:lnTo>
                    <a:pt x="571258" y="726370"/>
                  </a:lnTo>
                  <a:lnTo>
                    <a:pt x="529027" y="745603"/>
                  </a:lnTo>
                  <a:lnTo>
                    <a:pt x="484262" y="759788"/>
                  </a:lnTo>
                  <a:lnTo>
                    <a:pt x="437326" y="768565"/>
                  </a:lnTo>
                  <a:lnTo>
                    <a:pt x="388582" y="771571"/>
                  </a:lnTo>
                  <a:close/>
                </a:path>
                <a:path w="817879" h="772160">
                  <a:moveTo>
                    <a:pt x="492750" y="119129"/>
                  </a:moveTo>
                  <a:lnTo>
                    <a:pt x="438994" y="104287"/>
                  </a:lnTo>
                  <a:lnTo>
                    <a:pt x="388584" y="99915"/>
                  </a:lnTo>
                  <a:lnTo>
                    <a:pt x="517185" y="99915"/>
                  </a:lnTo>
                  <a:lnTo>
                    <a:pt x="499286" y="117684"/>
                  </a:lnTo>
                  <a:lnTo>
                    <a:pt x="492750" y="119129"/>
                  </a:lnTo>
                  <a:close/>
                </a:path>
                <a:path w="817879" h="772160">
                  <a:moveTo>
                    <a:pt x="811787" y="385785"/>
                  </a:moveTo>
                  <a:lnTo>
                    <a:pt x="634875" y="385785"/>
                  </a:lnTo>
                  <a:lnTo>
                    <a:pt x="632143" y="384134"/>
                  </a:lnTo>
                  <a:lnTo>
                    <a:pt x="629214" y="378514"/>
                  </a:lnTo>
                  <a:lnTo>
                    <a:pt x="629436" y="375345"/>
                  </a:lnTo>
                  <a:lnTo>
                    <a:pt x="718155" y="250960"/>
                  </a:lnTo>
                  <a:lnTo>
                    <a:pt x="720549" y="249732"/>
                  </a:lnTo>
                  <a:lnTo>
                    <a:pt x="726114" y="249732"/>
                  </a:lnTo>
                  <a:lnTo>
                    <a:pt x="728506" y="250961"/>
                  </a:lnTo>
                  <a:lnTo>
                    <a:pt x="817225" y="375345"/>
                  </a:lnTo>
                  <a:lnTo>
                    <a:pt x="817446" y="378514"/>
                  </a:lnTo>
                  <a:lnTo>
                    <a:pt x="814520" y="384134"/>
                  </a:lnTo>
                  <a:lnTo>
                    <a:pt x="811787" y="385785"/>
                  </a:lnTo>
                  <a:close/>
                </a:path>
                <a:path w="817879" h="772160">
                  <a:moveTo>
                    <a:pt x="472504" y="413303"/>
                  </a:moveTo>
                  <a:lnTo>
                    <a:pt x="358863" y="413303"/>
                  </a:lnTo>
                  <a:lnTo>
                    <a:pt x="498156" y="272999"/>
                  </a:lnTo>
                  <a:lnTo>
                    <a:pt x="511485" y="264159"/>
                  </a:lnTo>
                  <a:lnTo>
                    <a:pt x="526667" y="261182"/>
                  </a:lnTo>
                  <a:lnTo>
                    <a:pt x="541866" y="264075"/>
                  </a:lnTo>
                  <a:lnTo>
                    <a:pt x="555244" y="272843"/>
                  </a:lnTo>
                  <a:lnTo>
                    <a:pt x="564149" y="286076"/>
                  </a:lnTo>
                  <a:lnTo>
                    <a:pt x="567146" y="301149"/>
                  </a:lnTo>
                  <a:lnTo>
                    <a:pt x="564232" y="316238"/>
                  </a:lnTo>
                  <a:lnTo>
                    <a:pt x="555402" y="329520"/>
                  </a:lnTo>
                  <a:lnTo>
                    <a:pt x="509922" y="375345"/>
                  </a:lnTo>
                  <a:lnTo>
                    <a:pt x="472504" y="413303"/>
                  </a:lnTo>
                  <a:close/>
                </a:path>
                <a:path w="817879" h="772160">
                  <a:moveTo>
                    <a:pt x="358926" y="510389"/>
                  </a:moveTo>
                  <a:lnTo>
                    <a:pt x="221878" y="390976"/>
                  </a:lnTo>
                  <a:lnTo>
                    <a:pt x="210023" y="362559"/>
                  </a:lnTo>
                  <a:lnTo>
                    <a:pt x="212987" y="347436"/>
                  </a:lnTo>
                  <a:lnTo>
                    <a:pt x="221879" y="334142"/>
                  </a:lnTo>
                  <a:lnTo>
                    <a:pt x="235269" y="325314"/>
                  </a:lnTo>
                  <a:lnTo>
                    <a:pt x="250502" y="322371"/>
                  </a:lnTo>
                  <a:lnTo>
                    <a:pt x="265735" y="325314"/>
                  </a:lnTo>
                  <a:lnTo>
                    <a:pt x="279126" y="334142"/>
                  </a:lnTo>
                  <a:lnTo>
                    <a:pt x="358863" y="413303"/>
                  </a:lnTo>
                  <a:lnTo>
                    <a:pt x="472504" y="413303"/>
                  </a:lnTo>
                  <a:lnTo>
                    <a:pt x="453908" y="432155"/>
                  </a:lnTo>
                  <a:lnTo>
                    <a:pt x="427406" y="458866"/>
                  </a:lnTo>
                  <a:lnTo>
                    <a:pt x="387548" y="498619"/>
                  </a:lnTo>
                  <a:lnTo>
                    <a:pt x="374158" y="507447"/>
                  </a:lnTo>
                  <a:lnTo>
                    <a:pt x="358926" y="510389"/>
                  </a:lnTo>
                  <a:close/>
                </a:path>
                <a:path w="817879" h="772160">
                  <a:moveTo>
                    <a:pt x="649227" y="671655"/>
                  </a:moveTo>
                  <a:lnTo>
                    <a:pt x="388584" y="671655"/>
                  </a:lnTo>
                  <a:lnTo>
                    <a:pt x="435290" y="667914"/>
                  </a:lnTo>
                  <a:lnTo>
                    <a:pt x="479597" y="657082"/>
                  </a:lnTo>
                  <a:lnTo>
                    <a:pt x="520911" y="639747"/>
                  </a:lnTo>
                  <a:lnTo>
                    <a:pt x="558640" y="616499"/>
                  </a:lnTo>
                  <a:lnTo>
                    <a:pt x="592191" y="587926"/>
                  </a:lnTo>
                  <a:lnTo>
                    <a:pt x="620971" y="554616"/>
                  </a:lnTo>
                  <a:lnTo>
                    <a:pt x="644388" y="517159"/>
                  </a:lnTo>
                  <a:lnTo>
                    <a:pt x="661848" y="476142"/>
                  </a:lnTo>
                  <a:lnTo>
                    <a:pt x="672759" y="432155"/>
                  </a:lnTo>
                  <a:lnTo>
                    <a:pt x="676527" y="385785"/>
                  </a:lnTo>
                  <a:lnTo>
                    <a:pt x="777167" y="385785"/>
                  </a:lnTo>
                  <a:lnTo>
                    <a:pt x="774139" y="434177"/>
                  </a:lnTo>
                  <a:lnTo>
                    <a:pt x="765299" y="480776"/>
                  </a:lnTo>
                  <a:lnTo>
                    <a:pt x="751011" y="525219"/>
                  </a:lnTo>
                  <a:lnTo>
                    <a:pt x="731638" y="567145"/>
                  </a:lnTo>
                  <a:lnTo>
                    <a:pt x="707545" y="606193"/>
                  </a:lnTo>
                  <a:lnTo>
                    <a:pt x="679097" y="642001"/>
                  </a:lnTo>
                  <a:lnTo>
                    <a:pt x="649227" y="671655"/>
                  </a:lnTo>
                  <a:close/>
                </a:path>
              </a:pathLst>
            </a:custGeom>
            <a:solidFill>
              <a:srgbClr val="FFFFFF"/>
            </a:solidFill>
          </p:spPr>
          <p:txBody>
            <a:bodyPr wrap="square" lIns="0" tIns="0" rIns="0" bIns="0" rtlCol="0"/>
            <a:lstStyle/>
            <a:p>
              <a:endParaRPr/>
            </a:p>
          </p:txBody>
        </p:sp>
        <p:pic>
          <p:nvPicPr>
            <p:cNvPr id="7" name="object 7"/>
            <p:cNvPicPr/>
            <p:nvPr/>
          </p:nvPicPr>
          <p:blipFill>
            <a:blip r:embed="rId2" cstate="print"/>
            <a:stretch>
              <a:fillRect/>
            </a:stretch>
          </p:blipFill>
          <p:spPr>
            <a:xfrm>
              <a:off x="2241392" y="5121710"/>
              <a:ext cx="66675" cy="66674"/>
            </a:xfrm>
            <a:prstGeom prst="rect">
              <a:avLst/>
            </a:prstGeom>
          </p:spPr>
        </p:pic>
        <p:pic>
          <p:nvPicPr>
            <p:cNvPr id="8" name="object 8"/>
            <p:cNvPicPr/>
            <p:nvPr/>
          </p:nvPicPr>
          <p:blipFill>
            <a:blip r:embed="rId2" cstate="print"/>
            <a:stretch>
              <a:fillRect/>
            </a:stretch>
          </p:blipFill>
          <p:spPr>
            <a:xfrm>
              <a:off x="2241392" y="5950385"/>
              <a:ext cx="66675" cy="66674"/>
            </a:xfrm>
            <a:prstGeom prst="rect">
              <a:avLst/>
            </a:prstGeom>
          </p:spPr>
        </p:pic>
      </p:grpSp>
      <p:sp>
        <p:nvSpPr>
          <p:cNvPr id="9" name="object 9"/>
          <p:cNvSpPr txBox="1"/>
          <p:nvPr/>
        </p:nvSpPr>
        <p:spPr>
          <a:xfrm>
            <a:off x="1636038" y="2864192"/>
            <a:ext cx="3459479"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395605">
              <a:lnSpc>
                <a:spcPct val="100000"/>
              </a:lnSpc>
            </a:pPr>
            <a:r>
              <a:rPr sz="4600" b="1" spc="35" dirty="0">
                <a:solidFill>
                  <a:srgbClr val="F5A316"/>
                </a:solidFill>
                <a:latin typeface="Arial"/>
                <a:cs typeface="Arial"/>
              </a:rPr>
              <a:t>01</a:t>
            </a:r>
            <a:endParaRPr sz="4600">
              <a:latin typeface="Arial"/>
              <a:cs typeface="Arial"/>
            </a:endParaRPr>
          </a:p>
          <a:p>
            <a:pPr marL="395605">
              <a:lnSpc>
                <a:spcPct val="100000"/>
              </a:lnSpc>
              <a:spcBef>
                <a:spcPts val="305"/>
              </a:spcBef>
            </a:pPr>
            <a:r>
              <a:rPr sz="1850" b="1" spc="50" dirty="0">
                <a:solidFill>
                  <a:srgbClr val="FFFFFF"/>
                </a:solidFill>
                <a:latin typeface="Arial"/>
                <a:cs typeface="Arial"/>
              </a:rPr>
              <a:t>Recuperación</a:t>
            </a:r>
            <a:endParaRPr sz="1850">
              <a:latin typeface="Arial"/>
              <a:cs typeface="Arial"/>
            </a:endParaRPr>
          </a:p>
          <a:p>
            <a:pPr>
              <a:lnSpc>
                <a:spcPct val="100000"/>
              </a:lnSpc>
              <a:spcBef>
                <a:spcPts val="45"/>
              </a:spcBef>
            </a:pPr>
            <a:endParaRPr sz="2300">
              <a:latin typeface="Arial"/>
              <a:cs typeface="Arial"/>
            </a:endParaRPr>
          </a:p>
          <a:p>
            <a:pPr marL="803275" marR="405765">
              <a:lnSpc>
                <a:spcPts val="2180"/>
              </a:lnSpc>
            </a:pPr>
            <a:r>
              <a:rPr sz="1850" dirty="0">
                <a:solidFill>
                  <a:srgbClr val="FFFFFF"/>
                </a:solidFill>
                <a:latin typeface="Roboto"/>
                <a:cs typeface="Roboto"/>
              </a:rPr>
              <a:t>Recuperación</a:t>
            </a:r>
            <a:r>
              <a:rPr sz="1850" spc="-35" dirty="0">
                <a:solidFill>
                  <a:srgbClr val="FFFFFF"/>
                </a:solidFill>
                <a:latin typeface="Roboto"/>
                <a:cs typeface="Roboto"/>
              </a:rPr>
              <a:t> </a:t>
            </a:r>
            <a:r>
              <a:rPr sz="1850" dirty="0">
                <a:solidFill>
                  <a:srgbClr val="FFFFFF"/>
                </a:solidFill>
                <a:latin typeface="Roboto"/>
                <a:cs typeface="Roboto"/>
              </a:rPr>
              <a:t>a</a:t>
            </a:r>
            <a:r>
              <a:rPr sz="1850" spc="-30" dirty="0">
                <a:solidFill>
                  <a:srgbClr val="FFFFFF"/>
                </a:solidFill>
                <a:latin typeface="Roboto"/>
                <a:cs typeface="Roboto"/>
              </a:rPr>
              <a:t> </a:t>
            </a:r>
            <a:r>
              <a:rPr sz="1850" b="1" spc="-20" dirty="0">
                <a:solidFill>
                  <a:srgbClr val="FFFFFF"/>
                </a:solidFill>
                <a:latin typeface="Roboto"/>
                <a:cs typeface="Roboto"/>
              </a:rPr>
              <a:t>buen </a:t>
            </a:r>
            <a:r>
              <a:rPr sz="1850" b="1" spc="-10" dirty="0">
                <a:solidFill>
                  <a:srgbClr val="FFFFFF"/>
                </a:solidFill>
                <a:latin typeface="Roboto"/>
                <a:cs typeface="Roboto"/>
              </a:rPr>
              <a:t>ritmo.</a:t>
            </a:r>
            <a:endParaRPr sz="1850">
              <a:latin typeface="Roboto"/>
              <a:cs typeface="Roboto"/>
            </a:endParaRPr>
          </a:p>
          <a:p>
            <a:pPr>
              <a:lnSpc>
                <a:spcPct val="100000"/>
              </a:lnSpc>
              <a:spcBef>
                <a:spcPts val="50"/>
              </a:spcBef>
            </a:pPr>
            <a:endParaRPr sz="1600">
              <a:latin typeface="Roboto"/>
              <a:cs typeface="Roboto"/>
            </a:endParaRPr>
          </a:p>
          <a:p>
            <a:pPr marL="803275" marR="309880">
              <a:lnSpc>
                <a:spcPts val="2180"/>
              </a:lnSpc>
              <a:spcBef>
                <a:spcPts val="5"/>
              </a:spcBef>
            </a:pPr>
            <a:r>
              <a:rPr sz="1850" dirty="0">
                <a:solidFill>
                  <a:srgbClr val="FFFFFF"/>
                </a:solidFill>
                <a:latin typeface="Roboto"/>
                <a:cs typeface="Roboto"/>
              </a:rPr>
              <a:t>Recuperar</a:t>
            </a:r>
            <a:r>
              <a:rPr sz="1850" spc="-70" dirty="0">
                <a:solidFill>
                  <a:srgbClr val="FFFFFF"/>
                </a:solidFill>
                <a:latin typeface="Roboto"/>
                <a:cs typeface="Roboto"/>
              </a:rPr>
              <a:t> </a:t>
            </a:r>
            <a:r>
              <a:rPr sz="1850" spc="-25" dirty="0">
                <a:solidFill>
                  <a:srgbClr val="FFFFFF"/>
                </a:solidFill>
                <a:latin typeface="Roboto"/>
                <a:cs typeface="Roboto"/>
              </a:rPr>
              <a:t>la </a:t>
            </a:r>
            <a:r>
              <a:rPr sz="1850" b="1" spc="-10" dirty="0">
                <a:solidFill>
                  <a:srgbClr val="FFFFFF"/>
                </a:solidFill>
                <a:latin typeface="Roboto"/>
                <a:cs typeface="Roboto"/>
              </a:rPr>
              <a:t>conectividad </a:t>
            </a:r>
            <a:r>
              <a:rPr sz="1850" b="1" dirty="0">
                <a:solidFill>
                  <a:srgbClr val="FFFFFF"/>
                </a:solidFill>
                <a:latin typeface="Roboto"/>
                <a:cs typeface="Roboto"/>
              </a:rPr>
              <a:t>internacional</a:t>
            </a:r>
            <a:r>
              <a:rPr sz="1850" b="1" spc="70" dirty="0">
                <a:solidFill>
                  <a:srgbClr val="FFFFFF"/>
                </a:solidFill>
                <a:latin typeface="Roboto"/>
                <a:cs typeface="Roboto"/>
              </a:rPr>
              <a:t> </a:t>
            </a:r>
            <a:r>
              <a:rPr sz="1850" dirty="0">
                <a:solidFill>
                  <a:srgbClr val="FFFFFF"/>
                </a:solidFill>
                <a:latin typeface="Roboto"/>
                <a:cs typeface="Roboto"/>
              </a:rPr>
              <a:t>es</a:t>
            </a:r>
            <a:r>
              <a:rPr sz="1850" spc="75" dirty="0">
                <a:solidFill>
                  <a:srgbClr val="FFFFFF"/>
                </a:solidFill>
                <a:latin typeface="Roboto"/>
                <a:cs typeface="Roboto"/>
              </a:rPr>
              <a:t> </a:t>
            </a:r>
            <a:r>
              <a:rPr sz="1850" spc="-20" dirty="0">
                <a:solidFill>
                  <a:srgbClr val="FFFFFF"/>
                </a:solidFill>
                <a:latin typeface="Roboto"/>
                <a:cs typeface="Roboto"/>
              </a:rPr>
              <a:t>clave </a:t>
            </a:r>
            <a:r>
              <a:rPr sz="1850" dirty="0">
                <a:solidFill>
                  <a:srgbClr val="FFFFFF"/>
                </a:solidFill>
                <a:latin typeface="Roboto"/>
                <a:cs typeface="Roboto"/>
              </a:rPr>
              <a:t>para</a:t>
            </a:r>
            <a:r>
              <a:rPr sz="1850" spc="-10" dirty="0">
                <a:solidFill>
                  <a:srgbClr val="FFFFFF"/>
                </a:solidFill>
                <a:latin typeface="Roboto"/>
                <a:cs typeface="Roboto"/>
              </a:rPr>
              <a:t> </a:t>
            </a:r>
            <a:r>
              <a:rPr sz="1850" dirty="0">
                <a:solidFill>
                  <a:srgbClr val="FFFFFF"/>
                </a:solidFill>
                <a:latin typeface="Roboto"/>
                <a:cs typeface="Roboto"/>
              </a:rPr>
              <a:t>la</a:t>
            </a:r>
            <a:r>
              <a:rPr sz="1850" spc="-5" dirty="0">
                <a:solidFill>
                  <a:srgbClr val="FFFFFF"/>
                </a:solidFill>
                <a:latin typeface="Roboto"/>
                <a:cs typeface="Roboto"/>
              </a:rPr>
              <a:t> </a:t>
            </a:r>
            <a:r>
              <a:rPr sz="1850" dirty="0">
                <a:solidFill>
                  <a:srgbClr val="FFFFFF"/>
                </a:solidFill>
                <a:latin typeface="Roboto"/>
                <a:cs typeface="Roboto"/>
              </a:rPr>
              <a:t>captación</a:t>
            </a:r>
            <a:r>
              <a:rPr sz="1850" spc="-5" dirty="0">
                <a:solidFill>
                  <a:srgbClr val="FFFFFF"/>
                </a:solidFill>
                <a:latin typeface="Roboto"/>
                <a:cs typeface="Roboto"/>
              </a:rPr>
              <a:t> </a:t>
            </a:r>
            <a:r>
              <a:rPr sz="1850" spc="-25" dirty="0">
                <a:solidFill>
                  <a:srgbClr val="FFFFFF"/>
                </a:solidFill>
                <a:latin typeface="Roboto"/>
                <a:cs typeface="Roboto"/>
              </a:rPr>
              <a:t>de </a:t>
            </a:r>
            <a:r>
              <a:rPr sz="1850" dirty="0">
                <a:solidFill>
                  <a:srgbClr val="FFFFFF"/>
                </a:solidFill>
                <a:latin typeface="Roboto"/>
                <a:cs typeface="Roboto"/>
              </a:rPr>
              <a:t>más</a:t>
            </a:r>
            <a:r>
              <a:rPr sz="1850" spc="10" dirty="0">
                <a:solidFill>
                  <a:srgbClr val="FFFFFF"/>
                </a:solidFill>
                <a:latin typeface="Roboto"/>
                <a:cs typeface="Roboto"/>
              </a:rPr>
              <a:t> </a:t>
            </a:r>
            <a:r>
              <a:rPr sz="1850" dirty="0">
                <a:solidFill>
                  <a:srgbClr val="FFFFFF"/>
                </a:solidFill>
                <a:latin typeface="Roboto"/>
                <a:cs typeface="Roboto"/>
              </a:rPr>
              <a:t>reuniones</a:t>
            </a:r>
            <a:r>
              <a:rPr sz="1850" spc="15" dirty="0">
                <a:solidFill>
                  <a:srgbClr val="FFFFFF"/>
                </a:solidFill>
                <a:latin typeface="Roboto"/>
                <a:cs typeface="Roboto"/>
              </a:rPr>
              <a:t> </a:t>
            </a:r>
            <a:r>
              <a:rPr sz="1850" spc="-50" dirty="0">
                <a:solidFill>
                  <a:srgbClr val="FFFFFF"/>
                </a:solidFill>
                <a:latin typeface="Roboto"/>
                <a:cs typeface="Roboto"/>
              </a:rPr>
              <a:t>y </a:t>
            </a:r>
            <a:r>
              <a:rPr sz="1850" spc="-10" dirty="0">
                <a:solidFill>
                  <a:srgbClr val="FFFFFF"/>
                </a:solidFill>
                <a:latin typeface="Roboto"/>
                <a:cs typeface="Roboto"/>
              </a:rPr>
              <a:t>eventos.</a:t>
            </a:r>
            <a:endParaRPr sz="1850">
              <a:latin typeface="Roboto"/>
              <a:cs typeface="Roboto"/>
            </a:endParaRPr>
          </a:p>
        </p:txBody>
      </p:sp>
      <p:grpSp>
        <p:nvGrpSpPr>
          <p:cNvPr id="10" name="object 10"/>
          <p:cNvGrpSpPr/>
          <p:nvPr/>
        </p:nvGrpSpPr>
        <p:grpSpPr>
          <a:xfrm>
            <a:off x="5283878" y="2864192"/>
            <a:ext cx="3558540" cy="6638925"/>
            <a:chOff x="5283878" y="2864192"/>
            <a:chExt cx="3558540" cy="6638925"/>
          </a:xfrm>
        </p:grpSpPr>
        <p:sp>
          <p:nvSpPr>
            <p:cNvPr id="11" name="object 11"/>
            <p:cNvSpPr/>
            <p:nvPr/>
          </p:nvSpPr>
          <p:spPr>
            <a:xfrm>
              <a:off x="5283878" y="2864192"/>
              <a:ext cx="3558540" cy="6638925"/>
            </a:xfrm>
            <a:custGeom>
              <a:avLst/>
              <a:gdLst/>
              <a:ahLst/>
              <a:cxnLst/>
              <a:rect l="l" t="t" r="r" b="b"/>
              <a:pathLst>
                <a:path w="3558540" h="6638925">
                  <a:moveTo>
                    <a:pt x="3558042" y="6638677"/>
                  </a:moveTo>
                  <a:lnTo>
                    <a:pt x="0" y="6638677"/>
                  </a:lnTo>
                  <a:lnTo>
                    <a:pt x="0" y="0"/>
                  </a:lnTo>
                  <a:lnTo>
                    <a:pt x="3558042" y="0"/>
                  </a:lnTo>
                  <a:lnTo>
                    <a:pt x="3558042" y="6638677"/>
                  </a:lnTo>
                  <a:close/>
                </a:path>
              </a:pathLst>
            </a:custGeom>
            <a:solidFill>
              <a:srgbClr val="0090AE"/>
            </a:solidFill>
          </p:spPr>
          <p:txBody>
            <a:bodyPr wrap="square" lIns="0" tIns="0" rIns="0" bIns="0" rtlCol="0"/>
            <a:lstStyle/>
            <a:p>
              <a:endParaRPr/>
            </a:p>
          </p:txBody>
        </p:sp>
        <p:sp>
          <p:nvSpPr>
            <p:cNvPr id="12" name="object 12"/>
            <p:cNvSpPr/>
            <p:nvPr/>
          </p:nvSpPr>
          <p:spPr>
            <a:xfrm>
              <a:off x="7634584" y="3223738"/>
              <a:ext cx="923925" cy="751840"/>
            </a:xfrm>
            <a:custGeom>
              <a:avLst/>
              <a:gdLst/>
              <a:ahLst/>
              <a:cxnLst/>
              <a:rect l="l" t="t" r="r" b="b"/>
              <a:pathLst>
                <a:path w="923925" h="751839">
                  <a:moveTo>
                    <a:pt x="68060" y="436879"/>
                  </a:moveTo>
                  <a:lnTo>
                    <a:pt x="42521" y="405129"/>
                  </a:lnTo>
                  <a:lnTo>
                    <a:pt x="22508" y="369569"/>
                  </a:lnTo>
                  <a:lnTo>
                    <a:pt x="8599" y="331469"/>
                  </a:lnTo>
                  <a:lnTo>
                    <a:pt x="1170" y="290829"/>
                  </a:lnTo>
                  <a:lnTo>
                    <a:pt x="0" y="261619"/>
                  </a:lnTo>
                  <a:lnTo>
                    <a:pt x="402" y="250189"/>
                  </a:lnTo>
                  <a:lnTo>
                    <a:pt x="12020" y="184149"/>
                  </a:lnTo>
                  <a:lnTo>
                    <a:pt x="30494" y="137159"/>
                  </a:lnTo>
                  <a:lnTo>
                    <a:pt x="56940" y="96519"/>
                  </a:lnTo>
                  <a:lnTo>
                    <a:pt x="91233" y="62229"/>
                  </a:lnTo>
                  <a:lnTo>
                    <a:pt x="133250" y="34289"/>
                  </a:lnTo>
                  <a:lnTo>
                    <a:pt x="182865" y="12699"/>
                  </a:lnTo>
                  <a:lnTo>
                    <a:pt x="231670" y="1269"/>
                  </a:lnTo>
                  <a:lnTo>
                    <a:pt x="248360" y="0"/>
                  </a:lnTo>
                  <a:lnTo>
                    <a:pt x="281791" y="0"/>
                  </a:lnTo>
                  <a:lnTo>
                    <a:pt x="331193" y="8889"/>
                  </a:lnTo>
                  <a:lnTo>
                    <a:pt x="377873" y="26669"/>
                  </a:lnTo>
                  <a:lnTo>
                    <a:pt x="420088" y="53339"/>
                  </a:lnTo>
                  <a:lnTo>
                    <a:pt x="432907" y="64769"/>
                  </a:lnTo>
                  <a:lnTo>
                    <a:pt x="387628" y="109219"/>
                  </a:lnTo>
                  <a:lnTo>
                    <a:pt x="365245" y="132079"/>
                  </a:lnTo>
                  <a:lnTo>
                    <a:pt x="342978" y="153669"/>
                  </a:lnTo>
                  <a:lnTo>
                    <a:pt x="325038" y="171449"/>
                  </a:lnTo>
                  <a:lnTo>
                    <a:pt x="316299" y="181609"/>
                  </a:lnTo>
                  <a:lnTo>
                    <a:pt x="307942" y="190499"/>
                  </a:lnTo>
                  <a:lnTo>
                    <a:pt x="290485" y="227329"/>
                  </a:lnTo>
                  <a:lnTo>
                    <a:pt x="289014" y="243839"/>
                  </a:lnTo>
                  <a:lnTo>
                    <a:pt x="289504" y="252729"/>
                  </a:lnTo>
                  <a:lnTo>
                    <a:pt x="290255" y="257809"/>
                  </a:lnTo>
                  <a:lnTo>
                    <a:pt x="292699" y="267969"/>
                  </a:lnTo>
                  <a:lnTo>
                    <a:pt x="294371" y="271779"/>
                  </a:lnTo>
                  <a:lnTo>
                    <a:pt x="298615" y="281939"/>
                  </a:lnTo>
                  <a:lnTo>
                    <a:pt x="307049" y="294639"/>
                  </a:lnTo>
                  <a:lnTo>
                    <a:pt x="310361" y="298449"/>
                  </a:lnTo>
                  <a:lnTo>
                    <a:pt x="317702" y="306069"/>
                  </a:lnTo>
                  <a:lnTo>
                    <a:pt x="321665" y="308609"/>
                  </a:lnTo>
                  <a:lnTo>
                    <a:pt x="330183" y="314959"/>
                  </a:lnTo>
                  <a:lnTo>
                    <a:pt x="334668" y="317499"/>
                  </a:lnTo>
                  <a:lnTo>
                    <a:pt x="344087" y="321309"/>
                  </a:lnTo>
                  <a:lnTo>
                    <a:pt x="358945" y="325119"/>
                  </a:lnTo>
                  <a:lnTo>
                    <a:pt x="364009" y="325119"/>
                  </a:lnTo>
                  <a:lnTo>
                    <a:pt x="374260" y="326389"/>
                  </a:lnTo>
                  <a:lnTo>
                    <a:pt x="650455" y="326389"/>
                  </a:lnTo>
                  <a:lnTo>
                    <a:pt x="673534" y="349249"/>
                  </a:lnTo>
                  <a:lnTo>
                    <a:pt x="561662" y="349249"/>
                  </a:lnTo>
                  <a:lnTo>
                    <a:pt x="556625" y="351789"/>
                  </a:lnTo>
                  <a:lnTo>
                    <a:pt x="547273" y="367029"/>
                  </a:lnTo>
                  <a:lnTo>
                    <a:pt x="547517" y="370839"/>
                  </a:lnTo>
                  <a:lnTo>
                    <a:pt x="170363" y="370839"/>
                  </a:lnTo>
                  <a:lnTo>
                    <a:pt x="158727" y="372109"/>
                  </a:lnTo>
                  <a:lnTo>
                    <a:pt x="153022" y="372109"/>
                  </a:lnTo>
                  <a:lnTo>
                    <a:pt x="141840" y="375919"/>
                  </a:lnTo>
                  <a:lnTo>
                    <a:pt x="93227" y="414019"/>
                  </a:lnTo>
                  <a:lnTo>
                    <a:pt x="80828" y="425449"/>
                  </a:lnTo>
                  <a:lnTo>
                    <a:pt x="68060" y="436879"/>
                  </a:lnTo>
                  <a:close/>
                </a:path>
                <a:path w="923925" h="751839">
                  <a:moveTo>
                    <a:pt x="381237" y="287019"/>
                  </a:moveTo>
                  <a:lnTo>
                    <a:pt x="365699" y="287019"/>
                  </a:lnTo>
                  <a:lnTo>
                    <a:pt x="355671" y="284479"/>
                  </a:lnTo>
                  <a:lnTo>
                    <a:pt x="328907" y="251459"/>
                  </a:lnTo>
                  <a:lnTo>
                    <a:pt x="327978" y="243839"/>
                  </a:lnTo>
                  <a:lnTo>
                    <a:pt x="327992" y="240029"/>
                  </a:lnTo>
                  <a:lnTo>
                    <a:pt x="369456" y="182879"/>
                  </a:lnTo>
                  <a:lnTo>
                    <a:pt x="423992" y="128269"/>
                  </a:lnTo>
                  <a:lnTo>
                    <a:pt x="451175" y="101599"/>
                  </a:lnTo>
                  <a:lnTo>
                    <a:pt x="469750" y="81279"/>
                  </a:lnTo>
                  <a:lnTo>
                    <a:pt x="489628" y="64769"/>
                  </a:lnTo>
                  <a:lnTo>
                    <a:pt x="533296" y="33019"/>
                  </a:lnTo>
                  <a:lnTo>
                    <a:pt x="593677" y="8889"/>
                  </a:lnTo>
                  <a:lnTo>
                    <a:pt x="658136" y="0"/>
                  </a:lnTo>
                  <a:lnTo>
                    <a:pt x="690317" y="2539"/>
                  </a:lnTo>
                  <a:lnTo>
                    <a:pt x="752386" y="17779"/>
                  </a:lnTo>
                  <a:lnTo>
                    <a:pt x="792917" y="34289"/>
                  </a:lnTo>
                  <a:lnTo>
                    <a:pt x="829780" y="59689"/>
                  </a:lnTo>
                  <a:lnTo>
                    <a:pt x="861603" y="91439"/>
                  </a:lnTo>
                  <a:lnTo>
                    <a:pt x="883459" y="124459"/>
                  </a:lnTo>
                  <a:lnTo>
                    <a:pt x="898518" y="152399"/>
                  </a:lnTo>
                  <a:lnTo>
                    <a:pt x="530168" y="152399"/>
                  </a:lnTo>
                  <a:lnTo>
                    <a:pt x="502482" y="179069"/>
                  </a:lnTo>
                  <a:lnTo>
                    <a:pt x="464135" y="217169"/>
                  </a:lnTo>
                  <a:lnTo>
                    <a:pt x="427210" y="252729"/>
                  </a:lnTo>
                  <a:lnTo>
                    <a:pt x="403790" y="274319"/>
                  </a:lnTo>
                  <a:lnTo>
                    <a:pt x="400038" y="278129"/>
                  </a:lnTo>
                  <a:lnTo>
                    <a:pt x="395776" y="281939"/>
                  </a:lnTo>
                  <a:lnTo>
                    <a:pt x="386229" y="285749"/>
                  </a:lnTo>
                  <a:lnTo>
                    <a:pt x="381237" y="287019"/>
                  </a:lnTo>
                  <a:close/>
                </a:path>
                <a:path w="923925" h="751839">
                  <a:moveTo>
                    <a:pt x="836330" y="459739"/>
                  </a:moveTo>
                  <a:lnTo>
                    <a:pt x="828336" y="450849"/>
                  </a:lnTo>
                  <a:lnTo>
                    <a:pt x="805148" y="426719"/>
                  </a:lnTo>
                  <a:lnTo>
                    <a:pt x="774955" y="396239"/>
                  </a:lnTo>
                  <a:lnTo>
                    <a:pt x="761012" y="380999"/>
                  </a:lnTo>
                  <a:lnTo>
                    <a:pt x="738985" y="359409"/>
                  </a:lnTo>
                  <a:lnTo>
                    <a:pt x="709519" y="330199"/>
                  </a:lnTo>
                  <a:lnTo>
                    <a:pt x="673258" y="293369"/>
                  </a:lnTo>
                  <a:lnTo>
                    <a:pt x="530168" y="152399"/>
                  </a:lnTo>
                  <a:lnTo>
                    <a:pt x="898518" y="152399"/>
                  </a:lnTo>
                  <a:lnTo>
                    <a:pt x="901146" y="157479"/>
                  </a:lnTo>
                  <a:lnTo>
                    <a:pt x="917842" y="208279"/>
                  </a:lnTo>
                  <a:lnTo>
                    <a:pt x="923778" y="261619"/>
                  </a:lnTo>
                  <a:lnTo>
                    <a:pt x="923293" y="279399"/>
                  </a:lnTo>
                  <a:lnTo>
                    <a:pt x="909864" y="342899"/>
                  </a:lnTo>
                  <a:lnTo>
                    <a:pt x="881814" y="401319"/>
                  </a:lnTo>
                  <a:lnTo>
                    <a:pt x="853672" y="438149"/>
                  </a:lnTo>
                  <a:lnTo>
                    <a:pt x="847748" y="445769"/>
                  </a:lnTo>
                  <a:lnTo>
                    <a:pt x="841935" y="452119"/>
                  </a:lnTo>
                  <a:lnTo>
                    <a:pt x="836330" y="459739"/>
                  </a:lnTo>
                  <a:close/>
                </a:path>
                <a:path w="923925" h="751839">
                  <a:moveTo>
                    <a:pt x="650455" y="326389"/>
                  </a:moveTo>
                  <a:lnTo>
                    <a:pt x="374260" y="326389"/>
                  </a:lnTo>
                  <a:lnTo>
                    <a:pt x="379361" y="325119"/>
                  </a:lnTo>
                  <a:lnTo>
                    <a:pt x="389515" y="323849"/>
                  </a:lnTo>
                  <a:lnTo>
                    <a:pt x="404200" y="320039"/>
                  </a:lnTo>
                  <a:lnTo>
                    <a:pt x="408868" y="317499"/>
                  </a:lnTo>
                  <a:lnTo>
                    <a:pt x="417820" y="312419"/>
                  </a:lnTo>
                  <a:lnTo>
                    <a:pt x="422031" y="309879"/>
                  </a:lnTo>
                  <a:lnTo>
                    <a:pt x="425975" y="306069"/>
                  </a:lnTo>
                  <a:lnTo>
                    <a:pt x="443046" y="290829"/>
                  </a:lnTo>
                  <a:lnTo>
                    <a:pt x="469891" y="264159"/>
                  </a:lnTo>
                  <a:lnTo>
                    <a:pt x="500814" y="234949"/>
                  </a:lnTo>
                  <a:lnTo>
                    <a:pt x="530118" y="205739"/>
                  </a:lnTo>
                  <a:lnTo>
                    <a:pt x="563856" y="240029"/>
                  </a:lnTo>
                  <a:lnTo>
                    <a:pt x="650455" y="326389"/>
                  </a:lnTo>
                  <a:close/>
                </a:path>
                <a:path w="923925" h="751839">
                  <a:moveTo>
                    <a:pt x="767496" y="521969"/>
                  </a:moveTo>
                  <a:lnTo>
                    <a:pt x="760343" y="521969"/>
                  </a:lnTo>
                  <a:lnTo>
                    <a:pt x="746023" y="518159"/>
                  </a:lnTo>
                  <a:lnTo>
                    <a:pt x="740004" y="514349"/>
                  </a:lnTo>
                  <a:lnTo>
                    <a:pt x="735127" y="507999"/>
                  </a:lnTo>
                  <a:lnTo>
                    <a:pt x="660667" y="434339"/>
                  </a:lnTo>
                  <a:lnTo>
                    <a:pt x="584636" y="358139"/>
                  </a:lnTo>
                  <a:lnTo>
                    <a:pt x="583135" y="356869"/>
                  </a:lnTo>
                  <a:lnTo>
                    <a:pt x="581408" y="355599"/>
                  </a:lnTo>
                  <a:lnTo>
                    <a:pt x="579520" y="353059"/>
                  </a:lnTo>
                  <a:lnTo>
                    <a:pt x="577327" y="351789"/>
                  </a:lnTo>
                  <a:lnTo>
                    <a:pt x="572330" y="349249"/>
                  </a:lnTo>
                  <a:lnTo>
                    <a:pt x="673534" y="349249"/>
                  </a:lnTo>
                  <a:lnTo>
                    <a:pt x="784752" y="459739"/>
                  </a:lnTo>
                  <a:lnTo>
                    <a:pt x="787087" y="462279"/>
                  </a:lnTo>
                  <a:lnTo>
                    <a:pt x="789136" y="463549"/>
                  </a:lnTo>
                  <a:lnTo>
                    <a:pt x="797580" y="486409"/>
                  </a:lnTo>
                  <a:lnTo>
                    <a:pt x="797509" y="488949"/>
                  </a:lnTo>
                  <a:lnTo>
                    <a:pt x="788033" y="510539"/>
                  </a:lnTo>
                  <a:lnTo>
                    <a:pt x="785883" y="513079"/>
                  </a:lnTo>
                  <a:lnTo>
                    <a:pt x="781038" y="516889"/>
                  </a:lnTo>
                  <a:lnTo>
                    <a:pt x="778424" y="518159"/>
                  </a:lnTo>
                  <a:lnTo>
                    <a:pt x="775618" y="519429"/>
                  </a:lnTo>
                  <a:lnTo>
                    <a:pt x="774642" y="519429"/>
                  </a:lnTo>
                  <a:lnTo>
                    <a:pt x="767496" y="521969"/>
                  </a:lnTo>
                  <a:close/>
                </a:path>
                <a:path w="923925" h="751839">
                  <a:moveTo>
                    <a:pt x="536728" y="751839"/>
                  </a:moveTo>
                  <a:lnTo>
                    <a:pt x="529185" y="751839"/>
                  </a:lnTo>
                  <a:lnTo>
                    <a:pt x="518380" y="748029"/>
                  </a:lnTo>
                  <a:lnTo>
                    <a:pt x="470345" y="703579"/>
                  </a:lnTo>
                  <a:lnTo>
                    <a:pt x="467561" y="697229"/>
                  </a:lnTo>
                  <a:lnTo>
                    <a:pt x="468293" y="694689"/>
                  </a:lnTo>
                  <a:lnTo>
                    <a:pt x="469836" y="688339"/>
                  </a:lnTo>
                  <a:lnTo>
                    <a:pt x="470748" y="683259"/>
                  </a:lnTo>
                  <a:lnTo>
                    <a:pt x="471188" y="674369"/>
                  </a:lnTo>
                  <a:lnTo>
                    <a:pt x="471225" y="670559"/>
                  </a:lnTo>
                  <a:lnTo>
                    <a:pt x="470958" y="666749"/>
                  </a:lnTo>
                  <a:lnTo>
                    <a:pt x="453512" y="626109"/>
                  </a:lnTo>
                  <a:lnTo>
                    <a:pt x="421390" y="604519"/>
                  </a:lnTo>
                  <a:lnTo>
                    <a:pt x="410504" y="600709"/>
                  </a:lnTo>
                  <a:lnTo>
                    <a:pt x="397956" y="600709"/>
                  </a:lnTo>
                  <a:lnTo>
                    <a:pt x="396592" y="599439"/>
                  </a:lnTo>
                  <a:lnTo>
                    <a:pt x="395256" y="599439"/>
                  </a:lnTo>
                  <a:lnTo>
                    <a:pt x="388344" y="568959"/>
                  </a:lnTo>
                  <a:lnTo>
                    <a:pt x="373291" y="546099"/>
                  </a:lnTo>
                  <a:lnTo>
                    <a:pt x="350096" y="530859"/>
                  </a:lnTo>
                  <a:lnTo>
                    <a:pt x="318753" y="523239"/>
                  </a:lnTo>
                  <a:lnTo>
                    <a:pt x="311734" y="492759"/>
                  </a:lnTo>
                  <a:lnTo>
                    <a:pt x="296851" y="469899"/>
                  </a:lnTo>
                  <a:lnTo>
                    <a:pt x="274107" y="454659"/>
                  </a:lnTo>
                  <a:lnTo>
                    <a:pt x="243501" y="447039"/>
                  </a:lnTo>
                  <a:lnTo>
                    <a:pt x="241691" y="439419"/>
                  </a:lnTo>
                  <a:lnTo>
                    <a:pt x="239525" y="430529"/>
                  </a:lnTo>
                  <a:lnTo>
                    <a:pt x="237005" y="422909"/>
                  </a:lnTo>
                  <a:lnTo>
                    <a:pt x="234129" y="414019"/>
                  </a:lnTo>
                  <a:lnTo>
                    <a:pt x="208531" y="383539"/>
                  </a:lnTo>
                  <a:lnTo>
                    <a:pt x="176128" y="372109"/>
                  </a:lnTo>
                  <a:lnTo>
                    <a:pt x="170363" y="370839"/>
                  </a:lnTo>
                  <a:lnTo>
                    <a:pt x="547517" y="370839"/>
                  </a:lnTo>
                  <a:lnTo>
                    <a:pt x="547598" y="372109"/>
                  </a:lnTo>
                  <a:lnTo>
                    <a:pt x="548267" y="374649"/>
                  </a:lnTo>
                  <a:lnTo>
                    <a:pt x="552204" y="380999"/>
                  </a:lnTo>
                  <a:lnTo>
                    <a:pt x="554205" y="382269"/>
                  </a:lnTo>
                  <a:lnTo>
                    <a:pt x="564451" y="393699"/>
                  </a:lnTo>
                  <a:lnTo>
                    <a:pt x="596892" y="425449"/>
                  </a:lnTo>
                  <a:lnTo>
                    <a:pt x="484789" y="425449"/>
                  </a:lnTo>
                  <a:lnTo>
                    <a:pt x="480139" y="427989"/>
                  </a:lnTo>
                  <a:lnTo>
                    <a:pt x="478085" y="429259"/>
                  </a:lnTo>
                  <a:lnTo>
                    <a:pt x="476301" y="430529"/>
                  </a:lnTo>
                  <a:lnTo>
                    <a:pt x="474460" y="433069"/>
                  </a:lnTo>
                  <a:lnTo>
                    <a:pt x="473042" y="434339"/>
                  </a:lnTo>
                  <a:lnTo>
                    <a:pt x="471055" y="439419"/>
                  </a:lnTo>
                  <a:lnTo>
                    <a:pt x="470568" y="441959"/>
                  </a:lnTo>
                  <a:lnTo>
                    <a:pt x="470606" y="447039"/>
                  </a:lnTo>
                  <a:lnTo>
                    <a:pt x="471129" y="449579"/>
                  </a:lnTo>
                  <a:lnTo>
                    <a:pt x="473186" y="453389"/>
                  </a:lnTo>
                  <a:lnTo>
                    <a:pt x="474634" y="455929"/>
                  </a:lnTo>
                  <a:lnTo>
                    <a:pt x="476501" y="457199"/>
                  </a:lnTo>
                  <a:lnTo>
                    <a:pt x="488873" y="469899"/>
                  </a:lnTo>
                  <a:lnTo>
                    <a:pt x="508976" y="490219"/>
                  </a:lnTo>
                  <a:lnTo>
                    <a:pt x="398362" y="490219"/>
                  </a:lnTo>
                  <a:lnTo>
                    <a:pt x="395997" y="491489"/>
                  </a:lnTo>
                  <a:lnTo>
                    <a:pt x="382196" y="511809"/>
                  </a:lnTo>
                  <a:lnTo>
                    <a:pt x="382642" y="514349"/>
                  </a:lnTo>
                  <a:lnTo>
                    <a:pt x="384465" y="518159"/>
                  </a:lnTo>
                  <a:lnTo>
                    <a:pt x="385776" y="520699"/>
                  </a:lnTo>
                  <a:lnTo>
                    <a:pt x="387486" y="521969"/>
                  </a:lnTo>
                  <a:lnTo>
                    <a:pt x="447221" y="581659"/>
                  </a:lnTo>
                  <a:lnTo>
                    <a:pt x="448439" y="584199"/>
                  </a:lnTo>
                  <a:lnTo>
                    <a:pt x="449811" y="585469"/>
                  </a:lnTo>
                  <a:lnTo>
                    <a:pt x="477119" y="612139"/>
                  </a:lnTo>
                  <a:lnTo>
                    <a:pt x="528761" y="664209"/>
                  </a:lnTo>
                  <a:lnTo>
                    <a:pt x="554556" y="689609"/>
                  </a:lnTo>
                  <a:lnTo>
                    <a:pt x="556562" y="692149"/>
                  </a:lnTo>
                  <a:lnTo>
                    <a:pt x="567083" y="720089"/>
                  </a:lnTo>
                  <a:lnTo>
                    <a:pt x="566748" y="722629"/>
                  </a:lnTo>
                  <a:lnTo>
                    <a:pt x="565500" y="727709"/>
                  </a:lnTo>
                  <a:lnTo>
                    <a:pt x="564603" y="730249"/>
                  </a:lnTo>
                  <a:lnTo>
                    <a:pt x="562262" y="734059"/>
                  </a:lnTo>
                  <a:lnTo>
                    <a:pt x="560847" y="736599"/>
                  </a:lnTo>
                  <a:lnTo>
                    <a:pt x="557529" y="740409"/>
                  </a:lnTo>
                  <a:lnTo>
                    <a:pt x="555668" y="742949"/>
                  </a:lnTo>
                  <a:lnTo>
                    <a:pt x="553605" y="744219"/>
                  </a:lnTo>
                  <a:lnTo>
                    <a:pt x="550696" y="746759"/>
                  </a:lnTo>
                  <a:lnTo>
                    <a:pt x="547470" y="748029"/>
                  </a:lnTo>
                  <a:lnTo>
                    <a:pt x="540385" y="750569"/>
                  </a:lnTo>
                  <a:lnTo>
                    <a:pt x="536728" y="751839"/>
                  </a:lnTo>
                  <a:close/>
                </a:path>
                <a:path w="923925" h="751839">
                  <a:moveTo>
                    <a:pt x="137581" y="513079"/>
                  </a:moveTo>
                  <a:lnTo>
                    <a:pt x="128847" y="513079"/>
                  </a:lnTo>
                  <a:lnTo>
                    <a:pt x="124660" y="511809"/>
                  </a:lnTo>
                  <a:lnTo>
                    <a:pt x="116642" y="507999"/>
                  </a:lnTo>
                  <a:lnTo>
                    <a:pt x="113105" y="505459"/>
                  </a:lnTo>
                  <a:lnTo>
                    <a:pt x="110041" y="502919"/>
                  </a:lnTo>
                  <a:lnTo>
                    <a:pt x="106756" y="500379"/>
                  </a:lnTo>
                  <a:lnTo>
                    <a:pt x="104188" y="496569"/>
                  </a:lnTo>
                  <a:lnTo>
                    <a:pt x="100483" y="487679"/>
                  </a:lnTo>
                  <a:lnTo>
                    <a:pt x="99492" y="483869"/>
                  </a:lnTo>
                  <a:lnTo>
                    <a:pt x="99233" y="474979"/>
                  </a:lnTo>
                  <a:lnTo>
                    <a:pt x="99975" y="471169"/>
                  </a:lnTo>
                  <a:lnTo>
                    <a:pt x="103202" y="462279"/>
                  </a:lnTo>
                  <a:lnTo>
                    <a:pt x="105561" y="458469"/>
                  </a:lnTo>
                  <a:lnTo>
                    <a:pt x="108664" y="455929"/>
                  </a:lnTo>
                  <a:lnTo>
                    <a:pt x="117396" y="445769"/>
                  </a:lnTo>
                  <a:lnTo>
                    <a:pt x="145214" y="419099"/>
                  </a:lnTo>
                  <a:lnTo>
                    <a:pt x="166148" y="408939"/>
                  </a:lnTo>
                  <a:lnTo>
                    <a:pt x="173267" y="408939"/>
                  </a:lnTo>
                  <a:lnTo>
                    <a:pt x="179805" y="411479"/>
                  </a:lnTo>
                  <a:lnTo>
                    <a:pt x="191717" y="419099"/>
                  </a:lnTo>
                  <a:lnTo>
                    <a:pt x="196199" y="424179"/>
                  </a:lnTo>
                  <a:lnTo>
                    <a:pt x="199206" y="430529"/>
                  </a:lnTo>
                  <a:lnTo>
                    <a:pt x="202416" y="436879"/>
                  </a:lnTo>
                  <a:lnTo>
                    <a:pt x="203547" y="443229"/>
                  </a:lnTo>
                  <a:lnTo>
                    <a:pt x="201653" y="455929"/>
                  </a:lnTo>
                  <a:lnTo>
                    <a:pt x="198811" y="462279"/>
                  </a:lnTo>
                  <a:lnTo>
                    <a:pt x="194076" y="466089"/>
                  </a:lnTo>
                  <a:lnTo>
                    <a:pt x="185126" y="476249"/>
                  </a:lnTo>
                  <a:lnTo>
                    <a:pt x="153629" y="506729"/>
                  </a:lnTo>
                  <a:lnTo>
                    <a:pt x="141807" y="511809"/>
                  </a:lnTo>
                  <a:lnTo>
                    <a:pt x="137581" y="513079"/>
                  </a:lnTo>
                  <a:close/>
                </a:path>
                <a:path w="923925" h="751839">
                  <a:moveTo>
                    <a:pt x="686391" y="598169"/>
                  </a:moveTo>
                  <a:lnTo>
                    <a:pt x="682774" y="598169"/>
                  </a:lnTo>
                  <a:lnTo>
                    <a:pt x="679207" y="596899"/>
                  </a:lnTo>
                  <a:lnTo>
                    <a:pt x="671806" y="594359"/>
                  </a:lnTo>
                  <a:lnTo>
                    <a:pt x="665366" y="590549"/>
                  </a:lnTo>
                  <a:lnTo>
                    <a:pt x="584846" y="511809"/>
                  </a:lnTo>
                  <a:lnTo>
                    <a:pt x="510010" y="436879"/>
                  </a:lnTo>
                  <a:lnTo>
                    <a:pt x="507918" y="434339"/>
                  </a:lnTo>
                  <a:lnTo>
                    <a:pt x="505699" y="431799"/>
                  </a:lnTo>
                  <a:lnTo>
                    <a:pt x="503353" y="430529"/>
                  </a:lnTo>
                  <a:lnTo>
                    <a:pt x="501512" y="429259"/>
                  </a:lnTo>
                  <a:lnTo>
                    <a:pt x="499414" y="427989"/>
                  </a:lnTo>
                  <a:lnTo>
                    <a:pt x="494703" y="425449"/>
                  </a:lnTo>
                  <a:lnTo>
                    <a:pt x="596892" y="425449"/>
                  </a:lnTo>
                  <a:lnTo>
                    <a:pt x="653317" y="481329"/>
                  </a:lnTo>
                  <a:lnTo>
                    <a:pt x="710865" y="539749"/>
                  </a:lnTo>
                  <a:lnTo>
                    <a:pt x="713536" y="542289"/>
                  </a:lnTo>
                  <a:lnTo>
                    <a:pt x="715711" y="544829"/>
                  </a:lnTo>
                  <a:lnTo>
                    <a:pt x="719070" y="551179"/>
                  </a:lnTo>
                  <a:lnTo>
                    <a:pt x="720164" y="554989"/>
                  </a:lnTo>
                  <a:lnTo>
                    <a:pt x="721184" y="562609"/>
                  </a:lnTo>
                  <a:lnTo>
                    <a:pt x="721082" y="566419"/>
                  </a:lnTo>
                  <a:lnTo>
                    <a:pt x="719656" y="574039"/>
                  </a:lnTo>
                  <a:lnTo>
                    <a:pt x="718369" y="577849"/>
                  </a:lnTo>
                  <a:lnTo>
                    <a:pt x="716508" y="580389"/>
                  </a:lnTo>
                  <a:lnTo>
                    <a:pt x="714736" y="584199"/>
                  </a:lnTo>
                  <a:lnTo>
                    <a:pt x="712490" y="586739"/>
                  </a:lnTo>
                  <a:lnTo>
                    <a:pt x="707049" y="591819"/>
                  </a:lnTo>
                  <a:lnTo>
                    <a:pt x="704001" y="593089"/>
                  </a:lnTo>
                  <a:lnTo>
                    <a:pt x="697250" y="596899"/>
                  </a:lnTo>
                  <a:lnTo>
                    <a:pt x="693728" y="596899"/>
                  </a:lnTo>
                  <a:lnTo>
                    <a:pt x="686391" y="598169"/>
                  </a:lnTo>
                  <a:close/>
                </a:path>
                <a:path w="923925" h="751839">
                  <a:moveTo>
                    <a:pt x="208325" y="589279"/>
                  </a:moveTo>
                  <a:lnTo>
                    <a:pt x="176698" y="563879"/>
                  </a:lnTo>
                  <a:lnTo>
                    <a:pt x="175336" y="557529"/>
                  </a:lnTo>
                  <a:lnTo>
                    <a:pt x="176195" y="549909"/>
                  </a:lnTo>
                  <a:lnTo>
                    <a:pt x="202497" y="513079"/>
                  </a:lnTo>
                  <a:lnTo>
                    <a:pt x="211257" y="505459"/>
                  </a:lnTo>
                  <a:lnTo>
                    <a:pt x="220253" y="496569"/>
                  </a:lnTo>
                  <a:lnTo>
                    <a:pt x="223465" y="492759"/>
                  </a:lnTo>
                  <a:lnTo>
                    <a:pt x="227130" y="491489"/>
                  </a:lnTo>
                  <a:lnTo>
                    <a:pt x="235366" y="487679"/>
                  </a:lnTo>
                  <a:lnTo>
                    <a:pt x="239648" y="486409"/>
                  </a:lnTo>
                  <a:lnTo>
                    <a:pt x="248543" y="486409"/>
                  </a:lnTo>
                  <a:lnTo>
                    <a:pt x="252845" y="487679"/>
                  </a:lnTo>
                  <a:lnTo>
                    <a:pt x="261154" y="490219"/>
                  </a:lnTo>
                  <a:lnTo>
                    <a:pt x="264871" y="492759"/>
                  </a:lnTo>
                  <a:lnTo>
                    <a:pt x="268152" y="495299"/>
                  </a:lnTo>
                  <a:lnTo>
                    <a:pt x="271564" y="499109"/>
                  </a:lnTo>
                  <a:lnTo>
                    <a:pt x="274239" y="502919"/>
                  </a:lnTo>
                  <a:lnTo>
                    <a:pt x="278114" y="510539"/>
                  </a:lnTo>
                  <a:lnTo>
                    <a:pt x="279158" y="515619"/>
                  </a:lnTo>
                  <a:lnTo>
                    <a:pt x="279458" y="524509"/>
                  </a:lnTo>
                  <a:lnTo>
                    <a:pt x="278703" y="528319"/>
                  </a:lnTo>
                  <a:lnTo>
                    <a:pt x="251888" y="562609"/>
                  </a:lnTo>
                  <a:lnTo>
                    <a:pt x="233153" y="580389"/>
                  </a:lnTo>
                  <a:lnTo>
                    <a:pt x="228088" y="585469"/>
                  </a:lnTo>
                  <a:lnTo>
                    <a:pt x="222109" y="588009"/>
                  </a:lnTo>
                  <a:lnTo>
                    <a:pt x="208325" y="589279"/>
                  </a:lnTo>
                  <a:close/>
                </a:path>
                <a:path w="923925" h="751839">
                  <a:moveTo>
                    <a:pt x="615953" y="674369"/>
                  </a:moveTo>
                  <a:lnTo>
                    <a:pt x="601547" y="674369"/>
                  </a:lnTo>
                  <a:lnTo>
                    <a:pt x="592523" y="670559"/>
                  </a:lnTo>
                  <a:lnTo>
                    <a:pt x="588573" y="668019"/>
                  </a:lnTo>
                  <a:lnTo>
                    <a:pt x="585187" y="664209"/>
                  </a:lnTo>
                  <a:lnTo>
                    <a:pt x="566512" y="645159"/>
                  </a:lnTo>
                  <a:lnTo>
                    <a:pt x="547982" y="627379"/>
                  </a:lnTo>
                  <a:lnTo>
                    <a:pt x="529501" y="608329"/>
                  </a:lnTo>
                  <a:lnTo>
                    <a:pt x="502971" y="582929"/>
                  </a:lnTo>
                  <a:lnTo>
                    <a:pt x="477240" y="558799"/>
                  </a:lnTo>
                  <a:lnTo>
                    <a:pt x="475709" y="557529"/>
                  </a:lnTo>
                  <a:lnTo>
                    <a:pt x="474086" y="556259"/>
                  </a:lnTo>
                  <a:lnTo>
                    <a:pt x="414025" y="495299"/>
                  </a:lnTo>
                  <a:lnTo>
                    <a:pt x="412255" y="494029"/>
                  </a:lnTo>
                  <a:lnTo>
                    <a:pt x="410227" y="492759"/>
                  </a:lnTo>
                  <a:lnTo>
                    <a:pt x="405656" y="491489"/>
                  </a:lnTo>
                  <a:lnTo>
                    <a:pt x="403283" y="490219"/>
                  </a:lnTo>
                  <a:lnTo>
                    <a:pt x="508976" y="490219"/>
                  </a:lnTo>
                  <a:lnTo>
                    <a:pt x="579533" y="561339"/>
                  </a:lnTo>
                  <a:lnTo>
                    <a:pt x="605950" y="586739"/>
                  </a:lnTo>
                  <a:lnTo>
                    <a:pt x="632285" y="613409"/>
                  </a:lnTo>
                  <a:lnTo>
                    <a:pt x="635682" y="615949"/>
                  </a:lnTo>
                  <a:lnTo>
                    <a:pt x="638394" y="619759"/>
                  </a:lnTo>
                  <a:lnTo>
                    <a:pt x="642446" y="628649"/>
                  </a:lnTo>
                  <a:lnTo>
                    <a:pt x="643640" y="632459"/>
                  </a:lnTo>
                  <a:lnTo>
                    <a:pt x="644365" y="641349"/>
                  </a:lnTo>
                  <a:lnTo>
                    <a:pt x="643869" y="646429"/>
                  </a:lnTo>
                  <a:lnTo>
                    <a:pt x="641163" y="654049"/>
                  </a:lnTo>
                  <a:lnTo>
                    <a:pt x="639050" y="659129"/>
                  </a:lnTo>
                  <a:lnTo>
                    <a:pt x="636176" y="661669"/>
                  </a:lnTo>
                  <a:lnTo>
                    <a:pt x="633052" y="665479"/>
                  </a:lnTo>
                  <a:lnTo>
                    <a:pt x="629305" y="669289"/>
                  </a:lnTo>
                  <a:lnTo>
                    <a:pt x="620567" y="673099"/>
                  </a:lnTo>
                  <a:lnTo>
                    <a:pt x="615953" y="674369"/>
                  </a:lnTo>
                  <a:close/>
                </a:path>
                <a:path w="923925" h="751839">
                  <a:moveTo>
                    <a:pt x="292444" y="665479"/>
                  </a:moveTo>
                  <a:lnTo>
                    <a:pt x="283134" y="665479"/>
                  </a:lnTo>
                  <a:lnTo>
                    <a:pt x="278648" y="664209"/>
                  </a:lnTo>
                  <a:lnTo>
                    <a:pt x="252764" y="634999"/>
                  </a:lnTo>
                  <a:lnTo>
                    <a:pt x="252905" y="626109"/>
                  </a:lnTo>
                  <a:lnTo>
                    <a:pt x="271790" y="598169"/>
                  </a:lnTo>
                  <a:lnTo>
                    <a:pt x="280040" y="589279"/>
                  </a:lnTo>
                  <a:lnTo>
                    <a:pt x="288424" y="580389"/>
                  </a:lnTo>
                  <a:lnTo>
                    <a:pt x="296968" y="572769"/>
                  </a:lnTo>
                  <a:lnTo>
                    <a:pt x="301899" y="567689"/>
                  </a:lnTo>
                  <a:lnTo>
                    <a:pt x="307879" y="563879"/>
                  </a:lnTo>
                  <a:lnTo>
                    <a:pt x="321940" y="562609"/>
                  </a:lnTo>
                  <a:lnTo>
                    <a:pt x="328664" y="562609"/>
                  </a:lnTo>
                  <a:lnTo>
                    <a:pt x="335082" y="566419"/>
                  </a:lnTo>
                  <a:lnTo>
                    <a:pt x="343943" y="571499"/>
                  </a:lnTo>
                  <a:lnTo>
                    <a:pt x="350202" y="579119"/>
                  </a:lnTo>
                  <a:lnTo>
                    <a:pt x="354151" y="589279"/>
                  </a:lnTo>
                  <a:lnTo>
                    <a:pt x="356079" y="601979"/>
                  </a:lnTo>
                  <a:lnTo>
                    <a:pt x="353086" y="609599"/>
                  </a:lnTo>
                  <a:lnTo>
                    <a:pt x="320853" y="646429"/>
                  </a:lnTo>
                  <a:lnTo>
                    <a:pt x="312447" y="655319"/>
                  </a:lnTo>
                  <a:lnTo>
                    <a:pt x="309213" y="657859"/>
                  </a:lnTo>
                  <a:lnTo>
                    <a:pt x="305459" y="660399"/>
                  </a:lnTo>
                  <a:lnTo>
                    <a:pt x="296909" y="664209"/>
                  </a:lnTo>
                  <a:lnTo>
                    <a:pt x="292444" y="665479"/>
                  </a:lnTo>
                  <a:close/>
                </a:path>
                <a:path w="923925" h="751839">
                  <a:moveTo>
                    <a:pt x="361248" y="742949"/>
                  </a:moveTo>
                  <a:lnTo>
                    <a:pt x="354447" y="741679"/>
                  </a:lnTo>
                  <a:lnTo>
                    <a:pt x="341705" y="734059"/>
                  </a:lnTo>
                  <a:lnTo>
                    <a:pt x="336827" y="728979"/>
                  </a:lnTo>
                  <a:lnTo>
                    <a:pt x="333443" y="722629"/>
                  </a:lnTo>
                  <a:lnTo>
                    <a:pt x="330065" y="717549"/>
                  </a:lnTo>
                  <a:lnTo>
                    <a:pt x="328644" y="711199"/>
                  </a:lnTo>
                  <a:lnTo>
                    <a:pt x="329716" y="698499"/>
                  </a:lnTo>
                  <a:lnTo>
                    <a:pt x="332109" y="692149"/>
                  </a:lnTo>
                  <a:lnTo>
                    <a:pt x="366118" y="656589"/>
                  </a:lnTo>
                  <a:lnTo>
                    <a:pt x="392143" y="638809"/>
                  </a:lnTo>
                  <a:lnTo>
                    <a:pt x="405104" y="638809"/>
                  </a:lnTo>
                  <a:lnTo>
                    <a:pt x="409224" y="640079"/>
                  </a:lnTo>
                  <a:lnTo>
                    <a:pt x="416999" y="643889"/>
                  </a:lnTo>
                  <a:lnTo>
                    <a:pt x="420356" y="647699"/>
                  </a:lnTo>
                  <a:lnTo>
                    <a:pt x="423184" y="650239"/>
                  </a:lnTo>
                  <a:lnTo>
                    <a:pt x="426139" y="654049"/>
                  </a:lnTo>
                  <a:lnTo>
                    <a:pt x="428399" y="657859"/>
                  </a:lnTo>
                  <a:lnTo>
                    <a:pt x="431528" y="665479"/>
                  </a:lnTo>
                  <a:lnTo>
                    <a:pt x="432286" y="669289"/>
                  </a:lnTo>
                  <a:lnTo>
                    <a:pt x="432191" y="678179"/>
                  </a:lnTo>
                  <a:lnTo>
                    <a:pt x="431340" y="681989"/>
                  </a:lnTo>
                  <a:lnTo>
                    <a:pt x="428035" y="690879"/>
                  </a:lnTo>
                  <a:lnTo>
                    <a:pt x="425696" y="694689"/>
                  </a:lnTo>
                  <a:lnTo>
                    <a:pt x="422671" y="697229"/>
                  </a:lnTo>
                  <a:lnTo>
                    <a:pt x="414271" y="706119"/>
                  </a:lnTo>
                  <a:lnTo>
                    <a:pt x="405632" y="715009"/>
                  </a:lnTo>
                  <a:lnTo>
                    <a:pt x="396753" y="723899"/>
                  </a:lnTo>
                  <a:lnTo>
                    <a:pt x="387636" y="731519"/>
                  </a:lnTo>
                  <a:lnTo>
                    <a:pt x="381704" y="736599"/>
                  </a:lnTo>
                  <a:lnTo>
                    <a:pt x="375318" y="739139"/>
                  </a:lnTo>
                  <a:lnTo>
                    <a:pt x="368479" y="741679"/>
                  </a:lnTo>
                  <a:lnTo>
                    <a:pt x="361248" y="742949"/>
                  </a:lnTo>
                  <a:close/>
                </a:path>
              </a:pathLst>
            </a:custGeom>
            <a:solidFill>
              <a:srgbClr val="FFFFFF"/>
            </a:solidFill>
          </p:spPr>
          <p:txBody>
            <a:bodyPr wrap="square" lIns="0" tIns="0" rIns="0" bIns="0" rtlCol="0"/>
            <a:lstStyle/>
            <a:p>
              <a:endParaRPr/>
            </a:p>
          </p:txBody>
        </p:sp>
      </p:grpSp>
      <p:sp>
        <p:nvSpPr>
          <p:cNvPr id="13" name="object 13"/>
          <p:cNvSpPr txBox="1"/>
          <p:nvPr/>
        </p:nvSpPr>
        <p:spPr>
          <a:xfrm>
            <a:off x="5283878" y="2864192"/>
            <a:ext cx="3558540"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478790">
              <a:lnSpc>
                <a:spcPct val="100000"/>
              </a:lnSpc>
            </a:pPr>
            <a:r>
              <a:rPr sz="4600" b="1" spc="830" dirty="0">
                <a:solidFill>
                  <a:srgbClr val="F5A316"/>
                </a:solidFill>
                <a:latin typeface="Arial"/>
                <a:cs typeface="Arial"/>
              </a:rPr>
              <a:t>02</a:t>
            </a:r>
            <a:endParaRPr sz="4600">
              <a:latin typeface="Arial"/>
              <a:cs typeface="Arial"/>
            </a:endParaRPr>
          </a:p>
          <a:p>
            <a:pPr marL="478790" marR="447675">
              <a:lnSpc>
                <a:spcPct val="118200"/>
              </a:lnSpc>
              <a:spcBef>
                <a:spcPts val="130"/>
              </a:spcBef>
            </a:pPr>
            <a:r>
              <a:rPr sz="1850" b="1" spc="90" dirty="0">
                <a:solidFill>
                  <a:srgbClr val="FFFFFF"/>
                </a:solidFill>
                <a:latin typeface="Arial"/>
                <a:cs typeface="Arial"/>
              </a:rPr>
              <a:t>Colaboración</a:t>
            </a:r>
            <a:r>
              <a:rPr sz="1850" b="1" spc="20" dirty="0">
                <a:solidFill>
                  <a:srgbClr val="FFFFFF"/>
                </a:solidFill>
                <a:latin typeface="Arial"/>
                <a:cs typeface="Arial"/>
              </a:rPr>
              <a:t> </a:t>
            </a:r>
            <a:r>
              <a:rPr sz="1850" b="1" spc="195" dirty="0">
                <a:solidFill>
                  <a:srgbClr val="FFFFFF"/>
                </a:solidFill>
                <a:latin typeface="Arial"/>
                <a:cs typeface="Arial"/>
              </a:rPr>
              <a:t>para</a:t>
            </a:r>
            <a:r>
              <a:rPr sz="1850" b="1" spc="20" dirty="0">
                <a:solidFill>
                  <a:srgbClr val="FFFFFF"/>
                </a:solidFill>
                <a:latin typeface="Arial"/>
                <a:cs typeface="Arial"/>
              </a:rPr>
              <a:t> </a:t>
            </a:r>
            <a:r>
              <a:rPr sz="1850" b="1" spc="105" dirty="0">
                <a:solidFill>
                  <a:srgbClr val="FFFFFF"/>
                </a:solidFill>
                <a:latin typeface="Arial"/>
                <a:cs typeface="Arial"/>
              </a:rPr>
              <a:t>la </a:t>
            </a:r>
            <a:r>
              <a:rPr sz="1850" b="1" spc="80" dirty="0">
                <a:solidFill>
                  <a:srgbClr val="FFFFFF"/>
                </a:solidFill>
                <a:latin typeface="Arial"/>
                <a:cs typeface="Arial"/>
              </a:rPr>
              <a:t>competitividad</a:t>
            </a:r>
            <a:endParaRPr sz="1850">
              <a:latin typeface="Arial"/>
              <a:cs typeface="Arial"/>
            </a:endParaRPr>
          </a:p>
          <a:p>
            <a:pPr>
              <a:lnSpc>
                <a:spcPct val="100000"/>
              </a:lnSpc>
            </a:pPr>
            <a:endParaRPr sz="2300">
              <a:latin typeface="Arial"/>
              <a:cs typeface="Arial"/>
            </a:endParaRPr>
          </a:p>
          <a:p>
            <a:pPr marL="716280" marR="1081405">
              <a:lnSpc>
                <a:spcPct val="114900"/>
              </a:lnSpc>
              <a:spcBef>
                <a:spcPts val="1780"/>
              </a:spcBef>
            </a:pPr>
            <a:r>
              <a:rPr sz="1850" dirty="0">
                <a:solidFill>
                  <a:srgbClr val="FFFFFF"/>
                </a:solidFill>
                <a:latin typeface="Roboto"/>
                <a:cs typeface="Roboto"/>
              </a:rPr>
              <a:t>Prescriptores</a:t>
            </a:r>
            <a:r>
              <a:rPr sz="1850" spc="-25" dirty="0">
                <a:solidFill>
                  <a:srgbClr val="FFFFFF"/>
                </a:solidFill>
                <a:latin typeface="Roboto"/>
                <a:cs typeface="Roboto"/>
              </a:rPr>
              <a:t> de </a:t>
            </a:r>
            <a:r>
              <a:rPr sz="1850" spc="-10" dirty="0">
                <a:solidFill>
                  <a:srgbClr val="FFFFFF"/>
                </a:solidFill>
                <a:latin typeface="Roboto"/>
                <a:cs typeface="Roboto"/>
              </a:rPr>
              <a:t>reuniones</a:t>
            </a:r>
            <a:endParaRPr sz="1850">
              <a:latin typeface="Roboto"/>
              <a:cs typeface="Roboto"/>
            </a:endParaRPr>
          </a:p>
          <a:p>
            <a:pPr marL="716280">
              <a:lnSpc>
                <a:spcPct val="100000"/>
              </a:lnSpc>
              <a:spcBef>
                <a:spcPts val="1005"/>
              </a:spcBef>
            </a:pPr>
            <a:r>
              <a:rPr sz="1850" dirty="0">
                <a:solidFill>
                  <a:srgbClr val="FFFFFF"/>
                </a:solidFill>
                <a:latin typeface="Roboto"/>
                <a:cs typeface="Roboto"/>
              </a:rPr>
              <a:t>Convention</a:t>
            </a:r>
            <a:r>
              <a:rPr sz="1850" spc="-15" dirty="0">
                <a:solidFill>
                  <a:srgbClr val="FFFFFF"/>
                </a:solidFill>
                <a:latin typeface="Roboto"/>
                <a:cs typeface="Roboto"/>
              </a:rPr>
              <a:t> </a:t>
            </a:r>
            <a:r>
              <a:rPr sz="1850" spc="-10" dirty="0">
                <a:solidFill>
                  <a:srgbClr val="FFFFFF"/>
                </a:solidFill>
                <a:latin typeface="Roboto"/>
                <a:cs typeface="Roboto"/>
              </a:rPr>
              <a:t>Bureaus</a:t>
            </a:r>
            <a:endParaRPr sz="1850">
              <a:latin typeface="Roboto"/>
              <a:cs typeface="Roboto"/>
            </a:endParaRPr>
          </a:p>
          <a:p>
            <a:pPr marL="716280">
              <a:lnSpc>
                <a:spcPct val="100000"/>
              </a:lnSpc>
              <a:spcBef>
                <a:spcPts val="1680"/>
              </a:spcBef>
            </a:pPr>
            <a:r>
              <a:rPr sz="1850" dirty="0">
                <a:solidFill>
                  <a:srgbClr val="FFFFFF"/>
                </a:solidFill>
                <a:latin typeface="Roboto"/>
                <a:cs typeface="Roboto"/>
              </a:rPr>
              <a:t>Proveedores</a:t>
            </a:r>
            <a:r>
              <a:rPr sz="1850" spc="45" dirty="0">
                <a:solidFill>
                  <a:srgbClr val="FFFFFF"/>
                </a:solidFill>
                <a:latin typeface="Roboto"/>
                <a:cs typeface="Roboto"/>
              </a:rPr>
              <a:t> </a:t>
            </a:r>
            <a:r>
              <a:rPr sz="1850" spc="-10" dirty="0">
                <a:solidFill>
                  <a:srgbClr val="FFFFFF"/>
                </a:solidFill>
                <a:latin typeface="Roboto"/>
                <a:cs typeface="Roboto"/>
              </a:rPr>
              <a:t>MICE.</a:t>
            </a:r>
            <a:endParaRPr sz="1850">
              <a:latin typeface="Roboto"/>
              <a:cs typeface="Roboto"/>
            </a:endParaRPr>
          </a:p>
        </p:txBody>
      </p:sp>
      <p:grpSp>
        <p:nvGrpSpPr>
          <p:cNvPr id="14" name="object 14"/>
          <p:cNvGrpSpPr/>
          <p:nvPr/>
        </p:nvGrpSpPr>
        <p:grpSpPr>
          <a:xfrm>
            <a:off x="5657705" y="5691950"/>
            <a:ext cx="209550" cy="1437640"/>
            <a:chOff x="5657705" y="5691950"/>
            <a:chExt cx="209550" cy="1437640"/>
          </a:xfrm>
        </p:grpSpPr>
        <p:pic>
          <p:nvPicPr>
            <p:cNvPr id="15" name="object 15"/>
            <p:cNvPicPr/>
            <p:nvPr/>
          </p:nvPicPr>
          <p:blipFill>
            <a:blip r:embed="rId3" cstate="print"/>
            <a:stretch>
              <a:fillRect/>
            </a:stretch>
          </p:blipFill>
          <p:spPr>
            <a:xfrm>
              <a:off x="5657705" y="5691950"/>
              <a:ext cx="209551" cy="237490"/>
            </a:xfrm>
            <a:prstGeom prst="rect">
              <a:avLst/>
            </a:prstGeom>
          </p:spPr>
        </p:pic>
        <p:pic>
          <p:nvPicPr>
            <p:cNvPr id="16" name="object 16"/>
            <p:cNvPicPr/>
            <p:nvPr/>
          </p:nvPicPr>
          <p:blipFill>
            <a:blip r:embed="rId3" cstate="print"/>
            <a:stretch>
              <a:fillRect/>
            </a:stretch>
          </p:blipFill>
          <p:spPr>
            <a:xfrm>
              <a:off x="5657705" y="6401835"/>
              <a:ext cx="209551" cy="237490"/>
            </a:xfrm>
            <a:prstGeom prst="rect">
              <a:avLst/>
            </a:prstGeom>
          </p:spPr>
        </p:pic>
        <p:pic>
          <p:nvPicPr>
            <p:cNvPr id="17" name="object 17"/>
            <p:cNvPicPr/>
            <p:nvPr/>
          </p:nvPicPr>
          <p:blipFill>
            <a:blip r:embed="rId4" cstate="print"/>
            <a:stretch>
              <a:fillRect/>
            </a:stretch>
          </p:blipFill>
          <p:spPr>
            <a:xfrm>
              <a:off x="5657705" y="6891901"/>
              <a:ext cx="209551" cy="237490"/>
            </a:xfrm>
            <a:prstGeom prst="rect">
              <a:avLst/>
            </a:prstGeom>
          </p:spPr>
        </p:pic>
      </p:grpSp>
      <p:pic>
        <p:nvPicPr>
          <p:cNvPr id="18" name="object 18"/>
          <p:cNvPicPr/>
          <p:nvPr/>
        </p:nvPicPr>
        <p:blipFill>
          <a:blip r:embed="rId5" cstate="print"/>
          <a:stretch>
            <a:fillRect/>
          </a:stretch>
        </p:blipFill>
        <p:spPr>
          <a:xfrm>
            <a:off x="17316450" y="237491"/>
            <a:ext cx="742949" cy="819149"/>
          </a:xfrm>
          <a:prstGeom prst="rect">
            <a:avLst/>
          </a:prstGeom>
        </p:spPr>
      </p:pic>
      <p:sp>
        <p:nvSpPr>
          <p:cNvPr id="19" name="object 19"/>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20" name="object 20"/>
          <p:cNvSpPr txBox="1"/>
          <p:nvPr/>
        </p:nvSpPr>
        <p:spPr>
          <a:xfrm>
            <a:off x="17811802" y="9932972"/>
            <a:ext cx="218440"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2</a:t>
            </a:r>
            <a:endParaRPr sz="900">
              <a:latin typeface="Arial"/>
              <a:cs typeface="Aria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sp>
        <p:nvSpPr>
          <p:cNvPr id="3" name="object 3"/>
          <p:cNvSpPr txBox="1"/>
          <p:nvPr/>
        </p:nvSpPr>
        <p:spPr>
          <a:xfrm>
            <a:off x="637985" y="384150"/>
            <a:ext cx="615251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1.</a:t>
            </a:r>
            <a:r>
              <a:rPr sz="3000" spc="-114" dirty="0">
                <a:solidFill>
                  <a:srgbClr val="FFFFFF"/>
                </a:solidFill>
                <a:latin typeface="Roboto"/>
                <a:cs typeface="Roboto"/>
              </a:rPr>
              <a:t> </a:t>
            </a:r>
            <a:r>
              <a:rPr sz="3000" spc="-30" dirty="0">
                <a:solidFill>
                  <a:srgbClr val="FFFFFF"/>
                </a:solidFill>
                <a:latin typeface="Roboto"/>
                <a:cs typeface="Roboto"/>
              </a:rPr>
              <a:t>Situación</a:t>
            </a:r>
            <a:r>
              <a:rPr sz="3000" spc="-110" dirty="0">
                <a:solidFill>
                  <a:srgbClr val="FFFFFF"/>
                </a:solidFill>
                <a:latin typeface="Roboto"/>
                <a:cs typeface="Roboto"/>
              </a:rPr>
              <a:t> </a:t>
            </a:r>
            <a:r>
              <a:rPr sz="3000" spc="-20" dirty="0">
                <a:solidFill>
                  <a:srgbClr val="FFFFFF"/>
                </a:solidFill>
                <a:latin typeface="Roboto"/>
                <a:cs typeface="Roboto"/>
              </a:rPr>
              <a:t>actual</a:t>
            </a:r>
            <a:r>
              <a:rPr sz="3000" spc="-110" dirty="0">
                <a:solidFill>
                  <a:srgbClr val="FFFFFF"/>
                </a:solidFill>
                <a:latin typeface="Roboto"/>
                <a:cs typeface="Roboto"/>
              </a:rPr>
              <a:t> </a:t>
            </a:r>
            <a:r>
              <a:rPr sz="3000" dirty="0">
                <a:solidFill>
                  <a:srgbClr val="FFFFFF"/>
                </a:solidFill>
                <a:latin typeface="Roboto"/>
                <a:cs typeface="Roboto"/>
              </a:rPr>
              <a:t>segmento</a:t>
            </a:r>
            <a:r>
              <a:rPr sz="3000" spc="-110" dirty="0">
                <a:solidFill>
                  <a:srgbClr val="FFFFFF"/>
                </a:solidFill>
                <a:latin typeface="Roboto"/>
                <a:cs typeface="Roboto"/>
              </a:rPr>
              <a:t> </a:t>
            </a:r>
            <a:r>
              <a:rPr sz="3000" spc="-20" dirty="0">
                <a:solidFill>
                  <a:srgbClr val="FFFFFF"/>
                </a:solidFill>
                <a:latin typeface="Roboto"/>
                <a:cs typeface="Roboto"/>
              </a:rPr>
              <a:t>MICE</a:t>
            </a:r>
            <a:endParaRPr sz="3000">
              <a:latin typeface="Roboto"/>
              <a:cs typeface="Roboto"/>
            </a:endParaRPr>
          </a:p>
        </p:txBody>
      </p:sp>
      <p:sp>
        <p:nvSpPr>
          <p:cNvPr id="4" name="object 4"/>
          <p:cNvSpPr txBox="1">
            <a:spLocks noGrp="1"/>
          </p:cNvSpPr>
          <p:nvPr>
            <p:ph type="title"/>
          </p:nvPr>
        </p:nvSpPr>
        <p:spPr>
          <a:xfrm>
            <a:off x="4882646" y="1854015"/>
            <a:ext cx="8481060" cy="643890"/>
          </a:xfrm>
          <a:prstGeom prst="rect">
            <a:avLst/>
          </a:prstGeom>
        </p:spPr>
        <p:txBody>
          <a:bodyPr vert="horz" wrap="square" lIns="0" tIns="13335" rIns="0" bIns="0" rtlCol="0">
            <a:spAutoFit/>
          </a:bodyPr>
          <a:lstStyle/>
          <a:p>
            <a:pPr marL="12700">
              <a:lnSpc>
                <a:spcPct val="100000"/>
              </a:lnSpc>
              <a:spcBef>
                <a:spcPts val="105"/>
              </a:spcBef>
            </a:pPr>
            <a:r>
              <a:rPr sz="4050" spc="-25" dirty="0">
                <a:solidFill>
                  <a:srgbClr val="E3112B"/>
                </a:solidFill>
              </a:rPr>
              <a:t>Puntos</a:t>
            </a:r>
            <a:r>
              <a:rPr sz="4050" spc="-170" dirty="0">
                <a:solidFill>
                  <a:srgbClr val="E3112B"/>
                </a:solidFill>
              </a:rPr>
              <a:t> </a:t>
            </a:r>
            <a:r>
              <a:rPr sz="4050" dirty="0">
                <a:solidFill>
                  <a:srgbClr val="E3112B"/>
                </a:solidFill>
              </a:rPr>
              <a:t>clave</a:t>
            </a:r>
            <a:r>
              <a:rPr sz="4050" spc="-165" dirty="0">
                <a:solidFill>
                  <a:srgbClr val="E3112B"/>
                </a:solidFill>
              </a:rPr>
              <a:t> </a:t>
            </a:r>
            <a:r>
              <a:rPr sz="4050" dirty="0">
                <a:solidFill>
                  <a:srgbClr val="E3112B"/>
                </a:solidFill>
              </a:rPr>
              <a:t>del</a:t>
            </a:r>
            <a:r>
              <a:rPr sz="4050" spc="-170" dirty="0">
                <a:solidFill>
                  <a:srgbClr val="E3112B"/>
                </a:solidFill>
              </a:rPr>
              <a:t> </a:t>
            </a:r>
            <a:r>
              <a:rPr sz="4050" dirty="0">
                <a:solidFill>
                  <a:srgbClr val="E3112B"/>
                </a:solidFill>
              </a:rPr>
              <a:t>sector</a:t>
            </a:r>
            <a:r>
              <a:rPr sz="4050" spc="-165" dirty="0">
                <a:solidFill>
                  <a:srgbClr val="E3112B"/>
                </a:solidFill>
              </a:rPr>
              <a:t> </a:t>
            </a:r>
            <a:r>
              <a:rPr sz="4050" dirty="0">
                <a:solidFill>
                  <a:srgbClr val="E3112B"/>
                </a:solidFill>
              </a:rPr>
              <a:t>MICE</a:t>
            </a:r>
            <a:r>
              <a:rPr sz="4050" spc="-170" dirty="0">
                <a:solidFill>
                  <a:srgbClr val="E3112B"/>
                </a:solidFill>
              </a:rPr>
              <a:t> </a:t>
            </a:r>
            <a:r>
              <a:rPr sz="4050" spc="-10" dirty="0">
                <a:solidFill>
                  <a:srgbClr val="E3112B"/>
                </a:solidFill>
              </a:rPr>
              <a:t>chileno</a:t>
            </a:r>
            <a:endParaRPr sz="4050"/>
          </a:p>
        </p:txBody>
      </p:sp>
      <p:grpSp>
        <p:nvGrpSpPr>
          <p:cNvPr id="5" name="object 5"/>
          <p:cNvGrpSpPr/>
          <p:nvPr/>
        </p:nvGrpSpPr>
        <p:grpSpPr>
          <a:xfrm>
            <a:off x="1636038" y="2864193"/>
            <a:ext cx="3459479" cy="6638925"/>
            <a:chOff x="1636038" y="2864193"/>
            <a:chExt cx="3459479" cy="6638925"/>
          </a:xfrm>
        </p:grpSpPr>
        <p:sp>
          <p:nvSpPr>
            <p:cNvPr id="6" name="object 6"/>
            <p:cNvSpPr/>
            <p:nvPr/>
          </p:nvSpPr>
          <p:spPr>
            <a:xfrm>
              <a:off x="1636038" y="2864193"/>
              <a:ext cx="3459479" cy="6638925"/>
            </a:xfrm>
            <a:custGeom>
              <a:avLst/>
              <a:gdLst/>
              <a:ahLst/>
              <a:cxnLst/>
              <a:rect l="l" t="t" r="r" b="b"/>
              <a:pathLst>
                <a:path w="3459479" h="6638925">
                  <a:moveTo>
                    <a:pt x="3458958" y="6638677"/>
                  </a:moveTo>
                  <a:lnTo>
                    <a:pt x="0" y="6638677"/>
                  </a:lnTo>
                  <a:lnTo>
                    <a:pt x="0" y="0"/>
                  </a:lnTo>
                  <a:lnTo>
                    <a:pt x="3458958" y="0"/>
                  </a:lnTo>
                  <a:lnTo>
                    <a:pt x="3458958" y="6638677"/>
                  </a:lnTo>
                  <a:close/>
                </a:path>
              </a:pathLst>
            </a:custGeom>
            <a:solidFill>
              <a:srgbClr val="0090AE"/>
            </a:solidFill>
          </p:spPr>
          <p:txBody>
            <a:bodyPr wrap="square" lIns="0" tIns="0" rIns="0" bIns="0" rtlCol="0"/>
            <a:lstStyle/>
            <a:p>
              <a:endParaRPr/>
            </a:p>
          </p:txBody>
        </p:sp>
        <p:sp>
          <p:nvSpPr>
            <p:cNvPr id="7" name="object 7"/>
            <p:cNvSpPr/>
            <p:nvPr/>
          </p:nvSpPr>
          <p:spPr>
            <a:xfrm>
              <a:off x="3885657" y="3206719"/>
              <a:ext cx="817880" cy="772160"/>
            </a:xfrm>
            <a:custGeom>
              <a:avLst/>
              <a:gdLst/>
              <a:ahLst/>
              <a:cxnLst/>
              <a:rect l="l" t="t" r="r" b="b"/>
              <a:pathLst>
                <a:path w="817879" h="772160">
                  <a:moveTo>
                    <a:pt x="388582" y="771571"/>
                  </a:moveTo>
                  <a:lnTo>
                    <a:pt x="339839" y="768565"/>
                  </a:lnTo>
                  <a:lnTo>
                    <a:pt x="292903" y="759788"/>
                  </a:lnTo>
                  <a:lnTo>
                    <a:pt x="248138" y="745603"/>
                  </a:lnTo>
                  <a:lnTo>
                    <a:pt x="205907" y="726370"/>
                  </a:lnTo>
                  <a:lnTo>
                    <a:pt x="166576" y="702451"/>
                  </a:lnTo>
                  <a:lnTo>
                    <a:pt x="130509" y="674207"/>
                  </a:lnTo>
                  <a:lnTo>
                    <a:pt x="98069" y="642001"/>
                  </a:lnTo>
                  <a:lnTo>
                    <a:pt x="69620" y="606193"/>
                  </a:lnTo>
                  <a:lnTo>
                    <a:pt x="45528" y="567145"/>
                  </a:lnTo>
                  <a:lnTo>
                    <a:pt x="26155" y="525219"/>
                  </a:lnTo>
                  <a:lnTo>
                    <a:pt x="11867" y="480776"/>
                  </a:lnTo>
                  <a:lnTo>
                    <a:pt x="3027" y="434177"/>
                  </a:lnTo>
                  <a:lnTo>
                    <a:pt x="0" y="385785"/>
                  </a:lnTo>
                  <a:lnTo>
                    <a:pt x="3027" y="337393"/>
                  </a:lnTo>
                  <a:lnTo>
                    <a:pt x="11867" y="290794"/>
                  </a:lnTo>
                  <a:lnTo>
                    <a:pt x="26156" y="246351"/>
                  </a:lnTo>
                  <a:lnTo>
                    <a:pt x="45528" y="204425"/>
                  </a:lnTo>
                  <a:lnTo>
                    <a:pt x="69621" y="165377"/>
                  </a:lnTo>
                  <a:lnTo>
                    <a:pt x="98070" y="129569"/>
                  </a:lnTo>
                  <a:lnTo>
                    <a:pt x="130510" y="97363"/>
                  </a:lnTo>
                  <a:lnTo>
                    <a:pt x="166578" y="69119"/>
                  </a:lnTo>
                  <a:lnTo>
                    <a:pt x="205909" y="45200"/>
                  </a:lnTo>
                  <a:lnTo>
                    <a:pt x="248139" y="25967"/>
                  </a:lnTo>
                  <a:lnTo>
                    <a:pt x="292905" y="11782"/>
                  </a:lnTo>
                  <a:lnTo>
                    <a:pt x="339841" y="3005"/>
                  </a:lnTo>
                  <a:lnTo>
                    <a:pt x="388584" y="0"/>
                  </a:lnTo>
                  <a:lnTo>
                    <a:pt x="434549" y="2673"/>
                  </a:lnTo>
                  <a:lnTo>
                    <a:pt x="478927" y="10490"/>
                  </a:lnTo>
                  <a:lnTo>
                    <a:pt x="521415" y="23145"/>
                  </a:lnTo>
                  <a:lnTo>
                    <a:pt x="561710" y="40334"/>
                  </a:lnTo>
                  <a:lnTo>
                    <a:pt x="566650" y="49097"/>
                  </a:lnTo>
                  <a:lnTo>
                    <a:pt x="565832" y="51618"/>
                  </a:lnTo>
                  <a:lnTo>
                    <a:pt x="517185" y="99915"/>
                  </a:lnTo>
                  <a:lnTo>
                    <a:pt x="388584" y="99915"/>
                  </a:lnTo>
                  <a:lnTo>
                    <a:pt x="341878" y="103656"/>
                  </a:lnTo>
                  <a:lnTo>
                    <a:pt x="297572" y="114489"/>
                  </a:lnTo>
                  <a:lnTo>
                    <a:pt x="256258" y="131823"/>
                  </a:lnTo>
                  <a:lnTo>
                    <a:pt x="218529" y="155071"/>
                  </a:lnTo>
                  <a:lnTo>
                    <a:pt x="184978" y="183644"/>
                  </a:lnTo>
                  <a:lnTo>
                    <a:pt x="156197" y="216954"/>
                  </a:lnTo>
                  <a:lnTo>
                    <a:pt x="132781" y="254411"/>
                  </a:lnTo>
                  <a:lnTo>
                    <a:pt x="115321" y="295428"/>
                  </a:lnTo>
                  <a:lnTo>
                    <a:pt x="104410" y="339415"/>
                  </a:lnTo>
                  <a:lnTo>
                    <a:pt x="100641" y="385785"/>
                  </a:lnTo>
                  <a:lnTo>
                    <a:pt x="104410" y="432155"/>
                  </a:lnTo>
                  <a:lnTo>
                    <a:pt x="115321" y="476142"/>
                  </a:lnTo>
                  <a:lnTo>
                    <a:pt x="132781" y="517159"/>
                  </a:lnTo>
                  <a:lnTo>
                    <a:pt x="156197" y="554617"/>
                  </a:lnTo>
                  <a:lnTo>
                    <a:pt x="184978" y="587926"/>
                  </a:lnTo>
                  <a:lnTo>
                    <a:pt x="218529" y="616499"/>
                  </a:lnTo>
                  <a:lnTo>
                    <a:pt x="256258" y="639747"/>
                  </a:lnTo>
                  <a:lnTo>
                    <a:pt x="297572" y="657082"/>
                  </a:lnTo>
                  <a:lnTo>
                    <a:pt x="341878" y="667914"/>
                  </a:lnTo>
                  <a:lnTo>
                    <a:pt x="388584" y="671655"/>
                  </a:lnTo>
                  <a:lnTo>
                    <a:pt x="649227" y="671655"/>
                  </a:lnTo>
                  <a:lnTo>
                    <a:pt x="646657" y="674207"/>
                  </a:lnTo>
                  <a:lnTo>
                    <a:pt x="610589" y="702451"/>
                  </a:lnTo>
                  <a:lnTo>
                    <a:pt x="571258" y="726370"/>
                  </a:lnTo>
                  <a:lnTo>
                    <a:pt x="529027" y="745603"/>
                  </a:lnTo>
                  <a:lnTo>
                    <a:pt x="484262" y="759788"/>
                  </a:lnTo>
                  <a:lnTo>
                    <a:pt x="437326" y="768565"/>
                  </a:lnTo>
                  <a:lnTo>
                    <a:pt x="388582" y="771571"/>
                  </a:lnTo>
                  <a:close/>
                </a:path>
                <a:path w="817879" h="772160">
                  <a:moveTo>
                    <a:pt x="492750" y="119129"/>
                  </a:moveTo>
                  <a:lnTo>
                    <a:pt x="438994" y="104287"/>
                  </a:lnTo>
                  <a:lnTo>
                    <a:pt x="388584" y="99915"/>
                  </a:lnTo>
                  <a:lnTo>
                    <a:pt x="517185" y="99915"/>
                  </a:lnTo>
                  <a:lnTo>
                    <a:pt x="499286" y="117684"/>
                  </a:lnTo>
                  <a:lnTo>
                    <a:pt x="492750" y="119129"/>
                  </a:lnTo>
                  <a:close/>
                </a:path>
                <a:path w="817879" h="772160">
                  <a:moveTo>
                    <a:pt x="811787" y="385785"/>
                  </a:moveTo>
                  <a:lnTo>
                    <a:pt x="634875" y="385785"/>
                  </a:lnTo>
                  <a:lnTo>
                    <a:pt x="632143" y="384134"/>
                  </a:lnTo>
                  <a:lnTo>
                    <a:pt x="629214" y="378514"/>
                  </a:lnTo>
                  <a:lnTo>
                    <a:pt x="629436" y="375345"/>
                  </a:lnTo>
                  <a:lnTo>
                    <a:pt x="718155" y="250960"/>
                  </a:lnTo>
                  <a:lnTo>
                    <a:pt x="720549" y="249732"/>
                  </a:lnTo>
                  <a:lnTo>
                    <a:pt x="726114" y="249732"/>
                  </a:lnTo>
                  <a:lnTo>
                    <a:pt x="728506" y="250961"/>
                  </a:lnTo>
                  <a:lnTo>
                    <a:pt x="817225" y="375345"/>
                  </a:lnTo>
                  <a:lnTo>
                    <a:pt x="817446" y="378514"/>
                  </a:lnTo>
                  <a:lnTo>
                    <a:pt x="814520" y="384134"/>
                  </a:lnTo>
                  <a:lnTo>
                    <a:pt x="811787" y="385785"/>
                  </a:lnTo>
                  <a:close/>
                </a:path>
                <a:path w="817879" h="772160">
                  <a:moveTo>
                    <a:pt x="472504" y="413303"/>
                  </a:moveTo>
                  <a:lnTo>
                    <a:pt x="358863" y="413303"/>
                  </a:lnTo>
                  <a:lnTo>
                    <a:pt x="498156" y="272999"/>
                  </a:lnTo>
                  <a:lnTo>
                    <a:pt x="511485" y="264159"/>
                  </a:lnTo>
                  <a:lnTo>
                    <a:pt x="526667" y="261182"/>
                  </a:lnTo>
                  <a:lnTo>
                    <a:pt x="541866" y="264075"/>
                  </a:lnTo>
                  <a:lnTo>
                    <a:pt x="555244" y="272843"/>
                  </a:lnTo>
                  <a:lnTo>
                    <a:pt x="564149" y="286076"/>
                  </a:lnTo>
                  <a:lnTo>
                    <a:pt x="567146" y="301149"/>
                  </a:lnTo>
                  <a:lnTo>
                    <a:pt x="564232" y="316238"/>
                  </a:lnTo>
                  <a:lnTo>
                    <a:pt x="555402" y="329520"/>
                  </a:lnTo>
                  <a:lnTo>
                    <a:pt x="509922" y="375345"/>
                  </a:lnTo>
                  <a:lnTo>
                    <a:pt x="472504" y="413303"/>
                  </a:lnTo>
                  <a:close/>
                </a:path>
                <a:path w="817879" h="772160">
                  <a:moveTo>
                    <a:pt x="358926" y="510389"/>
                  </a:moveTo>
                  <a:lnTo>
                    <a:pt x="221878" y="390976"/>
                  </a:lnTo>
                  <a:lnTo>
                    <a:pt x="210023" y="362559"/>
                  </a:lnTo>
                  <a:lnTo>
                    <a:pt x="212987" y="347436"/>
                  </a:lnTo>
                  <a:lnTo>
                    <a:pt x="221879" y="334142"/>
                  </a:lnTo>
                  <a:lnTo>
                    <a:pt x="235269" y="325314"/>
                  </a:lnTo>
                  <a:lnTo>
                    <a:pt x="250502" y="322371"/>
                  </a:lnTo>
                  <a:lnTo>
                    <a:pt x="265735" y="325314"/>
                  </a:lnTo>
                  <a:lnTo>
                    <a:pt x="279126" y="334142"/>
                  </a:lnTo>
                  <a:lnTo>
                    <a:pt x="358863" y="413303"/>
                  </a:lnTo>
                  <a:lnTo>
                    <a:pt x="472504" y="413303"/>
                  </a:lnTo>
                  <a:lnTo>
                    <a:pt x="453908" y="432155"/>
                  </a:lnTo>
                  <a:lnTo>
                    <a:pt x="427406" y="458866"/>
                  </a:lnTo>
                  <a:lnTo>
                    <a:pt x="387548" y="498619"/>
                  </a:lnTo>
                  <a:lnTo>
                    <a:pt x="374158" y="507447"/>
                  </a:lnTo>
                  <a:lnTo>
                    <a:pt x="358926" y="510389"/>
                  </a:lnTo>
                  <a:close/>
                </a:path>
                <a:path w="817879" h="772160">
                  <a:moveTo>
                    <a:pt x="649227" y="671655"/>
                  </a:moveTo>
                  <a:lnTo>
                    <a:pt x="388584" y="671655"/>
                  </a:lnTo>
                  <a:lnTo>
                    <a:pt x="435290" y="667914"/>
                  </a:lnTo>
                  <a:lnTo>
                    <a:pt x="479597" y="657082"/>
                  </a:lnTo>
                  <a:lnTo>
                    <a:pt x="520911" y="639747"/>
                  </a:lnTo>
                  <a:lnTo>
                    <a:pt x="558640" y="616499"/>
                  </a:lnTo>
                  <a:lnTo>
                    <a:pt x="592191" y="587926"/>
                  </a:lnTo>
                  <a:lnTo>
                    <a:pt x="620971" y="554616"/>
                  </a:lnTo>
                  <a:lnTo>
                    <a:pt x="644388" y="517159"/>
                  </a:lnTo>
                  <a:lnTo>
                    <a:pt x="661848" y="476142"/>
                  </a:lnTo>
                  <a:lnTo>
                    <a:pt x="672759" y="432155"/>
                  </a:lnTo>
                  <a:lnTo>
                    <a:pt x="676527" y="385785"/>
                  </a:lnTo>
                  <a:lnTo>
                    <a:pt x="777167" y="385785"/>
                  </a:lnTo>
                  <a:lnTo>
                    <a:pt x="774139" y="434177"/>
                  </a:lnTo>
                  <a:lnTo>
                    <a:pt x="765299" y="480776"/>
                  </a:lnTo>
                  <a:lnTo>
                    <a:pt x="751011" y="525219"/>
                  </a:lnTo>
                  <a:lnTo>
                    <a:pt x="731638" y="567145"/>
                  </a:lnTo>
                  <a:lnTo>
                    <a:pt x="707545" y="606193"/>
                  </a:lnTo>
                  <a:lnTo>
                    <a:pt x="679097" y="642001"/>
                  </a:lnTo>
                  <a:lnTo>
                    <a:pt x="649227" y="671655"/>
                  </a:lnTo>
                  <a:close/>
                </a:path>
              </a:pathLst>
            </a:custGeom>
            <a:solidFill>
              <a:srgbClr val="FFFFFF"/>
            </a:solidFill>
          </p:spPr>
          <p:txBody>
            <a:bodyPr wrap="square" lIns="0" tIns="0" rIns="0" bIns="0" rtlCol="0"/>
            <a:lstStyle/>
            <a:p>
              <a:endParaRPr/>
            </a:p>
          </p:txBody>
        </p:sp>
        <p:pic>
          <p:nvPicPr>
            <p:cNvPr id="8" name="object 8"/>
            <p:cNvPicPr/>
            <p:nvPr/>
          </p:nvPicPr>
          <p:blipFill>
            <a:blip r:embed="rId2" cstate="print"/>
            <a:stretch>
              <a:fillRect/>
            </a:stretch>
          </p:blipFill>
          <p:spPr>
            <a:xfrm>
              <a:off x="2241392" y="5121710"/>
              <a:ext cx="66675" cy="66674"/>
            </a:xfrm>
            <a:prstGeom prst="rect">
              <a:avLst/>
            </a:prstGeom>
          </p:spPr>
        </p:pic>
        <p:pic>
          <p:nvPicPr>
            <p:cNvPr id="9" name="object 9"/>
            <p:cNvPicPr/>
            <p:nvPr/>
          </p:nvPicPr>
          <p:blipFill>
            <a:blip r:embed="rId2" cstate="print"/>
            <a:stretch>
              <a:fillRect/>
            </a:stretch>
          </p:blipFill>
          <p:spPr>
            <a:xfrm>
              <a:off x="2241392" y="5950385"/>
              <a:ext cx="66675" cy="66674"/>
            </a:xfrm>
            <a:prstGeom prst="rect">
              <a:avLst/>
            </a:prstGeom>
          </p:spPr>
        </p:pic>
      </p:grpSp>
      <p:sp>
        <p:nvSpPr>
          <p:cNvPr id="10" name="object 10"/>
          <p:cNvSpPr txBox="1"/>
          <p:nvPr/>
        </p:nvSpPr>
        <p:spPr>
          <a:xfrm>
            <a:off x="1636038" y="2864193"/>
            <a:ext cx="3459479"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395605">
              <a:lnSpc>
                <a:spcPct val="100000"/>
              </a:lnSpc>
            </a:pPr>
            <a:r>
              <a:rPr sz="4600" b="1" spc="35" dirty="0">
                <a:solidFill>
                  <a:srgbClr val="F5A316"/>
                </a:solidFill>
                <a:latin typeface="Arial"/>
                <a:cs typeface="Arial"/>
              </a:rPr>
              <a:t>01</a:t>
            </a:r>
            <a:endParaRPr sz="4600">
              <a:latin typeface="Arial"/>
              <a:cs typeface="Arial"/>
            </a:endParaRPr>
          </a:p>
          <a:p>
            <a:pPr marL="395605">
              <a:lnSpc>
                <a:spcPct val="100000"/>
              </a:lnSpc>
              <a:spcBef>
                <a:spcPts val="305"/>
              </a:spcBef>
            </a:pPr>
            <a:r>
              <a:rPr sz="1850" b="1" spc="50" dirty="0">
                <a:solidFill>
                  <a:srgbClr val="FFFFFF"/>
                </a:solidFill>
                <a:latin typeface="Arial"/>
                <a:cs typeface="Arial"/>
              </a:rPr>
              <a:t>Recuperación</a:t>
            </a:r>
            <a:endParaRPr sz="1850">
              <a:latin typeface="Arial"/>
              <a:cs typeface="Arial"/>
            </a:endParaRPr>
          </a:p>
          <a:p>
            <a:pPr>
              <a:lnSpc>
                <a:spcPct val="100000"/>
              </a:lnSpc>
              <a:spcBef>
                <a:spcPts val="45"/>
              </a:spcBef>
            </a:pPr>
            <a:endParaRPr sz="2300">
              <a:latin typeface="Arial"/>
              <a:cs typeface="Arial"/>
            </a:endParaRPr>
          </a:p>
          <a:p>
            <a:pPr marL="803275" marR="405765">
              <a:lnSpc>
                <a:spcPts val="2180"/>
              </a:lnSpc>
            </a:pPr>
            <a:r>
              <a:rPr sz="1850" dirty="0">
                <a:solidFill>
                  <a:srgbClr val="FFFFFF"/>
                </a:solidFill>
                <a:latin typeface="Roboto"/>
                <a:cs typeface="Roboto"/>
              </a:rPr>
              <a:t>Recuperación</a:t>
            </a:r>
            <a:r>
              <a:rPr sz="1850" spc="-35" dirty="0">
                <a:solidFill>
                  <a:srgbClr val="FFFFFF"/>
                </a:solidFill>
                <a:latin typeface="Roboto"/>
                <a:cs typeface="Roboto"/>
              </a:rPr>
              <a:t> </a:t>
            </a:r>
            <a:r>
              <a:rPr sz="1850" dirty="0">
                <a:solidFill>
                  <a:srgbClr val="FFFFFF"/>
                </a:solidFill>
                <a:latin typeface="Roboto"/>
                <a:cs typeface="Roboto"/>
              </a:rPr>
              <a:t>a</a:t>
            </a:r>
            <a:r>
              <a:rPr sz="1850" spc="-30" dirty="0">
                <a:solidFill>
                  <a:srgbClr val="FFFFFF"/>
                </a:solidFill>
                <a:latin typeface="Roboto"/>
                <a:cs typeface="Roboto"/>
              </a:rPr>
              <a:t> </a:t>
            </a:r>
            <a:r>
              <a:rPr sz="1850" b="1" spc="-20" dirty="0">
                <a:solidFill>
                  <a:srgbClr val="FFFFFF"/>
                </a:solidFill>
                <a:latin typeface="Roboto"/>
                <a:cs typeface="Roboto"/>
              </a:rPr>
              <a:t>buen </a:t>
            </a:r>
            <a:r>
              <a:rPr sz="1850" b="1" spc="-10" dirty="0">
                <a:solidFill>
                  <a:srgbClr val="FFFFFF"/>
                </a:solidFill>
                <a:latin typeface="Roboto"/>
                <a:cs typeface="Roboto"/>
              </a:rPr>
              <a:t>ritmo.</a:t>
            </a:r>
            <a:endParaRPr sz="1850">
              <a:latin typeface="Roboto"/>
              <a:cs typeface="Roboto"/>
            </a:endParaRPr>
          </a:p>
          <a:p>
            <a:pPr>
              <a:lnSpc>
                <a:spcPct val="100000"/>
              </a:lnSpc>
              <a:spcBef>
                <a:spcPts val="50"/>
              </a:spcBef>
            </a:pPr>
            <a:endParaRPr sz="1600">
              <a:latin typeface="Roboto"/>
              <a:cs typeface="Roboto"/>
            </a:endParaRPr>
          </a:p>
          <a:p>
            <a:pPr marL="803275" marR="309880">
              <a:lnSpc>
                <a:spcPts val="2180"/>
              </a:lnSpc>
              <a:spcBef>
                <a:spcPts val="5"/>
              </a:spcBef>
            </a:pPr>
            <a:r>
              <a:rPr sz="1850" dirty="0">
                <a:solidFill>
                  <a:srgbClr val="FFFFFF"/>
                </a:solidFill>
                <a:latin typeface="Roboto"/>
                <a:cs typeface="Roboto"/>
              </a:rPr>
              <a:t>Recuperar</a:t>
            </a:r>
            <a:r>
              <a:rPr sz="1850" spc="-70" dirty="0">
                <a:solidFill>
                  <a:srgbClr val="FFFFFF"/>
                </a:solidFill>
                <a:latin typeface="Roboto"/>
                <a:cs typeface="Roboto"/>
              </a:rPr>
              <a:t> </a:t>
            </a:r>
            <a:r>
              <a:rPr sz="1850" spc="-25" dirty="0">
                <a:solidFill>
                  <a:srgbClr val="FFFFFF"/>
                </a:solidFill>
                <a:latin typeface="Roboto"/>
                <a:cs typeface="Roboto"/>
              </a:rPr>
              <a:t>la </a:t>
            </a:r>
            <a:r>
              <a:rPr sz="1850" b="1" spc="-10" dirty="0">
                <a:solidFill>
                  <a:srgbClr val="FFFFFF"/>
                </a:solidFill>
                <a:latin typeface="Roboto"/>
                <a:cs typeface="Roboto"/>
              </a:rPr>
              <a:t>conectividad </a:t>
            </a:r>
            <a:r>
              <a:rPr sz="1850" b="1" dirty="0">
                <a:solidFill>
                  <a:srgbClr val="FFFFFF"/>
                </a:solidFill>
                <a:latin typeface="Roboto"/>
                <a:cs typeface="Roboto"/>
              </a:rPr>
              <a:t>internacional</a:t>
            </a:r>
            <a:r>
              <a:rPr sz="1850" b="1" spc="70" dirty="0">
                <a:solidFill>
                  <a:srgbClr val="FFFFFF"/>
                </a:solidFill>
                <a:latin typeface="Roboto"/>
                <a:cs typeface="Roboto"/>
              </a:rPr>
              <a:t> </a:t>
            </a:r>
            <a:r>
              <a:rPr sz="1850" dirty="0">
                <a:solidFill>
                  <a:srgbClr val="FFFFFF"/>
                </a:solidFill>
                <a:latin typeface="Roboto"/>
                <a:cs typeface="Roboto"/>
              </a:rPr>
              <a:t>es</a:t>
            </a:r>
            <a:r>
              <a:rPr sz="1850" spc="75" dirty="0">
                <a:solidFill>
                  <a:srgbClr val="FFFFFF"/>
                </a:solidFill>
                <a:latin typeface="Roboto"/>
                <a:cs typeface="Roboto"/>
              </a:rPr>
              <a:t> </a:t>
            </a:r>
            <a:r>
              <a:rPr sz="1850" spc="-20" dirty="0">
                <a:solidFill>
                  <a:srgbClr val="FFFFFF"/>
                </a:solidFill>
                <a:latin typeface="Roboto"/>
                <a:cs typeface="Roboto"/>
              </a:rPr>
              <a:t>clave </a:t>
            </a:r>
            <a:r>
              <a:rPr sz="1850" dirty="0">
                <a:solidFill>
                  <a:srgbClr val="FFFFFF"/>
                </a:solidFill>
                <a:latin typeface="Roboto"/>
                <a:cs typeface="Roboto"/>
              </a:rPr>
              <a:t>para</a:t>
            </a:r>
            <a:r>
              <a:rPr sz="1850" spc="-10" dirty="0">
                <a:solidFill>
                  <a:srgbClr val="FFFFFF"/>
                </a:solidFill>
                <a:latin typeface="Roboto"/>
                <a:cs typeface="Roboto"/>
              </a:rPr>
              <a:t> </a:t>
            </a:r>
            <a:r>
              <a:rPr sz="1850" dirty="0">
                <a:solidFill>
                  <a:srgbClr val="FFFFFF"/>
                </a:solidFill>
                <a:latin typeface="Roboto"/>
                <a:cs typeface="Roboto"/>
              </a:rPr>
              <a:t>la</a:t>
            </a:r>
            <a:r>
              <a:rPr sz="1850" spc="-5" dirty="0">
                <a:solidFill>
                  <a:srgbClr val="FFFFFF"/>
                </a:solidFill>
                <a:latin typeface="Roboto"/>
                <a:cs typeface="Roboto"/>
              </a:rPr>
              <a:t> </a:t>
            </a:r>
            <a:r>
              <a:rPr sz="1850" dirty="0">
                <a:solidFill>
                  <a:srgbClr val="FFFFFF"/>
                </a:solidFill>
                <a:latin typeface="Roboto"/>
                <a:cs typeface="Roboto"/>
              </a:rPr>
              <a:t>captación</a:t>
            </a:r>
            <a:r>
              <a:rPr sz="1850" spc="-5" dirty="0">
                <a:solidFill>
                  <a:srgbClr val="FFFFFF"/>
                </a:solidFill>
                <a:latin typeface="Roboto"/>
                <a:cs typeface="Roboto"/>
              </a:rPr>
              <a:t> </a:t>
            </a:r>
            <a:r>
              <a:rPr sz="1850" spc="-25" dirty="0">
                <a:solidFill>
                  <a:srgbClr val="FFFFFF"/>
                </a:solidFill>
                <a:latin typeface="Roboto"/>
                <a:cs typeface="Roboto"/>
              </a:rPr>
              <a:t>de </a:t>
            </a:r>
            <a:r>
              <a:rPr sz="1850" dirty="0">
                <a:solidFill>
                  <a:srgbClr val="FFFFFF"/>
                </a:solidFill>
                <a:latin typeface="Roboto"/>
                <a:cs typeface="Roboto"/>
              </a:rPr>
              <a:t>más</a:t>
            </a:r>
            <a:r>
              <a:rPr sz="1850" spc="10" dirty="0">
                <a:solidFill>
                  <a:srgbClr val="FFFFFF"/>
                </a:solidFill>
                <a:latin typeface="Roboto"/>
                <a:cs typeface="Roboto"/>
              </a:rPr>
              <a:t> </a:t>
            </a:r>
            <a:r>
              <a:rPr sz="1850" dirty="0">
                <a:solidFill>
                  <a:srgbClr val="FFFFFF"/>
                </a:solidFill>
                <a:latin typeface="Roboto"/>
                <a:cs typeface="Roboto"/>
              </a:rPr>
              <a:t>reuniones</a:t>
            </a:r>
            <a:r>
              <a:rPr sz="1850" spc="15" dirty="0">
                <a:solidFill>
                  <a:srgbClr val="FFFFFF"/>
                </a:solidFill>
                <a:latin typeface="Roboto"/>
                <a:cs typeface="Roboto"/>
              </a:rPr>
              <a:t> </a:t>
            </a:r>
            <a:r>
              <a:rPr sz="1850" spc="-50" dirty="0">
                <a:solidFill>
                  <a:srgbClr val="FFFFFF"/>
                </a:solidFill>
                <a:latin typeface="Roboto"/>
                <a:cs typeface="Roboto"/>
              </a:rPr>
              <a:t>y </a:t>
            </a:r>
            <a:r>
              <a:rPr sz="1850" spc="-10" dirty="0">
                <a:solidFill>
                  <a:srgbClr val="FFFFFF"/>
                </a:solidFill>
                <a:latin typeface="Roboto"/>
                <a:cs typeface="Roboto"/>
              </a:rPr>
              <a:t>eventos.</a:t>
            </a:r>
            <a:endParaRPr sz="1850">
              <a:latin typeface="Roboto"/>
              <a:cs typeface="Roboto"/>
            </a:endParaRPr>
          </a:p>
        </p:txBody>
      </p:sp>
      <p:grpSp>
        <p:nvGrpSpPr>
          <p:cNvPr id="11" name="object 11"/>
          <p:cNvGrpSpPr/>
          <p:nvPr/>
        </p:nvGrpSpPr>
        <p:grpSpPr>
          <a:xfrm>
            <a:off x="5283878" y="2864193"/>
            <a:ext cx="3558540" cy="6638925"/>
            <a:chOff x="5283878" y="2864193"/>
            <a:chExt cx="3558540" cy="6638925"/>
          </a:xfrm>
        </p:grpSpPr>
        <p:sp>
          <p:nvSpPr>
            <p:cNvPr id="12" name="object 12"/>
            <p:cNvSpPr/>
            <p:nvPr/>
          </p:nvSpPr>
          <p:spPr>
            <a:xfrm>
              <a:off x="5283878" y="2864193"/>
              <a:ext cx="3558540" cy="6638925"/>
            </a:xfrm>
            <a:custGeom>
              <a:avLst/>
              <a:gdLst/>
              <a:ahLst/>
              <a:cxnLst/>
              <a:rect l="l" t="t" r="r" b="b"/>
              <a:pathLst>
                <a:path w="3558540" h="6638925">
                  <a:moveTo>
                    <a:pt x="3558042" y="6638677"/>
                  </a:moveTo>
                  <a:lnTo>
                    <a:pt x="0" y="6638677"/>
                  </a:lnTo>
                  <a:lnTo>
                    <a:pt x="0" y="0"/>
                  </a:lnTo>
                  <a:lnTo>
                    <a:pt x="3558042" y="0"/>
                  </a:lnTo>
                  <a:lnTo>
                    <a:pt x="3558042" y="6638677"/>
                  </a:lnTo>
                  <a:close/>
                </a:path>
              </a:pathLst>
            </a:custGeom>
            <a:solidFill>
              <a:srgbClr val="0090AE"/>
            </a:solidFill>
          </p:spPr>
          <p:txBody>
            <a:bodyPr wrap="square" lIns="0" tIns="0" rIns="0" bIns="0" rtlCol="0"/>
            <a:lstStyle/>
            <a:p>
              <a:endParaRPr/>
            </a:p>
          </p:txBody>
        </p:sp>
        <p:sp>
          <p:nvSpPr>
            <p:cNvPr id="13" name="object 13"/>
            <p:cNvSpPr/>
            <p:nvPr/>
          </p:nvSpPr>
          <p:spPr>
            <a:xfrm>
              <a:off x="7634584" y="3223738"/>
              <a:ext cx="923925" cy="751840"/>
            </a:xfrm>
            <a:custGeom>
              <a:avLst/>
              <a:gdLst/>
              <a:ahLst/>
              <a:cxnLst/>
              <a:rect l="l" t="t" r="r" b="b"/>
              <a:pathLst>
                <a:path w="923925" h="751839">
                  <a:moveTo>
                    <a:pt x="68060" y="436879"/>
                  </a:moveTo>
                  <a:lnTo>
                    <a:pt x="42521" y="405129"/>
                  </a:lnTo>
                  <a:lnTo>
                    <a:pt x="22508" y="369569"/>
                  </a:lnTo>
                  <a:lnTo>
                    <a:pt x="8599" y="331469"/>
                  </a:lnTo>
                  <a:lnTo>
                    <a:pt x="1170" y="290829"/>
                  </a:lnTo>
                  <a:lnTo>
                    <a:pt x="0" y="261619"/>
                  </a:lnTo>
                  <a:lnTo>
                    <a:pt x="402" y="250189"/>
                  </a:lnTo>
                  <a:lnTo>
                    <a:pt x="12020" y="184149"/>
                  </a:lnTo>
                  <a:lnTo>
                    <a:pt x="30494" y="137159"/>
                  </a:lnTo>
                  <a:lnTo>
                    <a:pt x="56940" y="96519"/>
                  </a:lnTo>
                  <a:lnTo>
                    <a:pt x="91233" y="62229"/>
                  </a:lnTo>
                  <a:lnTo>
                    <a:pt x="133250" y="34289"/>
                  </a:lnTo>
                  <a:lnTo>
                    <a:pt x="182865" y="12699"/>
                  </a:lnTo>
                  <a:lnTo>
                    <a:pt x="231670" y="1269"/>
                  </a:lnTo>
                  <a:lnTo>
                    <a:pt x="248360" y="0"/>
                  </a:lnTo>
                  <a:lnTo>
                    <a:pt x="281791" y="0"/>
                  </a:lnTo>
                  <a:lnTo>
                    <a:pt x="331193" y="8889"/>
                  </a:lnTo>
                  <a:lnTo>
                    <a:pt x="377873" y="26669"/>
                  </a:lnTo>
                  <a:lnTo>
                    <a:pt x="420088" y="53339"/>
                  </a:lnTo>
                  <a:lnTo>
                    <a:pt x="432907" y="64769"/>
                  </a:lnTo>
                  <a:lnTo>
                    <a:pt x="387628" y="109219"/>
                  </a:lnTo>
                  <a:lnTo>
                    <a:pt x="365245" y="132079"/>
                  </a:lnTo>
                  <a:lnTo>
                    <a:pt x="342978" y="153669"/>
                  </a:lnTo>
                  <a:lnTo>
                    <a:pt x="325038" y="171449"/>
                  </a:lnTo>
                  <a:lnTo>
                    <a:pt x="316299" y="181609"/>
                  </a:lnTo>
                  <a:lnTo>
                    <a:pt x="307942" y="190499"/>
                  </a:lnTo>
                  <a:lnTo>
                    <a:pt x="290485" y="227329"/>
                  </a:lnTo>
                  <a:lnTo>
                    <a:pt x="289014" y="243839"/>
                  </a:lnTo>
                  <a:lnTo>
                    <a:pt x="289504" y="252729"/>
                  </a:lnTo>
                  <a:lnTo>
                    <a:pt x="290255" y="257809"/>
                  </a:lnTo>
                  <a:lnTo>
                    <a:pt x="292699" y="267969"/>
                  </a:lnTo>
                  <a:lnTo>
                    <a:pt x="294371" y="271779"/>
                  </a:lnTo>
                  <a:lnTo>
                    <a:pt x="298615" y="281939"/>
                  </a:lnTo>
                  <a:lnTo>
                    <a:pt x="307049" y="294639"/>
                  </a:lnTo>
                  <a:lnTo>
                    <a:pt x="310361" y="298449"/>
                  </a:lnTo>
                  <a:lnTo>
                    <a:pt x="317702" y="306069"/>
                  </a:lnTo>
                  <a:lnTo>
                    <a:pt x="321665" y="308609"/>
                  </a:lnTo>
                  <a:lnTo>
                    <a:pt x="330183" y="314959"/>
                  </a:lnTo>
                  <a:lnTo>
                    <a:pt x="334668" y="317499"/>
                  </a:lnTo>
                  <a:lnTo>
                    <a:pt x="344087" y="321309"/>
                  </a:lnTo>
                  <a:lnTo>
                    <a:pt x="358945" y="325119"/>
                  </a:lnTo>
                  <a:lnTo>
                    <a:pt x="364009" y="325119"/>
                  </a:lnTo>
                  <a:lnTo>
                    <a:pt x="374260" y="326389"/>
                  </a:lnTo>
                  <a:lnTo>
                    <a:pt x="650455" y="326389"/>
                  </a:lnTo>
                  <a:lnTo>
                    <a:pt x="673534" y="349249"/>
                  </a:lnTo>
                  <a:lnTo>
                    <a:pt x="561662" y="349249"/>
                  </a:lnTo>
                  <a:lnTo>
                    <a:pt x="556625" y="351789"/>
                  </a:lnTo>
                  <a:lnTo>
                    <a:pt x="547273" y="367029"/>
                  </a:lnTo>
                  <a:lnTo>
                    <a:pt x="547517" y="370839"/>
                  </a:lnTo>
                  <a:lnTo>
                    <a:pt x="170363" y="370839"/>
                  </a:lnTo>
                  <a:lnTo>
                    <a:pt x="158727" y="372109"/>
                  </a:lnTo>
                  <a:lnTo>
                    <a:pt x="153022" y="372109"/>
                  </a:lnTo>
                  <a:lnTo>
                    <a:pt x="141840" y="375919"/>
                  </a:lnTo>
                  <a:lnTo>
                    <a:pt x="93227" y="414019"/>
                  </a:lnTo>
                  <a:lnTo>
                    <a:pt x="80828" y="425449"/>
                  </a:lnTo>
                  <a:lnTo>
                    <a:pt x="68060" y="436879"/>
                  </a:lnTo>
                  <a:close/>
                </a:path>
                <a:path w="923925" h="751839">
                  <a:moveTo>
                    <a:pt x="381237" y="287019"/>
                  </a:moveTo>
                  <a:lnTo>
                    <a:pt x="365699" y="287019"/>
                  </a:lnTo>
                  <a:lnTo>
                    <a:pt x="355671" y="284479"/>
                  </a:lnTo>
                  <a:lnTo>
                    <a:pt x="328907" y="251459"/>
                  </a:lnTo>
                  <a:lnTo>
                    <a:pt x="327978" y="243839"/>
                  </a:lnTo>
                  <a:lnTo>
                    <a:pt x="327992" y="240029"/>
                  </a:lnTo>
                  <a:lnTo>
                    <a:pt x="369456" y="182879"/>
                  </a:lnTo>
                  <a:lnTo>
                    <a:pt x="423992" y="128269"/>
                  </a:lnTo>
                  <a:lnTo>
                    <a:pt x="451175" y="101599"/>
                  </a:lnTo>
                  <a:lnTo>
                    <a:pt x="469750" y="81279"/>
                  </a:lnTo>
                  <a:lnTo>
                    <a:pt x="489628" y="64769"/>
                  </a:lnTo>
                  <a:lnTo>
                    <a:pt x="533296" y="33019"/>
                  </a:lnTo>
                  <a:lnTo>
                    <a:pt x="593677" y="8889"/>
                  </a:lnTo>
                  <a:lnTo>
                    <a:pt x="658136" y="0"/>
                  </a:lnTo>
                  <a:lnTo>
                    <a:pt x="690317" y="2539"/>
                  </a:lnTo>
                  <a:lnTo>
                    <a:pt x="752386" y="17779"/>
                  </a:lnTo>
                  <a:lnTo>
                    <a:pt x="792917" y="34289"/>
                  </a:lnTo>
                  <a:lnTo>
                    <a:pt x="829780" y="59689"/>
                  </a:lnTo>
                  <a:lnTo>
                    <a:pt x="861603" y="91439"/>
                  </a:lnTo>
                  <a:lnTo>
                    <a:pt x="883459" y="124459"/>
                  </a:lnTo>
                  <a:lnTo>
                    <a:pt x="898518" y="152399"/>
                  </a:lnTo>
                  <a:lnTo>
                    <a:pt x="530168" y="152399"/>
                  </a:lnTo>
                  <a:lnTo>
                    <a:pt x="502482" y="179069"/>
                  </a:lnTo>
                  <a:lnTo>
                    <a:pt x="464135" y="217169"/>
                  </a:lnTo>
                  <a:lnTo>
                    <a:pt x="427210" y="252729"/>
                  </a:lnTo>
                  <a:lnTo>
                    <a:pt x="403790" y="274319"/>
                  </a:lnTo>
                  <a:lnTo>
                    <a:pt x="400038" y="278129"/>
                  </a:lnTo>
                  <a:lnTo>
                    <a:pt x="395776" y="281939"/>
                  </a:lnTo>
                  <a:lnTo>
                    <a:pt x="386229" y="285749"/>
                  </a:lnTo>
                  <a:lnTo>
                    <a:pt x="381237" y="287019"/>
                  </a:lnTo>
                  <a:close/>
                </a:path>
                <a:path w="923925" h="751839">
                  <a:moveTo>
                    <a:pt x="836330" y="459739"/>
                  </a:moveTo>
                  <a:lnTo>
                    <a:pt x="828336" y="450849"/>
                  </a:lnTo>
                  <a:lnTo>
                    <a:pt x="805148" y="426719"/>
                  </a:lnTo>
                  <a:lnTo>
                    <a:pt x="774955" y="396239"/>
                  </a:lnTo>
                  <a:lnTo>
                    <a:pt x="761012" y="380999"/>
                  </a:lnTo>
                  <a:lnTo>
                    <a:pt x="738985" y="359409"/>
                  </a:lnTo>
                  <a:lnTo>
                    <a:pt x="709519" y="330199"/>
                  </a:lnTo>
                  <a:lnTo>
                    <a:pt x="673258" y="293369"/>
                  </a:lnTo>
                  <a:lnTo>
                    <a:pt x="530168" y="152399"/>
                  </a:lnTo>
                  <a:lnTo>
                    <a:pt x="898518" y="152399"/>
                  </a:lnTo>
                  <a:lnTo>
                    <a:pt x="901146" y="157479"/>
                  </a:lnTo>
                  <a:lnTo>
                    <a:pt x="917842" y="208279"/>
                  </a:lnTo>
                  <a:lnTo>
                    <a:pt x="923778" y="261619"/>
                  </a:lnTo>
                  <a:lnTo>
                    <a:pt x="923293" y="279399"/>
                  </a:lnTo>
                  <a:lnTo>
                    <a:pt x="909864" y="342899"/>
                  </a:lnTo>
                  <a:lnTo>
                    <a:pt x="881814" y="401319"/>
                  </a:lnTo>
                  <a:lnTo>
                    <a:pt x="853672" y="438149"/>
                  </a:lnTo>
                  <a:lnTo>
                    <a:pt x="847748" y="445769"/>
                  </a:lnTo>
                  <a:lnTo>
                    <a:pt x="841935" y="452119"/>
                  </a:lnTo>
                  <a:lnTo>
                    <a:pt x="836330" y="459739"/>
                  </a:lnTo>
                  <a:close/>
                </a:path>
                <a:path w="923925" h="751839">
                  <a:moveTo>
                    <a:pt x="650455" y="326389"/>
                  </a:moveTo>
                  <a:lnTo>
                    <a:pt x="374260" y="326389"/>
                  </a:lnTo>
                  <a:lnTo>
                    <a:pt x="379361" y="325119"/>
                  </a:lnTo>
                  <a:lnTo>
                    <a:pt x="389515" y="323849"/>
                  </a:lnTo>
                  <a:lnTo>
                    <a:pt x="404200" y="320039"/>
                  </a:lnTo>
                  <a:lnTo>
                    <a:pt x="408868" y="317499"/>
                  </a:lnTo>
                  <a:lnTo>
                    <a:pt x="417820" y="312419"/>
                  </a:lnTo>
                  <a:lnTo>
                    <a:pt x="422031" y="309879"/>
                  </a:lnTo>
                  <a:lnTo>
                    <a:pt x="425975" y="306069"/>
                  </a:lnTo>
                  <a:lnTo>
                    <a:pt x="443046" y="290829"/>
                  </a:lnTo>
                  <a:lnTo>
                    <a:pt x="469891" y="264159"/>
                  </a:lnTo>
                  <a:lnTo>
                    <a:pt x="500814" y="234949"/>
                  </a:lnTo>
                  <a:lnTo>
                    <a:pt x="530118" y="205739"/>
                  </a:lnTo>
                  <a:lnTo>
                    <a:pt x="563856" y="240029"/>
                  </a:lnTo>
                  <a:lnTo>
                    <a:pt x="650455" y="326389"/>
                  </a:lnTo>
                  <a:close/>
                </a:path>
                <a:path w="923925" h="751839">
                  <a:moveTo>
                    <a:pt x="767496" y="521969"/>
                  </a:moveTo>
                  <a:lnTo>
                    <a:pt x="760343" y="521969"/>
                  </a:lnTo>
                  <a:lnTo>
                    <a:pt x="746023" y="518159"/>
                  </a:lnTo>
                  <a:lnTo>
                    <a:pt x="740004" y="514349"/>
                  </a:lnTo>
                  <a:lnTo>
                    <a:pt x="735127" y="507999"/>
                  </a:lnTo>
                  <a:lnTo>
                    <a:pt x="660667" y="434339"/>
                  </a:lnTo>
                  <a:lnTo>
                    <a:pt x="584636" y="358139"/>
                  </a:lnTo>
                  <a:lnTo>
                    <a:pt x="583135" y="356869"/>
                  </a:lnTo>
                  <a:lnTo>
                    <a:pt x="581408" y="355599"/>
                  </a:lnTo>
                  <a:lnTo>
                    <a:pt x="579520" y="353059"/>
                  </a:lnTo>
                  <a:lnTo>
                    <a:pt x="577327" y="351789"/>
                  </a:lnTo>
                  <a:lnTo>
                    <a:pt x="572330" y="349249"/>
                  </a:lnTo>
                  <a:lnTo>
                    <a:pt x="673534" y="349249"/>
                  </a:lnTo>
                  <a:lnTo>
                    <a:pt x="784752" y="459739"/>
                  </a:lnTo>
                  <a:lnTo>
                    <a:pt x="787087" y="462279"/>
                  </a:lnTo>
                  <a:lnTo>
                    <a:pt x="789136" y="463549"/>
                  </a:lnTo>
                  <a:lnTo>
                    <a:pt x="797580" y="486409"/>
                  </a:lnTo>
                  <a:lnTo>
                    <a:pt x="797509" y="488949"/>
                  </a:lnTo>
                  <a:lnTo>
                    <a:pt x="788033" y="510539"/>
                  </a:lnTo>
                  <a:lnTo>
                    <a:pt x="785883" y="513079"/>
                  </a:lnTo>
                  <a:lnTo>
                    <a:pt x="781038" y="516889"/>
                  </a:lnTo>
                  <a:lnTo>
                    <a:pt x="778424" y="518159"/>
                  </a:lnTo>
                  <a:lnTo>
                    <a:pt x="775618" y="519429"/>
                  </a:lnTo>
                  <a:lnTo>
                    <a:pt x="774642" y="519429"/>
                  </a:lnTo>
                  <a:lnTo>
                    <a:pt x="767496" y="521969"/>
                  </a:lnTo>
                  <a:close/>
                </a:path>
                <a:path w="923925" h="751839">
                  <a:moveTo>
                    <a:pt x="536728" y="751839"/>
                  </a:moveTo>
                  <a:lnTo>
                    <a:pt x="529185" y="751839"/>
                  </a:lnTo>
                  <a:lnTo>
                    <a:pt x="518380" y="748029"/>
                  </a:lnTo>
                  <a:lnTo>
                    <a:pt x="470345" y="703579"/>
                  </a:lnTo>
                  <a:lnTo>
                    <a:pt x="467561" y="697229"/>
                  </a:lnTo>
                  <a:lnTo>
                    <a:pt x="468293" y="694689"/>
                  </a:lnTo>
                  <a:lnTo>
                    <a:pt x="469836" y="688339"/>
                  </a:lnTo>
                  <a:lnTo>
                    <a:pt x="470748" y="683259"/>
                  </a:lnTo>
                  <a:lnTo>
                    <a:pt x="471188" y="674369"/>
                  </a:lnTo>
                  <a:lnTo>
                    <a:pt x="471225" y="670559"/>
                  </a:lnTo>
                  <a:lnTo>
                    <a:pt x="470958" y="666749"/>
                  </a:lnTo>
                  <a:lnTo>
                    <a:pt x="453512" y="626109"/>
                  </a:lnTo>
                  <a:lnTo>
                    <a:pt x="421390" y="604519"/>
                  </a:lnTo>
                  <a:lnTo>
                    <a:pt x="410504" y="600709"/>
                  </a:lnTo>
                  <a:lnTo>
                    <a:pt x="397956" y="600709"/>
                  </a:lnTo>
                  <a:lnTo>
                    <a:pt x="396592" y="599439"/>
                  </a:lnTo>
                  <a:lnTo>
                    <a:pt x="395256" y="599439"/>
                  </a:lnTo>
                  <a:lnTo>
                    <a:pt x="388344" y="568959"/>
                  </a:lnTo>
                  <a:lnTo>
                    <a:pt x="373291" y="546099"/>
                  </a:lnTo>
                  <a:lnTo>
                    <a:pt x="350096" y="530859"/>
                  </a:lnTo>
                  <a:lnTo>
                    <a:pt x="318753" y="523239"/>
                  </a:lnTo>
                  <a:lnTo>
                    <a:pt x="311734" y="492759"/>
                  </a:lnTo>
                  <a:lnTo>
                    <a:pt x="296851" y="469899"/>
                  </a:lnTo>
                  <a:lnTo>
                    <a:pt x="274107" y="454659"/>
                  </a:lnTo>
                  <a:lnTo>
                    <a:pt x="243501" y="447039"/>
                  </a:lnTo>
                  <a:lnTo>
                    <a:pt x="241691" y="439419"/>
                  </a:lnTo>
                  <a:lnTo>
                    <a:pt x="239525" y="430529"/>
                  </a:lnTo>
                  <a:lnTo>
                    <a:pt x="237005" y="422909"/>
                  </a:lnTo>
                  <a:lnTo>
                    <a:pt x="234129" y="414019"/>
                  </a:lnTo>
                  <a:lnTo>
                    <a:pt x="208531" y="383539"/>
                  </a:lnTo>
                  <a:lnTo>
                    <a:pt x="176128" y="372109"/>
                  </a:lnTo>
                  <a:lnTo>
                    <a:pt x="170363" y="370839"/>
                  </a:lnTo>
                  <a:lnTo>
                    <a:pt x="547517" y="370839"/>
                  </a:lnTo>
                  <a:lnTo>
                    <a:pt x="547598" y="372109"/>
                  </a:lnTo>
                  <a:lnTo>
                    <a:pt x="548267" y="374649"/>
                  </a:lnTo>
                  <a:lnTo>
                    <a:pt x="552204" y="380999"/>
                  </a:lnTo>
                  <a:lnTo>
                    <a:pt x="554205" y="382269"/>
                  </a:lnTo>
                  <a:lnTo>
                    <a:pt x="564451" y="393699"/>
                  </a:lnTo>
                  <a:lnTo>
                    <a:pt x="596892" y="425449"/>
                  </a:lnTo>
                  <a:lnTo>
                    <a:pt x="484789" y="425449"/>
                  </a:lnTo>
                  <a:lnTo>
                    <a:pt x="480139" y="427989"/>
                  </a:lnTo>
                  <a:lnTo>
                    <a:pt x="478085" y="429259"/>
                  </a:lnTo>
                  <a:lnTo>
                    <a:pt x="476301" y="430529"/>
                  </a:lnTo>
                  <a:lnTo>
                    <a:pt x="474460" y="433069"/>
                  </a:lnTo>
                  <a:lnTo>
                    <a:pt x="473042" y="434339"/>
                  </a:lnTo>
                  <a:lnTo>
                    <a:pt x="471055" y="439419"/>
                  </a:lnTo>
                  <a:lnTo>
                    <a:pt x="470568" y="441959"/>
                  </a:lnTo>
                  <a:lnTo>
                    <a:pt x="470606" y="447039"/>
                  </a:lnTo>
                  <a:lnTo>
                    <a:pt x="471129" y="449579"/>
                  </a:lnTo>
                  <a:lnTo>
                    <a:pt x="473186" y="453389"/>
                  </a:lnTo>
                  <a:lnTo>
                    <a:pt x="474634" y="455929"/>
                  </a:lnTo>
                  <a:lnTo>
                    <a:pt x="476501" y="457199"/>
                  </a:lnTo>
                  <a:lnTo>
                    <a:pt x="488873" y="469899"/>
                  </a:lnTo>
                  <a:lnTo>
                    <a:pt x="508976" y="490219"/>
                  </a:lnTo>
                  <a:lnTo>
                    <a:pt x="398362" y="490219"/>
                  </a:lnTo>
                  <a:lnTo>
                    <a:pt x="395997" y="491489"/>
                  </a:lnTo>
                  <a:lnTo>
                    <a:pt x="382196" y="511809"/>
                  </a:lnTo>
                  <a:lnTo>
                    <a:pt x="382642" y="514349"/>
                  </a:lnTo>
                  <a:lnTo>
                    <a:pt x="384465" y="518159"/>
                  </a:lnTo>
                  <a:lnTo>
                    <a:pt x="385776" y="520699"/>
                  </a:lnTo>
                  <a:lnTo>
                    <a:pt x="387486" y="521969"/>
                  </a:lnTo>
                  <a:lnTo>
                    <a:pt x="447221" y="581659"/>
                  </a:lnTo>
                  <a:lnTo>
                    <a:pt x="448439" y="584199"/>
                  </a:lnTo>
                  <a:lnTo>
                    <a:pt x="449811" y="585469"/>
                  </a:lnTo>
                  <a:lnTo>
                    <a:pt x="477119" y="612139"/>
                  </a:lnTo>
                  <a:lnTo>
                    <a:pt x="528761" y="664209"/>
                  </a:lnTo>
                  <a:lnTo>
                    <a:pt x="554556" y="689609"/>
                  </a:lnTo>
                  <a:lnTo>
                    <a:pt x="556562" y="692149"/>
                  </a:lnTo>
                  <a:lnTo>
                    <a:pt x="567083" y="720089"/>
                  </a:lnTo>
                  <a:lnTo>
                    <a:pt x="566748" y="722629"/>
                  </a:lnTo>
                  <a:lnTo>
                    <a:pt x="565500" y="727709"/>
                  </a:lnTo>
                  <a:lnTo>
                    <a:pt x="564603" y="730249"/>
                  </a:lnTo>
                  <a:lnTo>
                    <a:pt x="562262" y="734059"/>
                  </a:lnTo>
                  <a:lnTo>
                    <a:pt x="560847" y="736599"/>
                  </a:lnTo>
                  <a:lnTo>
                    <a:pt x="557529" y="740409"/>
                  </a:lnTo>
                  <a:lnTo>
                    <a:pt x="555668" y="742949"/>
                  </a:lnTo>
                  <a:lnTo>
                    <a:pt x="553605" y="744219"/>
                  </a:lnTo>
                  <a:lnTo>
                    <a:pt x="550696" y="746759"/>
                  </a:lnTo>
                  <a:lnTo>
                    <a:pt x="547470" y="748029"/>
                  </a:lnTo>
                  <a:lnTo>
                    <a:pt x="540385" y="750569"/>
                  </a:lnTo>
                  <a:lnTo>
                    <a:pt x="536728" y="751839"/>
                  </a:lnTo>
                  <a:close/>
                </a:path>
                <a:path w="923925" h="751839">
                  <a:moveTo>
                    <a:pt x="137581" y="513079"/>
                  </a:moveTo>
                  <a:lnTo>
                    <a:pt x="128847" y="513079"/>
                  </a:lnTo>
                  <a:lnTo>
                    <a:pt x="124660" y="511809"/>
                  </a:lnTo>
                  <a:lnTo>
                    <a:pt x="116642" y="507999"/>
                  </a:lnTo>
                  <a:lnTo>
                    <a:pt x="113105" y="505459"/>
                  </a:lnTo>
                  <a:lnTo>
                    <a:pt x="110041" y="502919"/>
                  </a:lnTo>
                  <a:lnTo>
                    <a:pt x="106756" y="500379"/>
                  </a:lnTo>
                  <a:lnTo>
                    <a:pt x="104188" y="496569"/>
                  </a:lnTo>
                  <a:lnTo>
                    <a:pt x="100483" y="487679"/>
                  </a:lnTo>
                  <a:lnTo>
                    <a:pt x="99492" y="483869"/>
                  </a:lnTo>
                  <a:lnTo>
                    <a:pt x="99233" y="474979"/>
                  </a:lnTo>
                  <a:lnTo>
                    <a:pt x="99975" y="471169"/>
                  </a:lnTo>
                  <a:lnTo>
                    <a:pt x="103202" y="462279"/>
                  </a:lnTo>
                  <a:lnTo>
                    <a:pt x="105561" y="458469"/>
                  </a:lnTo>
                  <a:lnTo>
                    <a:pt x="108664" y="455929"/>
                  </a:lnTo>
                  <a:lnTo>
                    <a:pt x="117396" y="445769"/>
                  </a:lnTo>
                  <a:lnTo>
                    <a:pt x="145214" y="419099"/>
                  </a:lnTo>
                  <a:lnTo>
                    <a:pt x="166148" y="408939"/>
                  </a:lnTo>
                  <a:lnTo>
                    <a:pt x="173267" y="408939"/>
                  </a:lnTo>
                  <a:lnTo>
                    <a:pt x="179805" y="411479"/>
                  </a:lnTo>
                  <a:lnTo>
                    <a:pt x="191717" y="419099"/>
                  </a:lnTo>
                  <a:lnTo>
                    <a:pt x="196199" y="424179"/>
                  </a:lnTo>
                  <a:lnTo>
                    <a:pt x="199206" y="430529"/>
                  </a:lnTo>
                  <a:lnTo>
                    <a:pt x="202416" y="436879"/>
                  </a:lnTo>
                  <a:lnTo>
                    <a:pt x="203547" y="443229"/>
                  </a:lnTo>
                  <a:lnTo>
                    <a:pt x="201653" y="455929"/>
                  </a:lnTo>
                  <a:lnTo>
                    <a:pt x="198811" y="462279"/>
                  </a:lnTo>
                  <a:lnTo>
                    <a:pt x="194076" y="466089"/>
                  </a:lnTo>
                  <a:lnTo>
                    <a:pt x="185126" y="476249"/>
                  </a:lnTo>
                  <a:lnTo>
                    <a:pt x="153629" y="506729"/>
                  </a:lnTo>
                  <a:lnTo>
                    <a:pt x="141807" y="511809"/>
                  </a:lnTo>
                  <a:lnTo>
                    <a:pt x="137581" y="513079"/>
                  </a:lnTo>
                  <a:close/>
                </a:path>
                <a:path w="923925" h="751839">
                  <a:moveTo>
                    <a:pt x="686391" y="598169"/>
                  </a:moveTo>
                  <a:lnTo>
                    <a:pt x="682774" y="598169"/>
                  </a:lnTo>
                  <a:lnTo>
                    <a:pt x="679207" y="596899"/>
                  </a:lnTo>
                  <a:lnTo>
                    <a:pt x="671806" y="594359"/>
                  </a:lnTo>
                  <a:lnTo>
                    <a:pt x="665366" y="590549"/>
                  </a:lnTo>
                  <a:lnTo>
                    <a:pt x="584846" y="511809"/>
                  </a:lnTo>
                  <a:lnTo>
                    <a:pt x="510010" y="436879"/>
                  </a:lnTo>
                  <a:lnTo>
                    <a:pt x="507918" y="434339"/>
                  </a:lnTo>
                  <a:lnTo>
                    <a:pt x="505699" y="431799"/>
                  </a:lnTo>
                  <a:lnTo>
                    <a:pt x="503353" y="430529"/>
                  </a:lnTo>
                  <a:lnTo>
                    <a:pt x="501512" y="429259"/>
                  </a:lnTo>
                  <a:lnTo>
                    <a:pt x="499414" y="427989"/>
                  </a:lnTo>
                  <a:lnTo>
                    <a:pt x="494703" y="425449"/>
                  </a:lnTo>
                  <a:lnTo>
                    <a:pt x="596892" y="425449"/>
                  </a:lnTo>
                  <a:lnTo>
                    <a:pt x="653317" y="481329"/>
                  </a:lnTo>
                  <a:lnTo>
                    <a:pt x="710865" y="539749"/>
                  </a:lnTo>
                  <a:lnTo>
                    <a:pt x="713536" y="542289"/>
                  </a:lnTo>
                  <a:lnTo>
                    <a:pt x="715711" y="544829"/>
                  </a:lnTo>
                  <a:lnTo>
                    <a:pt x="719070" y="551179"/>
                  </a:lnTo>
                  <a:lnTo>
                    <a:pt x="720164" y="554989"/>
                  </a:lnTo>
                  <a:lnTo>
                    <a:pt x="721184" y="562609"/>
                  </a:lnTo>
                  <a:lnTo>
                    <a:pt x="721082" y="566419"/>
                  </a:lnTo>
                  <a:lnTo>
                    <a:pt x="719656" y="574039"/>
                  </a:lnTo>
                  <a:lnTo>
                    <a:pt x="718369" y="577849"/>
                  </a:lnTo>
                  <a:lnTo>
                    <a:pt x="716508" y="580389"/>
                  </a:lnTo>
                  <a:lnTo>
                    <a:pt x="714736" y="584199"/>
                  </a:lnTo>
                  <a:lnTo>
                    <a:pt x="712490" y="586739"/>
                  </a:lnTo>
                  <a:lnTo>
                    <a:pt x="707049" y="591819"/>
                  </a:lnTo>
                  <a:lnTo>
                    <a:pt x="704001" y="593089"/>
                  </a:lnTo>
                  <a:lnTo>
                    <a:pt x="697250" y="596899"/>
                  </a:lnTo>
                  <a:lnTo>
                    <a:pt x="693728" y="596899"/>
                  </a:lnTo>
                  <a:lnTo>
                    <a:pt x="686391" y="598169"/>
                  </a:lnTo>
                  <a:close/>
                </a:path>
                <a:path w="923925" h="751839">
                  <a:moveTo>
                    <a:pt x="208325" y="589279"/>
                  </a:moveTo>
                  <a:lnTo>
                    <a:pt x="176698" y="563879"/>
                  </a:lnTo>
                  <a:lnTo>
                    <a:pt x="175336" y="557529"/>
                  </a:lnTo>
                  <a:lnTo>
                    <a:pt x="176195" y="549909"/>
                  </a:lnTo>
                  <a:lnTo>
                    <a:pt x="202497" y="513079"/>
                  </a:lnTo>
                  <a:lnTo>
                    <a:pt x="211257" y="505459"/>
                  </a:lnTo>
                  <a:lnTo>
                    <a:pt x="220253" y="496569"/>
                  </a:lnTo>
                  <a:lnTo>
                    <a:pt x="223465" y="492759"/>
                  </a:lnTo>
                  <a:lnTo>
                    <a:pt x="227130" y="491489"/>
                  </a:lnTo>
                  <a:lnTo>
                    <a:pt x="235366" y="487679"/>
                  </a:lnTo>
                  <a:lnTo>
                    <a:pt x="239648" y="486409"/>
                  </a:lnTo>
                  <a:lnTo>
                    <a:pt x="248543" y="486409"/>
                  </a:lnTo>
                  <a:lnTo>
                    <a:pt x="252845" y="487679"/>
                  </a:lnTo>
                  <a:lnTo>
                    <a:pt x="261154" y="490219"/>
                  </a:lnTo>
                  <a:lnTo>
                    <a:pt x="264871" y="492759"/>
                  </a:lnTo>
                  <a:lnTo>
                    <a:pt x="268152" y="495299"/>
                  </a:lnTo>
                  <a:lnTo>
                    <a:pt x="271564" y="499109"/>
                  </a:lnTo>
                  <a:lnTo>
                    <a:pt x="274239" y="502919"/>
                  </a:lnTo>
                  <a:lnTo>
                    <a:pt x="278114" y="510539"/>
                  </a:lnTo>
                  <a:lnTo>
                    <a:pt x="279158" y="515619"/>
                  </a:lnTo>
                  <a:lnTo>
                    <a:pt x="279458" y="524509"/>
                  </a:lnTo>
                  <a:lnTo>
                    <a:pt x="278703" y="528319"/>
                  </a:lnTo>
                  <a:lnTo>
                    <a:pt x="251888" y="562609"/>
                  </a:lnTo>
                  <a:lnTo>
                    <a:pt x="233153" y="580389"/>
                  </a:lnTo>
                  <a:lnTo>
                    <a:pt x="228088" y="585469"/>
                  </a:lnTo>
                  <a:lnTo>
                    <a:pt x="222109" y="588009"/>
                  </a:lnTo>
                  <a:lnTo>
                    <a:pt x="208325" y="589279"/>
                  </a:lnTo>
                  <a:close/>
                </a:path>
                <a:path w="923925" h="751839">
                  <a:moveTo>
                    <a:pt x="615953" y="674369"/>
                  </a:moveTo>
                  <a:lnTo>
                    <a:pt x="601547" y="674369"/>
                  </a:lnTo>
                  <a:lnTo>
                    <a:pt x="592523" y="670559"/>
                  </a:lnTo>
                  <a:lnTo>
                    <a:pt x="588573" y="668019"/>
                  </a:lnTo>
                  <a:lnTo>
                    <a:pt x="585187" y="664209"/>
                  </a:lnTo>
                  <a:lnTo>
                    <a:pt x="566512" y="645159"/>
                  </a:lnTo>
                  <a:lnTo>
                    <a:pt x="547982" y="627379"/>
                  </a:lnTo>
                  <a:lnTo>
                    <a:pt x="529501" y="608329"/>
                  </a:lnTo>
                  <a:lnTo>
                    <a:pt x="502971" y="582929"/>
                  </a:lnTo>
                  <a:lnTo>
                    <a:pt x="477240" y="558799"/>
                  </a:lnTo>
                  <a:lnTo>
                    <a:pt x="475709" y="557529"/>
                  </a:lnTo>
                  <a:lnTo>
                    <a:pt x="474086" y="556259"/>
                  </a:lnTo>
                  <a:lnTo>
                    <a:pt x="414025" y="495299"/>
                  </a:lnTo>
                  <a:lnTo>
                    <a:pt x="412255" y="494029"/>
                  </a:lnTo>
                  <a:lnTo>
                    <a:pt x="410227" y="492759"/>
                  </a:lnTo>
                  <a:lnTo>
                    <a:pt x="405656" y="491489"/>
                  </a:lnTo>
                  <a:lnTo>
                    <a:pt x="403283" y="490219"/>
                  </a:lnTo>
                  <a:lnTo>
                    <a:pt x="508976" y="490219"/>
                  </a:lnTo>
                  <a:lnTo>
                    <a:pt x="579533" y="561339"/>
                  </a:lnTo>
                  <a:lnTo>
                    <a:pt x="605950" y="586739"/>
                  </a:lnTo>
                  <a:lnTo>
                    <a:pt x="632285" y="613409"/>
                  </a:lnTo>
                  <a:lnTo>
                    <a:pt x="635682" y="615949"/>
                  </a:lnTo>
                  <a:lnTo>
                    <a:pt x="638394" y="619759"/>
                  </a:lnTo>
                  <a:lnTo>
                    <a:pt x="642446" y="628649"/>
                  </a:lnTo>
                  <a:lnTo>
                    <a:pt x="643640" y="632459"/>
                  </a:lnTo>
                  <a:lnTo>
                    <a:pt x="644365" y="641349"/>
                  </a:lnTo>
                  <a:lnTo>
                    <a:pt x="643869" y="646429"/>
                  </a:lnTo>
                  <a:lnTo>
                    <a:pt x="641163" y="654049"/>
                  </a:lnTo>
                  <a:lnTo>
                    <a:pt x="639050" y="659129"/>
                  </a:lnTo>
                  <a:lnTo>
                    <a:pt x="636176" y="661669"/>
                  </a:lnTo>
                  <a:lnTo>
                    <a:pt x="633052" y="665479"/>
                  </a:lnTo>
                  <a:lnTo>
                    <a:pt x="629305" y="669289"/>
                  </a:lnTo>
                  <a:lnTo>
                    <a:pt x="620567" y="673099"/>
                  </a:lnTo>
                  <a:lnTo>
                    <a:pt x="615953" y="674369"/>
                  </a:lnTo>
                  <a:close/>
                </a:path>
                <a:path w="923925" h="751839">
                  <a:moveTo>
                    <a:pt x="292444" y="665479"/>
                  </a:moveTo>
                  <a:lnTo>
                    <a:pt x="283134" y="665479"/>
                  </a:lnTo>
                  <a:lnTo>
                    <a:pt x="278648" y="664209"/>
                  </a:lnTo>
                  <a:lnTo>
                    <a:pt x="252764" y="634999"/>
                  </a:lnTo>
                  <a:lnTo>
                    <a:pt x="252905" y="626109"/>
                  </a:lnTo>
                  <a:lnTo>
                    <a:pt x="271790" y="598169"/>
                  </a:lnTo>
                  <a:lnTo>
                    <a:pt x="280040" y="589279"/>
                  </a:lnTo>
                  <a:lnTo>
                    <a:pt x="288424" y="580389"/>
                  </a:lnTo>
                  <a:lnTo>
                    <a:pt x="296968" y="572769"/>
                  </a:lnTo>
                  <a:lnTo>
                    <a:pt x="301899" y="567689"/>
                  </a:lnTo>
                  <a:lnTo>
                    <a:pt x="307879" y="563879"/>
                  </a:lnTo>
                  <a:lnTo>
                    <a:pt x="321940" y="562609"/>
                  </a:lnTo>
                  <a:lnTo>
                    <a:pt x="328664" y="562609"/>
                  </a:lnTo>
                  <a:lnTo>
                    <a:pt x="335082" y="566419"/>
                  </a:lnTo>
                  <a:lnTo>
                    <a:pt x="343943" y="571499"/>
                  </a:lnTo>
                  <a:lnTo>
                    <a:pt x="350202" y="579119"/>
                  </a:lnTo>
                  <a:lnTo>
                    <a:pt x="354151" y="589279"/>
                  </a:lnTo>
                  <a:lnTo>
                    <a:pt x="356079" y="601979"/>
                  </a:lnTo>
                  <a:lnTo>
                    <a:pt x="353086" y="609599"/>
                  </a:lnTo>
                  <a:lnTo>
                    <a:pt x="320853" y="646429"/>
                  </a:lnTo>
                  <a:lnTo>
                    <a:pt x="312447" y="655319"/>
                  </a:lnTo>
                  <a:lnTo>
                    <a:pt x="309213" y="657859"/>
                  </a:lnTo>
                  <a:lnTo>
                    <a:pt x="305459" y="660399"/>
                  </a:lnTo>
                  <a:lnTo>
                    <a:pt x="296909" y="664209"/>
                  </a:lnTo>
                  <a:lnTo>
                    <a:pt x="292444" y="665479"/>
                  </a:lnTo>
                  <a:close/>
                </a:path>
                <a:path w="923925" h="751839">
                  <a:moveTo>
                    <a:pt x="361248" y="742949"/>
                  </a:moveTo>
                  <a:lnTo>
                    <a:pt x="354447" y="741679"/>
                  </a:lnTo>
                  <a:lnTo>
                    <a:pt x="341705" y="734059"/>
                  </a:lnTo>
                  <a:lnTo>
                    <a:pt x="336827" y="728979"/>
                  </a:lnTo>
                  <a:lnTo>
                    <a:pt x="333443" y="722629"/>
                  </a:lnTo>
                  <a:lnTo>
                    <a:pt x="330065" y="717549"/>
                  </a:lnTo>
                  <a:lnTo>
                    <a:pt x="328644" y="711199"/>
                  </a:lnTo>
                  <a:lnTo>
                    <a:pt x="329716" y="698499"/>
                  </a:lnTo>
                  <a:lnTo>
                    <a:pt x="332109" y="692149"/>
                  </a:lnTo>
                  <a:lnTo>
                    <a:pt x="366118" y="656589"/>
                  </a:lnTo>
                  <a:lnTo>
                    <a:pt x="392143" y="638809"/>
                  </a:lnTo>
                  <a:lnTo>
                    <a:pt x="405104" y="638809"/>
                  </a:lnTo>
                  <a:lnTo>
                    <a:pt x="409224" y="640079"/>
                  </a:lnTo>
                  <a:lnTo>
                    <a:pt x="416999" y="643889"/>
                  </a:lnTo>
                  <a:lnTo>
                    <a:pt x="420356" y="647699"/>
                  </a:lnTo>
                  <a:lnTo>
                    <a:pt x="423184" y="650239"/>
                  </a:lnTo>
                  <a:lnTo>
                    <a:pt x="426139" y="654049"/>
                  </a:lnTo>
                  <a:lnTo>
                    <a:pt x="428399" y="657859"/>
                  </a:lnTo>
                  <a:lnTo>
                    <a:pt x="431528" y="665479"/>
                  </a:lnTo>
                  <a:lnTo>
                    <a:pt x="432286" y="669289"/>
                  </a:lnTo>
                  <a:lnTo>
                    <a:pt x="432191" y="678179"/>
                  </a:lnTo>
                  <a:lnTo>
                    <a:pt x="431340" y="681989"/>
                  </a:lnTo>
                  <a:lnTo>
                    <a:pt x="428035" y="690879"/>
                  </a:lnTo>
                  <a:lnTo>
                    <a:pt x="425696" y="694689"/>
                  </a:lnTo>
                  <a:lnTo>
                    <a:pt x="422671" y="697229"/>
                  </a:lnTo>
                  <a:lnTo>
                    <a:pt x="414271" y="706119"/>
                  </a:lnTo>
                  <a:lnTo>
                    <a:pt x="405632" y="715009"/>
                  </a:lnTo>
                  <a:lnTo>
                    <a:pt x="396753" y="723899"/>
                  </a:lnTo>
                  <a:lnTo>
                    <a:pt x="387636" y="731519"/>
                  </a:lnTo>
                  <a:lnTo>
                    <a:pt x="381704" y="736599"/>
                  </a:lnTo>
                  <a:lnTo>
                    <a:pt x="375318" y="739139"/>
                  </a:lnTo>
                  <a:lnTo>
                    <a:pt x="368479" y="741679"/>
                  </a:lnTo>
                  <a:lnTo>
                    <a:pt x="361248" y="742949"/>
                  </a:lnTo>
                  <a:close/>
                </a:path>
              </a:pathLst>
            </a:custGeom>
            <a:solidFill>
              <a:srgbClr val="FFFFFF"/>
            </a:solidFill>
          </p:spPr>
          <p:txBody>
            <a:bodyPr wrap="square" lIns="0" tIns="0" rIns="0" bIns="0" rtlCol="0"/>
            <a:lstStyle/>
            <a:p>
              <a:endParaRPr/>
            </a:p>
          </p:txBody>
        </p:sp>
      </p:grpSp>
      <p:sp>
        <p:nvSpPr>
          <p:cNvPr id="14" name="object 14"/>
          <p:cNvSpPr txBox="1"/>
          <p:nvPr/>
        </p:nvSpPr>
        <p:spPr>
          <a:xfrm>
            <a:off x="5283878" y="2864193"/>
            <a:ext cx="3558540"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478790">
              <a:lnSpc>
                <a:spcPct val="100000"/>
              </a:lnSpc>
            </a:pPr>
            <a:r>
              <a:rPr sz="4600" b="1" spc="830" dirty="0">
                <a:solidFill>
                  <a:srgbClr val="F5A316"/>
                </a:solidFill>
                <a:latin typeface="Arial"/>
                <a:cs typeface="Arial"/>
              </a:rPr>
              <a:t>02</a:t>
            </a:r>
            <a:endParaRPr sz="4600">
              <a:latin typeface="Arial"/>
              <a:cs typeface="Arial"/>
            </a:endParaRPr>
          </a:p>
          <a:p>
            <a:pPr marL="478790" marR="447675">
              <a:lnSpc>
                <a:spcPct val="118200"/>
              </a:lnSpc>
              <a:spcBef>
                <a:spcPts val="130"/>
              </a:spcBef>
            </a:pPr>
            <a:r>
              <a:rPr sz="1850" b="1" spc="90" dirty="0">
                <a:solidFill>
                  <a:srgbClr val="FFFFFF"/>
                </a:solidFill>
                <a:latin typeface="Arial"/>
                <a:cs typeface="Arial"/>
              </a:rPr>
              <a:t>Colaboración</a:t>
            </a:r>
            <a:r>
              <a:rPr sz="1850" b="1" spc="20" dirty="0">
                <a:solidFill>
                  <a:srgbClr val="FFFFFF"/>
                </a:solidFill>
                <a:latin typeface="Arial"/>
                <a:cs typeface="Arial"/>
              </a:rPr>
              <a:t> </a:t>
            </a:r>
            <a:r>
              <a:rPr sz="1850" b="1" spc="195" dirty="0">
                <a:solidFill>
                  <a:srgbClr val="FFFFFF"/>
                </a:solidFill>
                <a:latin typeface="Arial"/>
                <a:cs typeface="Arial"/>
              </a:rPr>
              <a:t>para</a:t>
            </a:r>
            <a:r>
              <a:rPr sz="1850" b="1" spc="20" dirty="0">
                <a:solidFill>
                  <a:srgbClr val="FFFFFF"/>
                </a:solidFill>
                <a:latin typeface="Arial"/>
                <a:cs typeface="Arial"/>
              </a:rPr>
              <a:t> </a:t>
            </a:r>
            <a:r>
              <a:rPr sz="1850" b="1" spc="105" dirty="0">
                <a:solidFill>
                  <a:srgbClr val="FFFFFF"/>
                </a:solidFill>
                <a:latin typeface="Arial"/>
                <a:cs typeface="Arial"/>
              </a:rPr>
              <a:t>la </a:t>
            </a:r>
            <a:r>
              <a:rPr sz="1850" b="1" spc="80" dirty="0">
                <a:solidFill>
                  <a:srgbClr val="FFFFFF"/>
                </a:solidFill>
                <a:latin typeface="Arial"/>
                <a:cs typeface="Arial"/>
              </a:rPr>
              <a:t>competitividad</a:t>
            </a:r>
            <a:endParaRPr sz="1850">
              <a:latin typeface="Arial"/>
              <a:cs typeface="Arial"/>
            </a:endParaRPr>
          </a:p>
          <a:p>
            <a:pPr>
              <a:lnSpc>
                <a:spcPct val="100000"/>
              </a:lnSpc>
            </a:pPr>
            <a:endParaRPr sz="2300">
              <a:latin typeface="Arial"/>
              <a:cs typeface="Arial"/>
            </a:endParaRPr>
          </a:p>
          <a:p>
            <a:pPr marL="716280" marR="1081405">
              <a:lnSpc>
                <a:spcPct val="114900"/>
              </a:lnSpc>
              <a:spcBef>
                <a:spcPts val="1780"/>
              </a:spcBef>
            </a:pPr>
            <a:r>
              <a:rPr sz="1850" dirty="0">
                <a:solidFill>
                  <a:srgbClr val="FFFFFF"/>
                </a:solidFill>
                <a:latin typeface="Roboto"/>
                <a:cs typeface="Roboto"/>
              </a:rPr>
              <a:t>Prescriptores</a:t>
            </a:r>
            <a:r>
              <a:rPr sz="1850" spc="-25" dirty="0">
                <a:solidFill>
                  <a:srgbClr val="FFFFFF"/>
                </a:solidFill>
                <a:latin typeface="Roboto"/>
                <a:cs typeface="Roboto"/>
              </a:rPr>
              <a:t> de </a:t>
            </a:r>
            <a:r>
              <a:rPr sz="1850" spc="-10" dirty="0">
                <a:solidFill>
                  <a:srgbClr val="FFFFFF"/>
                </a:solidFill>
                <a:latin typeface="Roboto"/>
                <a:cs typeface="Roboto"/>
              </a:rPr>
              <a:t>reuniones</a:t>
            </a:r>
            <a:endParaRPr sz="1850">
              <a:latin typeface="Roboto"/>
              <a:cs typeface="Roboto"/>
            </a:endParaRPr>
          </a:p>
          <a:p>
            <a:pPr marL="716280">
              <a:lnSpc>
                <a:spcPct val="100000"/>
              </a:lnSpc>
              <a:spcBef>
                <a:spcPts val="1005"/>
              </a:spcBef>
            </a:pPr>
            <a:r>
              <a:rPr sz="1850" dirty="0">
                <a:solidFill>
                  <a:srgbClr val="FFFFFF"/>
                </a:solidFill>
                <a:latin typeface="Roboto"/>
                <a:cs typeface="Roboto"/>
              </a:rPr>
              <a:t>Convention</a:t>
            </a:r>
            <a:r>
              <a:rPr sz="1850" spc="-15" dirty="0">
                <a:solidFill>
                  <a:srgbClr val="FFFFFF"/>
                </a:solidFill>
                <a:latin typeface="Roboto"/>
                <a:cs typeface="Roboto"/>
              </a:rPr>
              <a:t> </a:t>
            </a:r>
            <a:r>
              <a:rPr sz="1850" spc="-10" dirty="0">
                <a:solidFill>
                  <a:srgbClr val="FFFFFF"/>
                </a:solidFill>
                <a:latin typeface="Roboto"/>
                <a:cs typeface="Roboto"/>
              </a:rPr>
              <a:t>Bureaus</a:t>
            </a:r>
            <a:endParaRPr sz="1850">
              <a:latin typeface="Roboto"/>
              <a:cs typeface="Roboto"/>
            </a:endParaRPr>
          </a:p>
          <a:p>
            <a:pPr marL="716280">
              <a:lnSpc>
                <a:spcPct val="100000"/>
              </a:lnSpc>
              <a:spcBef>
                <a:spcPts val="1680"/>
              </a:spcBef>
            </a:pPr>
            <a:r>
              <a:rPr sz="1850" dirty="0">
                <a:solidFill>
                  <a:srgbClr val="FFFFFF"/>
                </a:solidFill>
                <a:latin typeface="Roboto"/>
                <a:cs typeface="Roboto"/>
              </a:rPr>
              <a:t>Proveedores</a:t>
            </a:r>
            <a:r>
              <a:rPr sz="1850" spc="45" dirty="0">
                <a:solidFill>
                  <a:srgbClr val="FFFFFF"/>
                </a:solidFill>
                <a:latin typeface="Roboto"/>
                <a:cs typeface="Roboto"/>
              </a:rPr>
              <a:t> </a:t>
            </a:r>
            <a:r>
              <a:rPr sz="1850" spc="-10" dirty="0">
                <a:solidFill>
                  <a:srgbClr val="FFFFFF"/>
                </a:solidFill>
                <a:latin typeface="Roboto"/>
                <a:cs typeface="Roboto"/>
              </a:rPr>
              <a:t>MICE.</a:t>
            </a:r>
            <a:endParaRPr sz="1850">
              <a:latin typeface="Roboto"/>
              <a:cs typeface="Roboto"/>
            </a:endParaRPr>
          </a:p>
        </p:txBody>
      </p:sp>
      <p:grpSp>
        <p:nvGrpSpPr>
          <p:cNvPr id="15" name="object 15"/>
          <p:cNvGrpSpPr/>
          <p:nvPr/>
        </p:nvGrpSpPr>
        <p:grpSpPr>
          <a:xfrm>
            <a:off x="5657705" y="5691951"/>
            <a:ext cx="209550" cy="1437640"/>
            <a:chOff x="5657705" y="5691951"/>
            <a:chExt cx="209550" cy="1437640"/>
          </a:xfrm>
        </p:grpSpPr>
        <p:pic>
          <p:nvPicPr>
            <p:cNvPr id="16" name="object 16"/>
            <p:cNvPicPr/>
            <p:nvPr/>
          </p:nvPicPr>
          <p:blipFill>
            <a:blip r:embed="rId3" cstate="print"/>
            <a:stretch>
              <a:fillRect/>
            </a:stretch>
          </p:blipFill>
          <p:spPr>
            <a:xfrm>
              <a:off x="5657705" y="5691951"/>
              <a:ext cx="209551" cy="237490"/>
            </a:xfrm>
            <a:prstGeom prst="rect">
              <a:avLst/>
            </a:prstGeom>
          </p:spPr>
        </p:pic>
        <p:pic>
          <p:nvPicPr>
            <p:cNvPr id="17" name="object 17"/>
            <p:cNvPicPr/>
            <p:nvPr/>
          </p:nvPicPr>
          <p:blipFill>
            <a:blip r:embed="rId3" cstate="print"/>
            <a:stretch>
              <a:fillRect/>
            </a:stretch>
          </p:blipFill>
          <p:spPr>
            <a:xfrm>
              <a:off x="5657705" y="6401836"/>
              <a:ext cx="209551" cy="237490"/>
            </a:xfrm>
            <a:prstGeom prst="rect">
              <a:avLst/>
            </a:prstGeom>
          </p:spPr>
        </p:pic>
        <p:pic>
          <p:nvPicPr>
            <p:cNvPr id="18" name="object 18"/>
            <p:cNvPicPr/>
            <p:nvPr/>
          </p:nvPicPr>
          <p:blipFill>
            <a:blip r:embed="rId4" cstate="print"/>
            <a:stretch>
              <a:fillRect/>
            </a:stretch>
          </p:blipFill>
          <p:spPr>
            <a:xfrm>
              <a:off x="5657705" y="6891902"/>
              <a:ext cx="209551" cy="237490"/>
            </a:xfrm>
            <a:prstGeom prst="rect">
              <a:avLst/>
            </a:prstGeom>
          </p:spPr>
        </p:pic>
      </p:grpSp>
      <p:grpSp>
        <p:nvGrpSpPr>
          <p:cNvPr id="19" name="object 19"/>
          <p:cNvGrpSpPr/>
          <p:nvPr/>
        </p:nvGrpSpPr>
        <p:grpSpPr>
          <a:xfrm>
            <a:off x="9036900" y="2863538"/>
            <a:ext cx="3558540" cy="6638925"/>
            <a:chOff x="9036900" y="2863538"/>
            <a:chExt cx="3558540" cy="6638925"/>
          </a:xfrm>
        </p:grpSpPr>
        <p:sp>
          <p:nvSpPr>
            <p:cNvPr id="20" name="object 20"/>
            <p:cNvSpPr/>
            <p:nvPr/>
          </p:nvSpPr>
          <p:spPr>
            <a:xfrm>
              <a:off x="9036900" y="2863538"/>
              <a:ext cx="3558540" cy="6638925"/>
            </a:xfrm>
            <a:custGeom>
              <a:avLst/>
              <a:gdLst/>
              <a:ahLst/>
              <a:cxnLst/>
              <a:rect l="l" t="t" r="r" b="b"/>
              <a:pathLst>
                <a:path w="3558540" h="6638925">
                  <a:moveTo>
                    <a:pt x="3558042" y="6638677"/>
                  </a:moveTo>
                  <a:lnTo>
                    <a:pt x="0" y="6638677"/>
                  </a:lnTo>
                  <a:lnTo>
                    <a:pt x="0" y="0"/>
                  </a:lnTo>
                  <a:lnTo>
                    <a:pt x="3558042" y="0"/>
                  </a:lnTo>
                  <a:lnTo>
                    <a:pt x="3558042" y="6638677"/>
                  </a:lnTo>
                  <a:close/>
                </a:path>
              </a:pathLst>
            </a:custGeom>
            <a:solidFill>
              <a:srgbClr val="0090AE"/>
            </a:solidFill>
          </p:spPr>
          <p:txBody>
            <a:bodyPr wrap="square" lIns="0" tIns="0" rIns="0" bIns="0" rtlCol="0"/>
            <a:lstStyle/>
            <a:p>
              <a:endParaRPr/>
            </a:p>
          </p:txBody>
        </p:sp>
        <p:sp>
          <p:nvSpPr>
            <p:cNvPr id="21" name="object 21"/>
            <p:cNvSpPr/>
            <p:nvPr/>
          </p:nvSpPr>
          <p:spPr>
            <a:xfrm>
              <a:off x="11705814" y="3206743"/>
              <a:ext cx="281305" cy="280670"/>
            </a:xfrm>
            <a:custGeom>
              <a:avLst/>
              <a:gdLst/>
              <a:ahLst/>
              <a:cxnLst/>
              <a:rect l="l" t="t" r="r" b="b"/>
              <a:pathLst>
                <a:path w="281304" h="280670">
                  <a:moveTo>
                    <a:pt x="140393" y="280554"/>
                  </a:moveTo>
                  <a:lnTo>
                    <a:pt x="96016" y="273403"/>
                  </a:lnTo>
                  <a:lnTo>
                    <a:pt x="57476" y="253490"/>
                  </a:lnTo>
                  <a:lnTo>
                    <a:pt x="27086" y="223125"/>
                  </a:lnTo>
                  <a:lnTo>
                    <a:pt x="7156" y="184617"/>
                  </a:lnTo>
                  <a:lnTo>
                    <a:pt x="0" y="140277"/>
                  </a:lnTo>
                  <a:lnTo>
                    <a:pt x="7156" y="95936"/>
                  </a:lnTo>
                  <a:lnTo>
                    <a:pt x="27086" y="57428"/>
                  </a:lnTo>
                  <a:lnTo>
                    <a:pt x="57476" y="27063"/>
                  </a:lnTo>
                  <a:lnTo>
                    <a:pt x="96016" y="7150"/>
                  </a:lnTo>
                  <a:lnTo>
                    <a:pt x="140393" y="0"/>
                  </a:lnTo>
                  <a:lnTo>
                    <a:pt x="184770" y="7150"/>
                  </a:lnTo>
                  <a:lnTo>
                    <a:pt x="223310" y="27063"/>
                  </a:lnTo>
                  <a:lnTo>
                    <a:pt x="241933" y="45671"/>
                  </a:lnTo>
                  <a:lnTo>
                    <a:pt x="136312" y="45671"/>
                  </a:lnTo>
                  <a:lnTo>
                    <a:pt x="133863" y="51380"/>
                  </a:lnTo>
                  <a:lnTo>
                    <a:pt x="110192" y="98683"/>
                  </a:lnTo>
                  <a:lnTo>
                    <a:pt x="109376" y="99499"/>
                  </a:lnTo>
                  <a:lnTo>
                    <a:pt x="107743" y="99499"/>
                  </a:lnTo>
                  <a:lnTo>
                    <a:pt x="56320" y="106839"/>
                  </a:lnTo>
                  <a:lnTo>
                    <a:pt x="49790" y="107654"/>
                  </a:lnTo>
                  <a:lnTo>
                    <a:pt x="47341" y="114994"/>
                  </a:lnTo>
                  <a:lnTo>
                    <a:pt x="50606" y="119072"/>
                  </a:lnTo>
                  <a:lnTo>
                    <a:pt x="87337" y="154957"/>
                  </a:lnTo>
                  <a:lnTo>
                    <a:pt x="88970" y="155773"/>
                  </a:lnTo>
                  <a:lnTo>
                    <a:pt x="88970" y="159035"/>
                  </a:lnTo>
                  <a:lnTo>
                    <a:pt x="79991" y="210415"/>
                  </a:lnTo>
                  <a:lnTo>
                    <a:pt x="79175" y="216940"/>
                  </a:lnTo>
                  <a:lnTo>
                    <a:pt x="84889" y="221018"/>
                  </a:lnTo>
                  <a:lnTo>
                    <a:pt x="190728" y="221018"/>
                  </a:lnTo>
                  <a:lnTo>
                    <a:pt x="192632" y="221833"/>
                  </a:lnTo>
                  <a:lnTo>
                    <a:pt x="254369" y="221833"/>
                  </a:lnTo>
                  <a:lnTo>
                    <a:pt x="253700" y="223125"/>
                  </a:lnTo>
                  <a:lnTo>
                    <a:pt x="223310" y="253490"/>
                  </a:lnTo>
                  <a:lnTo>
                    <a:pt x="184770" y="273403"/>
                  </a:lnTo>
                  <a:lnTo>
                    <a:pt x="140393" y="280554"/>
                  </a:lnTo>
                  <a:close/>
                </a:path>
                <a:path w="281304" h="280670">
                  <a:moveTo>
                    <a:pt x="254369" y="221833"/>
                  </a:moveTo>
                  <a:lnTo>
                    <a:pt x="192632" y="221833"/>
                  </a:lnTo>
                  <a:lnTo>
                    <a:pt x="198346" y="216940"/>
                  </a:lnTo>
                  <a:lnTo>
                    <a:pt x="197530" y="211231"/>
                  </a:lnTo>
                  <a:lnTo>
                    <a:pt x="188551" y="160666"/>
                  </a:lnTo>
                  <a:lnTo>
                    <a:pt x="188551" y="159035"/>
                  </a:lnTo>
                  <a:lnTo>
                    <a:pt x="189368" y="157404"/>
                  </a:lnTo>
                  <a:lnTo>
                    <a:pt x="227731" y="119888"/>
                  </a:lnTo>
                  <a:lnTo>
                    <a:pt x="231812" y="115810"/>
                  </a:lnTo>
                  <a:lnTo>
                    <a:pt x="229363" y="108470"/>
                  </a:lnTo>
                  <a:lnTo>
                    <a:pt x="173043" y="100314"/>
                  </a:lnTo>
                  <a:lnTo>
                    <a:pt x="171410" y="100314"/>
                  </a:lnTo>
                  <a:lnTo>
                    <a:pt x="170594" y="99498"/>
                  </a:lnTo>
                  <a:lnTo>
                    <a:pt x="146923" y="51380"/>
                  </a:lnTo>
                  <a:lnTo>
                    <a:pt x="144474" y="45671"/>
                  </a:lnTo>
                  <a:lnTo>
                    <a:pt x="241933" y="45671"/>
                  </a:lnTo>
                  <a:lnTo>
                    <a:pt x="253700" y="57428"/>
                  </a:lnTo>
                  <a:lnTo>
                    <a:pt x="273630" y="95936"/>
                  </a:lnTo>
                  <a:lnTo>
                    <a:pt x="280787" y="140277"/>
                  </a:lnTo>
                  <a:lnTo>
                    <a:pt x="273630" y="184617"/>
                  </a:lnTo>
                  <a:lnTo>
                    <a:pt x="254369" y="221833"/>
                  </a:lnTo>
                  <a:close/>
                </a:path>
                <a:path w="281304" h="280670">
                  <a:moveTo>
                    <a:pt x="190728" y="221018"/>
                  </a:moveTo>
                  <a:lnTo>
                    <a:pt x="84889" y="221018"/>
                  </a:lnTo>
                  <a:lnTo>
                    <a:pt x="90602" y="218571"/>
                  </a:lnTo>
                  <a:lnTo>
                    <a:pt x="136312" y="194920"/>
                  </a:lnTo>
                  <a:lnTo>
                    <a:pt x="137944" y="194104"/>
                  </a:lnTo>
                  <a:lnTo>
                    <a:pt x="138761" y="194104"/>
                  </a:lnTo>
                  <a:lnTo>
                    <a:pt x="140393" y="194920"/>
                  </a:lnTo>
                  <a:lnTo>
                    <a:pt x="186919" y="219387"/>
                  </a:lnTo>
                  <a:lnTo>
                    <a:pt x="190728" y="221018"/>
                  </a:lnTo>
                  <a:close/>
                </a:path>
              </a:pathLst>
            </a:custGeom>
            <a:solidFill>
              <a:srgbClr val="FFFFFF"/>
            </a:solidFill>
          </p:spPr>
          <p:txBody>
            <a:bodyPr wrap="square" lIns="0" tIns="0" rIns="0" bIns="0" rtlCol="0"/>
            <a:lstStyle/>
            <a:p>
              <a:endParaRPr/>
            </a:p>
          </p:txBody>
        </p:sp>
        <p:pic>
          <p:nvPicPr>
            <p:cNvPr id="22" name="object 22"/>
            <p:cNvPicPr/>
            <p:nvPr/>
          </p:nvPicPr>
          <p:blipFill>
            <a:blip r:embed="rId5" cstate="print"/>
            <a:stretch>
              <a:fillRect/>
            </a:stretch>
          </p:blipFill>
          <p:spPr>
            <a:xfrm>
              <a:off x="11739280" y="3568039"/>
              <a:ext cx="97132" cy="88896"/>
            </a:xfrm>
            <a:prstGeom prst="rect">
              <a:avLst/>
            </a:prstGeom>
          </p:spPr>
        </p:pic>
        <p:pic>
          <p:nvPicPr>
            <p:cNvPr id="23" name="object 23"/>
            <p:cNvPicPr/>
            <p:nvPr/>
          </p:nvPicPr>
          <p:blipFill>
            <a:blip r:embed="rId6" cstate="print"/>
            <a:stretch>
              <a:fillRect/>
            </a:stretch>
          </p:blipFill>
          <p:spPr>
            <a:xfrm>
              <a:off x="11873960" y="3518289"/>
              <a:ext cx="97132" cy="154141"/>
            </a:xfrm>
            <a:prstGeom prst="rect">
              <a:avLst/>
            </a:prstGeom>
          </p:spPr>
        </p:pic>
        <p:sp>
          <p:nvSpPr>
            <p:cNvPr id="24" name="object 24"/>
            <p:cNvSpPr/>
            <p:nvPr/>
          </p:nvSpPr>
          <p:spPr>
            <a:xfrm>
              <a:off x="11517262" y="3278517"/>
              <a:ext cx="776605" cy="699770"/>
            </a:xfrm>
            <a:custGeom>
              <a:avLst/>
              <a:gdLst/>
              <a:ahLst/>
              <a:cxnLst/>
              <a:rect l="l" t="t" r="r" b="b"/>
              <a:pathLst>
                <a:path w="776604" h="699770">
                  <a:moveTo>
                    <a:pt x="588505" y="195732"/>
                  </a:moveTo>
                  <a:lnTo>
                    <a:pt x="582790" y="190030"/>
                  </a:lnTo>
                  <a:lnTo>
                    <a:pt x="497903" y="190030"/>
                  </a:lnTo>
                  <a:lnTo>
                    <a:pt x="492188" y="195732"/>
                  </a:lnTo>
                  <a:lnTo>
                    <a:pt x="492188" y="402082"/>
                  </a:lnTo>
                  <a:lnTo>
                    <a:pt x="498284" y="405561"/>
                  </a:lnTo>
                  <a:lnTo>
                    <a:pt x="504228" y="409829"/>
                  </a:lnTo>
                  <a:lnTo>
                    <a:pt x="528104" y="446938"/>
                  </a:lnTo>
                  <a:lnTo>
                    <a:pt x="539953" y="444677"/>
                  </a:lnTo>
                  <a:lnTo>
                    <a:pt x="588505" y="434695"/>
                  </a:lnTo>
                  <a:lnTo>
                    <a:pt x="588505" y="195732"/>
                  </a:lnTo>
                  <a:close/>
                </a:path>
                <a:path w="776604" h="699770">
                  <a:moveTo>
                    <a:pt x="766368" y="464248"/>
                  </a:moveTo>
                  <a:lnTo>
                    <a:pt x="737882" y="443674"/>
                  </a:lnTo>
                  <a:lnTo>
                    <a:pt x="732980" y="443674"/>
                  </a:lnTo>
                  <a:lnTo>
                    <a:pt x="720737" y="445300"/>
                  </a:lnTo>
                  <a:lnTo>
                    <a:pt x="578751" y="474776"/>
                  </a:lnTo>
                  <a:lnTo>
                    <a:pt x="535444" y="483628"/>
                  </a:lnTo>
                  <a:lnTo>
                    <a:pt x="511251" y="520598"/>
                  </a:lnTo>
                  <a:lnTo>
                    <a:pt x="463626" y="537464"/>
                  </a:lnTo>
                  <a:lnTo>
                    <a:pt x="460349" y="537464"/>
                  </a:lnTo>
                  <a:lnTo>
                    <a:pt x="301193" y="526859"/>
                  </a:lnTo>
                  <a:lnTo>
                    <a:pt x="295478" y="526859"/>
                  </a:lnTo>
                  <a:lnTo>
                    <a:pt x="289763" y="523595"/>
                  </a:lnTo>
                  <a:lnTo>
                    <a:pt x="285673" y="519518"/>
                  </a:lnTo>
                  <a:lnTo>
                    <a:pt x="281597" y="514629"/>
                  </a:lnTo>
                  <a:lnTo>
                    <a:pt x="279971" y="508914"/>
                  </a:lnTo>
                  <a:lnTo>
                    <a:pt x="279971" y="503212"/>
                  </a:lnTo>
                  <a:lnTo>
                    <a:pt x="282168" y="494728"/>
                  </a:lnTo>
                  <a:lnTo>
                    <a:pt x="287210" y="488010"/>
                  </a:lnTo>
                  <a:lnTo>
                    <a:pt x="294538" y="483590"/>
                  </a:lnTo>
                  <a:lnTo>
                    <a:pt x="303631" y="482003"/>
                  </a:lnTo>
                  <a:lnTo>
                    <a:pt x="463613" y="492607"/>
                  </a:lnTo>
                  <a:lnTo>
                    <a:pt x="470319" y="491705"/>
                  </a:lnTo>
                  <a:lnTo>
                    <a:pt x="493826" y="468134"/>
                  </a:lnTo>
                  <a:lnTo>
                    <a:pt x="493826" y="455904"/>
                  </a:lnTo>
                  <a:lnTo>
                    <a:pt x="466890" y="433070"/>
                  </a:lnTo>
                  <a:lnTo>
                    <a:pt x="279971" y="411861"/>
                  </a:lnTo>
                  <a:lnTo>
                    <a:pt x="275882" y="411861"/>
                  </a:lnTo>
                  <a:lnTo>
                    <a:pt x="270992" y="411048"/>
                  </a:lnTo>
                  <a:lnTo>
                    <a:pt x="266903" y="411048"/>
                  </a:lnTo>
                  <a:lnTo>
                    <a:pt x="224155" y="417068"/>
                  </a:lnTo>
                  <a:lnTo>
                    <a:pt x="184467" y="434695"/>
                  </a:lnTo>
                  <a:lnTo>
                    <a:pt x="3263" y="550506"/>
                  </a:lnTo>
                  <a:lnTo>
                    <a:pt x="0" y="559485"/>
                  </a:lnTo>
                  <a:lnTo>
                    <a:pt x="812" y="561924"/>
                  </a:lnTo>
                  <a:lnTo>
                    <a:pt x="2438" y="565188"/>
                  </a:lnTo>
                  <a:lnTo>
                    <a:pt x="88963" y="689965"/>
                  </a:lnTo>
                  <a:lnTo>
                    <a:pt x="91414" y="693229"/>
                  </a:lnTo>
                  <a:lnTo>
                    <a:pt x="94678" y="694867"/>
                  </a:lnTo>
                  <a:lnTo>
                    <a:pt x="99580" y="694867"/>
                  </a:lnTo>
                  <a:lnTo>
                    <a:pt x="102019" y="694042"/>
                  </a:lnTo>
                  <a:lnTo>
                    <a:pt x="103657" y="693229"/>
                  </a:lnTo>
                  <a:lnTo>
                    <a:pt x="186918" y="646747"/>
                  </a:lnTo>
                  <a:lnTo>
                    <a:pt x="190182" y="645109"/>
                  </a:lnTo>
                  <a:lnTo>
                    <a:pt x="194259" y="643483"/>
                  </a:lnTo>
                  <a:lnTo>
                    <a:pt x="203238" y="643483"/>
                  </a:lnTo>
                  <a:lnTo>
                    <a:pt x="360768" y="694867"/>
                  </a:lnTo>
                  <a:lnTo>
                    <a:pt x="368261" y="697001"/>
                  </a:lnTo>
                  <a:lnTo>
                    <a:pt x="375970" y="698538"/>
                  </a:lnTo>
                  <a:lnTo>
                    <a:pt x="383844" y="699452"/>
                  </a:lnTo>
                  <a:lnTo>
                    <a:pt x="391795" y="699757"/>
                  </a:lnTo>
                  <a:lnTo>
                    <a:pt x="405218" y="698842"/>
                  </a:lnTo>
                  <a:lnTo>
                    <a:pt x="443217" y="685076"/>
                  </a:lnTo>
                  <a:lnTo>
                    <a:pt x="754202" y="490969"/>
                  </a:lnTo>
                  <a:lnTo>
                    <a:pt x="765835" y="473951"/>
                  </a:lnTo>
                  <a:lnTo>
                    <a:pt x="766368" y="464248"/>
                  </a:lnTo>
                  <a:close/>
                </a:path>
                <a:path w="776604" h="699770">
                  <a:moveTo>
                    <a:pt x="776173" y="115100"/>
                  </a:moveTo>
                  <a:lnTo>
                    <a:pt x="772972" y="108470"/>
                  </a:lnTo>
                  <a:lnTo>
                    <a:pt x="679107" y="0"/>
                  </a:lnTo>
                  <a:lnTo>
                    <a:pt x="670128" y="0"/>
                  </a:lnTo>
                  <a:lnTo>
                    <a:pt x="576262" y="108470"/>
                  </a:lnTo>
                  <a:lnTo>
                    <a:pt x="573087" y="115100"/>
                  </a:lnTo>
                  <a:lnTo>
                    <a:pt x="574116" y="121729"/>
                  </a:lnTo>
                  <a:lnTo>
                    <a:pt x="578675" y="126822"/>
                  </a:lnTo>
                  <a:lnTo>
                    <a:pt x="586054" y="128866"/>
                  </a:lnTo>
                  <a:lnTo>
                    <a:pt x="626872" y="128866"/>
                  </a:lnTo>
                  <a:lnTo>
                    <a:pt x="626872" y="427355"/>
                  </a:lnTo>
                  <a:lnTo>
                    <a:pt x="700900" y="412102"/>
                  </a:lnTo>
                  <a:lnTo>
                    <a:pt x="713384" y="409409"/>
                  </a:lnTo>
                  <a:lnTo>
                    <a:pt x="716661" y="408597"/>
                  </a:lnTo>
                  <a:lnTo>
                    <a:pt x="720737" y="407784"/>
                  </a:lnTo>
                  <a:lnTo>
                    <a:pt x="724001" y="407784"/>
                  </a:lnTo>
                  <a:lnTo>
                    <a:pt x="724001" y="128866"/>
                  </a:lnTo>
                  <a:lnTo>
                    <a:pt x="764806" y="128866"/>
                  </a:lnTo>
                  <a:lnTo>
                    <a:pt x="771258" y="126822"/>
                  </a:lnTo>
                  <a:lnTo>
                    <a:pt x="775322" y="121729"/>
                  </a:lnTo>
                  <a:lnTo>
                    <a:pt x="776173" y="115100"/>
                  </a:lnTo>
                  <a:close/>
                </a:path>
              </a:pathLst>
            </a:custGeom>
            <a:solidFill>
              <a:srgbClr val="FFFFFF"/>
            </a:solidFill>
          </p:spPr>
          <p:txBody>
            <a:bodyPr wrap="square" lIns="0" tIns="0" rIns="0" bIns="0" rtlCol="0"/>
            <a:lstStyle/>
            <a:p>
              <a:endParaRPr/>
            </a:p>
          </p:txBody>
        </p:sp>
        <p:pic>
          <p:nvPicPr>
            <p:cNvPr id="25" name="object 25"/>
            <p:cNvPicPr/>
            <p:nvPr/>
          </p:nvPicPr>
          <p:blipFill>
            <a:blip r:embed="rId7" cstate="print"/>
            <a:stretch>
              <a:fillRect/>
            </a:stretch>
          </p:blipFill>
          <p:spPr>
            <a:xfrm>
              <a:off x="9551250" y="5683686"/>
              <a:ext cx="76200" cy="76199"/>
            </a:xfrm>
            <a:prstGeom prst="rect">
              <a:avLst/>
            </a:prstGeom>
          </p:spPr>
        </p:pic>
        <p:pic>
          <p:nvPicPr>
            <p:cNvPr id="26" name="object 26"/>
            <p:cNvPicPr/>
            <p:nvPr/>
          </p:nvPicPr>
          <p:blipFill>
            <a:blip r:embed="rId7" cstate="print"/>
            <a:stretch>
              <a:fillRect/>
            </a:stretch>
          </p:blipFill>
          <p:spPr>
            <a:xfrm>
              <a:off x="9551250" y="7207686"/>
              <a:ext cx="76200" cy="76199"/>
            </a:xfrm>
            <a:prstGeom prst="rect">
              <a:avLst/>
            </a:prstGeom>
          </p:spPr>
        </p:pic>
      </p:grpSp>
      <p:sp>
        <p:nvSpPr>
          <p:cNvPr id="27" name="object 27"/>
          <p:cNvSpPr txBox="1"/>
          <p:nvPr/>
        </p:nvSpPr>
        <p:spPr>
          <a:xfrm>
            <a:off x="9036900" y="2863538"/>
            <a:ext cx="3558540" cy="6638925"/>
          </a:xfrm>
          <a:prstGeom prst="rect">
            <a:avLst/>
          </a:prstGeom>
        </p:spPr>
        <p:txBody>
          <a:bodyPr vert="horz" wrap="square" lIns="0" tIns="1905" rIns="0" bIns="0" rtlCol="0">
            <a:spAutoFit/>
          </a:bodyPr>
          <a:lstStyle/>
          <a:p>
            <a:pPr>
              <a:lnSpc>
                <a:spcPct val="100000"/>
              </a:lnSpc>
              <a:spcBef>
                <a:spcPts val="15"/>
              </a:spcBef>
            </a:pPr>
            <a:endParaRPr sz="5250">
              <a:latin typeface="Times New Roman"/>
              <a:cs typeface="Times New Roman"/>
            </a:endParaRPr>
          </a:p>
          <a:p>
            <a:pPr marL="285115">
              <a:lnSpc>
                <a:spcPct val="100000"/>
              </a:lnSpc>
            </a:pPr>
            <a:r>
              <a:rPr sz="4600" b="1" spc="625" dirty="0">
                <a:solidFill>
                  <a:srgbClr val="F5A316"/>
                </a:solidFill>
                <a:latin typeface="Arial"/>
                <a:cs typeface="Arial"/>
              </a:rPr>
              <a:t>03</a:t>
            </a:r>
            <a:endParaRPr sz="4600">
              <a:latin typeface="Arial"/>
              <a:cs typeface="Arial"/>
            </a:endParaRPr>
          </a:p>
          <a:p>
            <a:pPr marL="285115">
              <a:lnSpc>
                <a:spcPct val="100000"/>
              </a:lnSpc>
              <a:spcBef>
                <a:spcPts val="305"/>
              </a:spcBef>
            </a:pPr>
            <a:r>
              <a:rPr sz="1850" b="1" spc="50" dirty="0">
                <a:solidFill>
                  <a:srgbClr val="FFFFFF"/>
                </a:solidFill>
                <a:latin typeface="Arial"/>
                <a:cs typeface="Arial"/>
              </a:rPr>
              <a:t>Posicionamiento</a:t>
            </a:r>
            <a:endParaRPr sz="1850">
              <a:latin typeface="Arial"/>
              <a:cs typeface="Arial"/>
            </a:endParaRPr>
          </a:p>
          <a:p>
            <a:pPr>
              <a:lnSpc>
                <a:spcPct val="100000"/>
              </a:lnSpc>
            </a:pPr>
            <a:endParaRPr sz="2300">
              <a:latin typeface="Arial"/>
              <a:cs typeface="Arial"/>
            </a:endParaRPr>
          </a:p>
          <a:p>
            <a:pPr>
              <a:lnSpc>
                <a:spcPct val="100000"/>
              </a:lnSpc>
            </a:pPr>
            <a:endParaRPr sz="2300">
              <a:latin typeface="Arial"/>
              <a:cs typeface="Arial"/>
            </a:endParaRPr>
          </a:p>
          <a:p>
            <a:pPr marL="730250" marR="337820">
              <a:lnSpc>
                <a:spcPts val="2400"/>
              </a:lnSpc>
              <a:spcBef>
                <a:spcPts val="1800"/>
              </a:spcBef>
            </a:pPr>
            <a:r>
              <a:rPr sz="2050" dirty="0">
                <a:solidFill>
                  <a:srgbClr val="FFFFFF"/>
                </a:solidFill>
                <a:latin typeface="Roboto"/>
                <a:cs typeface="Roboto"/>
              </a:rPr>
              <a:t>Marca</a:t>
            </a:r>
            <a:r>
              <a:rPr sz="2050" spc="-55" dirty="0">
                <a:solidFill>
                  <a:srgbClr val="FFFFFF"/>
                </a:solidFill>
                <a:latin typeface="Roboto"/>
                <a:cs typeface="Roboto"/>
              </a:rPr>
              <a:t> </a:t>
            </a:r>
            <a:r>
              <a:rPr sz="2050" dirty="0">
                <a:solidFill>
                  <a:srgbClr val="FFFFFF"/>
                </a:solidFill>
                <a:latin typeface="Roboto"/>
                <a:cs typeface="Roboto"/>
              </a:rPr>
              <a:t>Chile</a:t>
            </a:r>
            <a:r>
              <a:rPr sz="2050" spc="-55" dirty="0">
                <a:solidFill>
                  <a:srgbClr val="FFFFFF"/>
                </a:solidFill>
                <a:latin typeface="Roboto"/>
                <a:cs typeface="Roboto"/>
              </a:rPr>
              <a:t> </a:t>
            </a:r>
            <a:r>
              <a:rPr sz="2050" dirty="0">
                <a:solidFill>
                  <a:srgbClr val="FFFFFF"/>
                </a:solidFill>
                <a:latin typeface="Roboto"/>
                <a:cs typeface="Roboto"/>
              </a:rPr>
              <a:t>MICE</a:t>
            </a:r>
            <a:r>
              <a:rPr sz="2050" spc="-60" dirty="0">
                <a:solidFill>
                  <a:srgbClr val="FFFFFF"/>
                </a:solidFill>
                <a:latin typeface="Roboto"/>
                <a:cs typeface="Roboto"/>
              </a:rPr>
              <a:t> </a:t>
            </a:r>
            <a:r>
              <a:rPr sz="2050" b="1" spc="-25" dirty="0">
                <a:solidFill>
                  <a:srgbClr val="FFFFFF"/>
                </a:solidFill>
                <a:latin typeface="Roboto"/>
                <a:cs typeface="Roboto"/>
              </a:rPr>
              <a:t>no </a:t>
            </a:r>
            <a:r>
              <a:rPr sz="2050" b="1" dirty="0">
                <a:solidFill>
                  <a:srgbClr val="FFFFFF"/>
                </a:solidFill>
                <a:latin typeface="Roboto"/>
                <a:cs typeface="Roboto"/>
              </a:rPr>
              <a:t>está</a:t>
            </a:r>
            <a:r>
              <a:rPr sz="2050" b="1" spc="-5" dirty="0">
                <a:solidFill>
                  <a:srgbClr val="FFFFFF"/>
                </a:solidFill>
                <a:latin typeface="Roboto"/>
                <a:cs typeface="Roboto"/>
              </a:rPr>
              <a:t> </a:t>
            </a:r>
            <a:r>
              <a:rPr sz="2050" b="1" spc="-10" dirty="0">
                <a:solidFill>
                  <a:srgbClr val="FFFFFF"/>
                </a:solidFill>
                <a:latin typeface="Roboto"/>
                <a:cs typeface="Roboto"/>
              </a:rPr>
              <a:t>suficientemente consolidada </a:t>
            </a:r>
            <a:r>
              <a:rPr sz="2050" spc="-10" dirty="0">
                <a:solidFill>
                  <a:srgbClr val="FFFFFF"/>
                </a:solidFill>
                <a:latin typeface="Roboto"/>
                <a:cs typeface="Roboto"/>
              </a:rPr>
              <a:t>internacionalmente.</a:t>
            </a:r>
            <a:endParaRPr sz="2050">
              <a:latin typeface="Roboto"/>
              <a:cs typeface="Roboto"/>
            </a:endParaRPr>
          </a:p>
          <a:p>
            <a:pPr>
              <a:lnSpc>
                <a:spcPct val="100000"/>
              </a:lnSpc>
              <a:spcBef>
                <a:spcPts val="25"/>
              </a:spcBef>
            </a:pPr>
            <a:endParaRPr sz="1800">
              <a:latin typeface="Roboto"/>
              <a:cs typeface="Roboto"/>
            </a:endParaRPr>
          </a:p>
          <a:p>
            <a:pPr marL="730250" marR="410209">
              <a:lnSpc>
                <a:spcPts val="2400"/>
              </a:lnSpc>
            </a:pPr>
            <a:r>
              <a:rPr sz="2050" b="1" dirty="0">
                <a:solidFill>
                  <a:srgbClr val="FFFFFF"/>
                </a:solidFill>
                <a:latin typeface="Roboto"/>
                <a:cs typeface="Roboto"/>
              </a:rPr>
              <a:t>Sostenibilidad</a:t>
            </a:r>
            <a:r>
              <a:rPr sz="2050" b="1" spc="-114" dirty="0">
                <a:solidFill>
                  <a:srgbClr val="FFFFFF"/>
                </a:solidFill>
                <a:latin typeface="Roboto"/>
                <a:cs typeface="Roboto"/>
              </a:rPr>
              <a:t> </a:t>
            </a:r>
            <a:r>
              <a:rPr sz="2050" spc="-20" dirty="0">
                <a:solidFill>
                  <a:srgbClr val="FFFFFF"/>
                </a:solidFill>
                <a:latin typeface="Roboto"/>
                <a:cs typeface="Roboto"/>
              </a:rPr>
              <a:t>como </a:t>
            </a:r>
            <a:r>
              <a:rPr sz="2050" dirty="0">
                <a:solidFill>
                  <a:srgbClr val="FFFFFF"/>
                </a:solidFill>
                <a:latin typeface="Roboto"/>
                <a:cs typeface="Roboto"/>
              </a:rPr>
              <a:t>elemento</a:t>
            </a:r>
            <a:r>
              <a:rPr sz="2050" spc="-110" dirty="0">
                <a:solidFill>
                  <a:srgbClr val="FFFFFF"/>
                </a:solidFill>
                <a:latin typeface="Roboto"/>
                <a:cs typeface="Roboto"/>
              </a:rPr>
              <a:t> </a:t>
            </a:r>
            <a:r>
              <a:rPr sz="2050" spc="-10" dirty="0">
                <a:solidFill>
                  <a:srgbClr val="FFFFFF"/>
                </a:solidFill>
                <a:latin typeface="Roboto"/>
                <a:cs typeface="Roboto"/>
              </a:rPr>
              <a:t>clave.</a:t>
            </a:r>
            <a:endParaRPr sz="2050">
              <a:latin typeface="Roboto"/>
              <a:cs typeface="Roboto"/>
            </a:endParaRPr>
          </a:p>
        </p:txBody>
      </p:sp>
      <p:pic>
        <p:nvPicPr>
          <p:cNvPr id="28" name="object 28"/>
          <p:cNvPicPr/>
          <p:nvPr/>
        </p:nvPicPr>
        <p:blipFill>
          <a:blip r:embed="rId8" cstate="print"/>
          <a:stretch>
            <a:fillRect/>
          </a:stretch>
        </p:blipFill>
        <p:spPr>
          <a:xfrm>
            <a:off x="17316450" y="237491"/>
            <a:ext cx="742949" cy="819149"/>
          </a:xfrm>
          <a:prstGeom prst="rect">
            <a:avLst/>
          </a:prstGeom>
        </p:spPr>
      </p:pic>
      <p:sp>
        <p:nvSpPr>
          <p:cNvPr id="29" name="object 29"/>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30" name="object 30"/>
          <p:cNvSpPr txBox="1"/>
          <p:nvPr/>
        </p:nvSpPr>
        <p:spPr>
          <a:xfrm>
            <a:off x="17811802" y="9932972"/>
            <a:ext cx="218440"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2</a:t>
            </a:r>
            <a:endParaRPr sz="900">
              <a:latin typeface="Arial"/>
              <a:cs typeface="Aria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sp>
        <p:nvSpPr>
          <p:cNvPr id="3" name="object 3"/>
          <p:cNvSpPr txBox="1"/>
          <p:nvPr/>
        </p:nvSpPr>
        <p:spPr>
          <a:xfrm>
            <a:off x="637985" y="384148"/>
            <a:ext cx="615251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1.</a:t>
            </a:r>
            <a:r>
              <a:rPr sz="3000" spc="-114" dirty="0">
                <a:solidFill>
                  <a:srgbClr val="FFFFFF"/>
                </a:solidFill>
                <a:latin typeface="Roboto"/>
                <a:cs typeface="Roboto"/>
              </a:rPr>
              <a:t> </a:t>
            </a:r>
            <a:r>
              <a:rPr sz="3000" spc="-30" dirty="0">
                <a:solidFill>
                  <a:srgbClr val="FFFFFF"/>
                </a:solidFill>
                <a:latin typeface="Roboto"/>
                <a:cs typeface="Roboto"/>
              </a:rPr>
              <a:t>Situación</a:t>
            </a:r>
            <a:r>
              <a:rPr sz="3000" spc="-110" dirty="0">
                <a:solidFill>
                  <a:srgbClr val="FFFFFF"/>
                </a:solidFill>
                <a:latin typeface="Roboto"/>
                <a:cs typeface="Roboto"/>
              </a:rPr>
              <a:t> </a:t>
            </a:r>
            <a:r>
              <a:rPr sz="3000" spc="-20" dirty="0">
                <a:solidFill>
                  <a:srgbClr val="FFFFFF"/>
                </a:solidFill>
                <a:latin typeface="Roboto"/>
                <a:cs typeface="Roboto"/>
              </a:rPr>
              <a:t>actual</a:t>
            </a:r>
            <a:r>
              <a:rPr sz="3000" spc="-110" dirty="0">
                <a:solidFill>
                  <a:srgbClr val="FFFFFF"/>
                </a:solidFill>
                <a:latin typeface="Roboto"/>
                <a:cs typeface="Roboto"/>
              </a:rPr>
              <a:t> </a:t>
            </a:r>
            <a:r>
              <a:rPr sz="3000" dirty="0">
                <a:solidFill>
                  <a:srgbClr val="FFFFFF"/>
                </a:solidFill>
                <a:latin typeface="Roboto"/>
                <a:cs typeface="Roboto"/>
              </a:rPr>
              <a:t>segmento</a:t>
            </a:r>
            <a:r>
              <a:rPr sz="3000" spc="-110" dirty="0">
                <a:solidFill>
                  <a:srgbClr val="FFFFFF"/>
                </a:solidFill>
                <a:latin typeface="Roboto"/>
                <a:cs typeface="Roboto"/>
              </a:rPr>
              <a:t> </a:t>
            </a:r>
            <a:r>
              <a:rPr sz="3000" spc="-20" dirty="0">
                <a:solidFill>
                  <a:srgbClr val="FFFFFF"/>
                </a:solidFill>
                <a:latin typeface="Roboto"/>
                <a:cs typeface="Roboto"/>
              </a:rPr>
              <a:t>MICE</a:t>
            </a:r>
            <a:endParaRPr sz="3000">
              <a:latin typeface="Roboto"/>
              <a:cs typeface="Roboto"/>
            </a:endParaRPr>
          </a:p>
        </p:txBody>
      </p:sp>
      <p:sp>
        <p:nvSpPr>
          <p:cNvPr id="4" name="object 4"/>
          <p:cNvSpPr txBox="1">
            <a:spLocks noGrp="1"/>
          </p:cNvSpPr>
          <p:nvPr>
            <p:ph type="title"/>
          </p:nvPr>
        </p:nvSpPr>
        <p:spPr>
          <a:xfrm>
            <a:off x="4882646" y="1854015"/>
            <a:ext cx="8481060" cy="643890"/>
          </a:xfrm>
          <a:prstGeom prst="rect">
            <a:avLst/>
          </a:prstGeom>
        </p:spPr>
        <p:txBody>
          <a:bodyPr vert="horz" wrap="square" lIns="0" tIns="13335" rIns="0" bIns="0" rtlCol="0">
            <a:spAutoFit/>
          </a:bodyPr>
          <a:lstStyle/>
          <a:p>
            <a:pPr marL="12700">
              <a:lnSpc>
                <a:spcPct val="100000"/>
              </a:lnSpc>
              <a:spcBef>
                <a:spcPts val="105"/>
              </a:spcBef>
            </a:pPr>
            <a:r>
              <a:rPr sz="4050" spc="-25" dirty="0">
                <a:solidFill>
                  <a:srgbClr val="E3112B"/>
                </a:solidFill>
              </a:rPr>
              <a:t>Puntos</a:t>
            </a:r>
            <a:r>
              <a:rPr sz="4050" spc="-170" dirty="0">
                <a:solidFill>
                  <a:srgbClr val="E3112B"/>
                </a:solidFill>
              </a:rPr>
              <a:t> </a:t>
            </a:r>
            <a:r>
              <a:rPr sz="4050" dirty="0">
                <a:solidFill>
                  <a:srgbClr val="E3112B"/>
                </a:solidFill>
              </a:rPr>
              <a:t>clave</a:t>
            </a:r>
            <a:r>
              <a:rPr sz="4050" spc="-165" dirty="0">
                <a:solidFill>
                  <a:srgbClr val="E3112B"/>
                </a:solidFill>
              </a:rPr>
              <a:t> </a:t>
            </a:r>
            <a:r>
              <a:rPr sz="4050" dirty="0">
                <a:solidFill>
                  <a:srgbClr val="E3112B"/>
                </a:solidFill>
              </a:rPr>
              <a:t>del</a:t>
            </a:r>
            <a:r>
              <a:rPr sz="4050" spc="-170" dirty="0">
                <a:solidFill>
                  <a:srgbClr val="E3112B"/>
                </a:solidFill>
              </a:rPr>
              <a:t> </a:t>
            </a:r>
            <a:r>
              <a:rPr sz="4050" dirty="0">
                <a:solidFill>
                  <a:srgbClr val="E3112B"/>
                </a:solidFill>
              </a:rPr>
              <a:t>sector</a:t>
            </a:r>
            <a:r>
              <a:rPr sz="4050" spc="-165" dirty="0">
                <a:solidFill>
                  <a:srgbClr val="E3112B"/>
                </a:solidFill>
              </a:rPr>
              <a:t> </a:t>
            </a:r>
            <a:r>
              <a:rPr sz="4050" dirty="0">
                <a:solidFill>
                  <a:srgbClr val="E3112B"/>
                </a:solidFill>
              </a:rPr>
              <a:t>MICE</a:t>
            </a:r>
            <a:r>
              <a:rPr sz="4050" spc="-170" dirty="0">
                <a:solidFill>
                  <a:srgbClr val="E3112B"/>
                </a:solidFill>
              </a:rPr>
              <a:t> </a:t>
            </a:r>
            <a:r>
              <a:rPr sz="4050" spc="-10" dirty="0">
                <a:solidFill>
                  <a:srgbClr val="E3112B"/>
                </a:solidFill>
              </a:rPr>
              <a:t>chileno</a:t>
            </a:r>
            <a:endParaRPr sz="4050"/>
          </a:p>
        </p:txBody>
      </p:sp>
      <p:grpSp>
        <p:nvGrpSpPr>
          <p:cNvPr id="5" name="object 5"/>
          <p:cNvGrpSpPr/>
          <p:nvPr/>
        </p:nvGrpSpPr>
        <p:grpSpPr>
          <a:xfrm>
            <a:off x="1636038" y="2864194"/>
            <a:ext cx="3459479" cy="6638925"/>
            <a:chOff x="1636038" y="2864194"/>
            <a:chExt cx="3459479" cy="6638925"/>
          </a:xfrm>
        </p:grpSpPr>
        <p:sp>
          <p:nvSpPr>
            <p:cNvPr id="6" name="object 6"/>
            <p:cNvSpPr/>
            <p:nvPr/>
          </p:nvSpPr>
          <p:spPr>
            <a:xfrm>
              <a:off x="1636038" y="2864194"/>
              <a:ext cx="3459479" cy="6638925"/>
            </a:xfrm>
            <a:custGeom>
              <a:avLst/>
              <a:gdLst/>
              <a:ahLst/>
              <a:cxnLst/>
              <a:rect l="l" t="t" r="r" b="b"/>
              <a:pathLst>
                <a:path w="3459479" h="6638925">
                  <a:moveTo>
                    <a:pt x="3458958" y="6638677"/>
                  </a:moveTo>
                  <a:lnTo>
                    <a:pt x="0" y="6638677"/>
                  </a:lnTo>
                  <a:lnTo>
                    <a:pt x="0" y="0"/>
                  </a:lnTo>
                  <a:lnTo>
                    <a:pt x="3458958" y="0"/>
                  </a:lnTo>
                  <a:lnTo>
                    <a:pt x="3458958" y="6638677"/>
                  </a:lnTo>
                  <a:close/>
                </a:path>
              </a:pathLst>
            </a:custGeom>
            <a:solidFill>
              <a:srgbClr val="0090AE"/>
            </a:solidFill>
          </p:spPr>
          <p:txBody>
            <a:bodyPr wrap="square" lIns="0" tIns="0" rIns="0" bIns="0" rtlCol="0"/>
            <a:lstStyle/>
            <a:p>
              <a:endParaRPr/>
            </a:p>
          </p:txBody>
        </p:sp>
        <p:sp>
          <p:nvSpPr>
            <p:cNvPr id="7" name="object 7"/>
            <p:cNvSpPr/>
            <p:nvPr/>
          </p:nvSpPr>
          <p:spPr>
            <a:xfrm>
              <a:off x="3885657" y="3206719"/>
              <a:ext cx="817880" cy="772160"/>
            </a:xfrm>
            <a:custGeom>
              <a:avLst/>
              <a:gdLst/>
              <a:ahLst/>
              <a:cxnLst/>
              <a:rect l="l" t="t" r="r" b="b"/>
              <a:pathLst>
                <a:path w="817879" h="772160">
                  <a:moveTo>
                    <a:pt x="388582" y="771571"/>
                  </a:moveTo>
                  <a:lnTo>
                    <a:pt x="339839" y="768565"/>
                  </a:lnTo>
                  <a:lnTo>
                    <a:pt x="292903" y="759788"/>
                  </a:lnTo>
                  <a:lnTo>
                    <a:pt x="248138" y="745603"/>
                  </a:lnTo>
                  <a:lnTo>
                    <a:pt x="205907" y="726370"/>
                  </a:lnTo>
                  <a:lnTo>
                    <a:pt x="166576" y="702451"/>
                  </a:lnTo>
                  <a:lnTo>
                    <a:pt x="130509" y="674207"/>
                  </a:lnTo>
                  <a:lnTo>
                    <a:pt x="98069" y="642001"/>
                  </a:lnTo>
                  <a:lnTo>
                    <a:pt x="69620" y="606193"/>
                  </a:lnTo>
                  <a:lnTo>
                    <a:pt x="45528" y="567145"/>
                  </a:lnTo>
                  <a:lnTo>
                    <a:pt x="26155" y="525219"/>
                  </a:lnTo>
                  <a:lnTo>
                    <a:pt x="11867" y="480776"/>
                  </a:lnTo>
                  <a:lnTo>
                    <a:pt x="3027" y="434177"/>
                  </a:lnTo>
                  <a:lnTo>
                    <a:pt x="0" y="385785"/>
                  </a:lnTo>
                  <a:lnTo>
                    <a:pt x="3027" y="337393"/>
                  </a:lnTo>
                  <a:lnTo>
                    <a:pt x="11867" y="290794"/>
                  </a:lnTo>
                  <a:lnTo>
                    <a:pt x="26156" y="246351"/>
                  </a:lnTo>
                  <a:lnTo>
                    <a:pt x="45528" y="204425"/>
                  </a:lnTo>
                  <a:lnTo>
                    <a:pt x="69621" y="165377"/>
                  </a:lnTo>
                  <a:lnTo>
                    <a:pt x="98070" y="129569"/>
                  </a:lnTo>
                  <a:lnTo>
                    <a:pt x="130510" y="97363"/>
                  </a:lnTo>
                  <a:lnTo>
                    <a:pt x="166578" y="69119"/>
                  </a:lnTo>
                  <a:lnTo>
                    <a:pt x="205909" y="45200"/>
                  </a:lnTo>
                  <a:lnTo>
                    <a:pt x="248139" y="25967"/>
                  </a:lnTo>
                  <a:lnTo>
                    <a:pt x="292905" y="11782"/>
                  </a:lnTo>
                  <a:lnTo>
                    <a:pt x="339841" y="3005"/>
                  </a:lnTo>
                  <a:lnTo>
                    <a:pt x="388584" y="0"/>
                  </a:lnTo>
                  <a:lnTo>
                    <a:pt x="434549" y="2673"/>
                  </a:lnTo>
                  <a:lnTo>
                    <a:pt x="478927" y="10490"/>
                  </a:lnTo>
                  <a:lnTo>
                    <a:pt x="521415" y="23145"/>
                  </a:lnTo>
                  <a:lnTo>
                    <a:pt x="561710" y="40334"/>
                  </a:lnTo>
                  <a:lnTo>
                    <a:pt x="566650" y="49097"/>
                  </a:lnTo>
                  <a:lnTo>
                    <a:pt x="565832" y="51618"/>
                  </a:lnTo>
                  <a:lnTo>
                    <a:pt x="517185" y="99915"/>
                  </a:lnTo>
                  <a:lnTo>
                    <a:pt x="388584" y="99915"/>
                  </a:lnTo>
                  <a:lnTo>
                    <a:pt x="341878" y="103656"/>
                  </a:lnTo>
                  <a:lnTo>
                    <a:pt x="297572" y="114489"/>
                  </a:lnTo>
                  <a:lnTo>
                    <a:pt x="256258" y="131823"/>
                  </a:lnTo>
                  <a:lnTo>
                    <a:pt x="218529" y="155071"/>
                  </a:lnTo>
                  <a:lnTo>
                    <a:pt x="184978" y="183644"/>
                  </a:lnTo>
                  <a:lnTo>
                    <a:pt x="156197" y="216954"/>
                  </a:lnTo>
                  <a:lnTo>
                    <a:pt x="132781" y="254411"/>
                  </a:lnTo>
                  <a:lnTo>
                    <a:pt x="115321" y="295428"/>
                  </a:lnTo>
                  <a:lnTo>
                    <a:pt x="104410" y="339415"/>
                  </a:lnTo>
                  <a:lnTo>
                    <a:pt x="100641" y="385785"/>
                  </a:lnTo>
                  <a:lnTo>
                    <a:pt x="104410" y="432155"/>
                  </a:lnTo>
                  <a:lnTo>
                    <a:pt x="115321" y="476142"/>
                  </a:lnTo>
                  <a:lnTo>
                    <a:pt x="132781" y="517159"/>
                  </a:lnTo>
                  <a:lnTo>
                    <a:pt x="156197" y="554617"/>
                  </a:lnTo>
                  <a:lnTo>
                    <a:pt x="184978" y="587926"/>
                  </a:lnTo>
                  <a:lnTo>
                    <a:pt x="218529" y="616499"/>
                  </a:lnTo>
                  <a:lnTo>
                    <a:pt x="256258" y="639747"/>
                  </a:lnTo>
                  <a:lnTo>
                    <a:pt x="297572" y="657082"/>
                  </a:lnTo>
                  <a:lnTo>
                    <a:pt x="341878" y="667914"/>
                  </a:lnTo>
                  <a:lnTo>
                    <a:pt x="388584" y="671655"/>
                  </a:lnTo>
                  <a:lnTo>
                    <a:pt x="649227" y="671655"/>
                  </a:lnTo>
                  <a:lnTo>
                    <a:pt x="646657" y="674207"/>
                  </a:lnTo>
                  <a:lnTo>
                    <a:pt x="610589" y="702451"/>
                  </a:lnTo>
                  <a:lnTo>
                    <a:pt x="571258" y="726370"/>
                  </a:lnTo>
                  <a:lnTo>
                    <a:pt x="529027" y="745603"/>
                  </a:lnTo>
                  <a:lnTo>
                    <a:pt x="484262" y="759788"/>
                  </a:lnTo>
                  <a:lnTo>
                    <a:pt x="437326" y="768565"/>
                  </a:lnTo>
                  <a:lnTo>
                    <a:pt x="388582" y="771571"/>
                  </a:lnTo>
                  <a:close/>
                </a:path>
                <a:path w="817879" h="772160">
                  <a:moveTo>
                    <a:pt x="492750" y="119129"/>
                  </a:moveTo>
                  <a:lnTo>
                    <a:pt x="438994" y="104287"/>
                  </a:lnTo>
                  <a:lnTo>
                    <a:pt x="388584" y="99915"/>
                  </a:lnTo>
                  <a:lnTo>
                    <a:pt x="517185" y="99915"/>
                  </a:lnTo>
                  <a:lnTo>
                    <a:pt x="499286" y="117684"/>
                  </a:lnTo>
                  <a:lnTo>
                    <a:pt x="492750" y="119129"/>
                  </a:lnTo>
                  <a:close/>
                </a:path>
                <a:path w="817879" h="772160">
                  <a:moveTo>
                    <a:pt x="811787" y="385785"/>
                  </a:moveTo>
                  <a:lnTo>
                    <a:pt x="634875" y="385785"/>
                  </a:lnTo>
                  <a:lnTo>
                    <a:pt x="632143" y="384134"/>
                  </a:lnTo>
                  <a:lnTo>
                    <a:pt x="629214" y="378514"/>
                  </a:lnTo>
                  <a:lnTo>
                    <a:pt x="629436" y="375345"/>
                  </a:lnTo>
                  <a:lnTo>
                    <a:pt x="718155" y="250960"/>
                  </a:lnTo>
                  <a:lnTo>
                    <a:pt x="720549" y="249732"/>
                  </a:lnTo>
                  <a:lnTo>
                    <a:pt x="726114" y="249732"/>
                  </a:lnTo>
                  <a:lnTo>
                    <a:pt x="728506" y="250961"/>
                  </a:lnTo>
                  <a:lnTo>
                    <a:pt x="817225" y="375345"/>
                  </a:lnTo>
                  <a:lnTo>
                    <a:pt x="817446" y="378514"/>
                  </a:lnTo>
                  <a:lnTo>
                    <a:pt x="814520" y="384134"/>
                  </a:lnTo>
                  <a:lnTo>
                    <a:pt x="811787" y="385785"/>
                  </a:lnTo>
                  <a:close/>
                </a:path>
                <a:path w="817879" h="772160">
                  <a:moveTo>
                    <a:pt x="472504" y="413303"/>
                  </a:moveTo>
                  <a:lnTo>
                    <a:pt x="358863" y="413303"/>
                  </a:lnTo>
                  <a:lnTo>
                    <a:pt x="498156" y="272999"/>
                  </a:lnTo>
                  <a:lnTo>
                    <a:pt x="511485" y="264159"/>
                  </a:lnTo>
                  <a:lnTo>
                    <a:pt x="526667" y="261182"/>
                  </a:lnTo>
                  <a:lnTo>
                    <a:pt x="541866" y="264075"/>
                  </a:lnTo>
                  <a:lnTo>
                    <a:pt x="555244" y="272843"/>
                  </a:lnTo>
                  <a:lnTo>
                    <a:pt x="564149" y="286076"/>
                  </a:lnTo>
                  <a:lnTo>
                    <a:pt x="567146" y="301149"/>
                  </a:lnTo>
                  <a:lnTo>
                    <a:pt x="564232" y="316238"/>
                  </a:lnTo>
                  <a:lnTo>
                    <a:pt x="555402" y="329520"/>
                  </a:lnTo>
                  <a:lnTo>
                    <a:pt x="509922" y="375345"/>
                  </a:lnTo>
                  <a:lnTo>
                    <a:pt x="472504" y="413303"/>
                  </a:lnTo>
                  <a:close/>
                </a:path>
                <a:path w="817879" h="772160">
                  <a:moveTo>
                    <a:pt x="358926" y="510389"/>
                  </a:moveTo>
                  <a:lnTo>
                    <a:pt x="221878" y="390976"/>
                  </a:lnTo>
                  <a:lnTo>
                    <a:pt x="210023" y="362559"/>
                  </a:lnTo>
                  <a:lnTo>
                    <a:pt x="212987" y="347436"/>
                  </a:lnTo>
                  <a:lnTo>
                    <a:pt x="221879" y="334142"/>
                  </a:lnTo>
                  <a:lnTo>
                    <a:pt x="235269" y="325314"/>
                  </a:lnTo>
                  <a:lnTo>
                    <a:pt x="250502" y="322371"/>
                  </a:lnTo>
                  <a:lnTo>
                    <a:pt x="265735" y="325314"/>
                  </a:lnTo>
                  <a:lnTo>
                    <a:pt x="279126" y="334142"/>
                  </a:lnTo>
                  <a:lnTo>
                    <a:pt x="358863" y="413303"/>
                  </a:lnTo>
                  <a:lnTo>
                    <a:pt x="472504" y="413303"/>
                  </a:lnTo>
                  <a:lnTo>
                    <a:pt x="453908" y="432155"/>
                  </a:lnTo>
                  <a:lnTo>
                    <a:pt x="427406" y="458866"/>
                  </a:lnTo>
                  <a:lnTo>
                    <a:pt x="387548" y="498619"/>
                  </a:lnTo>
                  <a:lnTo>
                    <a:pt x="374158" y="507447"/>
                  </a:lnTo>
                  <a:lnTo>
                    <a:pt x="358926" y="510389"/>
                  </a:lnTo>
                  <a:close/>
                </a:path>
                <a:path w="817879" h="772160">
                  <a:moveTo>
                    <a:pt x="649227" y="671655"/>
                  </a:moveTo>
                  <a:lnTo>
                    <a:pt x="388584" y="671655"/>
                  </a:lnTo>
                  <a:lnTo>
                    <a:pt x="435290" y="667914"/>
                  </a:lnTo>
                  <a:lnTo>
                    <a:pt x="479597" y="657082"/>
                  </a:lnTo>
                  <a:lnTo>
                    <a:pt x="520911" y="639747"/>
                  </a:lnTo>
                  <a:lnTo>
                    <a:pt x="558640" y="616499"/>
                  </a:lnTo>
                  <a:lnTo>
                    <a:pt x="592191" y="587926"/>
                  </a:lnTo>
                  <a:lnTo>
                    <a:pt x="620971" y="554616"/>
                  </a:lnTo>
                  <a:lnTo>
                    <a:pt x="644388" y="517159"/>
                  </a:lnTo>
                  <a:lnTo>
                    <a:pt x="661848" y="476142"/>
                  </a:lnTo>
                  <a:lnTo>
                    <a:pt x="672759" y="432155"/>
                  </a:lnTo>
                  <a:lnTo>
                    <a:pt x="676527" y="385785"/>
                  </a:lnTo>
                  <a:lnTo>
                    <a:pt x="777167" y="385785"/>
                  </a:lnTo>
                  <a:lnTo>
                    <a:pt x="774139" y="434177"/>
                  </a:lnTo>
                  <a:lnTo>
                    <a:pt x="765299" y="480776"/>
                  </a:lnTo>
                  <a:lnTo>
                    <a:pt x="751011" y="525219"/>
                  </a:lnTo>
                  <a:lnTo>
                    <a:pt x="731638" y="567145"/>
                  </a:lnTo>
                  <a:lnTo>
                    <a:pt x="707545" y="606193"/>
                  </a:lnTo>
                  <a:lnTo>
                    <a:pt x="679097" y="642001"/>
                  </a:lnTo>
                  <a:lnTo>
                    <a:pt x="649227" y="671655"/>
                  </a:lnTo>
                  <a:close/>
                </a:path>
              </a:pathLst>
            </a:custGeom>
            <a:solidFill>
              <a:srgbClr val="FFFFFF"/>
            </a:solidFill>
          </p:spPr>
          <p:txBody>
            <a:bodyPr wrap="square" lIns="0" tIns="0" rIns="0" bIns="0" rtlCol="0"/>
            <a:lstStyle/>
            <a:p>
              <a:endParaRPr/>
            </a:p>
          </p:txBody>
        </p:sp>
        <p:pic>
          <p:nvPicPr>
            <p:cNvPr id="8" name="object 8"/>
            <p:cNvPicPr/>
            <p:nvPr/>
          </p:nvPicPr>
          <p:blipFill>
            <a:blip r:embed="rId2" cstate="print"/>
            <a:stretch>
              <a:fillRect/>
            </a:stretch>
          </p:blipFill>
          <p:spPr>
            <a:xfrm>
              <a:off x="2241392" y="5121711"/>
              <a:ext cx="66675" cy="66674"/>
            </a:xfrm>
            <a:prstGeom prst="rect">
              <a:avLst/>
            </a:prstGeom>
          </p:spPr>
        </p:pic>
        <p:pic>
          <p:nvPicPr>
            <p:cNvPr id="9" name="object 9"/>
            <p:cNvPicPr/>
            <p:nvPr/>
          </p:nvPicPr>
          <p:blipFill>
            <a:blip r:embed="rId2" cstate="print"/>
            <a:stretch>
              <a:fillRect/>
            </a:stretch>
          </p:blipFill>
          <p:spPr>
            <a:xfrm>
              <a:off x="2241392" y="5950386"/>
              <a:ext cx="66675" cy="66674"/>
            </a:xfrm>
            <a:prstGeom prst="rect">
              <a:avLst/>
            </a:prstGeom>
          </p:spPr>
        </p:pic>
      </p:grpSp>
      <p:sp>
        <p:nvSpPr>
          <p:cNvPr id="10" name="object 10"/>
          <p:cNvSpPr txBox="1"/>
          <p:nvPr/>
        </p:nvSpPr>
        <p:spPr>
          <a:xfrm>
            <a:off x="1636038" y="2864194"/>
            <a:ext cx="3459479"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395605">
              <a:lnSpc>
                <a:spcPct val="100000"/>
              </a:lnSpc>
            </a:pPr>
            <a:r>
              <a:rPr sz="4600" b="1" spc="35" dirty="0">
                <a:solidFill>
                  <a:srgbClr val="F5A316"/>
                </a:solidFill>
                <a:latin typeface="Arial"/>
                <a:cs typeface="Arial"/>
              </a:rPr>
              <a:t>01</a:t>
            </a:r>
            <a:endParaRPr sz="4600">
              <a:latin typeface="Arial"/>
              <a:cs typeface="Arial"/>
            </a:endParaRPr>
          </a:p>
          <a:p>
            <a:pPr marL="395605">
              <a:lnSpc>
                <a:spcPct val="100000"/>
              </a:lnSpc>
              <a:spcBef>
                <a:spcPts val="305"/>
              </a:spcBef>
            </a:pPr>
            <a:r>
              <a:rPr sz="1850" b="1" spc="50" dirty="0">
                <a:solidFill>
                  <a:srgbClr val="FFFFFF"/>
                </a:solidFill>
                <a:latin typeface="Arial"/>
                <a:cs typeface="Arial"/>
              </a:rPr>
              <a:t>Recuperación</a:t>
            </a:r>
            <a:endParaRPr sz="1850">
              <a:latin typeface="Arial"/>
              <a:cs typeface="Arial"/>
            </a:endParaRPr>
          </a:p>
          <a:p>
            <a:pPr>
              <a:lnSpc>
                <a:spcPct val="100000"/>
              </a:lnSpc>
              <a:spcBef>
                <a:spcPts val="45"/>
              </a:spcBef>
            </a:pPr>
            <a:endParaRPr sz="2300">
              <a:latin typeface="Arial"/>
              <a:cs typeface="Arial"/>
            </a:endParaRPr>
          </a:p>
          <a:p>
            <a:pPr marL="803275" marR="405765">
              <a:lnSpc>
                <a:spcPts val="2180"/>
              </a:lnSpc>
            </a:pPr>
            <a:r>
              <a:rPr sz="1850" dirty="0">
                <a:solidFill>
                  <a:srgbClr val="FFFFFF"/>
                </a:solidFill>
                <a:latin typeface="Roboto"/>
                <a:cs typeface="Roboto"/>
              </a:rPr>
              <a:t>Recuperación</a:t>
            </a:r>
            <a:r>
              <a:rPr sz="1850" spc="-35" dirty="0">
                <a:solidFill>
                  <a:srgbClr val="FFFFFF"/>
                </a:solidFill>
                <a:latin typeface="Roboto"/>
                <a:cs typeface="Roboto"/>
              </a:rPr>
              <a:t> </a:t>
            </a:r>
            <a:r>
              <a:rPr sz="1850" dirty="0">
                <a:solidFill>
                  <a:srgbClr val="FFFFFF"/>
                </a:solidFill>
                <a:latin typeface="Roboto"/>
                <a:cs typeface="Roboto"/>
              </a:rPr>
              <a:t>a</a:t>
            </a:r>
            <a:r>
              <a:rPr sz="1850" spc="-30" dirty="0">
                <a:solidFill>
                  <a:srgbClr val="FFFFFF"/>
                </a:solidFill>
                <a:latin typeface="Roboto"/>
                <a:cs typeface="Roboto"/>
              </a:rPr>
              <a:t> </a:t>
            </a:r>
            <a:r>
              <a:rPr sz="1850" b="1" spc="-20" dirty="0">
                <a:solidFill>
                  <a:srgbClr val="FFFFFF"/>
                </a:solidFill>
                <a:latin typeface="Roboto"/>
                <a:cs typeface="Roboto"/>
              </a:rPr>
              <a:t>buen </a:t>
            </a:r>
            <a:r>
              <a:rPr sz="1850" b="1" spc="-10" dirty="0">
                <a:solidFill>
                  <a:srgbClr val="FFFFFF"/>
                </a:solidFill>
                <a:latin typeface="Roboto"/>
                <a:cs typeface="Roboto"/>
              </a:rPr>
              <a:t>ritmo.</a:t>
            </a:r>
            <a:endParaRPr sz="1850">
              <a:latin typeface="Roboto"/>
              <a:cs typeface="Roboto"/>
            </a:endParaRPr>
          </a:p>
          <a:p>
            <a:pPr>
              <a:lnSpc>
                <a:spcPct val="100000"/>
              </a:lnSpc>
              <a:spcBef>
                <a:spcPts val="60"/>
              </a:spcBef>
            </a:pPr>
            <a:endParaRPr sz="1600">
              <a:latin typeface="Roboto"/>
              <a:cs typeface="Roboto"/>
            </a:endParaRPr>
          </a:p>
          <a:p>
            <a:pPr marL="803275" marR="309880">
              <a:lnSpc>
                <a:spcPts val="2170"/>
              </a:lnSpc>
            </a:pPr>
            <a:r>
              <a:rPr sz="1850" dirty="0">
                <a:solidFill>
                  <a:srgbClr val="FFFFFF"/>
                </a:solidFill>
                <a:latin typeface="Roboto"/>
                <a:cs typeface="Roboto"/>
              </a:rPr>
              <a:t>Recuperar</a:t>
            </a:r>
            <a:r>
              <a:rPr sz="1850" spc="-70" dirty="0">
                <a:solidFill>
                  <a:srgbClr val="FFFFFF"/>
                </a:solidFill>
                <a:latin typeface="Roboto"/>
                <a:cs typeface="Roboto"/>
              </a:rPr>
              <a:t> </a:t>
            </a:r>
            <a:r>
              <a:rPr sz="1850" spc="-25" dirty="0">
                <a:solidFill>
                  <a:srgbClr val="FFFFFF"/>
                </a:solidFill>
                <a:latin typeface="Roboto"/>
                <a:cs typeface="Roboto"/>
              </a:rPr>
              <a:t>la </a:t>
            </a:r>
            <a:r>
              <a:rPr sz="1850" b="1" spc="-10" dirty="0">
                <a:solidFill>
                  <a:srgbClr val="FFFFFF"/>
                </a:solidFill>
                <a:latin typeface="Roboto"/>
                <a:cs typeface="Roboto"/>
              </a:rPr>
              <a:t>conectividad </a:t>
            </a:r>
            <a:r>
              <a:rPr sz="1850" b="1" dirty="0">
                <a:solidFill>
                  <a:srgbClr val="FFFFFF"/>
                </a:solidFill>
                <a:latin typeface="Roboto"/>
                <a:cs typeface="Roboto"/>
              </a:rPr>
              <a:t>internacional</a:t>
            </a:r>
            <a:r>
              <a:rPr sz="1850" b="1" spc="70" dirty="0">
                <a:solidFill>
                  <a:srgbClr val="FFFFFF"/>
                </a:solidFill>
                <a:latin typeface="Roboto"/>
                <a:cs typeface="Roboto"/>
              </a:rPr>
              <a:t> </a:t>
            </a:r>
            <a:r>
              <a:rPr sz="1850" dirty="0">
                <a:solidFill>
                  <a:srgbClr val="FFFFFF"/>
                </a:solidFill>
                <a:latin typeface="Roboto"/>
                <a:cs typeface="Roboto"/>
              </a:rPr>
              <a:t>es</a:t>
            </a:r>
            <a:r>
              <a:rPr sz="1850" spc="75" dirty="0">
                <a:solidFill>
                  <a:srgbClr val="FFFFFF"/>
                </a:solidFill>
                <a:latin typeface="Roboto"/>
                <a:cs typeface="Roboto"/>
              </a:rPr>
              <a:t> </a:t>
            </a:r>
            <a:r>
              <a:rPr sz="1850" spc="-20" dirty="0">
                <a:solidFill>
                  <a:srgbClr val="FFFFFF"/>
                </a:solidFill>
                <a:latin typeface="Roboto"/>
                <a:cs typeface="Roboto"/>
              </a:rPr>
              <a:t>clave </a:t>
            </a:r>
            <a:r>
              <a:rPr sz="1850" dirty="0">
                <a:solidFill>
                  <a:srgbClr val="FFFFFF"/>
                </a:solidFill>
                <a:latin typeface="Roboto"/>
                <a:cs typeface="Roboto"/>
              </a:rPr>
              <a:t>para</a:t>
            </a:r>
            <a:r>
              <a:rPr sz="1850" spc="-10" dirty="0">
                <a:solidFill>
                  <a:srgbClr val="FFFFFF"/>
                </a:solidFill>
                <a:latin typeface="Roboto"/>
                <a:cs typeface="Roboto"/>
              </a:rPr>
              <a:t> </a:t>
            </a:r>
            <a:r>
              <a:rPr sz="1850" dirty="0">
                <a:solidFill>
                  <a:srgbClr val="FFFFFF"/>
                </a:solidFill>
                <a:latin typeface="Roboto"/>
                <a:cs typeface="Roboto"/>
              </a:rPr>
              <a:t>la</a:t>
            </a:r>
            <a:r>
              <a:rPr sz="1850" spc="-5" dirty="0">
                <a:solidFill>
                  <a:srgbClr val="FFFFFF"/>
                </a:solidFill>
                <a:latin typeface="Roboto"/>
                <a:cs typeface="Roboto"/>
              </a:rPr>
              <a:t> </a:t>
            </a:r>
            <a:r>
              <a:rPr sz="1850" dirty="0">
                <a:solidFill>
                  <a:srgbClr val="FFFFFF"/>
                </a:solidFill>
                <a:latin typeface="Roboto"/>
                <a:cs typeface="Roboto"/>
              </a:rPr>
              <a:t>captación</a:t>
            </a:r>
            <a:r>
              <a:rPr sz="1850" spc="-5" dirty="0">
                <a:solidFill>
                  <a:srgbClr val="FFFFFF"/>
                </a:solidFill>
                <a:latin typeface="Roboto"/>
                <a:cs typeface="Roboto"/>
              </a:rPr>
              <a:t> </a:t>
            </a:r>
            <a:r>
              <a:rPr sz="1850" spc="-25" dirty="0">
                <a:solidFill>
                  <a:srgbClr val="FFFFFF"/>
                </a:solidFill>
                <a:latin typeface="Roboto"/>
                <a:cs typeface="Roboto"/>
              </a:rPr>
              <a:t>de </a:t>
            </a:r>
            <a:r>
              <a:rPr sz="1850" dirty="0">
                <a:solidFill>
                  <a:srgbClr val="FFFFFF"/>
                </a:solidFill>
                <a:latin typeface="Roboto"/>
                <a:cs typeface="Roboto"/>
              </a:rPr>
              <a:t>más</a:t>
            </a:r>
            <a:r>
              <a:rPr sz="1850" spc="10" dirty="0">
                <a:solidFill>
                  <a:srgbClr val="FFFFFF"/>
                </a:solidFill>
                <a:latin typeface="Roboto"/>
                <a:cs typeface="Roboto"/>
              </a:rPr>
              <a:t> </a:t>
            </a:r>
            <a:r>
              <a:rPr sz="1850" dirty="0">
                <a:solidFill>
                  <a:srgbClr val="FFFFFF"/>
                </a:solidFill>
                <a:latin typeface="Roboto"/>
                <a:cs typeface="Roboto"/>
              </a:rPr>
              <a:t>reuniones</a:t>
            </a:r>
            <a:r>
              <a:rPr sz="1850" spc="15" dirty="0">
                <a:solidFill>
                  <a:srgbClr val="FFFFFF"/>
                </a:solidFill>
                <a:latin typeface="Roboto"/>
                <a:cs typeface="Roboto"/>
              </a:rPr>
              <a:t> </a:t>
            </a:r>
            <a:r>
              <a:rPr sz="1850" spc="-50" dirty="0">
                <a:solidFill>
                  <a:srgbClr val="FFFFFF"/>
                </a:solidFill>
                <a:latin typeface="Roboto"/>
                <a:cs typeface="Roboto"/>
              </a:rPr>
              <a:t>y </a:t>
            </a:r>
            <a:r>
              <a:rPr sz="1850" spc="-10" dirty="0">
                <a:solidFill>
                  <a:srgbClr val="FFFFFF"/>
                </a:solidFill>
                <a:latin typeface="Roboto"/>
                <a:cs typeface="Roboto"/>
              </a:rPr>
              <a:t>eventos.</a:t>
            </a:r>
            <a:endParaRPr sz="1850">
              <a:latin typeface="Roboto"/>
              <a:cs typeface="Roboto"/>
            </a:endParaRPr>
          </a:p>
        </p:txBody>
      </p:sp>
      <p:grpSp>
        <p:nvGrpSpPr>
          <p:cNvPr id="11" name="object 11"/>
          <p:cNvGrpSpPr/>
          <p:nvPr/>
        </p:nvGrpSpPr>
        <p:grpSpPr>
          <a:xfrm>
            <a:off x="5283878" y="2864194"/>
            <a:ext cx="3558540" cy="6638925"/>
            <a:chOff x="5283878" y="2864194"/>
            <a:chExt cx="3558540" cy="6638925"/>
          </a:xfrm>
        </p:grpSpPr>
        <p:sp>
          <p:nvSpPr>
            <p:cNvPr id="12" name="object 12"/>
            <p:cNvSpPr/>
            <p:nvPr/>
          </p:nvSpPr>
          <p:spPr>
            <a:xfrm>
              <a:off x="5283878" y="2864194"/>
              <a:ext cx="3558540" cy="6638925"/>
            </a:xfrm>
            <a:custGeom>
              <a:avLst/>
              <a:gdLst/>
              <a:ahLst/>
              <a:cxnLst/>
              <a:rect l="l" t="t" r="r" b="b"/>
              <a:pathLst>
                <a:path w="3558540" h="6638925">
                  <a:moveTo>
                    <a:pt x="3558042" y="6638677"/>
                  </a:moveTo>
                  <a:lnTo>
                    <a:pt x="0" y="6638677"/>
                  </a:lnTo>
                  <a:lnTo>
                    <a:pt x="0" y="0"/>
                  </a:lnTo>
                  <a:lnTo>
                    <a:pt x="3558042" y="0"/>
                  </a:lnTo>
                  <a:lnTo>
                    <a:pt x="3558042" y="6638677"/>
                  </a:lnTo>
                  <a:close/>
                </a:path>
              </a:pathLst>
            </a:custGeom>
            <a:solidFill>
              <a:srgbClr val="0090AE"/>
            </a:solidFill>
          </p:spPr>
          <p:txBody>
            <a:bodyPr wrap="square" lIns="0" tIns="0" rIns="0" bIns="0" rtlCol="0"/>
            <a:lstStyle/>
            <a:p>
              <a:endParaRPr/>
            </a:p>
          </p:txBody>
        </p:sp>
        <p:sp>
          <p:nvSpPr>
            <p:cNvPr id="13" name="object 13"/>
            <p:cNvSpPr/>
            <p:nvPr/>
          </p:nvSpPr>
          <p:spPr>
            <a:xfrm>
              <a:off x="7634584" y="3223738"/>
              <a:ext cx="923925" cy="751840"/>
            </a:xfrm>
            <a:custGeom>
              <a:avLst/>
              <a:gdLst/>
              <a:ahLst/>
              <a:cxnLst/>
              <a:rect l="l" t="t" r="r" b="b"/>
              <a:pathLst>
                <a:path w="923925" h="751839">
                  <a:moveTo>
                    <a:pt x="68060" y="436879"/>
                  </a:moveTo>
                  <a:lnTo>
                    <a:pt x="42521" y="405129"/>
                  </a:lnTo>
                  <a:lnTo>
                    <a:pt x="22508" y="369569"/>
                  </a:lnTo>
                  <a:lnTo>
                    <a:pt x="8599" y="331469"/>
                  </a:lnTo>
                  <a:lnTo>
                    <a:pt x="1170" y="290829"/>
                  </a:lnTo>
                  <a:lnTo>
                    <a:pt x="0" y="261619"/>
                  </a:lnTo>
                  <a:lnTo>
                    <a:pt x="402" y="250189"/>
                  </a:lnTo>
                  <a:lnTo>
                    <a:pt x="12020" y="184149"/>
                  </a:lnTo>
                  <a:lnTo>
                    <a:pt x="30494" y="137159"/>
                  </a:lnTo>
                  <a:lnTo>
                    <a:pt x="56940" y="96519"/>
                  </a:lnTo>
                  <a:lnTo>
                    <a:pt x="91233" y="62229"/>
                  </a:lnTo>
                  <a:lnTo>
                    <a:pt x="133250" y="34289"/>
                  </a:lnTo>
                  <a:lnTo>
                    <a:pt x="182865" y="12699"/>
                  </a:lnTo>
                  <a:lnTo>
                    <a:pt x="231670" y="1269"/>
                  </a:lnTo>
                  <a:lnTo>
                    <a:pt x="248360" y="0"/>
                  </a:lnTo>
                  <a:lnTo>
                    <a:pt x="281791" y="0"/>
                  </a:lnTo>
                  <a:lnTo>
                    <a:pt x="331193" y="8889"/>
                  </a:lnTo>
                  <a:lnTo>
                    <a:pt x="377873" y="26669"/>
                  </a:lnTo>
                  <a:lnTo>
                    <a:pt x="420088" y="53339"/>
                  </a:lnTo>
                  <a:lnTo>
                    <a:pt x="432907" y="64769"/>
                  </a:lnTo>
                  <a:lnTo>
                    <a:pt x="387628" y="109219"/>
                  </a:lnTo>
                  <a:lnTo>
                    <a:pt x="365245" y="132079"/>
                  </a:lnTo>
                  <a:lnTo>
                    <a:pt x="342978" y="153669"/>
                  </a:lnTo>
                  <a:lnTo>
                    <a:pt x="325038" y="171449"/>
                  </a:lnTo>
                  <a:lnTo>
                    <a:pt x="316299" y="181609"/>
                  </a:lnTo>
                  <a:lnTo>
                    <a:pt x="307942" y="190499"/>
                  </a:lnTo>
                  <a:lnTo>
                    <a:pt x="290485" y="227329"/>
                  </a:lnTo>
                  <a:lnTo>
                    <a:pt x="289014" y="243839"/>
                  </a:lnTo>
                  <a:lnTo>
                    <a:pt x="289504" y="252729"/>
                  </a:lnTo>
                  <a:lnTo>
                    <a:pt x="290255" y="257809"/>
                  </a:lnTo>
                  <a:lnTo>
                    <a:pt x="292699" y="267969"/>
                  </a:lnTo>
                  <a:lnTo>
                    <a:pt x="294371" y="271779"/>
                  </a:lnTo>
                  <a:lnTo>
                    <a:pt x="298615" y="281939"/>
                  </a:lnTo>
                  <a:lnTo>
                    <a:pt x="307049" y="294639"/>
                  </a:lnTo>
                  <a:lnTo>
                    <a:pt x="310361" y="298449"/>
                  </a:lnTo>
                  <a:lnTo>
                    <a:pt x="317702" y="306069"/>
                  </a:lnTo>
                  <a:lnTo>
                    <a:pt x="321665" y="308609"/>
                  </a:lnTo>
                  <a:lnTo>
                    <a:pt x="330183" y="314959"/>
                  </a:lnTo>
                  <a:lnTo>
                    <a:pt x="334668" y="317499"/>
                  </a:lnTo>
                  <a:lnTo>
                    <a:pt x="344087" y="321309"/>
                  </a:lnTo>
                  <a:lnTo>
                    <a:pt x="358945" y="325119"/>
                  </a:lnTo>
                  <a:lnTo>
                    <a:pt x="364009" y="325119"/>
                  </a:lnTo>
                  <a:lnTo>
                    <a:pt x="374260" y="326389"/>
                  </a:lnTo>
                  <a:lnTo>
                    <a:pt x="650455" y="326389"/>
                  </a:lnTo>
                  <a:lnTo>
                    <a:pt x="673534" y="349249"/>
                  </a:lnTo>
                  <a:lnTo>
                    <a:pt x="561662" y="349249"/>
                  </a:lnTo>
                  <a:lnTo>
                    <a:pt x="556625" y="351789"/>
                  </a:lnTo>
                  <a:lnTo>
                    <a:pt x="547273" y="367029"/>
                  </a:lnTo>
                  <a:lnTo>
                    <a:pt x="547517" y="370839"/>
                  </a:lnTo>
                  <a:lnTo>
                    <a:pt x="170363" y="370839"/>
                  </a:lnTo>
                  <a:lnTo>
                    <a:pt x="158727" y="372109"/>
                  </a:lnTo>
                  <a:lnTo>
                    <a:pt x="153022" y="372109"/>
                  </a:lnTo>
                  <a:lnTo>
                    <a:pt x="141840" y="375919"/>
                  </a:lnTo>
                  <a:lnTo>
                    <a:pt x="93227" y="414019"/>
                  </a:lnTo>
                  <a:lnTo>
                    <a:pt x="80828" y="425449"/>
                  </a:lnTo>
                  <a:lnTo>
                    <a:pt x="68060" y="436879"/>
                  </a:lnTo>
                  <a:close/>
                </a:path>
                <a:path w="923925" h="751839">
                  <a:moveTo>
                    <a:pt x="381237" y="287019"/>
                  </a:moveTo>
                  <a:lnTo>
                    <a:pt x="365699" y="287019"/>
                  </a:lnTo>
                  <a:lnTo>
                    <a:pt x="355671" y="284479"/>
                  </a:lnTo>
                  <a:lnTo>
                    <a:pt x="328907" y="251459"/>
                  </a:lnTo>
                  <a:lnTo>
                    <a:pt x="327978" y="243839"/>
                  </a:lnTo>
                  <a:lnTo>
                    <a:pt x="327992" y="240029"/>
                  </a:lnTo>
                  <a:lnTo>
                    <a:pt x="369456" y="182879"/>
                  </a:lnTo>
                  <a:lnTo>
                    <a:pt x="423992" y="128269"/>
                  </a:lnTo>
                  <a:lnTo>
                    <a:pt x="451175" y="101599"/>
                  </a:lnTo>
                  <a:lnTo>
                    <a:pt x="469750" y="81279"/>
                  </a:lnTo>
                  <a:lnTo>
                    <a:pt x="489628" y="64769"/>
                  </a:lnTo>
                  <a:lnTo>
                    <a:pt x="533296" y="33019"/>
                  </a:lnTo>
                  <a:lnTo>
                    <a:pt x="593677" y="8889"/>
                  </a:lnTo>
                  <a:lnTo>
                    <a:pt x="658136" y="0"/>
                  </a:lnTo>
                  <a:lnTo>
                    <a:pt x="690317" y="2539"/>
                  </a:lnTo>
                  <a:lnTo>
                    <a:pt x="752386" y="17779"/>
                  </a:lnTo>
                  <a:lnTo>
                    <a:pt x="792917" y="34289"/>
                  </a:lnTo>
                  <a:lnTo>
                    <a:pt x="829780" y="59689"/>
                  </a:lnTo>
                  <a:lnTo>
                    <a:pt x="861603" y="91439"/>
                  </a:lnTo>
                  <a:lnTo>
                    <a:pt x="883459" y="124459"/>
                  </a:lnTo>
                  <a:lnTo>
                    <a:pt x="898518" y="152399"/>
                  </a:lnTo>
                  <a:lnTo>
                    <a:pt x="530168" y="152399"/>
                  </a:lnTo>
                  <a:lnTo>
                    <a:pt x="502482" y="179069"/>
                  </a:lnTo>
                  <a:lnTo>
                    <a:pt x="464135" y="217169"/>
                  </a:lnTo>
                  <a:lnTo>
                    <a:pt x="427210" y="252729"/>
                  </a:lnTo>
                  <a:lnTo>
                    <a:pt x="403790" y="274319"/>
                  </a:lnTo>
                  <a:lnTo>
                    <a:pt x="400038" y="278129"/>
                  </a:lnTo>
                  <a:lnTo>
                    <a:pt x="395776" y="281939"/>
                  </a:lnTo>
                  <a:lnTo>
                    <a:pt x="386229" y="285749"/>
                  </a:lnTo>
                  <a:lnTo>
                    <a:pt x="381237" y="287019"/>
                  </a:lnTo>
                  <a:close/>
                </a:path>
                <a:path w="923925" h="751839">
                  <a:moveTo>
                    <a:pt x="836330" y="459739"/>
                  </a:moveTo>
                  <a:lnTo>
                    <a:pt x="828336" y="450849"/>
                  </a:lnTo>
                  <a:lnTo>
                    <a:pt x="805148" y="426719"/>
                  </a:lnTo>
                  <a:lnTo>
                    <a:pt x="774955" y="396239"/>
                  </a:lnTo>
                  <a:lnTo>
                    <a:pt x="761012" y="380999"/>
                  </a:lnTo>
                  <a:lnTo>
                    <a:pt x="738985" y="359409"/>
                  </a:lnTo>
                  <a:lnTo>
                    <a:pt x="709519" y="330199"/>
                  </a:lnTo>
                  <a:lnTo>
                    <a:pt x="673258" y="293369"/>
                  </a:lnTo>
                  <a:lnTo>
                    <a:pt x="530168" y="152399"/>
                  </a:lnTo>
                  <a:lnTo>
                    <a:pt x="898518" y="152399"/>
                  </a:lnTo>
                  <a:lnTo>
                    <a:pt x="901146" y="157479"/>
                  </a:lnTo>
                  <a:lnTo>
                    <a:pt x="917842" y="208279"/>
                  </a:lnTo>
                  <a:lnTo>
                    <a:pt x="923778" y="261619"/>
                  </a:lnTo>
                  <a:lnTo>
                    <a:pt x="923293" y="279399"/>
                  </a:lnTo>
                  <a:lnTo>
                    <a:pt x="909864" y="342899"/>
                  </a:lnTo>
                  <a:lnTo>
                    <a:pt x="881814" y="401319"/>
                  </a:lnTo>
                  <a:lnTo>
                    <a:pt x="853672" y="438149"/>
                  </a:lnTo>
                  <a:lnTo>
                    <a:pt x="847748" y="445769"/>
                  </a:lnTo>
                  <a:lnTo>
                    <a:pt x="841935" y="452119"/>
                  </a:lnTo>
                  <a:lnTo>
                    <a:pt x="836330" y="459739"/>
                  </a:lnTo>
                  <a:close/>
                </a:path>
                <a:path w="923925" h="751839">
                  <a:moveTo>
                    <a:pt x="650455" y="326389"/>
                  </a:moveTo>
                  <a:lnTo>
                    <a:pt x="374260" y="326389"/>
                  </a:lnTo>
                  <a:lnTo>
                    <a:pt x="379361" y="325119"/>
                  </a:lnTo>
                  <a:lnTo>
                    <a:pt x="389515" y="323849"/>
                  </a:lnTo>
                  <a:lnTo>
                    <a:pt x="404200" y="320039"/>
                  </a:lnTo>
                  <a:lnTo>
                    <a:pt x="408868" y="317499"/>
                  </a:lnTo>
                  <a:lnTo>
                    <a:pt x="417820" y="312419"/>
                  </a:lnTo>
                  <a:lnTo>
                    <a:pt x="422031" y="309879"/>
                  </a:lnTo>
                  <a:lnTo>
                    <a:pt x="425975" y="306069"/>
                  </a:lnTo>
                  <a:lnTo>
                    <a:pt x="443046" y="290829"/>
                  </a:lnTo>
                  <a:lnTo>
                    <a:pt x="469891" y="264159"/>
                  </a:lnTo>
                  <a:lnTo>
                    <a:pt x="500814" y="234949"/>
                  </a:lnTo>
                  <a:lnTo>
                    <a:pt x="530118" y="205739"/>
                  </a:lnTo>
                  <a:lnTo>
                    <a:pt x="563856" y="240029"/>
                  </a:lnTo>
                  <a:lnTo>
                    <a:pt x="650455" y="326389"/>
                  </a:lnTo>
                  <a:close/>
                </a:path>
                <a:path w="923925" h="751839">
                  <a:moveTo>
                    <a:pt x="767496" y="521969"/>
                  </a:moveTo>
                  <a:lnTo>
                    <a:pt x="760343" y="521969"/>
                  </a:lnTo>
                  <a:lnTo>
                    <a:pt x="746023" y="518159"/>
                  </a:lnTo>
                  <a:lnTo>
                    <a:pt x="740004" y="514349"/>
                  </a:lnTo>
                  <a:lnTo>
                    <a:pt x="735127" y="507999"/>
                  </a:lnTo>
                  <a:lnTo>
                    <a:pt x="660667" y="434339"/>
                  </a:lnTo>
                  <a:lnTo>
                    <a:pt x="584636" y="358139"/>
                  </a:lnTo>
                  <a:lnTo>
                    <a:pt x="583135" y="356869"/>
                  </a:lnTo>
                  <a:lnTo>
                    <a:pt x="581408" y="355599"/>
                  </a:lnTo>
                  <a:lnTo>
                    <a:pt x="579520" y="353059"/>
                  </a:lnTo>
                  <a:lnTo>
                    <a:pt x="577327" y="351789"/>
                  </a:lnTo>
                  <a:lnTo>
                    <a:pt x="572330" y="349249"/>
                  </a:lnTo>
                  <a:lnTo>
                    <a:pt x="673534" y="349249"/>
                  </a:lnTo>
                  <a:lnTo>
                    <a:pt x="784752" y="459739"/>
                  </a:lnTo>
                  <a:lnTo>
                    <a:pt x="787087" y="462279"/>
                  </a:lnTo>
                  <a:lnTo>
                    <a:pt x="789136" y="463549"/>
                  </a:lnTo>
                  <a:lnTo>
                    <a:pt x="797580" y="486409"/>
                  </a:lnTo>
                  <a:lnTo>
                    <a:pt x="797509" y="488949"/>
                  </a:lnTo>
                  <a:lnTo>
                    <a:pt x="788033" y="510539"/>
                  </a:lnTo>
                  <a:lnTo>
                    <a:pt x="785883" y="513079"/>
                  </a:lnTo>
                  <a:lnTo>
                    <a:pt x="781038" y="516889"/>
                  </a:lnTo>
                  <a:lnTo>
                    <a:pt x="778424" y="518159"/>
                  </a:lnTo>
                  <a:lnTo>
                    <a:pt x="775618" y="519429"/>
                  </a:lnTo>
                  <a:lnTo>
                    <a:pt x="774642" y="519429"/>
                  </a:lnTo>
                  <a:lnTo>
                    <a:pt x="767496" y="521969"/>
                  </a:lnTo>
                  <a:close/>
                </a:path>
                <a:path w="923925" h="751839">
                  <a:moveTo>
                    <a:pt x="536728" y="751839"/>
                  </a:moveTo>
                  <a:lnTo>
                    <a:pt x="529185" y="751839"/>
                  </a:lnTo>
                  <a:lnTo>
                    <a:pt x="518380" y="748029"/>
                  </a:lnTo>
                  <a:lnTo>
                    <a:pt x="470345" y="703579"/>
                  </a:lnTo>
                  <a:lnTo>
                    <a:pt x="467561" y="697229"/>
                  </a:lnTo>
                  <a:lnTo>
                    <a:pt x="468293" y="694689"/>
                  </a:lnTo>
                  <a:lnTo>
                    <a:pt x="469836" y="688339"/>
                  </a:lnTo>
                  <a:lnTo>
                    <a:pt x="470748" y="683259"/>
                  </a:lnTo>
                  <a:lnTo>
                    <a:pt x="471188" y="674369"/>
                  </a:lnTo>
                  <a:lnTo>
                    <a:pt x="471225" y="670559"/>
                  </a:lnTo>
                  <a:lnTo>
                    <a:pt x="470958" y="666749"/>
                  </a:lnTo>
                  <a:lnTo>
                    <a:pt x="453512" y="626109"/>
                  </a:lnTo>
                  <a:lnTo>
                    <a:pt x="421390" y="604519"/>
                  </a:lnTo>
                  <a:lnTo>
                    <a:pt x="410504" y="600709"/>
                  </a:lnTo>
                  <a:lnTo>
                    <a:pt x="397956" y="600709"/>
                  </a:lnTo>
                  <a:lnTo>
                    <a:pt x="396592" y="599439"/>
                  </a:lnTo>
                  <a:lnTo>
                    <a:pt x="395256" y="599439"/>
                  </a:lnTo>
                  <a:lnTo>
                    <a:pt x="388344" y="568959"/>
                  </a:lnTo>
                  <a:lnTo>
                    <a:pt x="373291" y="546099"/>
                  </a:lnTo>
                  <a:lnTo>
                    <a:pt x="350096" y="530859"/>
                  </a:lnTo>
                  <a:lnTo>
                    <a:pt x="318753" y="523239"/>
                  </a:lnTo>
                  <a:lnTo>
                    <a:pt x="311734" y="492759"/>
                  </a:lnTo>
                  <a:lnTo>
                    <a:pt x="296851" y="469899"/>
                  </a:lnTo>
                  <a:lnTo>
                    <a:pt x="274107" y="454659"/>
                  </a:lnTo>
                  <a:lnTo>
                    <a:pt x="243501" y="447039"/>
                  </a:lnTo>
                  <a:lnTo>
                    <a:pt x="241691" y="439419"/>
                  </a:lnTo>
                  <a:lnTo>
                    <a:pt x="239525" y="430529"/>
                  </a:lnTo>
                  <a:lnTo>
                    <a:pt x="237005" y="422909"/>
                  </a:lnTo>
                  <a:lnTo>
                    <a:pt x="234129" y="414019"/>
                  </a:lnTo>
                  <a:lnTo>
                    <a:pt x="208531" y="383539"/>
                  </a:lnTo>
                  <a:lnTo>
                    <a:pt x="176128" y="372109"/>
                  </a:lnTo>
                  <a:lnTo>
                    <a:pt x="170363" y="370839"/>
                  </a:lnTo>
                  <a:lnTo>
                    <a:pt x="547517" y="370839"/>
                  </a:lnTo>
                  <a:lnTo>
                    <a:pt x="547598" y="372109"/>
                  </a:lnTo>
                  <a:lnTo>
                    <a:pt x="548267" y="374649"/>
                  </a:lnTo>
                  <a:lnTo>
                    <a:pt x="552204" y="380999"/>
                  </a:lnTo>
                  <a:lnTo>
                    <a:pt x="554205" y="382269"/>
                  </a:lnTo>
                  <a:lnTo>
                    <a:pt x="564451" y="393699"/>
                  </a:lnTo>
                  <a:lnTo>
                    <a:pt x="596892" y="425449"/>
                  </a:lnTo>
                  <a:lnTo>
                    <a:pt x="484789" y="425449"/>
                  </a:lnTo>
                  <a:lnTo>
                    <a:pt x="480139" y="427989"/>
                  </a:lnTo>
                  <a:lnTo>
                    <a:pt x="478085" y="429259"/>
                  </a:lnTo>
                  <a:lnTo>
                    <a:pt x="476301" y="430529"/>
                  </a:lnTo>
                  <a:lnTo>
                    <a:pt x="474460" y="433069"/>
                  </a:lnTo>
                  <a:lnTo>
                    <a:pt x="473042" y="434339"/>
                  </a:lnTo>
                  <a:lnTo>
                    <a:pt x="471055" y="439419"/>
                  </a:lnTo>
                  <a:lnTo>
                    <a:pt x="470568" y="441959"/>
                  </a:lnTo>
                  <a:lnTo>
                    <a:pt x="470606" y="447039"/>
                  </a:lnTo>
                  <a:lnTo>
                    <a:pt x="471129" y="449579"/>
                  </a:lnTo>
                  <a:lnTo>
                    <a:pt x="473186" y="453389"/>
                  </a:lnTo>
                  <a:lnTo>
                    <a:pt x="474634" y="455929"/>
                  </a:lnTo>
                  <a:lnTo>
                    <a:pt x="476501" y="457199"/>
                  </a:lnTo>
                  <a:lnTo>
                    <a:pt x="488873" y="469899"/>
                  </a:lnTo>
                  <a:lnTo>
                    <a:pt x="508976" y="490219"/>
                  </a:lnTo>
                  <a:lnTo>
                    <a:pt x="398362" y="490219"/>
                  </a:lnTo>
                  <a:lnTo>
                    <a:pt x="395997" y="491489"/>
                  </a:lnTo>
                  <a:lnTo>
                    <a:pt x="382196" y="511809"/>
                  </a:lnTo>
                  <a:lnTo>
                    <a:pt x="382642" y="514349"/>
                  </a:lnTo>
                  <a:lnTo>
                    <a:pt x="384465" y="518159"/>
                  </a:lnTo>
                  <a:lnTo>
                    <a:pt x="385776" y="520699"/>
                  </a:lnTo>
                  <a:lnTo>
                    <a:pt x="387486" y="521969"/>
                  </a:lnTo>
                  <a:lnTo>
                    <a:pt x="447221" y="581659"/>
                  </a:lnTo>
                  <a:lnTo>
                    <a:pt x="448439" y="584199"/>
                  </a:lnTo>
                  <a:lnTo>
                    <a:pt x="449811" y="585469"/>
                  </a:lnTo>
                  <a:lnTo>
                    <a:pt x="477119" y="612139"/>
                  </a:lnTo>
                  <a:lnTo>
                    <a:pt x="528761" y="664209"/>
                  </a:lnTo>
                  <a:lnTo>
                    <a:pt x="554556" y="689609"/>
                  </a:lnTo>
                  <a:lnTo>
                    <a:pt x="556562" y="692149"/>
                  </a:lnTo>
                  <a:lnTo>
                    <a:pt x="567083" y="720089"/>
                  </a:lnTo>
                  <a:lnTo>
                    <a:pt x="566748" y="722629"/>
                  </a:lnTo>
                  <a:lnTo>
                    <a:pt x="565500" y="727709"/>
                  </a:lnTo>
                  <a:lnTo>
                    <a:pt x="564603" y="730249"/>
                  </a:lnTo>
                  <a:lnTo>
                    <a:pt x="562262" y="734059"/>
                  </a:lnTo>
                  <a:lnTo>
                    <a:pt x="560847" y="736599"/>
                  </a:lnTo>
                  <a:lnTo>
                    <a:pt x="557529" y="740409"/>
                  </a:lnTo>
                  <a:lnTo>
                    <a:pt x="555668" y="742949"/>
                  </a:lnTo>
                  <a:lnTo>
                    <a:pt x="553605" y="744219"/>
                  </a:lnTo>
                  <a:lnTo>
                    <a:pt x="550696" y="746759"/>
                  </a:lnTo>
                  <a:lnTo>
                    <a:pt x="547470" y="748029"/>
                  </a:lnTo>
                  <a:lnTo>
                    <a:pt x="540385" y="750569"/>
                  </a:lnTo>
                  <a:lnTo>
                    <a:pt x="536728" y="751839"/>
                  </a:lnTo>
                  <a:close/>
                </a:path>
                <a:path w="923925" h="751839">
                  <a:moveTo>
                    <a:pt x="137581" y="513079"/>
                  </a:moveTo>
                  <a:lnTo>
                    <a:pt x="128847" y="513079"/>
                  </a:lnTo>
                  <a:lnTo>
                    <a:pt x="124660" y="511809"/>
                  </a:lnTo>
                  <a:lnTo>
                    <a:pt x="116642" y="507999"/>
                  </a:lnTo>
                  <a:lnTo>
                    <a:pt x="113105" y="505459"/>
                  </a:lnTo>
                  <a:lnTo>
                    <a:pt x="110041" y="502919"/>
                  </a:lnTo>
                  <a:lnTo>
                    <a:pt x="106756" y="500379"/>
                  </a:lnTo>
                  <a:lnTo>
                    <a:pt x="104188" y="496569"/>
                  </a:lnTo>
                  <a:lnTo>
                    <a:pt x="100483" y="487679"/>
                  </a:lnTo>
                  <a:lnTo>
                    <a:pt x="99492" y="483869"/>
                  </a:lnTo>
                  <a:lnTo>
                    <a:pt x="99233" y="474979"/>
                  </a:lnTo>
                  <a:lnTo>
                    <a:pt x="99975" y="471169"/>
                  </a:lnTo>
                  <a:lnTo>
                    <a:pt x="103202" y="462279"/>
                  </a:lnTo>
                  <a:lnTo>
                    <a:pt x="105561" y="458469"/>
                  </a:lnTo>
                  <a:lnTo>
                    <a:pt x="108664" y="455929"/>
                  </a:lnTo>
                  <a:lnTo>
                    <a:pt x="117396" y="445769"/>
                  </a:lnTo>
                  <a:lnTo>
                    <a:pt x="145214" y="419099"/>
                  </a:lnTo>
                  <a:lnTo>
                    <a:pt x="166148" y="408939"/>
                  </a:lnTo>
                  <a:lnTo>
                    <a:pt x="173267" y="408939"/>
                  </a:lnTo>
                  <a:lnTo>
                    <a:pt x="179805" y="411479"/>
                  </a:lnTo>
                  <a:lnTo>
                    <a:pt x="191717" y="419099"/>
                  </a:lnTo>
                  <a:lnTo>
                    <a:pt x="196199" y="424179"/>
                  </a:lnTo>
                  <a:lnTo>
                    <a:pt x="199206" y="430529"/>
                  </a:lnTo>
                  <a:lnTo>
                    <a:pt x="202416" y="436879"/>
                  </a:lnTo>
                  <a:lnTo>
                    <a:pt x="203547" y="443229"/>
                  </a:lnTo>
                  <a:lnTo>
                    <a:pt x="201653" y="455929"/>
                  </a:lnTo>
                  <a:lnTo>
                    <a:pt x="198811" y="462279"/>
                  </a:lnTo>
                  <a:lnTo>
                    <a:pt x="194076" y="466089"/>
                  </a:lnTo>
                  <a:lnTo>
                    <a:pt x="185126" y="476249"/>
                  </a:lnTo>
                  <a:lnTo>
                    <a:pt x="153629" y="506729"/>
                  </a:lnTo>
                  <a:lnTo>
                    <a:pt x="141807" y="511809"/>
                  </a:lnTo>
                  <a:lnTo>
                    <a:pt x="137581" y="513079"/>
                  </a:lnTo>
                  <a:close/>
                </a:path>
                <a:path w="923925" h="751839">
                  <a:moveTo>
                    <a:pt x="686391" y="598169"/>
                  </a:moveTo>
                  <a:lnTo>
                    <a:pt x="682774" y="598169"/>
                  </a:lnTo>
                  <a:lnTo>
                    <a:pt x="679207" y="596899"/>
                  </a:lnTo>
                  <a:lnTo>
                    <a:pt x="671806" y="594359"/>
                  </a:lnTo>
                  <a:lnTo>
                    <a:pt x="665366" y="590549"/>
                  </a:lnTo>
                  <a:lnTo>
                    <a:pt x="584846" y="511809"/>
                  </a:lnTo>
                  <a:lnTo>
                    <a:pt x="510010" y="436879"/>
                  </a:lnTo>
                  <a:lnTo>
                    <a:pt x="507918" y="434339"/>
                  </a:lnTo>
                  <a:lnTo>
                    <a:pt x="505699" y="431799"/>
                  </a:lnTo>
                  <a:lnTo>
                    <a:pt x="503353" y="430529"/>
                  </a:lnTo>
                  <a:lnTo>
                    <a:pt x="501512" y="429259"/>
                  </a:lnTo>
                  <a:lnTo>
                    <a:pt x="499414" y="427989"/>
                  </a:lnTo>
                  <a:lnTo>
                    <a:pt x="494703" y="425449"/>
                  </a:lnTo>
                  <a:lnTo>
                    <a:pt x="596892" y="425449"/>
                  </a:lnTo>
                  <a:lnTo>
                    <a:pt x="653317" y="481329"/>
                  </a:lnTo>
                  <a:lnTo>
                    <a:pt x="710865" y="539749"/>
                  </a:lnTo>
                  <a:lnTo>
                    <a:pt x="713536" y="542289"/>
                  </a:lnTo>
                  <a:lnTo>
                    <a:pt x="715711" y="544829"/>
                  </a:lnTo>
                  <a:lnTo>
                    <a:pt x="719070" y="551179"/>
                  </a:lnTo>
                  <a:lnTo>
                    <a:pt x="720164" y="554989"/>
                  </a:lnTo>
                  <a:lnTo>
                    <a:pt x="721184" y="562609"/>
                  </a:lnTo>
                  <a:lnTo>
                    <a:pt x="721082" y="566419"/>
                  </a:lnTo>
                  <a:lnTo>
                    <a:pt x="719656" y="574039"/>
                  </a:lnTo>
                  <a:lnTo>
                    <a:pt x="718369" y="577849"/>
                  </a:lnTo>
                  <a:lnTo>
                    <a:pt x="716508" y="580389"/>
                  </a:lnTo>
                  <a:lnTo>
                    <a:pt x="714736" y="584199"/>
                  </a:lnTo>
                  <a:lnTo>
                    <a:pt x="712490" y="586739"/>
                  </a:lnTo>
                  <a:lnTo>
                    <a:pt x="707049" y="591819"/>
                  </a:lnTo>
                  <a:lnTo>
                    <a:pt x="704001" y="593089"/>
                  </a:lnTo>
                  <a:lnTo>
                    <a:pt x="697250" y="596899"/>
                  </a:lnTo>
                  <a:lnTo>
                    <a:pt x="693728" y="596899"/>
                  </a:lnTo>
                  <a:lnTo>
                    <a:pt x="686391" y="598169"/>
                  </a:lnTo>
                  <a:close/>
                </a:path>
                <a:path w="923925" h="751839">
                  <a:moveTo>
                    <a:pt x="208325" y="589279"/>
                  </a:moveTo>
                  <a:lnTo>
                    <a:pt x="176698" y="563879"/>
                  </a:lnTo>
                  <a:lnTo>
                    <a:pt x="175336" y="557529"/>
                  </a:lnTo>
                  <a:lnTo>
                    <a:pt x="176195" y="549909"/>
                  </a:lnTo>
                  <a:lnTo>
                    <a:pt x="202497" y="513079"/>
                  </a:lnTo>
                  <a:lnTo>
                    <a:pt x="211257" y="505459"/>
                  </a:lnTo>
                  <a:lnTo>
                    <a:pt x="220253" y="496569"/>
                  </a:lnTo>
                  <a:lnTo>
                    <a:pt x="223465" y="492759"/>
                  </a:lnTo>
                  <a:lnTo>
                    <a:pt x="227130" y="491489"/>
                  </a:lnTo>
                  <a:lnTo>
                    <a:pt x="235366" y="487679"/>
                  </a:lnTo>
                  <a:lnTo>
                    <a:pt x="239648" y="486409"/>
                  </a:lnTo>
                  <a:lnTo>
                    <a:pt x="248543" y="486409"/>
                  </a:lnTo>
                  <a:lnTo>
                    <a:pt x="252845" y="487679"/>
                  </a:lnTo>
                  <a:lnTo>
                    <a:pt x="261154" y="490219"/>
                  </a:lnTo>
                  <a:lnTo>
                    <a:pt x="264871" y="492759"/>
                  </a:lnTo>
                  <a:lnTo>
                    <a:pt x="268152" y="495299"/>
                  </a:lnTo>
                  <a:lnTo>
                    <a:pt x="271564" y="499109"/>
                  </a:lnTo>
                  <a:lnTo>
                    <a:pt x="274239" y="502919"/>
                  </a:lnTo>
                  <a:lnTo>
                    <a:pt x="278114" y="510539"/>
                  </a:lnTo>
                  <a:lnTo>
                    <a:pt x="279158" y="515619"/>
                  </a:lnTo>
                  <a:lnTo>
                    <a:pt x="279458" y="524509"/>
                  </a:lnTo>
                  <a:lnTo>
                    <a:pt x="278703" y="528319"/>
                  </a:lnTo>
                  <a:lnTo>
                    <a:pt x="251888" y="562609"/>
                  </a:lnTo>
                  <a:lnTo>
                    <a:pt x="233153" y="580389"/>
                  </a:lnTo>
                  <a:lnTo>
                    <a:pt x="228088" y="585469"/>
                  </a:lnTo>
                  <a:lnTo>
                    <a:pt x="222109" y="588009"/>
                  </a:lnTo>
                  <a:lnTo>
                    <a:pt x="208325" y="589279"/>
                  </a:lnTo>
                  <a:close/>
                </a:path>
                <a:path w="923925" h="751839">
                  <a:moveTo>
                    <a:pt x="615953" y="674369"/>
                  </a:moveTo>
                  <a:lnTo>
                    <a:pt x="601547" y="674369"/>
                  </a:lnTo>
                  <a:lnTo>
                    <a:pt x="592523" y="670559"/>
                  </a:lnTo>
                  <a:lnTo>
                    <a:pt x="588573" y="668019"/>
                  </a:lnTo>
                  <a:lnTo>
                    <a:pt x="585187" y="664209"/>
                  </a:lnTo>
                  <a:lnTo>
                    <a:pt x="566512" y="645159"/>
                  </a:lnTo>
                  <a:lnTo>
                    <a:pt x="547982" y="627379"/>
                  </a:lnTo>
                  <a:lnTo>
                    <a:pt x="529501" y="608329"/>
                  </a:lnTo>
                  <a:lnTo>
                    <a:pt x="502971" y="582929"/>
                  </a:lnTo>
                  <a:lnTo>
                    <a:pt x="477240" y="558799"/>
                  </a:lnTo>
                  <a:lnTo>
                    <a:pt x="475709" y="557529"/>
                  </a:lnTo>
                  <a:lnTo>
                    <a:pt x="474086" y="556259"/>
                  </a:lnTo>
                  <a:lnTo>
                    <a:pt x="414025" y="495299"/>
                  </a:lnTo>
                  <a:lnTo>
                    <a:pt x="412255" y="494029"/>
                  </a:lnTo>
                  <a:lnTo>
                    <a:pt x="410227" y="492759"/>
                  </a:lnTo>
                  <a:lnTo>
                    <a:pt x="405656" y="491489"/>
                  </a:lnTo>
                  <a:lnTo>
                    <a:pt x="403283" y="490219"/>
                  </a:lnTo>
                  <a:lnTo>
                    <a:pt x="508976" y="490219"/>
                  </a:lnTo>
                  <a:lnTo>
                    <a:pt x="579533" y="561339"/>
                  </a:lnTo>
                  <a:lnTo>
                    <a:pt x="605950" y="586739"/>
                  </a:lnTo>
                  <a:lnTo>
                    <a:pt x="632285" y="613409"/>
                  </a:lnTo>
                  <a:lnTo>
                    <a:pt x="635682" y="615949"/>
                  </a:lnTo>
                  <a:lnTo>
                    <a:pt x="638394" y="619759"/>
                  </a:lnTo>
                  <a:lnTo>
                    <a:pt x="642446" y="628649"/>
                  </a:lnTo>
                  <a:lnTo>
                    <a:pt x="643640" y="632459"/>
                  </a:lnTo>
                  <a:lnTo>
                    <a:pt x="644365" y="641349"/>
                  </a:lnTo>
                  <a:lnTo>
                    <a:pt x="643869" y="646429"/>
                  </a:lnTo>
                  <a:lnTo>
                    <a:pt x="641163" y="654049"/>
                  </a:lnTo>
                  <a:lnTo>
                    <a:pt x="639050" y="659129"/>
                  </a:lnTo>
                  <a:lnTo>
                    <a:pt x="636176" y="661669"/>
                  </a:lnTo>
                  <a:lnTo>
                    <a:pt x="633052" y="665479"/>
                  </a:lnTo>
                  <a:lnTo>
                    <a:pt x="629305" y="669289"/>
                  </a:lnTo>
                  <a:lnTo>
                    <a:pt x="620567" y="673099"/>
                  </a:lnTo>
                  <a:lnTo>
                    <a:pt x="615953" y="674369"/>
                  </a:lnTo>
                  <a:close/>
                </a:path>
                <a:path w="923925" h="751839">
                  <a:moveTo>
                    <a:pt x="292444" y="665479"/>
                  </a:moveTo>
                  <a:lnTo>
                    <a:pt x="283134" y="665479"/>
                  </a:lnTo>
                  <a:lnTo>
                    <a:pt x="278648" y="664209"/>
                  </a:lnTo>
                  <a:lnTo>
                    <a:pt x="252764" y="634999"/>
                  </a:lnTo>
                  <a:lnTo>
                    <a:pt x="252905" y="626109"/>
                  </a:lnTo>
                  <a:lnTo>
                    <a:pt x="271790" y="598169"/>
                  </a:lnTo>
                  <a:lnTo>
                    <a:pt x="280040" y="589279"/>
                  </a:lnTo>
                  <a:lnTo>
                    <a:pt x="288424" y="580389"/>
                  </a:lnTo>
                  <a:lnTo>
                    <a:pt x="296968" y="572769"/>
                  </a:lnTo>
                  <a:lnTo>
                    <a:pt x="301899" y="567689"/>
                  </a:lnTo>
                  <a:lnTo>
                    <a:pt x="307879" y="563879"/>
                  </a:lnTo>
                  <a:lnTo>
                    <a:pt x="321940" y="562609"/>
                  </a:lnTo>
                  <a:lnTo>
                    <a:pt x="328664" y="562609"/>
                  </a:lnTo>
                  <a:lnTo>
                    <a:pt x="335082" y="566419"/>
                  </a:lnTo>
                  <a:lnTo>
                    <a:pt x="343943" y="571499"/>
                  </a:lnTo>
                  <a:lnTo>
                    <a:pt x="350202" y="579119"/>
                  </a:lnTo>
                  <a:lnTo>
                    <a:pt x="354151" y="589279"/>
                  </a:lnTo>
                  <a:lnTo>
                    <a:pt x="356079" y="601979"/>
                  </a:lnTo>
                  <a:lnTo>
                    <a:pt x="353086" y="609599"/>
                  </a:lnTo>
                  <a:lnTo>
                    <a:pt x="320853" y="646429"/>
                  </a:lnTo>
                  <a:lnTo>
                    <a:pt x="312447" y="655319"/>
                  </a:lnTo>
                  <a:lnTo>
                    <a:pt x="309213" y="657859"/>
                  </a:lnTo>
                  <a:lnTo>
                    <a:pt x="305459" y="660399"/>
                  </a:lnTo>
                  <a:lnTo>
                    <a:pt x="296909" y="664209"/>
                  </a:lnTo>
                  <a:lnTo>
                    <a:pt x="292444" y="665479"/>
                  </a:lnTo>
                  <a:close/>
                </a:path>
                <a:path w="923925" h="751839">
                  <a:moveTo>
                    <a:pt x="361248" y="742949"/>
                  </a:moveTo>
                  <a:lnTo>
                    <a:pt x="354447" y="741679"/>
                  </a:lnTo>
                  <a:lnTo>
                    <a:pt x="341705" y="734059"/>
                  </a:lnTo>
                  <a:lnTo>
                    <a:pt x="336827" y="728979"/>
                  </a:lnTo>
                  <a:lnTo>
                    <a:pt x="333443" y="722629"/>
                  </a:lnTo>
                  <a:lnTo>
                    <a:pt x="330065" y="717549"/>
                  </a:lnTo>
                  <a:lnTo>
                    <a:pt x="328644" y="711199"/>
                  </a:lnTo>
                  <a:lnTo>
                    <a:pt x="329716" y="698499"/>
                  </a:lnTo>
                  <a:lnTo>
                    <a:pt x="332109" y="692149"/>
                  </a:lnTo>
                  <a:lnTo>
                    <a:pt x="366118" y="656589"/>
                  </a:lnTo>
                  <a:lnTo>
                    <a:pt x="392143" y="638809"/>
                  </a:lnTo>
                  <a:lnTo>
                    <a:pt x="405104" y="638809"/>
                  </a:lnTo>
                  <a:lnTo>
                    <a:pt x="409224" y="640079"/>
                  </a:lnTo>
                  <a:lnTo>
                    <a:pt x="416999" y="643889"/>
                  </a:lnTo>
                  <a:lnTo>
                    <a:pt x="420356" y="647699"/>
                  </a:lnTo>
                  <a:lnTo>
                    <a:pt x="423184" y="650239"/>
                  </a:lnTo>
                  <a:lnTo>
                    <a:pt x="426139" y="654049"/>
                  </a:lnTo>
                  <a:lnTo>
                    <a:pt x="428399" y="657859"/>
                  </a:lnTo>
                  <a:lnTo>
                    <a:pt x="431528" y="665479"/>
                  </a:lnTo>
                  <a:lnTo>
                    <a:pt x="432286" y="669289"/>
                  </a:lnTo>
                  <a:lnTo>
                    <a:pt x="432191" y="678179"/>
                  </a:lnTo>
                  <a:lnTo>
                    <a:pt x="431340" y="681989"/>
                  </a:lnTo>
                  <a:lnTo>
                    <a:pt x="428035" y="690879"/>
                  </a:lnTo>
                  <a:lnTo>
                    <a:pt x="425696" y="694689"/>
                  </a:lnTo>
                  <a:lnTo>
                    <a:pt x="422671" y="697229"/>
                  </a:lnTo>
                  <a:lnTo>
                    <a:pt x="414271" y="706119"/>
                  </a:lnTo>
                  <a:lnTo>
                    <a:pt x="405632" y="715009"/>
                  </a:lnTo>
                  <a:lnTo>
                    <a:pt x="396753" y="723899"/>
                  </a:lnTo>
                  <a:lnTo>
                    <a:pt x="387636" y="731519"/>
                  </a:lnTo>
                  <a:lnTo>
                    <a:pt x="381704" y="736599"/>
                  </a:lnTo>
                  <a:lnTo>
                    <a:pt x="375318" y="739139"/>
                  </a:lnTo>
                  <a:lnTo>
                    <a:pt x="368479" y="741679"/>
                  </a:lnTo>
                  <a:lnTo>
                    <a:pt x="361248" y="742949"/>
                  </a:lnTo>
                  <a:close/>
                </a:path>
              </a:pathLst>
            </a:custGeom>
            <a:solidFill>
              <a:srgbClr val="FFFFFF"/>
            </a:solidFill>
          </p:spPr>
          <p:txBody>
            <a:bodyPr wrap="square" lIns="0" tIns="0" rIns="0" bIns="0" rtlCol="0"/>
            <a:lstStyle/>
            <a:p>
              <a:endParaRPr/>
            </a:p>
          </p:txBody>
        </p:sp>
      </p:grpSp>
      <p:sp>
        <p:nvSpPr>
          <p:cNvPr id="14" name="object 14"/>
          <p:cNvSpPr txBox="1"/>
          <p:nvPr/>
        </p:nvSpPr>
        <p:spPr>
          <a:xfrm>
            <a:off x="5283878" y="2864194"/>
            <a:ext cx="3558540"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478790">
              <a:lnSpc>
                <a:spcPct val="100000"/>
              </a:lnSpc>
            </a:pPr>
            <a:r>
              <a:rPr sz="4600" b="1" spc="830" dirty="0">
                <a:solidFill>
                  <a:srgbClr val="F5A316"/>
                </a:solidFill>
                <a:latin typeface="Arial"/>
                <a:cs typeface="Arial"/>
              </a:rPr>
              <a:t>02</a:t>
            </a:r>
            <a:endParaRPr sz="4600">
              <a:latin typeface="Arial"/>
              <a:cs typeface="Arial"/>
            </a:endParaRPr>
          </a:p>
          <a:p>
            <a:pPr marL="478790" marR="447675">
              <a:lnSpc>
                <a:spcPct val="118200"/>
              </a:lnSpc>
              <a:spcBef>
                <a:spcPts val="130"/>
              </a:spcBef>
            </a:pPr>
            <a:r>
              <a:rPr sz="1850" b="1" spc="90" dirty="0">
                <a:solidFill>
                  <a:srgbClr val="FFFFFF"/>
                </a:solidFill>
                <a:latin typeface="Arial"/>
                <a:cs typeface="Arial"/>
              </a:rPr>
              <a:t>Colaboración</a:t>
            </a:r>
            <a:r>
              <a:rPr sz="1850" b="1" spc="20" dirty="0">
                <a:solidFill>
                  <a:srgbClr val="FFFFFF"/>
                </a:solidFill>
                <a:latin typeface="Arial"/>
                <a:cs typeface="Arial"/>
              </a:rPr>
              <a:t> </a:t>
            </a:r>
            <a:r>
              <a:rPr sz="1850" b="1" spc="195" dirty="0">
                <a:solidFill>
                  <a:srgbClr val="FFFFFF"/>
                </a:solidFill>
                <a:latin typeface="Arial"/>
                <a:cs typeface="Arial"/>
              </a:rPr>
              <a:t>para</a:t>
            </a:r>
            <a:r>
              <a:rPr sz="1850" b="1" spc="20" dirty="0">
                <a:solidFill>
                  <a:srgbClr val="FFFFFF"/>
                </a:solidFill>
                <a:latin typeface="Arial"/>
                <a:cs typeface="Arial"/>
              </a:rPr>
              <a:t> </a:t>
            </a:r>
            <a:r>
              <a:rPr sz="1850" b="1" spc="105" dirty="0">
                <a:solidFill>
                  <a:srgbClr val="FFFFFF"/>
                </a:solidFill>
                <a:latin typeface="Arial"/>
                <a:cs typeface="Arial"/>
              </a:rPr>
              <a:t>la </a:t>
            </a:r>
            <a:r>
              <a:rPr sz="1850" b="1" spc="80" dirty="0">
                <a:solidFill>
                  <a:srgbClr val="FFFFFF"/>
                </a:solidFill>
                <a:latin typeface="Arial"/>
                <a:cs typeface="Arial"/>
              </a:rPr>
              <a:t>competitividad</a:t>
            </a:r>
            <a:endParaRPr sz="1850">
              <a:latin typeface="Arial"/>
              <a:cs typeface="Arial"/>
            </a:endParaRPr>
          </a:p>
          <a:p>
            <a:pPr>
              <a:lnSpc>
                <a:spcPct val="100000"/>
              </a:lnSpc>
            </a:pPr>
            <a:endParaRPr sz="2300">
              <a:latin typeface="Arial"/>
              <a:cs typeface="Arial"/>
            </a:endParaRPr>
          </a:p>
          <a:p>
            <a:pPr marL="716280" marR="1081405">
              <a:lnSpc>
                <a:spcPct val="114900"/>
              </a:lnSpc>
              <a:spcBef>
                <a:spcPts val="1780"/>
              </a:spcBef>
            </a:pPr>
            <a:r>
              <a:rPr sz="1850" dirty="0">
                <a:solidFill>
                  <a:srgbClr val="FFFFFF"/>
                </a:solidFill>
                <a:latin typeface="Roboto"/>
                <a:cs typeface="Roboto"/>
              </a:rPr>
              <a:t>Prescriptores</a:t>
            </a:r>
            <a:r>
              <a:rPr sz="1850" spc="-25" dirty="0">
                <a:solidFill>
                  <a:srgbClr val="FFFFFF"/>
                </a:solidFill>
                <a:latin typeface="Roboto"/>
                <a:cs typeface="Roboto"/>
              </a:rPr>
              <a:t> de </a:t>
            </a:r>
            <a:r>
              <a:rPr sz="1850" spc="-10" dirty="0">
                <a:solidFill>
                  <a:srgbClr val="FFFFFF"/>
                </a:solidFill>
                <a:latin typeface="Roboto"/>
                <a:cs typeface="Roboto"/>
              </a:rPr>
              <a:t>reuniones.</a:t>
            </a:r>
            <a:endParaRPr sz="1850">
              <a:latin typeface="Roboto"/>
              <a:cs typeface="Roboto"/>
            </a:endParaRPr>
          </a:p>
          <a:p>
            <a:pPr marL="716280">
              <a:lnSpc>
                <a:spcPct val="100000"/>
              </a:lnSpc>
              <a:spcBef>
                <a:spcPts val="1005"/>
              </a:spcBef>
            </a:pPr>
            <a:r>
              <a:rPr sz="1850" dirty="0">
                <a:solidFill>
                  <a:srgbClr val="FFFFFF"/>
                </a:solidFill>
                <a:latin typeface="Roboto"/>
                <a:cs typeface="Roboto"/>
              </a:rPr>
              <a:t>Convention</a:t>
            </a:r>
            <a:r>
              <a:rPr sz="1850" spc="-15" dirty="0">
                <a:solidFill>
                  <a:srgbClr val="FFFFFF"/>
                </a:solidFill>
                <a:latin typeface="Roboto"/>
                <a:cs typeface="Roboto"/>
              </a:rPr>
              <a:t> </a:t>
            </a:r>
            <a:r>
              <a:rPr sz="1850" spc="-10" dirty="0">
                <a:solidFill>
                  <a:srgbClr val="FFFFFF"/>
                </a:solidFill>
                <a:latin typeface="Roboto"/>
                <a:cs typeface="Roboto"/>
              </a:rPr>
              <a:t>Bureaus.</a:t>
            </a:r>
            <a:endParaRPr sz="1850">
              <a:latin typeface="Roboto"/>
              <a:cs typeface="Roboto"/>
            </a:endParaRPr>
          </a:p>
          <a:p>
            <a:pPr marL="716280">
              <a:lnSpc>
                <a:spcPct val="100000"/>
              </a:lnSpc>
              <a:spcBef>
                <a:spcPts val="1680"/>
              </a:spcBef>
            </a:pPr>
            <a:r>
              <a:rPr sz="1850" dirty="0">
                <a:solidFill>
                  <a:srgbClr val="FFFFFF"/>
                </a:solidFill>
                <a:latin typeface="Roboto"/>
                <a:cs typeface="Roboto"/>
              </a:rPr>
              <a:t>Proveedores</a:t>
            </a:r>
            <a:r>
              <a:rPr sz="1850" spc="45" dirty="0">
                <a:solidFill>
                  <a:srgbClr val="FFFFFF"/>
                </a:solidFill>
                <a:latin typeface="Roboto"/>
                <a:cs typeface="Roboto"/>
              </a:rPr>
              <a:t> </a:t>
            </a:r>
            <a:r>
              <a:rPr sz="1850" spc="-10" dirty="0">
                <a:solidFill>
                  <a:srgbClr val="FFFFFF"/>
                </a:solidFill>
                <a:latin typeface="Roboto"/>
                <a:cs typeface="Roboto"/>
              </a:rPr>
              <a:t>MICE.</a:t>
            </a:r>
            <a:endParaRPr sz="1850">
              <a:latin typeface="Roboto"/>
              <a:cs typeface="Roboto"/>
            </a:endParaRPr>
          </a:p>
        </p:txBody>
      </p:sp>
      <p:grpSp>
        <p:nvGrpSpPr>
          <p:cNvPr id="15" name="object 15"/>
          <p:cNvGrpSpPr/>
          <p:nvPr/>
        </p:nvGrpSpPr>
        <p:grpSpPr>
          <a:xfrm>
            <a:off x="5657705" y="5691950"/>
            <a:ext cx="209550" cy="1437640"/>
            <a:chOff x="5657705" y="5691950"/>
            <a:chExt cx="209550" cy="1437640"/>
          </a:xfrm>
        </p:grpSpPr>
        <p:pic>
          <p:nvPicPr>
            <p:cNvPr id="16" name="object 16"/>
            <p:cNvPicPr/>
            <p:nvPr/>
          </p:nvPicPr>
          <p:blipFill>
            <a:blip r:embed="rId3" cstate="print"/>
            <a:stretch>
              <a:fillRect/>
            </a:stretch>
          </p:blipFill>
          <p:spPr>
            <a:xfrm>
              <a:off x="5657705" y="5691950"/>
              <a:ext cx="209551" cy="237490"/>
            </a:xfrm>
            <a:prstGeom prst="rect">
              <a:avLst/>
            </a:prstGeom>
          </p:spPr>
        </p:pic>
        <p:pic>
          <p:nvPicPr>
            <p:cNvPr id="17" name="object 17"/>
            <p:cNvPicPr/>
            <p:nvPr/>
          </p:nvPicPr>
          <p:blipFill>
            <a:blip r:embed="rId3" cstate="print"/>
            <a:stretch>
              <a:fillRect/>
            </a:stretch>
          </p:blipFill>
          <p:spPr>
            <a:xfrm>
              <a:off x="5657705" y="6401836"/>
              <a:ext cx="209551" cy="237490"/>
            </a:xfrm>
            <a:prstGeom prst="rect">
              <a:avLst/>
            </a:prstGeom>
          </p:spPr>
        </p:pic>
        <p:pic>
          <p:nvPicPr>
            <p:cNvPr id="18" name="object 18"/>
            <p:cNvPicPr/>
            <p:nvPr/>
          </p:nvPicPr>
          <p:blipFill>
            <a:blip r:embed="rId4" cstate="print"/>
            <a:stretch>
              <a:fillRect/>
            </a:stretch>
          </p:blipFill>
          <p:spPr>
            <a:xfrm>
              <a:off x="5657705" y="6891903"/>
              <a:ext cx="209551" cy="237490"/>
            </a:xfrm>
            <a:prstGeom prst="rect">
              <a:avLst/>
            </a:prstGeom>
          </p:spPr>
        </p:pic>
      </p:grpSp>
      <p:grpSp>
        <p:nvGrpSpPr>
          <p:cNvPr id="19" name="object 19"/>
          <p:cNvGrpSpPr/>
          <p:nvPr/>
        </p:nvGrpSpPr>
        <p:grpSpPr>
          <a:xfrm>
            <a:off x="9036900" y="2863537"/>
            <a:ext cx="3558540" cy="6638925"/>
            <a:chOff x="9036900" y="2863537"/>
            <a:chExt cx="3558540" cy="6638925"/>
          </a:xfrm>
        </p:grpSpPr>
        <p:sp>
          <p:nvSpPr>
            <p:cNvPr id="20" name="object 20"/>
            <p:cNvSpPr/>
            <p:nvPr/>
          </p:nvSpPr>
          <p:spPr>
            <a:xfrm>
              <a:off x="9036900" y="2863537"/>
              <a:ext cx="3558540" cy="6638925"/>
            </a:xfrm>
            <a:custGeom>
              <a:avLst/>
              <a:gdLst/>
              <a:ahLst/>
              <a:cxnLst/>
              <a:rect l="l" t="t" r="r" b="b"/>
              <a:pathLst>
                <a:path w="3558540" h="6638925">
                  <a:moveTo>
                    <a:pt x="3558042" y="6638677"/>
                  </a:moveTo>
                  <a:lnTo>
                    <a:pt x="0" y="6638677"/>
                  </a:lnTo>
                  <a:lnTo>
                    <a:pt x="0" y="0"/>
                  </a:lnTo>
                  <a:lnTo>
                    <a:pt x="3558042" y="0"/>
                  </a:lnTo>
                  <a:lnTo>
                    <a:pt x="3558042" y="6638677"/>
                  </a:lnTo>
                  <a:close/>
                </a:path>
              </a:pathLst>
            </a:custGeom>
            <a:solidFill>
              <a:srgbClr val="0090AE"/>
            </a:solidFill>
          </p:spPr>
          <p:txBody>
            <a:bodyPr wrap="square" lIns="0" tIns="0" rIns="0" bIns="0" rtlCol="0"/>
            <a:lstStyle/>
            <a:p>
              <a:endParaRPr/>
            </a:p>
          </p:txBody>
        </p:sp>
        <p:sp>
          <p:nvSpPr>
            <p:cNvPr id="21" name="object 21"/>
            <p:cNvSpPr/>
            <p:nvPr/>
          </p:nvSpPr>
          <p:spPr>
            <a:xfrm>
              <a:off x="11705814" y="3206742"/>
              <a:ext cx="281305" cy="280670"/>
            </a:xfrm>
            <a:custGeom>
              <a:avLst/>
              <a:gdLst/>
              <a:ahLst/>
              <a:cxnLst/>
              <a:rect l="l" t="t" r="r" b="b"/>
              <a:pathLst>
                <a:path w="281304" h="280670">
                  <a:moveTo>
                    <a:pt x="140393" y="280554"/>
                  </a:moveTo>
                  <a:lnTo>
                    <a:pt x="96016" y="273403"/>
                  </a:lnTo>
                  <a:lnTo>
                    <a:pt x="57476" y="253490"/>
                  </a:lnTo>
                  <a:lnTo>
                    <a:pt x="27086" y="223125"/>
                  </a:lnTo>
                  <a:lnTo>
                    <a:pt x="7156" y="184617"/>
                  </a:lnTo>
                  <a:lnTo>
                    <a:pt x="0" y="140277"/>
                  </a:lnTo>
                  <a:lnTo>
                    <a:pt x="7156" y="95936"/>
                  </a:lnTo>
                  <a:lnTo>
                    <a:pt x="27086" y="57428"/>
                  </a:lnTo>
                  <a:lnTo>
                    <a:pt x="57476" y="27063"/>
                  </a:lnTo>
                  <a:lnTo>
                    <a:pt x="96016" y="7150"/>
                  </a:lnTo>
                  <a:lnTo>
                    <a:pt x="140393" y="0"/>
                  </a:lnTo>
                  <a:lnTo>
                    <a:pt x="184770" y="7150"/>
                  </a:lnTo>
                  <a:lnTo>
                    <a:pt x="223310" y="27063"/>
                  </a:lnTo>
                  <a:lnTo>
                    <a:pt x="241933" y="45671"/>
                  </a:lnTo>
                  <a:lnTo>
                    <a:pt x="136312" y="45671"/>
                  </a:lnTo>
                  <a:lnTo>
                    <a:pt x="133863" y="51380"/>
                  </a:lnTo>
                  <a:lnTo>
                    <a:pt x="110192" y="98683"/>
                  </a:lnTo>
                  <a:lnTo>
                    <a:pt x="109376" y="99499"/>
                  </a:lnTo>
                  <a:lnTo>
                    <a:pt x="107743" y="99499"/>
                  </a:lnTo>
                  <a:lnTo>
                    <a:pt x="56320" y="106839"/>
                  </a:lnTo>
                  <a:lnTo>
                    <a:pt x="49790" y="107654"/>
                  </a:lnTo>
                  <a:lnTo>
                    <a:pt x="47341" y="114994"/>
                  </a:lnTo>
                  <a:lnTo>
                    <a:pt x="50606" y="119072"/>
                  </a:lnTo>
                  <a:lnTo>
                    <a:pt x="87337" y="154957"/>
                  </a:lnTo>
                  <a:lnTo>
                    <a:pt x="88970" y="155773"/>
                  </a:lnTo>
                  <a:lnTo>
                    <a:pt x="88970" y="159035"/>
                  </a:lnTo>
                  <a:lnTo>
                    <a:pt x="79991" y="210415"/>
                  </a:lnTo>
                  <a:lnTo>
                    <a:pt x="79175" y="216940"/>
                  </a:lnTo>
                  <a:lnTo>
                    <a:pt x="84889" y="221018"/>
                  </a:lnTo>
                  <a:lnTo>
                    <a:pt x="190728" y="221018"/>
                  </a:lnTo>
                  <a:lnTo>
                    <a:pt x="192632" y="221833"/>
                  </a:lnTo>
                  <a:lnTo>
                    <a:pt x="254369" y="221833"/>
                  </a:lnTo>
                  <a:lnTo>
                    <a:pt x="253700" y="223125"/>
                  </a:lnTo>
                  <a:lnTo>
                    <a:pt x="223310" y="253490"/>
                  </a:lnTo>
                  <a:lnTo>
                    <a:pt x="184770" y="273403"/>
                  </a:lnTo>
                  <a:lnTo>
                    <a:pt x="140393" y="280554"/>
                  </a:lnTo>
                  <a:close/>
                </a:path>
                <a:path w="281304" h="280670">
                  <a:moveTo>
                    <a:pt x="254369" y="221833"/>
                  </a:moveTo>
                  <a:lnTo>
                    <a:pt x="192632" y="221833"/>
                  </a:lnTo>
                  <a:lnTo>
                    <a:pt x="198346" y="216940"/>
                  </a:lnTo>
                  <a:lnTo>
                    <a:pt x="197530" y="211231"/>
                  </a:lnTo>
                  <a:lnTo>
                    <a:pt x="188551" y="160666"/>
                  </a:lnTo>
                  <a:lnTo>
                    <a:pt x="188551" y="159035"/>
                  </a:lnTo>
                  <a:lnTo>
                    <a:pt x="189368" y="157404"/>
                  </a:lnTo>
                  <a:lnTo>
                    <a:pt x="227731" y="119888"/>
                  </a:lnTo>
                  <a:lnTo>
                    <a:pt x="231812" y="115810"/>
                  </a:lnTo>
                  <a:lnTo>
                    <a:pt x="229363" y="108470"/>
                  </a:lnTo>
                  <a:lnTo>
                    <a:pt x="173043" y="100314"/>
                  </a:lnTo>
                  <a:lnTo>
                    <a:pt x="171410" y="100314"/>
                  </a:lnTo>
                  <a:lnTo>
                    <a:pt x="170594" y="99498"/>
                  </a:lnTo>
                  <a:lnTo>
                    <a:pt x="146923" y="51380"/>
                  </a:lnTo>
                  <a:lnTo>
                    <a:pt x="144474" y="45671"/>
                  </a:lnTo>
                  <a:lnTo>
                    <a:pt x="241933" y="45671"/>
                  </a:lnTo>
                  <a:lnTo>
                    <a:pt x="253700" y="57428"/>
                  </a:lnTo>
                  <a:lnTo>
                    <a:pt x="273630" y="95936"/>
                  </a:lnTo>
                  <a:lnTo>
                    <a:pt x="280787" y="140277"/>
                  </a:lnTo>
                  <a:lnTo>
                    <a:pt x="273630" y="184617"/>
                  </a:lnTo>
                  <a:lnTo>
                    <a:pt x="254369" y="221833"/>
                  </a:lnTo>
                  <a:close/>
                </a:path>
                <a:path w="281304" h="280670">
                  <a:moveTo>
                    <a:pt x="190728" y="221018"/>
                  </a:moveTo>
                  <a:lnTo>
                    <a:pt x="84889" y="221018"/>
                  </a:lnTo>
                  <a:lnTo>
                    <a:pt x="90602" y="218571"/>
                  </a:lnTo>
                  <a:lnTo>
                    <a:pt x="136312" y="194920"/>
                  </a:lnTo>
                  <a:lnTo>
                    <a:pt x="137944" y="194104"/>
                  </a:lnTo>
                  <a:lnTo>
                    <a:pt x="138761" y="194104"/>
                  </a:lnTo>
                  <a:lnTo>
                    <a:pt x="140393" y="194920"/>
                  </a:lnTo>
                  <a:lnTo>
                    <a:pt x="186919" y="219387"/>
                  </a:lnTo>
                  <a:lnTo>
                    <a:pt x="190728" y="221018"/>
                  </a:lnTo>
                  <a:close/>
                </a:path>
              </a:pathLst>
            </a:custGeom>
            <a:solidFill>
              <a:srgbClr val="FFFFFF"/>
            </a:solidFill>
          </p:spPr>
          <p:txBody>
            <a:bodyPr wrap="square" lIns="0" tIns="0" rIns="0" bIns="0" rtlCol="0"/>
            <a:lstStyle/>
            <a:p>
              <a:endParaRPr/>
            </a:p>
          </p:txBody>
        </p:sp>
        <p:pic>
          <p:nvPicPr>
            <p:cNvPr id="22" name="object 22"/>
            <p:cNvPicPr/>
            <p:nvPr/>
          </p:nvPicPr>
          <p:blipFill>
            <a:blip r:embed="rId5" cstate="print"/>
            <a:stretch>
              <a:fillRect/>
            </a:stretch>
          </p:blipFill>
          <p:spPr>
            <a:xfrm>
              <a:off x="11739280" y="3568038"/>
              <a:ext cx="97132" cy="88896"/>
            </a:xfrm>
            <a:prstGeom prst="rect">
              <a:avLst/>
            </a:prstGeom>
          </p:spPr>
        </p:pic>
        <p:pic>
          <p:nvPicPr>
            <p:cNvPr id="23" name="object 23"/>
            <p:cNvPicPr/>
            <p:nvPr/>
          </p:nvPicPr>
          <p:blipFill>
            <a:blip r:embed="rId6" cstate="print"/>
            <a:stretch>
              <a:fillRect/>
            </a:stretch>
          </p:blipFill>
          <p:spPr>
            <a:xfrm>
              <a:off x="11873960" y="3518288"/>
              <a:ext cx="97132" cy="154141"/>
            </a:xfrm>
            <a:prstGeom prst="rect">
              <a:avLst/>
            </a:prstGeom>
          </p:spPr>
        </p:pic>
        <p:sp>
          <p:nvSpPr>
            <p:cNvPr id="24" name="object 24"/>
            <p:cNvSpPr/>
            <p:nvPr/>
          </p:nvSpPr>
          <p:spPr>
            <a:xfrm>
              <a:off x="11517262" y="3278517"/>
              <a:ext cx="776605" cy="699770"/>
            </a:xfrm>
            <a:custGeom>
              <a:avLst/>
              <a:gdLst/>
              <a:ahLst/>
              <a:cxnLst/>
              <a:rect l="l" t="t" r="r" b="b"/>
              <a:pathLst>
                <a:path w="776604" h="699770">
                  <a:moveTo>
                    <a:pt x="588505" y="195732"/>
                  </a:moveTo>
                  <a:lnTo>
                    <a:pt x="582790" y="190030"/>
                  </a:lnTo>
                  <a:lnTo>
                    <a:pt x="497903" y="190030"/>
                  </a:lnTo>
                  <a:lnTo>
                    <a:pt x="492188" y="195732"/>
                  </a:lnTo>
                  <a:lnTo>
                    <a:pt x="492188" y="402069"/>
                  </a:lnTo>
                  <a:lnTo>
                    <a:pt x="498284" y="405561"/>
                  </a:lnTo>
                  <a:lnTo>
                    <a:pt x="504228" y="409829"/>
                  </a:lnTo>
                  <a:lnTo>
                    <a:pt x="528104" y="446925"/>
                  </a:lnTo>
                  <a:lnTo>
                    <a:pt x="539953" y="444677"/>
                  </a:lnTo>
                  <a:lnTo>
                    <a:pt x="588505" y="434695"/>
                  </a:lnTo>
                  <a:lnTo>
                    <a:pt x="588505" y="195732"/>
                  </a:lnTo>
                  <a:close/>
                </a:path>
                <a:path w="776604" h="699770">
                  <a:moveTo>
                    <a:pt x="766368" y="464248"/>
                  </a:moveTo>
                  <a:lnTo>
                    <a:pt x="737882" y="443674"/>
                  </a:lnTo>
                  <a:lnTo>
                    <a:pt x="732980" y="443674"/>
                  </a:lnTo>
                  <a:lnTo>
                    <a:pt x="720737" y="445300"/>
                  </a:lnTo>
                  <a:lnTo>
                    <a:pt x="578751" y="474776"/>
                  </a:lnTo>
                  <a:lnTo>
                    <a:pt x="535444" y="483628"/>
                  </a:lnTo>
                  <a:lnTo>
                    <a:pt x="511251" y="520598"/>
                  </a:lnTo>
                  <a:lnTo>
                    <a:pt x="463626" y="537464"/>
                  </a:lnTo>
                  <a:lnTo>
                    <a:pt x="460349" y="537464"/>
                  </a:lnTo>
                  <a:lnTo>
                    <a:pt x="301193" y="526859"/>
                  </a:lnTo>
                  <a:lnTo>
                    <a:pt x="295478" y="526859"/>
                  </a:lnTo>
                  <a:lnTo>
                    <a:pt x="289763" y="523595"/>
                  </a:lnTo>
                  <a:lnTo>
                    <a:pt x="285673" y="519518"/>
                  </a:lnTo>
                  <a:lnTo>
                    <a:pt x="281597" y="514629"/>
                  </a:lnTo>
                  <a:lnTo>
                    <a:pt x="279971" y="508914"/>
                  </a:lnTo>
                  <a:lnTo>
                    <a:pt x="279971" y="503199"/>
                  </a:lnTo>
                  <a:lnTo>
                    <a:pt x="282168" y="494728"/>
                  </a:lnTo>
                  <a:lnTo>
                    <a:pt x="287210" y="488010"/>
                  </a:lnTo>
                  <a:lnTo>
                    <a:pt x="294538" y="483590"/>
                  </a:lnTo>
                  <a:lnTo>
                    <a:pt x="303631" y="482003"/>
                  </a:lnTo>
                  <a:lnTo>
                    <a:pt x="463613" y="492607"/>
                  </a:lnTo>
                  <a:lnTo>
                    <a:pt x="470319" y="491705"/>
                  </a:lnTo>
                  <a:lnTo>
                    <a:pt x="493826" y="468134"/>
                  </a:lnTo>
                  <a:lnTo>
                    <a:pt x="493826" y="455904"/>
                  </a:lnTo>
                  <a:lnTo>
                    <a:pt x="466890" y="433070"/>
                  </a:lnTo>
                  <a:lnTo>
                    <a:pt x="279971" y="411861"/>
                  </a:lnTo>
                  <a:lnTo>
                    <a:pt x="275882" y="411861"/>
                  </a:lnTo>
                  <a:lnTo>
                    <a:pt x="270992" y="411048"/>
                  </a:lnTo>
                  <a:lnTo>
                    <a:pt x="266903" y="411048"/>
                  </a:lnTo>
                  <a:lnTo>
                    <a:pt x="224155" y="417055"/>
                  </a:lnTo>
                  <a:lnTo>
                    <a:pt x="184467" y="434695"/>
                  </a:lnTo>
                  <a:lnTo>
                    <a:pt x="3263" y="550506"/>
                  </a:lnTo>
                  <a:lnTo>
                    <a:pt x="0" y="559485"/>
                  </a:lnTo>
                  <a:lnTo>
                    <a:pt x="812" y="561924"/>
                  </a:lnTo>
                  <a:lnTo>
                    <a:pt x="2438" y="565188"/>
                  </a:lnTo>
                  <a:lnTo>
                    <a:pt x="88963" y="689965"/>
                  </a:lnTo>
                  <a:lnTo>
                    <a:pt x="91414" y="693229"/>
                  </a:lnTo>
                  <a:lnTo>
                    <a:pt x="94678" y="694867"/>
                  </a:lnTo>
                  <a:lnTo>
                    <a:pt x="99580" y="694867"/>
                  </a:lnTo>
                  <a:lnTo>
                    <a:pt x="102019" y="694042"/>
                  </a:lnTo>
                  <a:lnTo>
                    <a:pt x="103657" y="693229"/>
                  </a:lnTo>
                  <a:lnTo>
                    <a:pt x="186918" y="646747"/>
                  </a:lnTo>
                  <a:lnTo>
                    <a:pt x="190182" y="645109"/>
                  </a:lnTo>
                  <a:lnTo>
                    <a:pt x="194259" y="643483"/>
                  </a:lnTo>
                  <a:lnTo>
                    <a:pt x="203238" y="643483"/>
                  </a:lnTo>
                  <a:lnTo>
                    <a:pt x="360768" y="694867"/>
                  </a:lnTo>
                  <a:lnTo>
                    <a:pt x="368261" y="697001"/>
                  </a:lnTo>
                  <a:lnTo>
                    <a:pt x="375970" y="698538"/>
                  </a:lnTo>
                  <a:lnTo>
                    <a:pt x="383844" y="699452"/>
                  </a:lnTo>
                  <a:lnTo>
                    <a:pt x="391795" y="699757"/>
                  </a:lnTo>
                  <a:lnTo>
                    <a:pt x="405218" y="698842"/>
                  </a:lnTo>
                  <a:lnTo>
                    <a:pt x="443217" y="685076"/>
                  </a:lnTo>
                  <a:lnTo>
                    <a:pt x="754202" y="490969"/>
                  </a:lnTo>
                  <a:lnTo>
                    <a:pt x="765835" y="473951"/>
                  </a:lnTo>
                  <a:lnTo>
                    <a:pt x="766368" y="464248"/>
                  </a:lnTo>
                  <a:close/>
                </a:path>
                <a:path w="776604" h="699770">
                  <a:moveTo>
                    <a:pt x="776173" y="115100"/>
                  </a:moveTo>
                  <a:lnTo>
                    <a:pt x="772972" y="108470"/>
                  </a:lnTo>
                  <a:lnTo>
                    <a:pt x="679107" y="0"/>
                  </a:lnTo>
                  <a:lnTo>
                    <a:pt x="670128" y="0"/>
                  </a:lnTo>
                  <a:lnTo>
                    <a:pt x="576262" y="108470"/>
                  </a:lnTo>
                  <a:lnTo>
                    <a:pt x="573087" y="115100"/>
                  </a:lnTo>
                  <a:lnTo>
                    <a:pt x="574116" y="121729"/>
                  </a:lnTo>
                  <a:lnTo>
                    <a:pt x="578675" y="126822"/>
                  </a:lnTo>
                  <a:lnTo>
                    <a:pt x="586054" y="128866"/>
                  </a:lnTo>
                  <a:lnTo>
                    <a:pt x="626872" y="128866"/>
                  </a:lnTo>
                  <a:lnTo>
                    <a:pt x="626872" y="427355"/>
                  </a:lnTo>
                  <a:lnTo>
                    <a:pt x="700900" y="412102"/>
                  </a:lnTo>
                  <a:lnTo>
                    <a:pt x="713384" y="409409"/>
                  </a:lnTo>
                  <a:lnTo>
                    <a:pt x="716661" y="408597"/>
                  </a:lnTo>
                  <a:lnTo>
                    <a:pt x="720737" y="407784"/>
                  </a:lnTo>
                  <a:lnTo>
                    <a:pt x="724001" y="407784"/>
                  </a:lnTo>
                  <a:lnTo>
                    <a:pt x="724001" y="128866"/>
                  </a:lnTo>
                  <a:lnTo>
                    <a:pt x="764806" y="128866"/>
                  </a:lnTo>
                  <a:lnTo>
                    <a:pt x="771258" y="126822"/>
                  </a:lnTo>
                  <a:lnTo>
                    <a:pt x="775322" y="121729"/>
                  </a:lnTo>
                  <a:lnTo>
                    <a:pt x="776173" y="115100"/>
                  </a:lnTo>
                  <a:close/>
                </a:path>
              </a:pathLst>
            </a:custGeom>
            <a:solidFill>
              <a:srgbClr val="FFFFFF"/>
            </a:solidFill>
          </p:spPr>
          <p:txBody>
            <a:bodyPr wrap="square" lIns="0" tIns="0" rIns="0" bIns="0" rtlCol="0"/>
            <a:lstStyle/>
            <a:p>
              <a:endParaRPr/>
            </a:p>
          </p:txBody>
        </p:sp>
        <p:pic>
          <p:nvPicPr>
            <p:cNvPr id="25" name="object 25"/>
            <p:cNvPicPr/>
            <p:nvPr/>
          </p:nvPicPr>
          <p:blipFill>
            <a:blip r:embed="rId7" cstate="print"/>
            <a:stretch>
              <a:fillRect/>
            </a:stretch>
          </p:blipFill>
          <p:spPr>
            <a:xfrm>
              <a:off x="9551250" y="5683686"/>
              <a:ext cx="76200" cy="76199"/>
            </a:xfrm>
            <a:prstGeom prst="rect">
              <a:avLst/>
            </a:prstGeom>
          </p:spPr>
        </p:pic>
        <p:pic>
          <p:nvPicPr>
            <p:cNvPr id="26" name="object 26"/>
            <p:cNvPicPr/>
            <p:nvPr/>
          </p:nvPicPr>
          <p:blipFill>
            <a:blip r:embed="rId7" cstate="print"/>
            <a:stretch>
              <a:fillRect/>
            </a:stretch>
          </p:blipFill>
          <p:spPr>
            <a:xfrm>
              <a:off x="9551250" y="7207686"/>
              <a:ext cx="76200" cy="76199"/>
            </a:xfrm>
            <a:prstGeom prst="rect">
              <a:avLst/>
            </a:prstGeom>
          </p:spPr>
        </p:pic>
      </p:grpSp>
      <p:sp>
        <p:nvSpPr>
          <p:cNvPr id="27" name="object 27"/>
          <p:cNvSpPr txBox="1"/>
          <p:nvPr/>
        </p:nvSpPr>
        <p:spPr>
          <a:xfrm>
            <a:off x="9036900" y="2863537"/>
            <a:ext cx="3558540" cy="6638925"/>
          </a:xfrm>
          <a:prstGeom prst="rect">
            <a:avLst/>
          </a:prstGeom>
        </p:spPr>
        <p:txBody>
          <a:bodyPr vert="horz" wrap="square" lIns="0" tIns="1905" rIns="0" bIns="0" rtlCol="0">
            <a:spAutoFit/>
          </a:bodyPr>
          <a:lstStyle/>
          <a:p>
            <a:pPr>
              <a:lnSpc>
                <a:spcPct val="100000"/>
              </a:lnSpc>
              <a:spcBef>
                <a:spcPts val="15"/>
              </a:spcBef>
            </a:pPr>
            <a:endParaRPr sz="5250">
              <a:latin typeface="Times New Roman"/>
              <a:cs typeface="Times New Roman"/>
            </a:endParaRPr>
          </a:p>
          <a:p>
            <a:pPr marL="285115">
              <a:lnSpc>
                <a:spcPct val="100000"/>
              </a:lnSpc>
            </a:pPr>
            <a:r>
              <a:rPr sz="4600" b="1" spc="625" dirty="0">
                <a:solidFill>
                  <a:srgbClr val="F5A316"/>
                </a:solidFill>
                <a:latin typeface="Arial"/>
                <a:cs typeface="Arial"/>
              </a:rPr>
              <a:t>03</a:t>
            </a:r>
            <a:endParaRPr sz="4600">
              <a:latin typeface="Arial"/>
              <a:cs typeface="Arial"/>
            </a:endParaRPr>
          </a:p>
          <a:p>
            <a:pPr marL="285115">
              <a:lnSpc>
                <a:spcPct val="100000"/>
              </a:lnSpc>
              <a:spcBef>
                <a:spcPts val="305"/>
              </a:spcBef>
            </a:pPr>
            <a:r>
              <a:rPr sz="1850" b="1" spc="50" dirty="0">
                <a:solidFill>
                  <a:srgbClr val="FFFFFF"/>
                </a:solidFill>
                <a:latin typeface="Arial"/>
                <a:cs typeface="Arial"/>
              </a:rPr>
              <a:t>Posicionamiento</a:t>
            </a:r>
            <a:endParaRPr sz="1850">
              <a:latin typeface="Arial"/>
              <a:cs typeface="Arial"/>
            </a:endParaRPr>
          </a:p>
          <a:p>
            <a:pPr>
              <a:lnSpc>
                <a:spcPct val="100000"/>
              </a:lnSpc>
            </a:pPr>
            <a:endParaRPr sz="2300">
              <a:latin typeface="Arial"/>
              <a:cs typeface="Arial"/>
            </a:endParaRPr>
          </a:p>
          <a:p>
            <a:pPr>
              <a:lnSpc>
                <a:spcPct val="100000"/>
              </a:lnSpc>
            </a:pPr>
            <a:endParaRPr sz="2300">
              <a:latin typeface="Arial"/>
              <a:cs typeface="Arial"/>
            </a:endParaRPr>
          </a:p>
          <a:p>
            <a:pPr marL="730250" marR="337820">
              <a:lnSpc>
                <a:spcPts val="2400"/>
              </a:lnSpc>
              <a:spcBef>
                <a:spcPts val="1800"/>
              </a:spcBef>
            </a:pPr>
            <a:r>
              <a:rPr sz="2050" dirty="0">
                <a:solidFill>
                  <a:srgbClr val="FFFFFF"/>
                </a:solidFill>
                <a:latin typeface="Roboto"/>
                <a:cs typeface="Roboto"/>
              </a:rPr>
              <a:t>Marca</a:t>
            </a:r>
            <a:r>
              <a:rPr sz="2050" spc="-55" dirty="0">
                <a:solidFill>
                  <a:srgbClr val="FFFFFF"/>
                </a:solidFill>
                <a:latin typeface="Roboto"/>
                <a:cs typeface="Roboto"/>
              </a:rPr>
              <a:t> </a:t>
            </a:r>
            <a:r>
              <a:rPr sz="2050" dirty="0">
                <a:solidFill>
                  <a:srgbClr val="FFFFFF"/>
                </a:solidFill>
                <a:latin typeface="Roboto"/>
                <a:cs typeface="Roboto"/>
              </a:rPr>
              <a:t>Chile</a:t>
            </a:r>
            <a:r>
              <a:rPr sz="2050" spc="-55" dirty="0">
                <a:solidFill>
                  <a:srgbClr val="FFFFFF"/>
                </a:solidFill>
                <a:latin typeface="Roboto"/>
                <a:cs typeface="Roboto"/>
              </a:rPr>
              <a:t> </a:t>
            </a:r>
            <a:r>
              <a:rPr sz="2050" dirty="0">
                <a:solidFill>
                  <a:srgbClr val="FFFFFF"/>
                </a:solidFill>
                <a:latin typeface="Roboto"/>
                <a:cs typeface="Roboto"/>
              </a:rPr>
              <a:t>MICE</a:t>
            </a:r>
            <a:r>
              <a:rPr sz="2050" spc="-60" dirty="0">
                <a:solidFill>
                  <a:srgbClr val="FFFFFF"/>
                </a:solidFill>
                <a:latin typeface="Roboto"/>
                <a:cs typeface="Roboto"/>
              </a:rPr>
              <a:t> </a:t>
            </a:r>
            <a:r>
              <a:rPr sz="2050" b="1" spc="-25" dirty="0">
                <a:solidFill>
                  <a:srgbClr val="FFFFFF"/>
                </a:solidFill>
                <a:latin typeface="Roboto"/>
                <a:cs typeface="Roboto"/>
              </a:rPr>
              <a:t>no </a:t>
            </a:r>
            <a:r>
              <a:rPr sz="2050" b="1" dirty="0">
                <a:solidFill>
                  <a:srgbClr val="FFFFFF"/>
                </a:solidFill>
                <a:latin typeface="Roboto"/>
                <a:cs typeface="Roboto"/>
              </a:rPr>
              <a:t>está</a:t>
            </a:r>
            <a:r>
              <a:rPr sz="2050" b="1" spc="-5" dirty="0">
                <a:solidFill>
                  <a:srgbClr val="FFFFFF"/>
                </a:solidFill>
                <a:latin typeface="Roboto"/>
                <a:cs typeface="Roboto"/>
              </a:rPr>
              <a:t> </a:t>
            </a:r>
            <a:r>
              <a:rPr sz="2050" b="1" spc="-10" dirty="0">
                <a:solidFill>
                  <a:srgbClr val="FFFFFF"/>
                </a:solidFill>
                <a:latin typeface="Roboto"/>
                <a:cs typeface="Roboto"/>
              </a:rPr>
              <a:t>suficientemente consolidada </a:t>
            </a:r>
            <a:r>
              <a:rPr sz="2050" spc="-10" dirty="0">
                <a:solidFill>
                  <a:srgbClr val="FFFFFF"/>
                </a:solidFill>
                <a:latin typeface="Roboto"/>
                <a:cs typeface="Roboto"/>
              </a:rPr>
              <a:t>internacionalmente.</a:t>
            </a:r>
            <a:endParaRPr sz="2050">
              <a:latin typeface="Roboto"/>
              <a:cs typeface="Roboto"/>
            </a:endParaRPr>
          </a:p>
          <a:p>
            <a:pPr>
              <a:lnSpc>
                <a:spcPct val="100000"/>
              </a:lnSpc>
              <a:spcBef>
                <a:spcPts val="25"/>
              </a:spcBef>
            </a:pPr>
            <a:endParaRPr sz="1800">
              <a:latin typeface="Roboto"/>
              <a:cs typeface="Roboto"/>
            </a:endParaRPr>
          </a:p>
          <a:p>
            <a:pPr marL="730250" marR="410209">
              <a:lnSpc>
                <a:spcPts val="2400"/>
              </a:lnSpc>
            </a:pPr>
            <a:r>
              <a:rPr sz="2050" b="1" dirty="0">
                <a:solidFill>
                  <a:srgbClr val="FFFFFF"/>
                </a:solidFill>
                <a:latin typeface="Roboto"/>
                <a:cs typeface="Roboto"/>
              </a:rPr>
              <a:t>Sostenibilidad</a:t>
            </a:r>
            <a:r>
              <a:rPr sz="2050" b="1" spc="-114" dirty="0">
                <a:solidFill>
                  <a:srgbClr val="FFFFFF"/>
                </a:solidFill>
                <a:latin typeface="Roboto"/>
                <a:cs typeface="Roboto"/>
              </a:rPr>
              <a:t> </a:t>
            </a:r>
            <a:r>
              <a:rPr sz="2050" spc="-20" dirty="0">
                <a:solidFill>
                  <a:srgbClr val="FFFFFF"/>
                </a:solidFill>
                <a:latin typeface="Roboto"/>
                <a:cs typeface="Roboto"/>
              </a:rPr>
              <a:t>como </a:t>
            </a:r>
            <a:r>
              <a:rPr sz="2050" dirty="0">
                <a:solidFill>
                  <a:srgbClr val="FFFFFF"/>
                </a:solidFill>
                <a:latin typeface="Roboto"/>
                <a:cs typeface="Roboto"/>
              </a:rPr>
              <a:t>elemento</a:t>
            </a:r>
            <a:r>
              <a:rPr sz="2050" spc="-110" dirty="0">
                <a:solidFill>
                  <a:srgbClr val="FFFFFF"/>
                </a:solidFill>
                <a:latin typeface="Roboto"/>
                <a:cs typeface="Roboto"/>
              </a:rPr>
              <a:t> </a:t>
            </a:r>
            <a:r>
              <a:rPr sz="2050" spc="-10" dirty="0">
                <a:solidFill>
                  <a:srgbClr val="FFFFFF"/>
                </a:solidFill>
                <a:latin typeface="Roboto"/>
                <a:cs typeface="Roboto"/>
              </a:rPr>
              <a:t>clave.</a:t>
            </a:r>
            <a:endParaRPr sz="2050">
              <a:latin typeface="Roboto"/>
              <a:cs typeface="Roboto"/>
            </a:endParaRPr>
          </a:p>
        </p:txBody>
      </p:sp>
      <p:grpSp>
        <p:nvGrpSpPr>
          <p:cNvPr id="28" name="object 28"/>
          <p:cNvGrpSpPr/>
          <p:nvPr/>
        </p:nvGrpSpPr>
        <p:grpSpPr>
          <a:xfrm>
            <a:off x="12792949" y="2864194"/>
            <a:ext cx="3855720" cy="6638925"/>
            <a:chOff x="12792949" y="2864194"/>
            <a:chExt cx="3855720" cy="6638925"/>
          </a:xfrm>
        </p:grpSpPr>
        <p:sp>
          <p:nvSpPr>
            <p:cNvPr id="29" name="object 29"/>
            <p:cNvSpPr/>
            <p:nvPr/>
          </p:nvSpPr>
          <p:spPr>
            <a:xfrm>
              <a:off x="12792949" y="2864194"/>
              <a:ext cx="3855720" cy="6638925"/>
            </a:xfrm>
            <a:custGeom>
              <a:avLst/>
              <a:gdLst/>
              <a:ahLst/>
              <a:cxnLst/>
              <a:rect l="l" t="t" r="r" b="b"/>
              <a:pathLst>
                <a:path w="3855719" h="6638925">
                  <a:moveTo>
                    <a:pt x="3855296" y="6638677"/>
                  </a:moveTo>
                  <a:lnTo>
                    <a:pt x="0" y="6638677"/>
                  </a:lnTo>
                  <a:lnTo>
                    <a:pt x="0" y="0"/>
                  </a:lnTo>
                  <a:lnTo>
                    <a:pt x="3855296" y="0"/>
                  </a:lnTo>
                  <a:lnTo>
                    <a:pt x="3855296" y="6638677"/>
                  </a:lnTo>
                  <a:close/>
                </a:path>
              </a:pathLst>
            </a:custGeom>
            <a:solidFill>
              <a:srgbClr val="0090AE"/>
            </a:solidFill>
          </p:spPr>
          <p:txBody>
            <a:bodyPr wrap="square" lIns="0" tIns="0" rIns="0" bIns="0" rtlCol="0"/>
            <a:lstStyle/>
            <a:p>
              <a:endParaRPr/>
            </a:p>
          </p:txBody>
        </p:sp>
        <p:pic>
          <p:nvPicPr>
            <p:cNvPr id="30" name="object 30"/>
            <p:cNvPicPr/>
            <p:nvPr/>
          </p:nvPicPr>
          <p:blipFill>
            <a:blip r:embed="rId8" cstate="print"/>
            <a:stretch>
              <a:fillRect/>
            </a:stretch>
          </p:blipFill>
          <p:spPr>
            <a:xfrm>
              <a:off x="13075246" y="7981612"/>
              <a:ext cx="209551" cy="237490"/>
            </a:xfrm>
            <a:prstGeom prst="rect">
              <a:avLst/>
            </a:prstGeom>
          </p:spPr>
        </p:pic>
        <p:pic>
          <p:nvPicPr>
            <p:cNvPr id="31" name="object 31"/>
            <p:cNvPicPr/>
            <p:nvPr/>
          </p:nvPicPr>
          <p:blipFill>
            <a:blip r:embed="rId8" cstate="print"/>
            <a:stretch>
              <a:fillRect/>
            </a:stretch>
          </p:blipFill>
          <p:spPr>
            <a:xfrm>
              <a:off x="13075246" y="8477456"/>
              <a:ext cx="209551" cy="237490"/>
            </a:xfrm>
            <a:prstGeom prst="rect">
              <a:avLst/>
            </a:prstGeom>
          </p:spPr>
        </p:pic>
        <p:pic>
          <p:nvPicPr>
            <p:cNvPr id="32" name="object 32"/>
            <p:cNvPicPr/>
            <p:nvPr/>
          </p:nvPicPr>
          <p:blipFill>
            <a:blip r:embed="rId9" cstate="print"/>
            <a:stretch>
              <a:fillRect/>
            </a:stretch>
          </p:blipFill>
          <p:spPr>
            <a:xfrm>
              <a:off x="13075686" y="6501611"/>
              <a:ext cx="209551" cy="237490"/>
            </a:xfrm>
            <a:prstGeom prst="rect">
              <a:avLst/>
            </a:prstGeom>
          </p:spPr>
        </p:pic>
        <p:pic>
          <p:nvPicPr>
            <p:cNvPr id="33" name="object 33"/>
            <p:cNvPicPr/>
            <p:nvPr/>
          </p:nvPicPr>
          <p:blipFill>
            <a:blip r:embed="rId8" cstate="print"/>
            <a:stretch>
              <a:fillRect/>
            </a:stretch>
          </p:blipFill>
          <p:spPr>
            <a:xfrm>
              <a:off x="13075686" y="7488279"/>
              <a:ext cx="209551" cy="237490"/>
            </a:xfrm>
            <a:prstGeom prst="rect">
              <a:avLst/>
            </a:prstGeom>
          </p:spPr>
        </p:pic>
        <p:pic>
          <p:nvPicPr>
            <p:cNvPr id="34" name="object 34"/>
            <p:cNvPicPr/>
            <p:nvPr/>
          </p:nvPicPr>
          <p:blipFill>
            <a:blip r:embed="rId9" cstate="print"/>
            <a:stretch>
              <a:fillRect/>
            </a:stretch>
          </p:blipFill>
          <p:spPr>
            <a:xfrm>
              <a:off x="13075246" y="5781741"/>
              <a:ext cx="209551" cy="237490"/>
            </a:xfrm>
            <a:prstGeom prst="rect">
              <a:avLst/>
            </a:prstGeom>
          </p:spPr>
        </p:pic>
      </p:grpSp>
      <p:sp>
        <p:nvSpPr>
          <p:cNvPr id="35" name="object 35"/>
          <p:cNvSpPr txBox="1"/>
          <p:nvPr/>
        </p:nvSpPr>
        <p:spPr>
          <a:xfrm>
            <a:off x="12792949" y="2864194"/>
            <a:ext cx="3855720"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673100">
              <a:lnSpc>
                <a:spcPct val="100000"/>
              </a:lnSpc>
            </a:pPr>
            <a:r>
              <a:rPr sz="4600" b="1" spc="625" dirty="0">
                <a:solidFill>
                  <a:srgbClr val="F5A316"/>
                </a:solidFill>
                <a:latin typeface="Arial"/>
                <a:cs typeface="Arial"/>
              </a:rPr>
              <a:t>04</a:t>
            </a:r>
            <a:endParaRPr sz="4600">
              <a:latin typeface="Arial"/>
              <a:cs typeface="Arial"/>
            </a:endParaRPr>
          </a:p>
          <a:p>
            <a:pPr marL="673100" marR="618490">
              <a:lnSpc>
                <a:spcPts val="2180"/>
              </a:lnSpc>
              <a:spcBef>
                <a:spcPts val="414"/>
              </a:spcBef>
            </a:pPr>
            <a:r>
              <a:rPr sz="1850" b="1" spc="60" dirty="0">
                <a:solidFill>
                  <a:srgbClr val="FFFFFF"/>
                </a:solidFill>
                <a:latin typeface="Arial"/>
                <a:cs typeface="Arial"/>
              </a:rPr>
              <a:t>Condicionantes</a:t>
            </a:r>
            <a:r>
              <a:rPr sz="1850" b="1" spc="5" dirty="0">
                <a:solidFill>
                  <a:srgbClr val="FFFFFF"/>
                </a:solidFill>
                <a:latin typeface="Arial"/>
                <a:cs typeface="Arial"/>
              </a:rPr>
              <a:t> </a:t>
            </a:r>
            <a:r>
              <a:rPr sz="1850" b="1" spc="110" dirty="0">
                <a:solidFill>
                  <a:srgbClr val="FFFFFF"/>
                </a:solidFill>
                <a:latin typeface="Arial"/>
                <a:cs typeface="Arial"/>
              </a:rPr>
              <a:t>de</a:t>
            </a:r>
            <a:r>
              <a:rPr sz="1850" b="1" spc="5" dirty="0">
                <a:solidFill>
                  <a:srgbClr val="FFFFFF"/>
                </a:solidFill>
                <a:latin typeface="Arial"/>
                <a:cs typeface="Arial"/>
              </a:rPr>
              <a:t> </a:t>
            </a:r>
            <a:r>
              <a:rPr sz="1850" b="1" spc="105" dirty="0">
                <a:solidFill>
                  <a:srgbClr val="FFFFFF"/>
                </a:solidFill>
                <a:latin typeface="Arial"/>
                <a:cs typeface="Arial"/>
              </a:rPr>
              <a:t>la </a:t>
            </a:r>
            <a:r>
              <a:rPr sz="1850" b="1" spc="130" dirty="0">
                <a:solidFill>
                  <a:srgbClr val="FFFFFF"/>
                </a:solidFill>
                <a:latin typeface="Arial"/>
                <a:cs typeface="Arial"/>
              </a:rPr>
              <a:t>oferta</a:t>
            </a:r>
            <a:r>
              <a:rPr sz="1850" b="1" dirty="0">
                <a:solidFill>
                  <a:srgbClr val="FFFFFF"/>
                </a:solidFill>
                <a:latin typeface="Arial"/>
                <a:cs typeface="Arial"/>
              </a:rPr>
              <a:t> </a:t>
            </a:r>
            <a:r>
              <a:rPr sz="1850" b="1" spc="-20" dirty="0">
                <a:solidFill>
                  <a:srgbClr val="FFFFFF"/>
                </a:solidFill>
                <a:latin typeface="Arial"/>
                <a:cs typeface="Arial"/>
              </a:rPr>
              <a:t>MICE</a:t>
            </a:r>
            <a:endParaRPr sz="1850">
              <a:latin typeface="Arial"/>
              <a:cs typeface="Arial"/>
            </a:endParaRPr>
          </a:p>
          <a:p>
            <a:pPr>
              <a:lnSpc>
                <a:spcPct val="100000"/>
              </a:lnSpc>
            </a:pPr>
            <a:endParaRPr sz="2200">
              <a:latin typeface="Arial"/>
              <a:cs typeface="Arial"/>
            </a:endParaRPr>
          </a:p>
          <a:p>
            <a:pPr marL="673100">
              <a:lnSpc>
                <a:spcPct val="100000"/>
              </a:lnSpc>
            </a:pPr>
            <a:r>
              <a:rPr sz="1450" b="1" spc="70" dirty="0">
                <a:solidFill>
                  <a:srgbClr val="FFFFFF"/>
                </a:solidFill>
                <a:latin typeface="Arial"/>
                <a:cs typeface="Arial"/>
              </a:rPr>
              <a:t>Condicionantes</a:t>
            </a:r>
            <a:r>
              <a:rPr sz="1450" b="1" spc="30" dirty="0">
                <a:solidFill>
                  <a:srgbClr val="FFFFFF"/>
                </a:solidFill>
                <a:latin typeface="Arial"/>
                <a:cs typeface="Arial"/>
              </a:rPr>
              <a:t> </a:t>
            </a:r>
            <a:r>
              <a:rPr sz="1450" b="1" spc="40" dirty="0">
                <a:solidFill>
                  <a:srgbClr val="FFFFFF"/>
                </a:solidFill>
                <a:latin typeface="Arial"/>
                <a:cs typeface="Arial"/>
              </a:rPr>
              <a:t>positivos:</a:t>
            </a:r>
            <a:endParaRPr sz="1450">
              <a:latin typeface="Arial"/>
              <a:cs typeface="Arial"/>
            </a:endParaRPr>
          </a:p>
          <a:p>
            <a:pPr>
              <a:lnSpc>
                <a:spcPct val="100000"/>
              </a:lnSpc>
              <a:spcBef>
                <a:spcPts val="15"/>
              </a:spcBef>
            </a:pPr>
            <a:endParaRPr sz="1600">
              <a:latin typeface="Arial"/>
              <a:cs typeface="Arial"/>
            </a:endParaRPr>
          </a:p>
          <a:p>
            <a:pPr marL="673100" marR="878205">
              <a:lnSpc>
                <a:spcPts val="1730"/>
              </a:lnSpc>
            </a:pPr>
            <a:r>
              <a:rPr sz="1450" dirty="0">
                <a:solidFill>
                  <a:srgbClr val="FFFFFF"/>
                </a:solidFill>
                <a:latin typeface="Roboto"/>
                <a:cs typeface="Roboto"/>
              </a:rPr>
              <a:t>Interés</a:t>
            </a:r>
            <a:r>
              <a:rPr sz="1450" spc="30" dirty="0">
                <a:solidFill>
                  <a:srgbClr val="FFFFFF"/>
                </a:solidFill>
                <a:latin typeface="Roboto"/>
                <a:cs typeface="Roboto"/>
              </a:rPr>
              <a:t> </a:t>
            </a:r>
            <a:r>
              <a:rPr sz="1450" dirty="0">
                <a:solidFill>
                  <a:srgbClr val="FFFFFF"/>
                </a:solidFill>
                <a:latin typeface="Roboto"/>
                <a:cs typeface="Roboto"/>
              </a:rPr>
              <a:t>por</a:t>
            </a:r>
            <a:r>
              <a:rPr sz="1450" spc="35" dirty="0">
                <a:solidFill>
                  <a:srgbClr val="FFFFFF"/>
                </a:solidFill>
                <a:latin typeface="Roboto"/>
                <a:cs typeface="Roboto"/>
              </a:rPr>
              <a:t> </a:t>
            </a:r>
            <a:r>
              <a:rPr sz="1450" dirty="0">
                <a:solidFill>
                  <a:srgbClr val="FFFFFF"/>
                </a:solidFill>
                <a:latin typeface="Roboto"/>
                <a:cs typeface="Roboto"/>
              </a:rPr>
              <a:t>destinos</a:t>
            </a:r>
            <a:r>
              <a:rPr sz="1450" spc="30" dirty="0">
                <a:solidFill>
                  <a:srgbClr val="FFFFFF"/>
                </a:solidFill>
                <a:latin typeface="Roboto"/>
                <a:cs typeface="Roboto"/>
              </a:rPr>
              <a:t> </a:t>
            </a:r>
            <a:r>
              <a:rPr sz="1450" spc="-20" dirty="0">
                <a:solidFill>
                  <a:srgbClr val="FFFFFF"/>
                </a:solidFill>
                <a:latin typeface="Roboto"/>
                <a:cs typeface="Roboto"/>
              </a:rPr>
              <a:t>menos </a:t>
            </a:r>
            <a:r>
              <a:rPr sz="1450" spc="-10" dirty="0">
                <a:solidFill>
                  <a:srgbClr val="FFFFFF"/>
                </a:solidFill>
                <a:latin typeface="Roboto"/>
                <a:cs typeface="Roboto"/>
              </a:rPr>
              <a:t>conocidos.</a:t>
            </a:r>
            <a:endParaRPr sz="1450">
              <a:latin typeface="Roboto"/>
              <a:cs typeface="Roboto"/>
            </a:endParaRPr>
          </a:p>
          <a:p>
            <a:pPr>
              <a:lnSpc>
                <a:spcPct val="100000"/>
              </a:lnSpc>
            </a:pPr>
            <a:endParaRPr sz="1300">
              <a:latin typeface="Roboto"/>
              <a:cs typeface="Roboto"/>
            </a:endParaRPr>
          </a:p>
          <a:p>
            <a:pPr marL="673100" marR="594995">
              <a:lnSpc>
                <a:spcPts val="1730"/>
              </a:lnSpc>
            </a:pPr>
            <a:r>
              <a:rPr sz="1450" dirty="0">
                <a:solidFill>
                  <a:srgbClr val="FFFFFF"/>
                </a:solidFill>
                <a:latin typeface="Roboto"/>
                <a:cs typeface="Roboto"/>
              </a:rPr>
              <a:t>Demanda</a:t>
            </a:r>
            <a:r>
              <a:rPr sz="1450" spc="45" dirty="0">
                <a:solidFill>
                  <a:srgbClr val="FFFFFF"/>
                </a:solidFill>
                <a:latin typeface="Roboto"/>
                <a:cs typeface="Roboto"/>
              </a:rPr>
              <a:t> </a:t>
            </a:r>
            <a:r>
              <a:rPr sz="1450" dirty="0">
                <a:solidFill>
                  <a:srgbClr val="FFFFFF"/>
                </a:solidFill>
                <a:latin typeface="Roboto"/>
                <a:cs typeface="Roboto"/>
              </a:rPr>
              <a:t>de</a:t>
            </a:r>
            <a:r>
              <a:rPr sz="1450" spc="50" dirty="0">
                <a:solidFill>
                  <a:srgbClr val="FFFFFF"/>
                </a:solidFill>
                <a:latin typeface="Roboto"/>
                <a:cs typeface="Roboto"/>
              </a:rPr>
              <a:t> </a:t>
            </a:r>
            <a:r>
              <a:rPr sz="1450" dirty="0">
                <a:solidFill>
                  <a:srgbClr val="FFFFFF"/>
                </a:solidFill>
                <a:latin typeface="Roboto"/>
                <a:cs typeface="Roboto"/>
              </a:rPr>
              <a:t>actividades</a:t>
            </a:r>
            <a:r>
              <a:rPr sz="1450" spc="50" dirty="0">
                <a:solidFill>
                  <a:srgbClr val="FFFFFF"/>
                </a:solidFill>
                <a:latin typeface="Roboto"/>
                <a:cs typeface="Roboto"/>
              </a:rPr>
              <a:t> </a:t>
            </a:r>
            <a:r>
              <a:rPr sz="1450" spc="-25" dirty="0">
                <a:solidFill>
                  <a:srgbClr val="FFFFFF"/>
                </a:solidFill>
                <a:latin typeface="Roboto"/>
                <a:cs typeface="Roboto"/>
              </a:rPr>
              <a:t>de </a:t>
            </a:r>
            <a:r>
              <a:rPr sz="1450" dirty="0">
                <a:solidFill>
                  <a:srgbClr val="FFFFFF"/>
                </a:solidFill>
                <a:latin typeface="Roboto"/>
                <a:cs typeface="Roboto"/>
              </a:rPr>
              <a:t>naturaleza,</a:t>
            </a:r>
            <a:r>
              <a:rPr sz="1450" spc="20" dirty="0">
                <a:solidFill>
                  <a:srgbClr val="FFFFFF"/>
                </a:solidFill>
                <a:latin typeface="Roboto"/>
                <a:cs typeface="Roboto"/>
              </a:rPr>
              <a:t> </a:t>
            </a:r>
            <a:r>
              <a:rPr sz="1450" dirty="0">
                <a:solidFill>
                  <a:srgbClr val="FFFFFF"/>
                </a:solidFill>
                <a:latin typeface="Roboto"/>
                <a:cs typeface="Roboto"/>
              </a:rPr>
              <a:t>deporte</a:t>
            </a:r>
            <a:r>
              <a:rPr sz="1450" spc="20" dirty="0">
                <a:solidFill>
                  <a:srgbClr val="FFFFFF"/>
                </a:solidFill>
                <a:latin typeface="Roboto"/>
                <a:cs typeface="Roboto"/>
              </a:rPr>
              <a:t> </a:t>
            </a:r>
            <a:r>
              <a:rPr sz="1450" dirty="0">
                <a:solidFill>
                  <a:srgbClr val="FFFFFF"/>
                </a:solidFill>
                <a:latin typeface="Roboto"/>
                <a:cs typeface="Roboto"/>
              </a:rPr>
              <a:t>y</a:t>
            </a:r>
            <a:r>
              <a:rPr sz="1450" spc="25" dirty="0">
                <a:solidFill>
                  <a:srgbClr val="FFFFFF"/>
                </a:solidFill>
                <a:latin typeface="Roboto"/>
                <a:cs typeface="Roboto"/>
              </a:rPr>
              <a:t> </a:t>
            </a:r>
            <a:r>
              <a:rPr sz="1450" spc="-10" dirty="0">
                <a:solidFill>
                  <a:srgbClr val="FFFFFF"/>
                </a:solidFill>
                <a:latin typeface="Roboto"/>
                <a:cs typeface="Roboto"/>
              </a:rPr>
              <a:t>aventura.</a:t>
            </a:r>
            <a:endParaRPr sz="1450">
              <a:latin typeface="Roboto"/>
              <a:cs typeface="Roboto"/>
            </a:endParaRPr>
          </a:p>
          <a:p>
            <a:pPr marL="673100" marR="192405">
              <a:lnSpc>
                <a:spcPts val="3450"/>
              </a:lnSpc>
              <a:spcBef>
                <a:spcPts val="340"/>
              </a:spcBef>
            </a:pPr>
            <a:r>
              <a:rPr sz="1450" b="1" dirty="0">
                <a:solidFill>
                  <a:srgbClr val="FFFFFF"/>
                </a:solidFill>
                <a:latin typeface="Roboto"/>
                <a:cs typeface="Roboto"/>
              </a:rPr>
              <a:t>Condicionantes</a:t>
            </a:r>
            <a:r>
              <a:rPr sz="1450" b="1" spc="210" dirty="0">
                <a:solidFill>
                  <a:srgbClr val="FFFFFF"/>
                </a:solidFill>
                <a:latin typeface="Roboto"/>
                <a:cs typeface="Roboto"/>
              </a:rPr>
              <a:t> </a:t>
            </a:r>
            <a:r>
              <a:rPr sz="1450" b="1" spc="-10" dirty="0">
                <a:solidFill>
                  <a:srgbClr val="FFFFFF"/>
                </a:solidFill>
                <a:latin typeface="Roboto"/>
                <a:cs typeface="Roboto"/>
              </a:rPr>
              <a:t>adversos: </a:t>
            </a:r>
            <a:r>
              <a:rPr sz="1450" dirty="0">
                <a:solidFill>
                  <a:srgbClr val="FFFFFF"/>
                </a:solidFill>
                <a:latin typeface="Roboto"/>
                <a:cs typeface="Roboto"/>
              </a:rPr>
              <a:t>Reuniones</a:t>
            </a:r>
            <a:r>
              <a:rPr sz="1450" spc="15" dirty="0">
                <a:solidFill>
                  <a:srgbClr val="FFFFFF"/>
                </a:solidFill>
                <a:latin typeface="Roboto"/>
                <a:cs typeface="Roboto"/>
              </a:rPr>
              <a:t> </a:t>
            </a:r>
            <a:r>
              <a:rPr sz="1450" dirty="0">
                <a:solidFill>
                  <a:srgbClr val="FFFFFF"/>
                </a:solidFill>
                <a:latin typeface="Roboto"/>
                <a:cs typeface="Roboto"/>
              </a:rPr>
              <a:t>e</a:t>
            </a:r>
            <a:r>
              <a:rPr sz="1450" spc="15" dirty="0">
                <a:solidFill>
                  <a:srgbClr val="FFFFFF"/>
                </a:solidFill>
                <a:latin typeface="Roboto"/>
                <a:cs typeface="Roboto"/>
              </a:rPr>
              <a:t> </a:t>
            </a:r>
            <a:r>
              <a:rPr sz="1450" dirty="0">
                <a:solidFill>
                  <a:srgbClr val="FFFFFF"/>
                </a:solidFill>
                <a:latin typeface="Roboto"/>
                <a:cs typeface="Roboto"/>
              </a:rPr>
              <a:t>incentivos</a:t>
            </a:r>
            <a:r>
              <a:rPr sz="1450" spc="15" dirty="0">
                <a:solidFill>
                  <a:srgbClr val="FFFFFF"/>
                </a:solidFill>
                <a:latin typeface="Roboto"/>
                <a:cs typeface="Roboto"/>
              </a:rPr>
              <a:t> </a:t>
            </a:r>
            <a:r>
              <a:rPr sz="1450" dirty="0">
                <a:solidFill>
                  <a:srgbClr val="FFFFFF"/>
                </a:solidFill>
                <a:latin typeface="Roboto"/>
                <a:cs typeface="Roboto"/>
              </a:rPr>
              <a:t>más</a:t>
            </a:r>
            <a:r>
              <a:rPr sz="1450" spc="20" dirty="0">
                <a:solidFill>
                  <a:srgbClr val="FFFFFF"/>
                </a:solidFill>
                <a:latin typeface="Roboto"/>
                <a:cs typeface="Roboto"/>
              </a:rPr>
              <a:t> </a:t>
            </a:r>
            <a:r>
              <a:rPr sz="1450" spc="-10" dirty="0">
                <a:solidFill>
                  <a:srgbClr val="FFFFFF"/>
                </a:solidFill>
                <a:latin typeface="Roboto"/>
                <a:cs typeface="Roboto"/>
              </a:rPr>
              <a:t>cortos. </a:t>
            </a:r>
            <a:r>
              <a:rPr sz="1450" dirty="0">
                <a:solidFill>
                  <a:srgbClr val="FFFFFF"/>
                </a:solidFill>
                <a:latin typeface="Roboto"/>
                <a:cs typeface="Roboto"/>
              </a:rPr>
              <a:t>Menor</a:t>
            </a:r>
            <a:r>
              <a:rPr sz="1450" spc="65" dirty="0">
                <a:solidFill>
                  <a:srgbClr val="FFFFFF"/>
                </a:solidFill>
                <a:latin typeface="Roboto"/>
                <a:cs typeface="Roboto"/>
              </a:rPr>
              <a:t> </a:t>
            </a:r>
            <a:r>
              <a:rPr sz="1450" spc="-10" dirty="0">
                <a:solidFill>
                  <a:srgbClr val="FFFFFF"/>
                </a:solidFill>
                <a:latin typeface="Roboto"/>
                <a:cs typeface="Roboto"/>
              </a:rPr>
              <a:t>presupuesto.</a:t>
            </a:r>
            <a:endParaRPr sz="1450">
              <a:latin typeface="Roboto"/>
              <a:cs typeface="Roboto"/>
            </a:endParaRPr>
          </a:p>
          <a:p>
            <a:pPr marL="673100" marR="917575">
              <a:lnSpc>
                <a:spcPts val="1730"/>
              </a:lnSpc>
              <a:spcBef>
                <a:spcPts val="1375"/>
              </a:spcBef>
            </a:pPr>
            <a:r>
              <a:rPr sz="1450" dirty="0">
                <a:solidFill>
                  <a:srgbClr val="FFFFFF"/>
                </a:solidFill>
                <a:latin typeface="Roboto"/>
                <a:cs typeface="Roboto"/>
              </a:rPr>
              <a:t>Menor</a:t>
            </a:r>
            <a:r>
              <a:rPr sz="1450" spc="25" dirty="0">
                <a:solidFill>
                  <a:srgbClr val="FFFFFF"/>
                </a:solidFill>
                <a:latin typeface="Roboto"/>
                <a:cs typeface="Roboto"/>
              </a:rPr>
              <a:t> </a:t>
            </a:r>
            <a:r>
              <a:rPr sz="1450" dirty="0">
                <a:solidFill>
                  <a:srgbClr val="FFFFFF"/>
                </a:solidFill>
                <a:latin typeface="Roboto"/>
                <a:cs typeface="Roboto"/>
              </a:rPr>
              <a:t>distancia</a:t>
            </a:r>
            <a:r>
              <a:rPr sz="1450" spc="25" dirty="0">
                <a:solidFill>
                  <a:srgbClr val="FFFFFF"/>
                </a:solidFill>
                <a:latin typeface="Roboto"/>
                <a:cs typeface="Roboto"/>
              </a:rPr>
              <a:t> </a:t>
            </a:r>
            <a:r>
              <a:rPr sz="1450" dirty="0">
                <a:solidFill>
                  <a:srgbClr val="FFFFFF"/>
                </a:solidFill>
                <a:latin typeface="Roboto"/>
                <a:cs typeface="Roboto"/>
              </a:rPr>
              <a:t>de</a:t>
            </a:r>
            <a:r>
              <a:rPr sz="1450" spc="30" dirty="0">
                <a:solidFill>
                  <a:srgbClr val="FFFFFF"/>
                </a:solidFill>
                <a:latin typeface="Roboto"/>
                <a:cs typeface="Roboto"/>
              </a:rPr>
              <a:t> </a:t>
            </a:r>
            <a:r>
              <a:rPr sz="1450" dirty="0">
                <a:solidFill>
                  <a:srgbClr val="FFFFFF"/>
                </a:solidFill>
                <a:latin typeface="Roboto"/>
                <a:cs typeface="Roboto"/>
              </a:rPr>
              <a:t>la</a:t>
            </a:r>
            <a:r>
              <a:rPr sz="1450" spc="25" dirty="0">
                <a:solidFill>
                  <a:srgbClr val="FFFFFF"/>
                </a:solidFill>
                <a:latin typeface="Roboto"/>
                <a:cs typeface="Roboto"/>
              </a:rPr>
              <a:t> </a:t>
            </a:r>
            <a:r>
              <a:rPr sz="1450" spc="-20" dirty="0">
                <a:solidFill>
                  <a:srgbClr val="FFFFFF"/>
                </a:solidFill>
                <a:latin typeface="Roboto"/>
                <a:cs typeface="Roboto"/>
              </a:rPr>
              <a:t>sede </a:t>
            </a:r>
            <a:r>
              <a:rPr sz="1450" dirty="0">
                <a:solidFill>
                  <a:srgbClr val="FFFFFF"/>
                </a:solidFill>
                <a:latin typeface="Roboto"/>
                <a:cs typeface="Roboto"/>
              </a:rPr>
              <a:t>de</a:t>
            </a:r>
            <a:r>
              <a:rPr sz="1450" spc="15" dirty="0">
                <a:solidFill>
                  <a:srgbClr val="FFFFFF"/>
                </a:solidFill>
                <a:latin typeface="Roboto"/>
                <a:cs typeface="Roboto"/>
              </a:rPr>
              <a:t> </a:t>
            </a:r>
            <a:r>
              <a:rPr sz="1450" dirty="0">
                <a:solidFill>
                  <a:srgbClr val="FFFFFF"/>
                </a:solidFill>
                <a:latin typeface="Roboto"/>
                <a:cs typeface="Roboto"/>
              </a:rPr>
              <a:t>la</a:t>
            </a:r>
            <a:r>
              <a:rPr sz="1450" spc="15" dirty="0">
                <a:solidFill>
                  <a:srgbClr val="FFFFFF"/>
                </a:solidFill>
                <a:latin typeface="Roboto"/>
                <a:cs typeface="Roboto"/>
              </a:rPr>
              <a:t> </a:t>
            </a:r>
            <a:r>
              <a:rPr sz="1450" spc="-10" dirty="0">
                <a:solidFill>
                  <a:srgbClr val="FFFFFF"/>
                </a:solidFill>
                <a:latin typeface="Roboto"/>
                <a:cs typeface="Roboto"/>
              </a:rPr>
              <a:t>empresa.</a:t>
            </a:r>
            <a:endParaRPr sz="1450">
              <a:latin typeface="Roboto"/>
              <a:cs typeface="Roboto"/>
            </a:endParaRPr>
          </a:p>
        </p:txBody>
      </p:sp>
      <p:grpSp>
        <p:nvGrpSpPr>
          <p:cNvPr id="36" name="object 36"/>
          <p:cNvGrpSpPr/>
          <p:nvPr/>
        </p:nvGrpSpPr>
        <p:grpSpPr>
          <a:xfrm>
            <a:off x="13466198" y="3224301"/>
            <a:ext cx="2914650" cy="4111625"/>
            <a:chOff x="13466198" y="3224301"/>
            <a:chExt cx="2914650" cy="4111625"/>
          </a:xfrm>
        </p:grpSpPr>
        <p:sp>
          <p:nvSpPr>
            <p:cNvPr id="37" name="object 37"/>
            <p:cNvSpPr/>
            <p:nvPr/>
          </p:nvSpPr>
          <p:spPr>
            <a:xfrm>
              <a:off x="13466198" y="5543679"/>
              <a:ext cx="2715260" cy="0"/>
            </a:xfrm>
            <a:custGeom>
              <a:avLst/>
              <a:gdLst/>
              <a:ahLst/>
              <a:cxnLst/>
              <a:rect l="l" t="t" r="r" b="b"/>
              <a:pathLst>
                <a:path w="2715259">
                  <a:moveTo>
                    <a:pt x="0" y="0"/>
                  </a:moveTo>
                  <a:lnTo>
                    <a:pt x="2714764" y="0"/>
                  </a:lnTo>
                </a:path>
              </a:pathLst>
            </a:custGeom>
            <a:ln w="9524">
              <a:solidFill>
                <a:srgbClr val="FFFFFF"/>
              </a:solidFill>
            </a:ln>
          </p:spPr>
          <p:txBody>
            <a:bodyPr wrap="square" lIns="0" tIns="0" rIns="0" bIns="0" rtlCol="0"/>
            <a:lstStyle/>
            <a:p>
              <a:endParaRPr/>
            </a:p>
          </p:txBody>
        </p:sp>
        <p:sp>
          <p:nvSpPr>
            <p:cNvPr id="38" name="object 38"/>
            <p:cNvSpPr/>
            <p:nvPr/>
          </p:nvSpPr>
          <p:spPr>
            <a:xfrm>
              <a:off x="13466198" y="7330783"/>
              <a:ext cx="2715260" cy="0"/>
            </a:xfrm>
            <a:custGeom>
              <a:avLst/>
              <a:gdLst/>
              <a:ahLst/>
              <a:cxnLst/>
              <a:rect l="l" t="t" r="r" b="b"/>
              <a:pathLst>
                <a:path w="2715259">
                  <a:moveTo>
                    <a:pt x="0" y="0"/>
                  </a:moveTo>
                  <a:lnTo>
                    <a:pt x="2714764" y="0"/>
                  </a:lnTo>
                </a:path>
              </a:pathLst>
            </a:custGeom>
            <a:ln w="9524">
              <a:solidFill>
                <a:srgbClr val="FFFFFF"/>
              </a:solidFill>
            </a:ln>
          </p:spPr>
          <p:txBody>
            <a:bodyPr wrap="square" lIns="0" tIns="0" rIns="0" bIns="0" rtlCol="0"/>
            <a:lstStyle/>
            <a:p>
              <a:endParaRPr/>
            </a:p>
          </p:txBody>
        </p:sp>
        <p:sp>
          <p:nvSpPr>
            <p:cNvPr id="39" name="object 39"/>
            <p:cNvSpPr/>
            <p:nvPr/>
          </p:nvSpPr>
          <p:spPr>
            <a:xfrm>
              <a:off x="15552166" y="3224313"/>
              <a:ext cx="828675" cy="828675"/>
            </a:xfrm>
            <a:custGeom>
              <a:avLst/>
              <a:gdLst/>
              <a:ahLst/>
              <a:cxnLst/>
              <a:rect l="l" t="t" r="r" b="b"/>
              <a:pathLst>
                <a:path w="828675" h="828675">
                  <a:moveTo>
                    <a:pt x="503123" y="251561"/>
                  </a:moveTo>
                  <a:lnTo>
                    <a:pt x="499059" y="206387"/>
                  </a:lnTo>
                  <a:lnTo>
                    <a:pt x="487362" y="163855"/>
                  </a:lnTo>
                  <a:lnTo>
                    <a:pt x="472782" y="133197"/>
                  </a:lnTo>
                  <a:lnTo>
                    <a:pt x="468731" y="124675"/>
                  </a:lnTo>
                  <a:lnTo>
                    <a:pt x="443890" y="89560"/>
                  </a:lnTo>
                  <a:lnTo>
                    <a:pt x="413562" y="59220"/>
                  </a:lnTo>
                  <a:lnTo>
                    <a:pt x="378434" y="34378"/>
                  </a:lnTo>
                  <a:lnTo>
                    <a:pt x="369951" y="30353"/>
                  </a:lnTo>
                  <a:lnTo>
                    <a:pt x="369951" y="183578"/>
                  </a:lnTo>
                  <a:lnTo>
                    <a:pt x="367779" y="194716"/>
                  </a:lnTo>
                  <a:lnTo>
                    <a:pt x="361276" y="204508"/>
                  </a:lnTo>
                  <a:lnTo>
                    <a:pt x="314223" y="251561"/>
                  </a:lnTo>
                  <a:lnTo>
                    <a:pt x="361276" y="298551"/>
                  </a:lnTo>
                  <a:lnTo>
                    <a:pt x="367779" y="308368"/>
                  </a:lnTo>
                  <a:lnTo>
                    <a:pt x="369951" y="319532"/>
                  </a:lnTo>
                  <a:lnTo>
                    <a:pt x="367779" y="330669"/>
                  </a:lnTo>
                  <a:lnTo>
                    <a:pt x="361276" y="340461"/>
                  </a:lnTo>
                  <a:lnTo>
                    <a:pt x="340461" y="361264"/>
                  </a:lnTo>
                  <a:lnTo>
                    <a:pt x="330669" y="367766"/>
                  </a:lnTo>
                  <a:lnTo>
                    <a:pt x="319519" y="369938"/>
                  </a:lnTo>
                  <a:lnTo>
                    <a:pt x="308381" y="367766"/>
                  </a:lnTo>
                  <a:lnTo>
                    <a:pt x="298615" y="361264"/>
                  </a:lnTo>
                  <a:lnTo>
                    <a:pt x="251561" y="314210"/>
                  </a:lnTo>
                  <a:lnTo>
                    <a:pt x="198729" y="367042"/>
                  </a:lnTo>
                  <a:lnTo>
                    <a:pt x="191160" y="369938"/>
                  </a:lnTo>
                  <a:lnTo>
                    <a:pt x="176009" y="369938"/>
                  </a:lnTo>
                  <a:lnTo>
                    <a:pt x="168440" y="367042"/>
                  </a:lnTo>
                  <a:lnTo>
                    <a:pt x="141846" y="340461"/>
                  </a:lnTo>
                  <a:lnTo>
                    <a:pt x="135343" y="330669"/>
                  </a:lnTo>
                  <a:lnTo>
                    <a:pt x="133184" y="319532"/>
                  </a:lnTo>
                  <a:lnTo>
                    <a:pt x="135343" y="308394"/>
                  </a:lnTo>
                  <a:lnTo>
                    <a:pt x="141846" y="298602"/>
                  </a:lnTo>
                  <a:lnTo>
                    <a:pt x="188899" y="251561"/>
                  </a:lnTo>
                  <a:lnTo>
                    <a:pt x="141846" y="204558"/>
                  </a:lnTo>
                  <a:lnTo>
                    <a:pt x="135343" y="194741"/>
                  </a:lnTo>
                  <a:lnTo>
                    <a:pt x="133184" y="183591"/>
                  </a:lnTo>
                  <a:lnTo>
                    <a:pt x="135343" y="172440"/>
                  </a:lnTo>
                  <a:lnTo>
                    <a:pt x="141846" y="162648"/>
                  </a:lnTo>
                  <a:lnTo>
                    <a:pt x="162661" y="141846"/>
                  </a:lnTo>
                  <a:lnTo>
                    <a:pt x="172453" y="135343"/>
                  </a:lnTo>
                  <a:lnTo>
                    <a:pt x="183603" y="133172"/>
                  </a:lnTo>
                  <a:lnTo>
                    <a:pt x="194741" y="135343"/>
                  </a:lnTo>
                  <a:lnTo>
                    <a:pt x="204508" y="141846"/>
                  </a:lnTo>
                  <a:lnTo>
                    <a:pt x="251561" y="188899"/>
                  </a:lnTo>
                  <a:lnTo>
                    <a:pt x="298615" y="141846"/>
                  </a:lnTo>
                  <a:lnTo>
                    <a:pt x="308356" y="135369"/>
                  </a:lnTo>
                  <a:lnTo>
                    <a:pt x="319519" y="133197"/>
                  </a:lnTo>
                  <a:lnTo>
                    <a:pt x="330669" y="135369"/>
                  </a:lnTo>
                  <a:lnTo>
                    <a:pt x="340461" y="141846"/>
                  </a:lnTo>
                  <a:lnTo>
                    <a:pt x="361276" y="162648"/>
                  </a:lnTo>
                  <a:lnTo>
                    <a:pt x="367779" y="172440"/>
                  </a:lnTo>
                  <a:lnTo>
                    <a:pt x="369951" y="183578"/>
                  </a:lnTo>
                  <a:lnTo>
                    <a:pt x="369951" y="30353"/>
                  </a:lnTo>
                  <a:lnTo>
                    <a:pt x="339255" y="15760"/>
                  </a:lnTo>
                  <a:lnTo>
                    <a:pt x="296722" y="4051"/>
                  </a:lnTo>
                  <a:lnTo>
                    <a:pt x="251561" y="0"/>
                  </a:lnTo>
                  <a:lnTo>
                    <a:pt x="206400" y="4051"/>
                  </a:lnTo>
                  <a:lnTo>
                    <a:pt x="163868" y="15760"/>
                  </a:lnTo>
                  <a:lnTo>
                    <a:pt x="124688" y="34378"/>
                  </a:lnTo>
                  <a:lnTo>
                    <a:pt x="89573" y="59220"/>
                  </a:lnTo>
                  <a:lnTo>
                    <a:pt x="59232" y="89560"/>
                  </a:lnTo>
                  <a:lnTo>
                    <a:pt x="34391" y="124675"/>
                  </a:lnTo>
                  <a:lnTo>
                    <a:pt x="15760" y="163855"/>
                  </a:lnTo>
                  <a:lnTo>
                    <a:pt x="4064" y="206387"/>
                  </a:lnTo>
                  <a:lnTo>
                    <a:pt x="0" y="251561"/>
                  </a:lnTo>
                  <a:lnTo>
                    <a:pt x="4064" y="296722"/>
                  </a:lnTo>
                  <a:lnTo>
                    <a:pt x="15760" y="339255"/>
                  </a:lnTo>
                  <a:lnTo>
                    <a:pt x="34391" y="378434"/>
                  </a:lnTo>
                  <a:lnTo>
                    <a:pt x="59207" y="413512"/>
                  </a:lnTo>
                  <a:lnTo>
                    <a:pt x="89573" y="443890"/>
                  </a:lnTo>
                  <a:lnTo>
                    <a:pt x="124688" y="468731"/>
                  </a:lnTo>
                  <a:lnTo>
                    <a:pt x="163868" y="487362"/>
                  </a:lnTo>
                  <a:lnTo>
                    <a:pt x="206400" y="499059"/>
                  </a:lnTo>
                  <a:lnTo>
                    <a:pt x="251561" y="503123"/>
                  </a:lnTo>
                  <a:lnTo>
                    <a:pt x="265760" y="502691"/>
                  </a:lnTo>
                  <a:lnTo>
                    <a:pt x="279882" y="501434"/>
                  </a:lnTo>
                  <a:lnTo>
                    <a:pt x="293928" y="499389"/>
                  </a:lnTo>
                  <a:lnTo>
                    <a:pt x="307860" y="496582"/>
                  </a:lnTo>
                  <a:lnTo>
                    <a:pt x="324967" y="453110"/>
                  </a:lnTo>
                  <a:lnTo>
                    <a:pt x="348716" y="413550"/>
                  </a:lnTo>
                  <a:lnTo>
                    <a:pt x="378498" y="378485"/>
                  </a:lnTo>
                  <a:lnTo>
                    <a:pt x="413524" y="348729"/>
                  </a:lnTo>
                  <a:lnTo>
                    <a:pt x="453123" y="324954"/>
                  </a:lnTo>
                  <a:lnTo>
                    <a:pt x="496595" y="307860"/>
                  </a:lnTo>
                  <a:lnTo>
                    <a:pt x="499389" y="293928"/>
                  </a:lnTo>
                  <a:lnTo>
                    <a:pt x="501446" y="279882"/>
                  </a:lnTo>
                  <a:lnTo>
                    <a:pt x="502704" y="265747"/>
                  </a:lnTo>
                  <a:lnTo>
                    <a:pt x="503123" y="251561"/>
                  </a:lnTo>
                  <a:close/>
                </a:path>
                <a:path w="828675" h="828675">
                  <a:moveTo>
                    <a:pt x="710412" y="482015"/>
                  </a:moveTo>
                  <a:lnTo>
                    <a:pt x="710298" y="480860"/>
                  </a:lnTo>
                  <a:lnTo>
                    <a:pt x="684923" y="459066"/>
                  </a:lnTo>
                  <a:lnTo>
                    <a:pt x="684276" y="458546"/>
                  </a:lnTo>
                  <a:lnTo>
                    <a:pt x="683298" y="458609"/>
                  </a:lnTo>
                  <a:lnTo>
                    <a:pt x="517283" y="642429"/>
                  </a:lnTo>
                  <a:lnTo>
                    <a:pt x="513473" y="644220"/>
                  </a:lnTo>
                  <a:lnTo>
                    <a:pt x="505434" y="644334"/>
                  </a:lnTo>
                  <a:lnTo>
                    <a:pt x="501396" y="642835"/>
                  </a:lnTo>
                  <a:lnTo>
                    <a:pt x="469430" y="610870"/>
                  </a:lnTo>
                  <a:lnTo>
                    <a:pt x="467753" y="610870"/>
                  </a:lnTo>
                  <a:lnTo>
                    <a:pt x="443763" y="634847"/>
                  </a:lnTo>
                  <a:lnTo>
                    <a:pt x="443763" y="635838"/>
                  </a:lnTo>
                  <a:lnTo>
                    <a:pt x="501561" y="693635"/>
                  </a:lnTo>
                  <a:lnTo>
                    <a:pt x="506069" y="695490"/>
                  </a:lnTo>
                  <a:lnTo>
                    <a:pt x="516534" y="695261"/>
                  </a:lnTo>
                  <a:lnTo>
                    <a:pt x="521220" y="693000"/>
                  </a:lnTo>
                  <a:lnTo>
                    <a:pt x="710412" y="482015"/>
                  </a:lnTo>
                  <a:close/>
                </a:path>
                <a:path w="828675" h="828675">
                  <a:moveTo>
                    <a:pt x="828675" y="577113"/>
                  </a:moveTo>
                  <a:lnTo>
                    <a:pt x="824611" y="531939"/>
                  </a:lnTo>
                  <a:lnTo>
                    <a:pt x="812914" y="489407"/>
                  </a:lnTo>
                  <a:lnTo>
                    <a:pt x="794283" y="450227"/>
                  </a:lnTo>
                  <a:lnTo>
                    <a:pt x="769442" y="415112"/>
                  </a:lnTo>
                  <a:lnTo>
                    <a:pt x="739775" y="385445"/>
                  </a:lnTo>
                  <a:lnTo>
                    <a:pt x="739775" y="479158"/>
                  </a:lnTo>
                  <a:lnTo>
                    <a:pt x="738416" y="491020"/>
                  </a:lnTo>
                  <a:lnTo>
                    <a:pt x="546709" y="708787"/>
                  </a:lnTo>
                  <a:lnTo>
                    <a:pt x="512660" y="725030"/>
                  </a:lnTo>
                  <a:lnTo>
                    <a:pt x="512483" y="725081"/>
                  </a:lnTo>
                  <a:lnTo>
                    <a:pt x="510870" y="725081"/>
                  </a:lnTo>
                  <a:lnTo>
                    <a:pt x="501523" y="724179"/>
                  </a:lnTo>
                  <a:lnTo>
                    <a:pt x="423468" y="657339"/>
                  </a:lnTo>
                  <a:lnTo>
                    <a:pt x="414362" y="635342"/>
                  </a:lnTo>
                  <a:lnTo>
                    <a:pt x="416648" y="623633"/>
                  </a:lnTo>
                  <a:lnTo>
                    <a:pt x="423468" y="613346"/>
                  </a:lnTo>
                  <a:lnTo>
                    <a:pt x="446532" y="590232"/>
                  </a:lnTo>
                  <a:lnTo>
                    <a:pt x="456844" y="583399"/>
                  </a:lnTo>
                  <a:lnTo>
                    <a:pt x="468591" y="581126"/>
                  </a:lnTo>
                  <a:lnTo>
                    <a:pt x="480339" y="583399"/>
                  </a:lnTo>
                  <a:lnTo>
                    <a:pt x="490639" y="590232"/>
                  </a:lnTo>
                  <a:lnTo>
                    <a:pt x="508444" y="608037"/>
                  </a:lnTo>
                  <a:lnTo>
                    <a:pt x="532752" y="581126"/>
                  </a:lnTo>
                  <a:lnTo>
                    <a:pt x="660527" y="439712"/>
                  </a:lnTo>
                  <a:lnTo>
                    <a:pt x="670115" y="432257"/>
                  </a:lnTo>
                  <a:lnTo>
                    <a:pt x="681545" y="429183"/>
                  </a:lnTo>
                  <a:lnTo>
                    <a:pt x="693369" y="430593"/>
                  </a:lnTo>
                  <a:lnTo>
                    <a:pt x="704164" y="436638"/>
                  </a:lnTo>
                  <a:lnTo>
                    <a:pt x="729018" y="457911"/>
                  </a:lnTo>
                  <a:lnTo>
                    <a:pt x="736612" y="467652"/>
                  </a:lnTo>
                  <a:lnTo>
                    <a:pt x="739775" y="479158"/>
                  </a:lnTo>
                  <a:lnTo>
                    <a:pt x="739775" y="385445"/>
                  </a:lnTo>
                  <a:lnTo>
                    <a:pt x="703986" y="359930"/>
                  </a:lnTo>
                  <a:lnTo>
                    <a:pt x="664806" y="341312"/>
                  </a:lnTo>
                  <a:lnTo>
                    <a:pt x="622274" y="329603"/>
                  </a:lnTo>
                  <a:lnTo>
                    <a:pt x="577113" y="325539"/>
                  </a:lnTo>
                  <a:lnTo>
                    <a:pt x="531952" y="329603"/>
                  </a:lnTo>
                  <a:lnTo>
                    <a:pt x="489419" y="341312"/>
                  </a:lnTo>
                  <a:lnTo>
                    <a:pt x="450240" y="359930"/>
                  </a:lnTo>
                  <a:lnTo>
                    <a:pt x="415124" y="384771"/>
                  </a:lnTo>
                  <a:lnTo>
                    <a:pt x="384784" y="415112"/>
                  </a:lnTo>
                  <a:lnTo>
                    <a:pt x="359943" y="450227"/>
                  </a:lnTo>
                  <a:lnTo>
                    <a:pt x="341312" y="489407"/>
                  </a:lnTo>
                  <a:lnTo>
                    <a:pt x="329615" y="531939"/>
                  </a:lnTo>
                  <a:lnTo>
                    <a:pt x="325551" y="577113"/>
                  </a:lnTo>
                  <a:lnTo>
                    <a:pt x="329615" y="622274"/>
                  </a:lnTo>
                  <a:lnTo>
                    <a:pt x="341312" y="664806"/>
                  </a:lnTo>
                  <a:lnTo>
                    <a:pt x="359943" y="703986"/>
                  </a:lnTo>
                  <a:lnTo>
                    <a:pt x="384784" y="739101"/>
                  </a:lnTo>
                  <a:lnTo>
                    <a:pt x="415124" y="769442"/>
                  </a:lnTo>
                  <a:lnTo>
                    <a:pt x="450240" y="794283"/>
                  </a:lnTo>
                  <a:lnTo>
                    <a:pt x="489419" y="812901"/>
                  </a:lnTo>
                  <a:lnTo>
                    <a:pt x="531952" y="824611"/>
                  </a:lnTo>
                  <a:lnTo>
                    <a:pt x="577113" y="828675"/>
                  </a:lnTo>
                  <a:lnTo>
                    <a:pt x="622274" y="824611"/>
                  </a:lnTo>
                  <a:lnTo>
                    <a:pt x="664806" y="812901"/>
                  </a:lnTo>
                  <a:lnTo>
                    <a:pt x="703986" y="794283"/>
                  </a:lnTo>
                  <a:lnTo>
                    <a:pt x="739101" y="769442"/>
                  </a:lnTo>
                  <a:lnTo>
                    <a:pt x="769442" y="739101"/>
                  </a:lnTo>
                  <a:lnTo>
                    <a:pt x="794283" y="703986"/>
                  </a:lnTo>
                  <a:lnTo>
                    <a:pt x="812914" y="664806"/>
                  </a:lnTo>
                  <a:lnTo>
                    <a:pt x="824611" y="622274"/>
                  </a:lnTo>
                  <a:lnTo>
                    <a:pt x="828675" y="577113"/>
                  </a:lnTo>
                  <a:close/>
                </a:path>
              </a:pathLst>
            </a:custGeom>
            <a:solidFill>
              <a:srgbClr val="FFFFFF"/>
            </a:solidFill>
          </p:spPr>
          <p:txBody>
            <a:bodyPr wrap="square" lIns="0" tIns="0" rIns="0" bIns="0" rtlCol="0"/>
            <a:lstStyle/>
            <a:p>
              <a:endParaRPr/>
            </a:p>
          </p:txBody>
        </p:sp>
        <p:pic>
          <p:nvPicPr>
            <p:cNvPr id="40" name="object 40"/>
            <p:cNvPicPr/>
            <p:nvPr/>
          </p:nvPicPr>
          <p:blipFill>
            <a:blip r:embed="rId10" cstate="print"/>
            <a:stretch>
              <a:fillRect/>
            </a:stretch>
          </p:blipFill>
          <p:spPr>
            <a:xfrm>
              <a:off x="15714948" y="3387077"/>
              <a:ext cx="177573" cy="177573"/>
            </a:xfrm>
            <a:prstGeom prst="rect">
              <a:avLst/>
            </a:prstGeom>
          </p:spPr>
        </p:pic>
      </p:grpSp>
      <p:pic>
        <p:nvPicPr>
          <p:cNvPr id="41" name="object 41"/>
          <p:cNvPicPr/>
          <p:nvPr/>
        </p:nvPicPr>
        <p:blipFill>
          <a:blip r:embed="rId11" cstate="print"/>
          <a:stretch>
            <a:fillRect/>
          </a:stretch>
        </p:blipFill>
        <p:spPr>
          <a:xfrm>
            <a:off x="17316450" y="237491"/>
            <a:ext cx="742949" cy="819149"/>
          </a:xfrm>
          <a:prstGeom prst="rect">
            <a:avLst/>
          </a:prstGeom>
        </p:spPr>
      </p:pic>
      <p:sp>
        <p:nvSpPr>
          <p:cNvPr id="42" name="object 42"/>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43" name="object 43"/>
          <p:cNvSpPr txBox="1"/>
          <p:nvPr/>
        </p:nvSpPr>
        <p:spPr>
          <a:xfrm>
            <a:off x="17811802" y="9932972"/>
            <a:ext cx="218440"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2</a:t>
            </a:r>
            <a:endParaRPr sz="900">
              <a:latin typeface="Arial"/>
              <a:cs typeface="Arial"/>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sp>
        <p:nvSpPr>
          <p:cNvPr id="3" name="object 3"/>
          <p:cNvSpPr txBox="1"/>
          <p:nvPr/>
        </p:nvSpPr>
        <p:spPr>
          <a:xfrm>
            <a:off x="637985" y="384147"/>
            <a:ext cx="615251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1.</a:t>
            </a:r>
            <a:r>
              <a:rPr sz="3000" spc="-114" dirty="0">
                <a:solidFill>
                  <a:srgbClr val="FFFFFF"/>
                </a:solidFill>
                <a:latin typeface="Roboto"/>
                <a:cs typeface="Roboto"/>
              </a:rPr>
              <a:t> </a:t>
            </a:r>
            <a:r>
              <a:rPr sz="3000" spc="-30" dirty="0">
                <a:solidFill>
                  <a:srgbClr val="FFFFFF"/>
                </a:solidFill>
                <a:latin typeface="Roboto"/>
                <a:cs typeface="Roboto"/>
              </a:rPr>
              <a:t>Situación</a:t>
            </a:r>
            <a:r>
              <a:rPr sz="3000" spc="-110" dirty="0">
                <a:solidFill>
                  <a:srgbClr val="FFFFFF"/>
                </a:solidFill>
                <a:latin typeface="Roboto"/>
                <a:cs typeface="Roboto"/>
              </a:rPr>
              <a:t> </a:t>
            </a:r>
            <a:r>
              <a:rPr sz="3000" spc="-20" dirty="0">
                <a:solidFill>
                  <a:srgbClr val="FFFFFF"/>
                </a:solidFill>
                <a:latin typeface="Roboto"/>
                <a:cs typeface="Roboto"/>
              </a:rPr>
              <a:t>actual</a:t>
            </a:r>
            <a:r>
              <a:rPr sz="3000" spc="-110" dirty="0">
                <a:solidFill>
                  <a:srgbClr val="FFFFFF"/>
                </a:solidFill>
                <a:latin typeface="Roboto"/>
                <a:cs typeface="Roboto"/>
              </a:rPr>
              <a:t> </a:t>
            </a:r>
            <a:r>
              <a:rPr sz="3000" dirty="0">
                <a:solidFill>
                  <a:srgbClr val="FFFFFF"/>
                </a:solidFill>
                <a:latin typeface="Roboto"/>
                <a:cs typeface="Roboto"/>
              </a:rPr>
              <a:t>segmento</a:t>
            </a:r>
            <a:r>
              <a:rPr sz="3000" spc="-110" dirty="0">
                <a:solidFill>
                  <a:srgbClr val="FFFFFF"/>
                </a:solidFill>
                <a:latin typeface="Roboto"/>
                <a:cs typeface="Roboto"/>
              </a:rPr>
              <a:t> </a:t>
            </a:r>
            <a:r>
              <a:rPr sz="3000" spc="-20" dirty="0">
                <a:solidFill>
                  <a:srgbClr val="FFFFFF"/>
                </a:solidFill>
                <a:latin typeface="Roboto"/>
                <a:cs typeface="Roboto"/>
              </a:rPr>
              <a:t>MICE</a:t>
            </a:r>
            <a:endParaRPr sz="3000">
              <a:latin typeface="Roboto"/>
              <a:cs typeface="Roboto"/>
            </a:endParaRPr>
          </a:p>
        </p:txBody>
      </p:sp>
      <p:sp>
        <p:nvSpPr>
          <p:cNvPr id="4" name="object 4"/>
          <p:cNvSpPr txBox="1">
            <a:spLocks noGrp="1"/>
          </p:cNvSpPr>
          <p:nvPr>
            <p:ph type="title"/>
          </p:nvPr>
        </p:nvSpPr>
        <p:spPr>
          <a:xfrm>
            <a:off x="4882646" y="1854015"/>
            <a:ext cx="8481060" cy="643890"/>
          </a:xfrm>
          <a:prstGeom prst="rect">
            <a:avLst/>
          </a:prstGeom>
        </p:spPr>
        <p:txBody>
          <a:bodyPr vert="horz" wrap="square" lIns="0" tIns="13335" rIns="0" bIns="0" rtlCol="0">
            <a:spAutoFit/>
          </a:bodyPr>
          <a:lstStyle/>
          <a:p>
            <a:pPr marL="12700">
              <a:lnSpc>
                <a:spcPct val="100000"/>
              </a:lnSpc>
              <a:spcBef>
                <a:spcPts val="105"/>
              </a:spcBef>
            </a:pPr>
            <a:r>
              <a:rPr sz="4050" spc="-25" dirty="0">
                <a:solidFill>
                  <a:srgbClr val="E3112B"/>
                </a:solidFill>
              </a:rPr>
              <a:t>Puntos</a:t>
            </a:r>
            <a:r>
              <a:rPr sz="4050" spc="-170" dirty="0">
                <a:solidFill>
                  <a:srgbClr val="E3112B"/>
                </a:solidFill>
              </a:rPr>
              <a:t> </a:t>
            </a:r>
            <a:r>
              <a:rPr sz="4050" dirty="0">
                <a:solidFill>
                  <a:srgbClr val="E3112B"/>
                </a:solidFill>
              </a:rPr>
              <a:t>clave</a:t>
            </a:r>
            <a:r>
              <a:rPr sz="4050" spc="-165" dirty="0">
                <a:solidFill>
                  <a:srgbClr val="E3112B"/>
                </a:solidFill>
              </a:rPr>
              <a:t> </a:t>
            </a:r>
            <a:r>
              <a:rPr sz="4050" dirty="0">
                <a:solidFill>
                  <a:srgbClr val="E3112B"/>
                </a:solidFill>
              </a:rPr>
              <a:t>del</a:t>
            </a:r>
            <a:r>
              <a:rPr sz="4050" spc="-170" dirty="0">
                <a:solidFill>
                  <a:srgbClr val="E3112B"/>
                </a:solidFill>
              </a:rPr>
              <a:t> </a:t>
            </a:r>
            <a:r>
              <a:rPr sz="4050" dirty="0">
                <a:solidFill>
                  <a:srgbClr val="E3112B"/>
                </a:solidFill>
              </a:rPr>
              <a:t>sector</a:t>
            </a:r>
            <a:r>
              <a:rPr sz="4050" spc="-165" dirty="0">
                <a:solidFill>
                  <a:srgbClr val="E3112B"/>
                </a:solidFill>
              </a:rPr>
              <a:t> </a:t>
            </a:r>
            <a:r>
              <a:rPr sz="4050" dirty="0">
                <a:solidFill>
                  <a:srgbClr val="E3112B"/>
                </a:solidFill>
              </a:rPr>
              <a:t>MICE</a:t>
            </a:r>
            <a:r>
              <a:rPr sz="4050" spc="-170" dirty="0">
                <a:solidFill>
                  <a:srgbClr val="E3112B"/>
                </a:solidFill>
              </a:rPr>
              <a:t> </a:t>
            </a:r>
            <a:r>
              <a:rPr sz="4050" spc="-10" dirty="0">
                <a:solidFill>
                  <a:srgbClr val="E3112B"/>
                </a:solidFill>
              </a:rPr>
              <a:t>chileno</a:t>
            </a:r>
            <a:endParaRPr sz="4050"/>
          </a:p>
        </p:txBody>
      </p:sp>
      <p:grpSp>
        <p:nvGrpSpPr>
          <p:cNvPr id="5" name="object 5"/>
          <p:cNvGrpSpPr/>
          <p:nvPr/>
        </p:nvGrpSpPr>
        <p:grpSpPr>
          <a:xfrm>
            <a:off x="1636038" y="2864191"/>
            <a:ext cx="3459479" cy="6638925"/>
            <a:chOff x="1636038" y="2864191"/>
            <a:chExt cx="3459479" cy="6638925"/>
          </a:xfrm>
        </p:grpSpPr>
        <p:sp>
          <p:nvSpPr>
            <p:cNvPr id="6" name="object 6"/>
            <p:cNvSpPr/>
            <p:nvPr/>
          </p:nvSpPr>
          <p:spPr>
            <a:xfrm>
              <a:off x="1636038" y="2864191"/>
              <a:ext cx="3459479" cy="6638925"/>
            </a:xfrm>
            <a:custGeom>
              <a:avLst/>
              <a:gdLst/>
              <a:ahLst/>
              <a:cxnLst/>
              <a:rect l="l" t="t" r="r" b="b"/>
              <a:pathLst>
                <a:path w="3459479" h="6638925">
                  <a:moveTo>
                    <a:pt x="3458958" y="6638677"/>
                  </a:moveTo>
                  <a:lnTo>
                    <a:pt x="0" y="6638677"/>
                  </a:lnTo>
                  <a:lnTo>
                    <a:pt x="0" y="0"/>
                  </a:lnTo>
                  <a:lnTo>
                    <a:pt x="3458958" y="0"/>
                  </a:lnTo>
                  <a:lnTo>
                    <a:pt x="3458958" y="6638677"/>
                  </a:lnTo>
                  <a:close/>
                </a:path>
              </a:pathLst>
            </a:custGeom>
            <a:solidFill>
              <a:srgbClr val="0090AE"/>
            </a:solidFill>
          </p:spPr>
          <p:txBody>
            <a:bodyPr wrap="square" lIns="0" tIns="0" rIns="0" bIns="0" rtlCol="0"/>
            <a:lstStyle/>
            <a:p>
              <a:endParaRPr/>
            </a:p>
          </p:txBody>
        </p:sp>
        <p:pic>
          <p:nvPicPr>
            <p:cNvPr id="7" name="object 7"/>
            <p:cNvPicPr/>
            <p:nvPr/>
          </p:nvPicPr>
          <p:blipFill>
            <a:blip r:embed="rId2" cstate="print"/>
            <a:stretch>
              <a:fillRect/>
            </a:stretch>
          </p:blipFill>
          <p:spPr>
            <a:xfrm>
              <a:off x="2222342" y="5121711"/>
              <a:ext cx="66675" cy="66674"/>
            </a:xfrm>
            <a:prstGeom prst="rect">
              <a:avLst/>
            </a:prstGeom>
          </p:spPr>
        </p:pic>
        <p:pic>
          <p:nvPicPr>
            <p:cNvPr id="8" name="object 8"/>
            <p:cNvPicPr/>
            <p:nvPr/>
          </p:nvPicPr>
          <p:blipFill>
            <a:blip r:embed="rId2" cstate="print"/>
            <a:stretch>
              <a:fillRect/>
            </a:stretch>
          </p:blipFill>
          <p:spPr>
            <a:xfrm>
              <a:off x="2222342" y="6188511"/>
              <a:ext cx="66675" cy="66674"/>
            </a:xfrm>
            <a:prstGeom prst="rect">
              <a:avLst/>
            </a:prstGeom>
          </p:spPr>
        </p:pic>
        <p:pic>
          <p:nvPicPr>
            <p:cNvPr id="9" name="object 9"/>
            <p:cNvPicPr/>
            <p:nvPr/>
          </p:nvPicPr>
          <p:blipFill>
            <a:blip r:embed="rId2" cstate="print"/>
            <a:stretch>
              <a:fillRect/>
            </a:stretch>
          </p:blipFill>
          <p:spPr>
            <a:xfrm>
              <a:off x="2222342" y="7522011"/>
              <a:ext cx="66675" cy="66674"/>
            </a:xfrm>
            <a:prstGeom prst="rect">
              <a:avLst/>
            </a:prstGeom>
          </p:spPr>
        </p:pic>
        <p:pic>
          <p:nvPicPr>
            <p:cNvPr id="10" name="object 10"/>
            <p:cNvPicPr/>
            <p:nvPr/>
          </p:nvPicPr>
          <p:blipFill>
            <a:blip r:embed="rId2" cstate="print"/>
            <a:stretch>
              <a:fillRect/>
            </a:stretch>
          </p:blipFill>
          <p:spPr>
            <a:xfrm>
              <a:off x="2222342" y="8588811"/>
              <a:ext cx="66675" cy="66674"/>
            </a:xfrm>
            <a:prstGeom prst="rect">
              <a:avLst/>
            </a:prstGeom>
          </p:spPr>
        </p:pic>
      </p:grpSp>
      <p:sp>
        <p:nvSpPr>
          <p:cNvPr id="11" name="object 11"/>
          <p:cNvSpPr txBox="1"/>
          <p:nvPr/>
        </p:nvSpPr>
        <p:spPr>
          <a:xfrm>
            <a:off x="1636038" y="2864191"/>
            <a:ext cx="3459479"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395605">
              <a:lnSpc>
                <a:spcPct val="100000"/>
              </a:lnSpc>
            </a:pPr>
            <a:r>
              <a:rPr sz="4600" b="1" spc="575" dirty="0">
                <a:solidFill>
                  <a:srgbClr val="F5A316"/>
                </a:solidFill>
                <a:latin typeface="Arial"/>
                <a:cs typeface="Arial"/>
              </a:rPr>
              <a:t>05</a:t>
            </a:r>
            <a:endParaRPr sz="4600">
              <a:latin typeface="Arial"/>
              <a:cs typeface="Arial"/>
            </a:endParaRPr>
          </a:p>
          <a:p>
            <a:pPr marL="395605">
              <a:lnSpc>
                <a:spcPct val="100000"/>
              </a:lnSpc>
              <a:spcBef>
                <a:spcPts val="305"/>
              </a:spcBef>
            </a:pPr>
            <a:r>
              <a:rPr sz="1850" b="1" spc="145" dirty="0">
                <a:solidFill>
                  <a:srgbClr val="FFFFFF"/>
                </a:solidFill>
                <a:latin typeface="Arial"/>
                <a:cs typeface="Arial"/>
              </a:rPr>
              <a:t>Oferta</a:t>
            </a:r>
            <a:r>
              <a:rPr sz="1850" b="1" spc="90" dirty="0">
                <a:solidFill>
                  <a:srgbClr val="FFFFFF"/>
                </a:solidFill>
                <a:latin typeface="Arial"/>
                <a:cs typeface="Arial"/>
              </a:rPr>
              <a:t> </a:t>
            </a:r>
            <a:r>
              <a:rPr sz="1850" b="1" spc="140" dirty="0">
                <a:solidFill>
                  <a:srgbClr val="FFFFFF"/>
                </a:solidFill>
                <a:latin typeface="Arial"/>
                <a:cs typeface="Arial"/>
              </a:rPr>
              <a:t>y</a:t>
            </a:r>
            <a:r>
              <a:rPr sz="1850" b="1" spc="95" dirty="0">
                <a:solidFill>
                  <a:srgbClr val="FFFFFF"/>
                </a:solidFill>
                <a:latin typeface="Arial"/>
                <a:cs typeface="Arial"/>
              </a:rPr>
              <a:t> </a:t>
            </a:r>
            <a:r>
              <a:rPr sz="1850" b="1" dirty="0">
                <a:solidFill>
                  <a:srgbClr val="FFFFFF"/>
                </a:solidFill>
                <a:latin typeface="Arial"/>
                <a:cs typeface="Arial"/>
              </a:rPr>
              <a:t>destinos</a:t>
            </a:r>
            <a:r>
              <a:rPr sz="1850" b="1" spc="95" dirty="0">
                <a:solidFill>
                  <a:srgbClr val="FFFFFF"/>
                </a:solidFill>
                <a:latin typeface="Arial"/>
                <a:cs typeface="Arial"/>
              </a:rPr>
              <a:t> </a:t>
            </a:r>
            <a:r>
              <a:rPr sz="1850" b="1" spc="-20" dirty="0">
                <a:solidFill>
                  <a:srgbClr val="FFFFFF"/>
                </a:solidFill>
                <a:latin typeface="Arial"/>
                <a:cs typeface="Arial"/>
              </a:rPr>
              <a:t>MICE</a:t>
            </a:r>
            <a:endParaRPr sz="1850">
              <a:latin typeface="Arial"/>
              <a:cs typeface="Arial"/>
            </a:endParaRPr>
          </a:p>
          <a:p>
            <a:pPr>
              <a:lnSpc>
                <a:spcPct val="100000"/>
              </a:lnSpc>
              <a:spcBef>
                <a:spcPts val="35"/>
              </a:spcBef>
            </a:pPr>
            <a:endParaRPr sz="2300">
              <a:latin typeface="Arial"/>
              <a:cs typeface="Arial"/>
            </a:endParaRPr>
          </a:p>
          <a:p>
            <a:pPr marL="781685" marR="307975">
              <a:lnSpc>
                <a:spcPct val="100000"/>
              </a:lnSpc>
            </a:pPr>
            <a:r>
              <a:rPr sz="1750" dirty="0">
                <a:solidFill>
                  <a:srgbClr val="FFFFFF"/>
                </a:solidFill>
                <a:latin typeface="Roboto"/>
                <a:cs typeface="Roboto"/>
              </a:rPr>
              <a:t>Gran</a:t>
            </a:r>
            <a:r>
              <a:rPr sz="1750" spc="95" dirty="0">
                <a:solidFill>
                  <a:srgbClr val="FFFFFF"/>
                </a:solidFill>
                <a:latin typeface="Roboto"/>
                <a:cs typeface="Roboto"/>
              </a:rPr>
              <a:t> </a:t>
            </a:r>
            <a:r>
              <a:rPr sz="1750" b="1" dirty="0">
                <a:solidFill>
                  <a:srgbClr val="FFFFFF"/>
                </a:solidFill>
                <a:latin typeface="Roboto"/>
                <a:cs typeface="Roboto"/>
              </a:rPr>
              <a:t>variedad</a:t>
            </a:r>
            <a:r>
              <a:rPr sz="1750" b="1" spc="100" dirty="0">
                <a:solidFill>
                  <a:srgbClr val="FFFFFF"/>
                </a:solidFill>
                <a:latin typeface="Roboto"/>
                <a:cs typeface="Roboto"/>
              </a:rPr>
              <a:t> </a:t>
            </a:r>
            <a:r>
              <a:rPr sz="1750" spc="-25" dirty="0">
                <a:solidFill>
                  <a:srgbClr val="FFFFFF"/>
                </a:solidFill>
                <a:latin typeface="Roboto"/>
                <a:cs typeface="Roboto"/>
              </a:rPr>
              <a:t>de </a:t>
            </a:r>
            <a:r>
              <a:rPr sz="1750" dirty="0">
                <a:solidFill>
                  <a:srgbClr val="FFFFFF"/>
                </a:solidFill>
                <a:latin typeface="Roboto"/>
                <a:cs typeface="Roboto"/>
              </a:rPr>
              <a:t>destinos</a:t>
            </a:r>
            <a:r>
              <a:rPr sz="1750" spc="-10" dirty="0">
                <a:solidFill>
                  <a:srgbClr val="FFFFFF"/>
                </a:solidFill>
                <a:latin typeface="Roboto"/>
                <a:cs typeface="Roboto"/>
              </a:rPr>
              <a:t> </a:t>
            </a:r>
            <a:r>
              <a:rPr sz="1750" dirty="0">
                <a:solidFill>
                  <a:srgbClr val="FFFFFF"/>
                </a:solidFill>
                <a:latin typeface="Roboto"/>
                <a:cs typeface="Roboto"/>
              </a:rPr>
              <a:t>y</a:t>
            </a:r>
            <a:r>
              <a:rPr sz="1750" spc="-10" dirty="0">
                <a:solidFill>
                  <a:srgbClr val="FFFFFF"/>
                </a:solidFill>
                <a:latin typeface="Roboto"/>
                <a:cs typeface="Roboto"/>
              </a:rPr>
              <a:t> experiencias auténticas.</a:t>
            </a:r>
            <a:endParaRPr sz="1750">
              <a:latin typeface="Roboto"/>
              <a:cs typeface="Roboto"/>
            </a:endParaRPr>
          </a:p>
          <a:p>
            <a:pPr>
              <a:lnSpc>
                <a:spcPct val="100000"/>
              </a:lnSpc>
              <a:spcBef>
                <a:spcPts val="55"/>
              </a:spcBef>
            </a:pPr>
            <a:endParaRPr sz="1550">
              <a:latin typeface="Roboto"/>
              <a:cs typeface="Roboto"/>
            </a:endParaRPr>
          </a:p>
          <a:p>
            <a:pPr marL="781685" marR="409575">
              <a:lnSpc>
                <a:spcPct val="100000"/>
              </a:lnSpc>
              <a:spcBef>
                <a:spcPts val="5"/>
              </a:spcBef>
            </a:pPr>
            <a:r>
              <a:rPr sz="1750" dirty="0">
                <a:solidFill>
                  <a:srgbClr val="FFFFFF"/>
                </a:solidFill>
                <a:latin typeface="Roboto"/>
                <a:cs typeface="Roboto"/>
              </a:rPr>
              <a:t>Falta</a:t>
            </a:r>
            <a:r>
              <a:rPr sz="1750" spc="5" dirty="0">
                <a:solidFill>
                  <a:srgbClr val="FFFFFF"/>
                </a:solidFill>
                <a:latin typeface="Roboto"/>
                <a:cs typeface="Roboto"/>
              </a:rPr>
              <a:t> </a:t>
            </a:r>
            <a:r>
              <a:rPr sz="1750" dirty="0">
                <a:solidFill>
                  <a:srgbClr val="FFFFFF"/>
                </a:solidFill>
                <a:latin typeface="Roboto"/>
                <a:cs typeface="Roboto"/>
              </a:rPr>
              <a:t>fortalecimiento </a:t>
            </a:r>
            <a:r>
              <a:rPr sz="1750" spc="-50" dirty="0">
                <a:solidFill>
                  <a:srgbClr val="FFFFFF"/>
                </a:solidFill>
                <a:latin typeface="Roboto"/>
                <a:cs typeface="Roboto"/>
              </a:rPr>
              <a:t>y </a:t>
            </a:r>
            <a:r>
              <a:rPr sz="1750" dirty="0">
                <a:solidFill>
                  <a:srgbClr val="FFFFFF"/>
                </a:solidFill>
                <a:latin typeface="Roboto"/>
                <a:cs typeface="Roboto"/>
              </a:rPr>
              <a:t>estabilidad</a:t>
            </a:r>
            <a:r>
              <a:rPr sz="1750" spc="10" dirty="0">
                <a:solidFill>
                  <a:srgbClr val="FFFFFF"/>
                </a:solidFill>
                <a:latin typeface="Roboto"/>
                <a:cs typeface="Roboto"/>
              </a:rPr>
              <a:t> </a:t>
            </a:r>
            <a:r>
              <a:rPr sz="1750" spc="-10" dirty="0">
                <a:solidFill>
                  <a:srgbClr val="FFFFFF"/>
                </a:solidFill>
                <a:latin typeface="Roboto"/>
                <a:cs typeface="Roboto"/>
              </a:rPr>
              <a:t>financiera </a:t>
            </a:r>
            <a:r>
              <a:rPr sz="1750" dirty="0">
                <a:solidFill>
                  <a:srgbClr val="FFFFFF"/>
                </a:solidFill>
                <a:latin typeface="Roboto"/>
                <a:cs typeface="Roboto"/>
              </a:rPr>
              <a:t>de</a:t>
            </a:r>
            <a:r>
              <a:rPr sz="1750" spc="20" dirty="0">
                <a:solidFill>
                  <a:srgbClr val="FFFFFF"/>
                </a:solidFill>
                <a:latin typeface="Roboto"/>
                <a:cs typeface="Roboto"/>
              </a:rPr>
              <a:t> </a:t>
            </a:r>
            <a:r>
              <a:rPr sz="1750" dirty="0">
                <a:solidFill>
                  <a:srgbClr val="FFFFFF"/>
                </a:solidFill>
                <a:latin typeface="Roboto"/>
                <a:cs typeface="Roboto"/>
              </a:rPr>
              <a:t>los</a:t>
            </a:r>
            <a:r>
              <a:rPr sz="1750" spc="25" dirty="0">
                <a:solidFill>
                  <a:srgbClr val="FFFFFF"/>
                </a:solidFill>
                <a:latin typeface="Roboto"/>
                <a:cs typeface="Roboto"/>
              </a:rPr>
              <a:t> </a:t>
            </a:r>
            <a:r>
              <a:rPr sz="1750" b="1" spc="-10" dirty="0">
                <a:solidFill>
                  <a:srgbClr val="FFFFFF"/>
                </a:solidFill>
                <a:latin typeface="Roboto"/>
                <a:cs typeface="Roboto"/>
              </a:rPr>
              <a:t>Convention Bureaus.</a:t>
            </a:r>
            <a:endParaRPr sz="1750">
              <a:latin typeface="Roboto"/>
              <a:cs typeface="Roboto"/>
            </a:endParaRPr>
          </a:p>
          <a:p>
            <a:pPr>
              <a:lnSpc>
                <a:spcPct val="100000"/>
              </a:lnSpc>
              <a:spcBef>
                <a:spcPts val="55"/>
              </a:spcBef>
            </a:pPr>
            <a:endParaRPr sz="1550">
              <a:latin typeface="Roboto"/>
              <a:cs typeface="Roboto"/>
            </a:endParaRPr>
          </a:p>
          <a:p>
            <a:pPr marL="781685" marR="391160">
              <a:lnSpc>
                <a:spcPct val="100000"/>
              </a:lnSpc>
            </a:pPr>
            <a:r>
              <a:rPr sz="1750" b="1" dirty="0">
                <a:solidFill>
                  <a:srgbClr val="FFFFFF"/>
                </a:solidFill>
                <a:latin typeface="Roboto"/>
                <a:cs typeface="Roboto"/>
              </a:rPr>
              <a:t>Poco</a:t>
            </a:r>
            <a:r>
              <a:rPr sz="1750" b="1" spc="140" dirty="0">
                <a:solidFill>
                  <a:srgbClr val="FFFFFF"/>
                </a:solidFill>
                <a:latin typeface="Roboto"/>
                <a:cs typeface="Roboto"/>
              </a:rPr>
              <a:t> </a:t>
            </a:r>
            <a:r>
              <a:rPr sz="1750" b="1" dirty="0">
                <a:solidFill>
                  <a:srgbClr val="FFFFFF"/>
                </a:solidFill>
                <a:latin typeface="Roboto"/>
                <a:cs typeface="Roboto"/>
              </a:rPr>
              <a:t>conocimiento</a:t>
            </a:r>
            <a:r>
              <a:rPr sz="1750" b="1" spc="145" dirty="0">
                <a:solidFill>
                  <a:srgbClr val="FFFFFF"/>
                </a:solidFill>
                <a:latin typeface="Roboto"/>
                <a:cs typeface="Roboto"/>
              </a:rPr>
              <a:t> </a:t>
            </a:r>
            <a:r>
              <a:rPr sz="1750" spc="-25" dirty="0">
                <a:solidFill>
                  <a:srgbClr val="FFFFFF"/>
                </a:solidFill>
                <a:latin typeface="Roboto"/>
                <a:cs typeface="Roboto"/>
              </a:rPr>
              <a:t>de </a:t>
            </a:r>
            <a:r>
              <a:rPr sz="1750" dirty="0">
                <a:solidFill>
                  <a:srgbClr val="FFFFFF"/>
                </a:solidFill>
                <a:latin typeface="Roboto"/>
                <a:cs typeface="Roboto"/>
              </a:rPr>
              <a:t>destinos</a:t>
            </a:r>
            <a:r>
              <a:rPr sz="1750" spc="20" dirty="0">
                <a:solidFill>
                  <a:srgbClr val="FFFFFF"/>
                </a:solidFill>
                <a:latin typeface="Roboto"/>
                <a:cs typeface="Roboto"/>
              </a:rPr>
              <a:t> </a:t>
            </a:r>
            <a:r>
              <a:rPr sz="1750" dirty="0">
                <a:solidFill>
                  <a:srgbClr val="FFFFFF"/>
                </a:solidFill>
                <a:latin typeface="Roboto"/>
                <a:cs typeface="Roboto"/>
              </a:rPr>
              <a:t>más</a:t>
            </a:r>
            <a:r>
              <a:rPr sz="1750" spc="20" dirty="0">
                <a:solidFill>
                  <a:srgbClr val="FFFFFF"/>
                </a:solidFill>
                <a:latin typeface="Roboto"/>
                <a:cs typeface="Roboto"/>
              </a:rPr>
              <a:t> </a:t>
            </a:r>
            <a:r>
              <a:rPr sz="1750" dirty="0">
                <a:solidFill>
                  <a:srgbClr val="FFFFFF"/>
                </a:solidFill>
                <a:latin typeface="Roboto"/>
                <a:cs typeface="Roboto"/>
              </a:rPr>
              <a:t>allá</a:t>
            </a:r>
            <a:r>
              <a:rPr sz="1750" spc="20" dirty="0">
                <a:solidFill>
                  <a:srgbClr val="FFFFFF"/>
                </a:solidFill>
                <a:latin typeface="Roboto"/>
                <a:cs typeface="Roboto"/>
              </a:rPr>
              <a:t> </a:t>
            </a:r>
            <a:r>
              <a:rPr sz="1750" spc="-25" dirty="0">
                <a:solidFill>
                  <a:srgbClr val="FFFFFF"/>
                </a:solidFill>
                <a:latin typeface="Roboto"/>
                <a:cs typeface="Roboto"/>
              </a:rPr>
              <a:t>de </a:t>
            </a:r>
            <a:r>
              <a:rPr sz="1750" spc="-10" dirty="0">
                <a:solidFill>
                  <a:srgbClr val="FFFFFF"/>
                </a:solidFill>
                <a:latin typeface="Roboto"/>
                <a:cs typeface="Roboto"/>
              </a:rPr>
              <a:t>Santiago</a:t>
            </a:r>
            <a:endParaRPr sz="1750">
              <a:latin typeface="Roboto"/>
              <a:cs typeface="Roboto"/>
            </a:endParaRPr>
          </a:p>
          <a:p>
            <a:pPr>
              <a:lnSpc>
                <a:spcPct val="100000"/>
              </a:lnSpc>
              <a:spcBef>
                <a:spcPts val="55"/>
              </a:spcBef>
            </a:pPr>
            <a:endParaRPr sz="1550">
              <a:latin typeface="Roboto"/>
              <a:cs typeface="Roboto"/>
            </a:endParaRPr>
          </a:p>
          <a:p>
            <a:pPr marL="781685" marR="704215">
              <a:lnSpc>
                <a:spcPct val="100000"/>
              </a:lnSpc>
            </a:pPr>
            <a:r>
              <a:rPr sz="1750" b="1" dirty="0">
                <a:solidFill>
                  <a:srgbClr val="FFFFFF"/>
                </a:solidFill>
                <a:latin typeface="Roboto"/>
                <a:cs typeface="Roboto"/>
              </a:rPr>
              <a:t>Oferta</a:t>
            </a:r>
            <a:r>
              <a:rPr sz="1750" b="1" spc="110" dirty="0">
                <a:solidFill>
                  <a:srgbClr val="FFFFFF"/>
                </a:solidFill>
                <a:latin typeface="Roboto"/>
                <a:cs typeface="Roboto"/>
              </a:rPr>
              <a:t> </a:t>
            </a:r>
            <a:r>
              <a:rPr sz="1750" b="1" dirty="0">
                <a:solidFill>
                  <a:srgbClr val="FFFFFF"/>
                </a:solidFill>
                <a:latin typeface="Roboto"/>
                <a:cs typeface="Roboto"/>
              </a:rPr>
              <a:t>limitada</a:t>
            </a:r>
            <a:r>
              <a:rPr sz="1750" b="1" spc="114" dirty="0">
                <a:solidFill>
                  <a:srgbClr val="FFFFFF"/>
                </a:solidFill>
                <a:latin typeface="Roboto"/>
                <a:cs typeface="Roboto"/>
              </a:rPr>
              <a:t> </a:t>
            </a:r>
            <a:r>
              <a:rPr sz="1750" b="1" spc="-25" dirty="0">
                <a:solidFill>
                  <a:srgbClr val="FFFFFF"/>
                </a:solidFill>
                <a:latin typeface="Roboto"/>
                <a:cs typeface="Roboto"/>
              </a:rPr>
              <a:t>de </a:t>
            </a:r>
            <a:r>
              <a:rPr sz="1750" b="1" dirty="0">
                <a:solidFill>
                  <a:srgbClr val="FFFFFF"/>
                </a:solidFill>
                <a:latin typeface="Roboto"/>
                <a:cs typeface="Roboto"/>
              </a:rPr>
              <a:t>grandes</a:t>
            </a:r>
            <a:r>
              <a:rPr sz="1750" b="1" spc="145" dirty="0">
                <a:solidFill>
                  <a:srgbClr val="FFFFFF"/>
                </a:solidFill>
                <a:latin typeface="Roboto"/>
                <a:cs typeface="Roboto"/>
              </a:rPr>
              <a:t> </a:t>
            </a:r>
            <a:r>
              <a:rPr sz="1750" b="1" dirty="0">
                <a:solidFill>
                  <a:srgbClr val="FFFFFF"/>
                </a:solidFill>
                <a:latin typeface="Roboto"/>
                <a:cs typeface="Roboto"/>
              </a:rPr>
              <a:t>centros</a:t>
            </a:r>
            <a:r>
              <a:rPr sz="1750" b="1" spc="150" dirty="0">
                <a:solidFill>
                  <a:srgbClr val="FFFFFF"/>
                </a:solidFill>
                <a:latin typeface="Roboto"/>
                <a:cs typeface="Roboto"/>
              </a:rPr>
              <a:t> </a:t>
            </a:r>
            <a:r>
              <a:rPr sz="1750" spc="-25" dirty="0">
                <a:solidFill>
                  <a:srgbClr val="FFFFFF"/>
                </a:solidFill>
                <a:latin typeface="Roboto"/>
                <a:cs typeface="Roboto"/>
              </a:rPr>
              <a:t>de </a:t>
            </a:r>
            <a:r>
              <a:rPr sz="1750" spc="-10" dirty="0">
                <a:solidFill>
                  <a:srgbClr val="FFFFFF"/>
                </a:solidFill>
                <a:latin typeface="Roboto"/>
                <a:cs typeface="Roboto"/>
              </a:rPr>
              <a:t>convenciones.</a:t>
            </a:r>
            <a:endParaRPr sz="1750">
              <a:latin typeface="Roboto"/>
              <a:cs typeface="Roboto"/>
            </a:endParaRPr>
          </a:p>
        </p:txBody>
      </p:sp>
      <p:grpSp>
        <p:nvGrpSpPr>
          <p:cNvPr id="12" name="object 12"/>
          <p:cNvGrpSpPr/>
          <p:nvPr/>
        </p:nvGrpSpPr>
        <p:grpSpPr>
          <a:xfrm>
            <a:off x="3830789" y="3149250"/>
            <a:ext cx="838200" cy="837565"/>
            <a:chOff x="3830789" y="3149250"/>
            <a:chExt cx="838200" cy="837565"/>
          </a:xfrm>
        </p:grpSpPr>
        <p:sp>
          <p:nvSpPr>
            <p:cNvPr id="13" name="object 13"/>
            <p:cNvSpPr/>
            <p:nvPr/>
          </p:nvSpPr>
          <p:spPr>
            <a:xfrm>
              <a:off x="3830777" y="3150475"/>
              <a:ext cx="838200" cy="836294"/>
            </a:xfrm>
            <a:custGeom>
              <a:avLst/>
              <a:gdLst/>
              <a:ahLst/>
              <a:cxnLst/>
              <a:rect l="l" t="t" r="r" b="b"/>
              <a:pathLst>
                <a:path w="838200" h="836295">
                  <a:moveTo>
                    <a:pt x="189395" y="101917"/>
                  </a:moveTo>
                  <a:lnTo>
                    <a:pt x="135420" y="109994"/>
                  </a:lnTo>
                  <a:lnTo>
                    <a:pt x="101625" y="144843"/>
                  </a:lnTo>
                  <a:lnTo>
                    <a:pt x="72072" y="183324"/>
                  </a:lnTo>
                  <a:lnTo>
                    <a:pt x="47218" y="224929"/>
                  </a:lnTo>
                  <a:lnTo>
                    <a:pt x="26835" y="270649"/>
                  </a:lnTo>
                  <a:lnTo>
                    <a:pt x="12052" y="318528"/>
                  </a:lnTo>
                  <a:lnTo>
                    <a:pt x="3048" y="367906"/>
                  </a:lnTo>
                  <a:lnTo>
                    <a:pt x="0" y="418147"/>
                  </a:lnTo>
                  <a:lnTo>
                    <a:pt x="2743" y="466458"/>
                  </a:lnTo>
                  <a:lnTo>
                    <a:pt x="10896" y="513575"/>
                  </a:lnTo>
                  <a:lnTo>
                    <a:pt x="24409" y="559320"/>
                  </a:lnTo>
                  <a:lnTo>
                    <a:pt x="43218" y="603516"/>
                  </a:lnTo>
                  <a:lnTo>
                    <a:pt x="68122" y="591146"/>
                  </a:lnTo>
                  <a:lnTo>
                    <a:pt x="50596" y="549884"/>
                  </a:lnTo>
                  <a:lnTo>
                    <a:pt x="38011" y="507199"/>
                  </a:lnTo>
                  <a:lnTo>
                    <a:pt x="30416" y="463232"/>
                  </a:lnTo>
                  <a:lnTo>
                    <a:pt x="27876" y="418147"/>
                  </a:lnTo>
                  <a:lnTo>
                    <a:pt x="30695" y="371271"/>
                  </a:lnTo>
                  <a:lnTo>
                    <a:pt x="39077" y="325170"/>
                  </a:lnTo>
                  <a:lnTo>
                    <a:pt x="52870" y="280479"/>
                  </a:lnTo>
                  <a:lnTo>
                    <a:pt x="71958" y="237820"/>
                  </a:lnTo>
                  <a:lnTo>
                    <a:pt x="95186" y="199021"/>
                  </a:lnTo>
                  <a:lnTo>
                    <a:pt x="122770" y="163144"/>
                  </a:lnTo>
                  <a:lnTo>
                    <a:pt x="154305" y="130632"/>
                  </a:lnTo>
                  <a:lnTo>
                    <a:pt x="189395" y="101917"/>
                  </a:lnTo>
                  <a:close/>
                </a:path>
                <a:path w="838200" h="836295">
                  <a:moveTo>
                    <a:pt x="461352" y="2260"/>
                  </a:moveTo>
                  <a:lnTo>
                    <a:pt x="450608" y="1320"/>
                  </a:lnTo>
                  <a:lnTo>
                    <a:pt x="439813" y="609"/>
                  </a:lnTo>
                  <a:lnTo>
                    <a:pt x="428993" y="152"/>
                  </a:lnTo>
                  <a:lnTo>
                    <a:pt x="418147" y="0"/>
                  </a:lnTo>
                  <a:lnTo>
                    <a:pt x="399986" y="393"/>
                  </a:lnTo>
                  <a:lnTo>
                    <a:pt x="381889" y="1574"/>
                  </a:lnTo>
                  <a:lnTo>
                    <a:pt x="363880" y="3530"/>
                  </a:lnTo>
                  <a:lnTo>
                    <a:pt x="346024" y="6273"/>
                  </a:lnTo>
                  <a:lnTo>
                    <a:pt x="350723" y="33794"/>
                  </a:lnTo>
                  <a:lnTo>
                    <a:pt x="367411" y="31178"/>
                  </a:lnTo>
                  <a:lnTo>
                    <a:pt x="384238" y="29337"/>
                  </a:lnTo>
                  <a:lnTo>
                    <a:pt x="401167" y="28244"/>
                  </a:lnTo>
                  <a:lnTo>
                    <a:pt x="418147" y="27876"/>
                  </a:lnTo>
                  <a:lnTo>
                    <a:pt x="428231" y="28003"/>
                  </a:lnTo>
                  <a:lnTo>
                    <a:pt x="438353" y="28397"/>
                  </a:lnTo>
                  <a:lnTo>
                    <a:pt x="448475" y="29057"/>
                  </a:lnTo>
                  <a:lnTo>
                    <a:pt x="458571" y="29972"/>
                  </a:lnTo>
                  <a:lnTo>
                    <a:pt x="461352" y="2260"/>
                  </a:lnTo>
                  <a:close/>
                </a:path>
                <a:path w="838200" h="836295">
                  <a:moveTo>
                    <a:pt x="547776" y="815898"/>
                  </a:moveTo>
                  <a:lnTo>
                    <a:pt x="539064" y="789419"/>
                  </a:lnTo>
                  <a:lnTo>
                    <a:pt x="512876" y="796886"/>
                  </a:lnTo>
                  <a:lnTo>
                    <a:pt x="486156" y="802551"/>
                  </a:lnTo>
                  <a:lnTo>
                    <a:pt x="459016" y="806348"/>
                  </a:lnTo>
                  <a:lnTo>
                    <a:pt x="431558" y="808228"/>
                  </a:lnTo>
                  <a:lnTo>
                    <a:pt x="432435" y="836104"/>
                  </a:lnTo>
                  <a:lnTo>
                    <a:pt x="461848" y="834059"/>
                  </a:lnTo>
                  <a:lnTo>
                    <a:pt x="490956" y="829995"/>
                  </a:lnTo>
                  <a:lnTo>
                    <a:pt x="519633" y="823937"/>
                  </a:lnTo>
                  <a:lnTo>
                    <a:pt x="547776" y="815898"/>
                  </a:lnTo>
                  <a:close/>
                </a:path>
                <a:path w="838200" h="836295">
                  <a:moveTo>
                    <a:pt x="838200" y="443230"/>
                  </a:moveTo>
                  <a:lnTo>
                    <a:pt x="835240" y="434873"/>
                  </a:lnTo>
                  <a:lnTo>
                    <a:pt x="779487" y="408025"/>
                  </a:lnTo>
                  <a:lnTo>
                    <a:pt x="779487" y="500900"/>
                  </a:lnTo>
                  <a:lnTo>
                    <a:pt x="640638" y="789762"/>
                  </a:lnTo>
                  <a:lnTo>
                    <a:pt x="508787" y="726351"/>
                  </a:lnTo>
                  <a:lnTo>
                    <a:pt x="505536" y="724776"/>
                  </a:lnTo>
                  <a:lnTo>
                    <a:pt x="398640" y="673379"/>
                  </a:lnTo>
                  <a:lnTo>
                    <a:pt x="396024" y="670598"/>
                  </a:lnTo>
                  <a:lnTo>
                    <a:pt x="394804" y="666940"/>
                  </a:lnTo>
                  <a:lnTo>
                    <a:pt x="393585" y="663448"/>
                  </a:lnTo>
                  <a:lnTo>
                    <a:pt x="393750" y="659625"/>
                  </a:lnTo>
                  <a:lnTo>
                    <a:pt x="395325" y="656310"/>
                  </a:lnTo>
                  <a:lnTo>
                    <a:pt x="476821" y="486956"/>
                  </a:lnTo>
                  <a:lnTo>
                    <a:pt x="529297" y="377901"/>
                  </a:lnTo>
                  <a:lnTo>
                    <a:pt x="532612" y="381203"/>
                  </a:lnTo>
                  <a:lnTo>
                    <a:pt x="536448" y="383997"/>
                  </a:lnTo>
                  <a:lnTo>
                    <a:pt x="779487" y="500900"/>
                  </a:lnTo>
                  <a:lnTo>
                    <a:pt x="779487" y="408025"/>
                  </a:lnTo>
                  <a:lnTo>
                    <a:pt x="716953" y="377901"/>
                  </a:lnTo>
                  <a:lnTo>
                    <a:pt x="577215" y="310642"/>
                  </a:lnTo>
                  <a:lnTo>
                    <a:pt x="561149" y="306590"/>
                  </a:lnTo>
                  <a:lnTo>
                    <a:pt x="545287" y="308902"/>
                  </a:lnTo>
                  <a:lnTo>
                    <a:pt x="531444" y="316966"/>
                  </a:lnTo>
                  <a:lnTo>
                    <a:pt x="521462" y="330161"/>
                  </a:lnTo>
                  <a:lnTo>
                    <a:pt x="446024" y="486956"/>
                  </a:lnTo>
                  <a:lnTo>
                    <a:pt x="446024" y="404202"/>
                  </a:lnTo>
                  <a:lnTo>
                    <a:pt x="446024" y="348449"/>
                  </a:lnTo>
                  <a:lnTo>
                    <a:pt x="440550" y="321322"/>
                  </a:lnTo>
                  <a:lnTo>
                    <a:pt x="425615" y="299173"/>
                  </a:lnTo>
                  <a:lnTo>
                    <a:pt x="403466" y="284238"/>
                  </a:lnTo>
                  <a:lnTo>
                    <a:pt x="376339" y="278765"/>
                  </a:lnTo>
                  <a:lnTo>
                    <a:pt x="376339" y="786803"/>
                  </a:lnTo>
                  <a:lnTo>
                    <a:pt x="376339" y="802132"/>
                  </a:lnTo>
                  <a:lnTo>
                    <a:pt x="370065" y="808405"/>
                  </a:lnTo>
                  <a:lnTo>
                    <a:pt x="354723" y="808405"/>
                  </a:lnTo>
                  <a:lnTo>
                    <a:pt x="348462" y="802132"/>
                  </a:lnTo>
                  <a:lnTo>
                    <a:pt x="348462" y="786803"/>
                  </a:lnTo>
                  <a:lnTo>
                    <a:pt x="354723" y="780529"/>
                  </a:lnTo>
                  <a:lnTo>
                    <a:pt x="370065" y="780529"/>
                  </a:lnTo>
                  <a:lnTo>
                    <a:pt x="376339" y="786803"/>
                  </a:lnTo>
                  <a:lnTo>
                    <a:pt x="376339" y="278765"/>
                  </a:lnTo>
                  <a:lnTo>
                    <a:pt x="362394" y="278765"/>
                  </a:lnTo>
                  <a:lnTo>
                    <a:pt x="362394" y="404202"/>
                  </a:lnTo>
                  <a:lnTo>
                    <a:pt x="362394" y="724776"/>
                  </a:lnTo>
                  <a:lnTo>
                    <a:pt x="334518" y="724776"/>
                  </a:lnTo>
                  <a:lnTo>
                    <a:pt x="334518" y="404202"/>
                  </a:lnTo>
                  <a:lnTo>
                    <a:pt x="362394" y="404202"/>
                  </a:lnTo>
                  <a:lnTo>
                    <a:pt x="362394" y="278765"/>
                  </a:lnTo>
                  <a:lnTo>
                    <a:pt x="320586" y="278765"/>
                  </a:lnTo>
                  <a:lnTo>
                    <a:pt x="320586" y="55753"/>
                  </a:lnTo>
                  <a:lnTo>
                    <a:pt x="316179" y="34099"/>
                  </a:lnTo>
                  <a:lnTo>
                    <a:pt x="311975" y="27876"/>
                  </a:lnTo>
                  <a:lnTo>
                    <a:pt x="304203" y="16383"/>
                  </a:lnTo>
                  <a:lnTo>
                    <a:pt x="292709" y="8623"/>
                  </a:lnTo>
                  <a:lnTo>
                    <a:pt x="292709" y="55753"/>
                  </a:lnTo>
                  <a:lnTo>
                    <a:pt x="292709" y="278765"/>
                  </a:lnTo>
                  <a:lnTo>
                    <a:pt x="278765" y="278765"/>
                  </a:lnTo>
                  <a:lnTo>
                    <a:pt x="278765" y="404202"/>
                  </a:lnTo>
                  <a:lnTo>
                    <a:pt x="278765" y="724776"/>
                  </a:lnTo>
                  <a:lnTo>
                    <a:pt x="250888" y="724776"/>
                  </a:lnTo>
                  <a:lnTo>
                    <a:pt x="250888" y="404202"/>
                  </a:lnTo>
                  <a:lnTo>
                    <a:pt x="278765" y="404202"/>
                  </a:lnTo>
                  <a:lnTo>
                    <a:pt x="278765" y="278765"/>
                  </a:lnTo>
                  <a:lnTo>
                    <a:pt x="236956" y="278765"/>
                  </a:lnTo>
                  <a:lnTo>
                    <a:pt x="236956" y="55753"/>
                  </a:lnTo>
                  <a:lnTo>
                    <a:pt x="239153" y="44932"/>
                  </a:lnTo>
                  <a:lnTo>
                    <a:pt x="245135" y="36068"/>
                  </a:lnTo>
                  <a:lnTo>
                    <a:pt x="254000" y="30073"/>
                  </a:lnTo>
                  <a:lnTo>
                    <a:pt x="264833" y="27876"/>
                  </a:lnTo>
                  <a:lnTo>
                    <a:pt x="275653" y="30073"/>
                  </a:lnTo>
                  <a:lnTo>
                    <a:pt x="284518" y="36068"/>
                  </a:lnTo>
                  <a:lnTo>
                    <a:pt x="290499" y="44932"/>
                  </a:lnTo>
                  <a:lnTo>
                    <a:pt x="292709" y="55753"/>
                  </a:lnTo>
                  <a:lnTo>
                    <a:pt x="292709" y="8623"/>
                  </a:lnTo>
                  <a:lnTo>
                    <a:pt x="286473" y="4394"/>
                  </a:lnTo>
                  <a:lnTo>
                    <a:pt x="264833" y="0"/>
                  </a:lnTo>
                  <a:lnTo>
                    <a:pt x="243179" y="4394"/>
                  </a:lnTo>
                  <a:lnTo>
                    <a:pt x="225450" y="16383"/>
                  </a:lnTo>
                  <a:lnTo>
                    <a:pt x="213474" y="34099"/>
                  </a:lnTo>
                  <a:lnTo>
                    <a:pt x="209080" y="55753"/>
                  </a:lnTo>
                  <a:lnTo>
                    <a:pt x="209080" y="278765"/>
                  </a:lnTo>
                  <a:lnTo>
                    <a:pt x="195135" y="278765"/>
                  </a:lnTo>
                  <a:lnTo>
                    <a:pt x="195135" y="404202"/>
                  </a:lnTo>
                  <a:lnTo>
                    <a:pt x="195135" y="724776"/>
                  </a:lnTo>
                  <a:lnTo>
                    <a:pt x="181203" y="724776"/>
                  </a:lnTo>
                  <a:lnTo>
                    <a:pt x="181203" y="786803"/>
                  </a:lnTo>
                  <a:lnTo>
                    <a:pt x="181203" y="802132"/>
                  </a:lnTo>
                  <a:lnTo>
                    <a:pt x="174929" y="808405"/>
                  </a:lnTo>
                  <a:lnTo>
                    <a:pt x="159600" y="808405"/>
                  </a:lnTo>
                  <a:lnTo>
                    <a:pt x="153327" y="802132"/>
                  </a:lnTo>
                  <a:lnTo>
                    <a:pt x="153327" y="786803"/>
                  </a:lnTo>
                  <a:lnTo>
                    <a:pt x="159600" y="780529"/>
                  </a:lnTo>
                  <a:lnTo>
                    <a:pt x="174929" y="780529"/>
                  </a:lnTo>
                  <a:lnTo>
                    <a:pt x="181203" y="786803"/>
                  </a:lnTo>
                  <a:lnTo>
                    <a:pt x="181203" y="724776"/>
                  </a:lnTo>
                  <a:lnTo>
                    <a:pt x="167259" y="724776"/>
                  </a:lnTo>
                  <a:lnTo>
                    <a:pt x="167259" y="404202"/>
                  </a:lnTo>
                  <a:lnTo>
                    <a:pt x="195135" y="404202"/>
                  </a:lnTo>
                  <a:lnTo>
                    <a:pt x="195135" y="278765"/>
                  </a:lnTo>
                  <a:lnTo>
                    <a:pt x="153327" y="278765"/>
                  </a:lnTo>
                  <a:lnTo>
                    <a:pt x="126187" y="284238"/>
                  </a:lnTo>
                  <a:lnTo>
                    <a:pt x="104038" y="299173"/>
                  </a:lnTo>
                  <a:lnTo>
                    <a:pt x="89103" y="321322"/>
                  </a:lnTo>
                  <a:lnTo>
                    <a:pt x="83629" y="348449"/>
                  </a:lnTo>
                  <a:lnTo>
                    <a:pt x="83629" y="710844"/>
                  </a:lnTo>
                  <a:lnTo>
                    <a:pt x="87045" y="732421"/>
                  </a:lnTo>
                  <a:lnTo>
                    <a:pt x="96570" y="751243"/>
                  </a:lnTo>
                  <a:lnTo>
                    <a:pt x="111125" y="766241"/>
                  </a:lnTo>
                  <a:lnTo>
                    <a:pt x="129628" y="776351"/>
                  </a:lnTo>
                  <a:lnTo>
                    <a:pt x="127012" y="781748"/>
                  </a:lnTo>
                  <a:lnTo>
                    <a:pt x="125450" y="788022"/>
                  </a:lnTo>
                  <a:lnTo>
                    <a:pt x="125450" y="794473"/>
                  </a:lnTo>
                  <a:lnTo>
                    <a:pt x="128752" y="810704"/>
                  </a:lnTo>
                  <a:lnTo>
                    <a:pt x="137731" y="824001"/>
                  </a:lnTo>
                  <a:lnTo>
                    <a:pt x="151028" y="832980"/>
                  </a:lnTo>
                  <a:lnTo>
                    <a:pt x="167259" y="836282"/>
                  </a:lnTo>
                  <a:lnTo>
                    <a:pt x="183502" y="832980"/>
                  </a:lnTo>
                  <a:lnTo>
                    <a:pt x="196799" y="824001"/>
                  </a:lnTo>
                  <a:lnTo>
                    <a:pt x="205778" y="810704"/>
                  </a:lnTo>
                  <a:lnTo>
                    <a:pt x="206248" y="808405"/>
                  </a:lnTo>
                  <a:lnTo>
                    <a:pt x="209080" y="794473"/>
                  </a:lnTo>
                  <a:lnTo>
                    <a:pt x="209080" y="789597"/>
                  </a:lnTo>
                  <a:lnTo>
                    <a:pt x="208203" y="784885"/>
                  </a:lnTo>
                  <a:lnTo>
                    <a:pt x="206641" y="780529"/>
                  </a:lnTo>
                  <a:lnTo>
                    <a:pt x="323024" y="780529"/>
                  </a:lnTo>
                  <a:lnTo>
                    <a:pt x="321449" y="784885"/>
                  </a:lnTo>
                  <a:lnTo>
                    <a:pt x="320586" y="789597"/>
                  </a:lnTo>
                  <a:lnTo>
                    <a:pt x="320586" y="794473"/>
                  </a:lnTo>
                  <a:lnTo>
                    <a:pt x="323875" y="810704"/>
                  </a:lnTo>
                  <a:lnTo>
                    <a:pt x="332867" y="824001"/>
                  </a:lnTo>
                  <a:lnTo>
                    <a:pt x="346163" y="832980"/>
                  </a:lnTo>
                  <a:lnTo>
                    <a:pt x="362394" y="836282"/>
                  </a:lnTo>
                  <a:lnTo>
                    <a:pt x="378625" y="832980"/>
                  </a:lnTo>
                  <a:lnTo>
                    <a:pt x="391922" y="824001"/>
                  </a:lnTo>
                  <a:lnTo>
                    <a:pt x="400913" y="810704"/>
                  </a:lnTo>
                  <a:lnTo>
                    <a:pt x="401370" y="808405"/>
                  </a:lnTo>
                  <a:lnTo>
                    <a:pt x="404215" y="794473"/>
                  </a:lnTo>
                  <a:lnTo>
                    <a:pt x="404215" y="788022"/>
                  </a:lnTo>
                  <a:lnTo>
                    <a:pt x="402640" y="781926"/>
                  </a:lnTo>
                  <a:lnTo>
                    <a:pt x="401993" y="780529"/>
                  </a:lnTo>
                  <a:lnTo>
                    <a:pt x="400024" y="776351"/>
                  </a:lnTo>
                  <a:lnTo>
                    <a:pt x="415518" y="768413"/>
                  </a:lnTo>
                  <a:lnTo>
                    <a:pt x="428421" y="757034"/>
                  </a:lnTo>
                  <a:lnTo>
                    <a:pt x="438200" y="742810"/>
                  </a:lnTo>
                  <a:lnTo>
                    <a:pt x="444284" y="726351"/>
                  </a:lnTo>
                  <a:lnTo>
                    <a:pt x="641159" y="820953"/>
                  </a:lnTo>
                  <a:lnTo>
                    <a:pt x="643077" y="821829"/>
                  </a:lnTo>
                  <a:lnTo>
                    <a:pt x="645160" y="822350"/>
                  </a:lnTo>
                  <a:lnTo>
                    <a:pt x="652475" y="822350"/>
                  </a:lnTo>
                  <a:lnTo>
                    <a:pt x="657364" y="819378"/>
                  </a:lnTo>
                  <a:lnTo>
                    <a:pt x="659803" y="814501"/>
                  </a:lnTo>
                  <a:lnTo>
                    <a:pt x="671703" y="789762"/>
                  </a:lnTo>
                  <a:lnTo>
                    <a:pt x="835075" y="450202"/>
                  </a:lnTo>
                  <a:lnTo>
                    <a:pt x="838200" y="443230"/>
                  </a:lnTo>
                  <a:close/>
                </a:path>
              </a:pathLst>
            </a:custGeom>
            <a:solidFill>
              <a:srgbClr val="FFFFFF"/>
            </a:solidFill>
          </p:spPr>
          <p:txBody>
            <a:bodyPr wrap="square" lIns="0" tIns="0" rIns="0" bIns="0" rtlCol="0"/>
            <a:lstStyle/>
            <a:p>
              <a:endParaRPr/>
            </a:p>
          </p:txBody>
        </p:sp>
        <p:pic>
          <p:nvPicPr>
            <p:cNvPr id="14" name="object 14"/>
            <p:cNvPicPr/>
            <p:nvPr/>
          </p:nvPicPr>
          <p:blipFill>
            <a:blip r:embed="rId3" cstate="print"/>
            <a:stretch>
              <a:fillRect/>
            </a:stretch>
          </p:blipFill>
          <p:spPr>
            <a:xfrm>
              <a:off x="4295065" y="3606547"/>
              <a:ext cx="232920" cy="278354"/>
            </a:xfrm>
            <a:prstGeom prst="rect">
              <a:avLst/>
            </a:prstGeom>
          </p:spPr>
        </p:pic>
        <p:sp>
          <p:nvSpPr>
            <p:cNvPr id="15" name="object 15"/>
            <p:cNvSpPr/>
            <p:nvPr/>
          </p:nvSpPr>
          <p:spPr>
            <a:xfrm>
              <a:off x="4179404" y="3149256"/>
              <a:ext cx="487045" cy="392430"/>
            </a:xfrm>
            <a:custGeom>
              <a:avLst/>
              <a:gdLst/>
              <a:ahLst/>
              <a:cxnLst/>
              <a:rect l="l" t="t" r="r" b="b"/>
              <a:pathLst>
                <a:path w="487045" h="392429">
                  <a:moveTo>
                    <a:pt x="473544" y="136588"/>
                  </a:moveTo>
                  <a:lnTo>
                    <a:pt x="472160" y="133108"/>
                  </a:lnTo>
                  <a:lnTo>
                    <a:pt x="436956" y="97917"/>
                  </a:lnTo>
                  <a:lnTo>
                    <a:pt x="429641" y="97218"/>
                  </a:lnTo>
                  <a:lnTo>
                    <a:pt x="424065" y="100876"/>
                  </a:lnTo>
                  <a:lnTo>
                    <a:pt x="389915" y="123520"/>
                  </a:lnTo>
                  <a:lnTo>
                    <a:pt x="326504" y="81368"/>
                  </a:lnTo>
                  <a:lnTo>
                    <a:pt x="363613" y="31889"/>
                  </a:lnTo>
                  <a:lnTo>
                    <a:pt x="363093" y="24218"/>
                  </a:lnTo>
                  <a:lnTo>
                    <a:pt x="358216" y="19164"/>
                  </a:lnTo>
                  <a:lnTo>
                    <a:pt x="340093" y="1041"/>
                  </a:lnTo>
                  <a:lnTo>
                    <a:pt x="333476" y="0"/>
                  </a:lnTo>
                  <a:lnTo>
                    <a:pt x="251409" y="40944"/>
                  </a:lnTo>
                  <a:lnTo>
                    <a:pt x="225450" y="25615"/>
                  </a:lnTo>
                  <a:lnTo>
                    <a:pt x="203708" y="17081"/>
                  </a:lnTo>
                  <a:lnTo>
                    <a:pt x="181025" y="16141"/>
                  </a:lnTo>
                  <a:lnTo>
                    <a:pt x="159245" y="22555"/>
                  </a:lnTo>
                  <a:lnTo>
                    <a:pt x="140258" y="36068"/>
                  </a:lnTo>
                  <a:lnTo>
                    <a:pt x="126314" y="49999"/>
                  </a:lnTo>
                  <a:lnTo>
                    <a:pt x="124752" y="54356"/>
                  </a:lnTo>
                  <a:lnTo>
                    <a:pt x="125793" y="62890"/>
                  </a:lnTo>
                  <a:lnTo>
                    <a:pt x="128231" y="66560"/>
                  </a:lnTo>
                  <a:lnTo>
                    <a:pt x="131889" y="68821"/>
                  </a:lnTo>
                  <a:lnTo>
                    <a:pt x="363956" y="210642"/>
                  </a:lnTo>
                  <a:lnTo>
                    <a:pt x="370751" y="214820"/>
                  </a:lnTo>
                  <a:lnTo>
                    <a:pt x="378244" y="216738"/>
                  </a:lnTo>
                  <a:lnTo>
                    <a:pt x="385737" y="216738"/>
                  </a:lnTo>
                  <a:lnTo>
                    <a:pt x="472160" y="147739"/>
                  </a:lnTo>
                  <a:lnTo>
                    <a:pt x="473544" y="144259"/>
                  </a:lnTo>
                  <a:lnTo>
                    <a:pt x="473544" y="136588"/>
                  </a:lnTo>
                  <a:close/>
                </a:path>
                <a:path w="487045" h="392429">
                  <a:moveTo>
                    <a:pt x="486968" y="390271"/>
                  </a:moveTo>
                  <a:lnTo>
                    <a:pt x="482104" y="349034"/>
                  </a:lnTo>
                  <a:lnTo>
                    <a:pt x="473265" y="308775"/>
                  </a:lnTo>
                  <a:lnTo>
                    <a:pt x="460476" y="269621"/>
                  </a:lnTo>
                  <a:lnTo>
                    <a:pt x="443750" y="231724"/>
                  </a:lnTo>
                  <a:lnTo>
                    <a:pt x="418846" y="244259"/>
                  </a:lnTo>
                  <a:lnTo>
                    <a:pt x="424624" y="256222"/>
                  </a:lnTo>
                  <a:lnTo>
                    <a:pt x="429945" y="268312"/>
                  </a:lnTo>
                  <a:lnTo>
                    <a:pt x="434822" y="280530"/>
                  </a:lnTo>
                  <a:lnTo>
                    <a:pt x="439229" y="292874"/>
                  </a:lnTo>
                  <a:lnTo>
                    <a:pt x="394931" y="285343"/>
                  </a:lnTo>
                  <a:lnTo>
                    <a:pt x="353034" y="270306"/>
                  </a:lnTo>
                  <a:lnTo>
                    <a:pt x="314325" y="248081"/>
                  </a:lnTo>
                  <a:lnTo>
                    <a:pt x="279641" y="218998"/>
                  </a:lnTo>
                  <a:lnTo>
                    <a:pt x="253682" y="193395"/>
                  </a:lnTo>
                  <a:lnTo>
                    <a:pt x="239318" y="183883"/>
                  </a:lnTo>
                  <a:lnTo>
                    <a:pt x="222923" y="180721"/>
                  </a:lnTo>
                  <a:lnTo>
                    <a:pt x="206540" y="183883"/>
                  </a:lnTo>
                  <a:lnTo>
                    <a:pt x="192176" y="193395"/>
                  </a:lnTo>
                  <a:lnTo>
                    <a:pt x="186080" y="199491"/>
                  </a:lnTo>
                  <a:lnTo>
                    <a:pt x="176149" y="199491"/>
                  </a:lnTo>
                  <a:lnTo>
                    <a:pt x="166560" y="189903"/>
                  </a:lnTo>
                  <a:lnTo>
                    <a:pt x="134239" y="168440"/>
                  </a:lnTo>
                  <a:lnTo>
                    <a:pt x="97485" y="161290"/>
                  </a:lnTo>
                  <a:lnTo>
                    <a:pt x="60718" y="168440"/>
                  </a:lnTo>
                  <a:lnTo>
                    <a:pt x="28397" y="189903"/>
                  </a:lnTo>
                  <a:lnTo>
                    <a:pt x="22225" y="194995"/>
                  </a:lnTo>
                  <a:lnTo>
                    <a:pt x="15316" y="198704"/>
                  </a:lnTo>
                  <a:lnTo>
                    <a:pt x="7848" y="200977"/>
                  </a:lnTo>
                  <a:lnTo>
                    <a:pt x="0" y="201752"/>
                  </a:lnTo>
                  <a:lnTo>
                    <a:pt x="0" y="229628"/>
                  </a:lnTo>
                  <a:lnTo>
                    <a:pt x="13373" y="228307"/>
                  </a:lnTo>
                  <a:lnTo>
                    <a:pt x="26098" y="224447"/>
                  </a:lnTo>
                  <a:lnTo>
                    <a:pt x="37833" y="218160"/>
                  </a:lnTo>
                  <a:lnTo>
                    <a:pt x="48260" y="209588"/>
                  </a:lnTo>
                  <a:lnTo>
                    <a:pt x="71348" y="194310"/>
                  </a:lnTo>
                  <a:lnTo>
                    <a:pt x="97663" y="189204"/>
                  </a:lnTo>
                  <a:lnTo>
                    <a:pt x="123964" y="194310"/>
                  </a:lnTo>
                  <a:lnTo>
                    <a:pt x="147053" y="209588"/>
                  </a:lnTo>
                  <a:lnTo>
                    <a:pt x="150533" y="213080"/>
                  </a:lnTo>
                  <a:lnTo>
                    <a:pt x="164896" y="222580"/>
                  </a:lnTo>
                  <a:lnTo>
                    <a:pt x="181279" y="225755"/>
                  </a:lnTo>
                  <a:lnTo>
                    <a:pt x="197675" y="222580"/>
                  </a:lnTo>
                  <a:lnTo>
                    <a:pt x="212039" y="213080"/>
                  </a:lnTo>
                  <a:lnTo>
                    <a:pt x="218135" y="206984"/>
                  </a:lnTo>
                  <a:lnTo>
                    <a:pt x="228066" y="206984"/>
                  </a:lnTo>
                  <a:lnTo>
                    <a:pt x="259778" y="238683"/>
                  </a:lnTo>
                  <a:lnTo>
                    <a:pt x="300469" y="272491"/>
                  </a:lnTo>
                  <a:lnTo>
                    <a:pt x="346036" y="297815"/>
                  </a:lnTo>
                  <a:lnTo>
                    <a:pt x="395427" y="314223"/>
                  </a:lnTo>
                  <a:lnTo>
                    <a:pt x="447586" y="321271"/>
                  </a:lnTo>
                  <a:lnTo>
                    <a:pt x="451637" y="338721"/>
                  </a:lnTo>
                  <a:lnTo>
                    <a:pt x="454901" y="356336"/>
                  </a:lnTo>
                  <a:lnTo>
                    <a:pt x="457390" y="374142"/>
                  </a:lnTo>
                  <a:lnTo>
                    <a:pt x="459092" y="392188"/>
                  </a:lnTo>
                  <a:lnTo>
                    <a:pt x="486968" y="390271"/>
                  </a:lnTo>
                  <a:close/>
                </a:path>
              </a:pathLst>
            </a:custGeom>
            <a:solidFill>
              <a:srgbClr val="FFFFFF"/>
            </a:solidFill>
          </p:spPr>
          <p:txBody>
            <a:bodyPr wrap="square" lIns="0" tIns="0" rIns="0" bIns="0" rtlCol="0"/>
            <a:lstStyle/>
            <a:p>
              <a:endParaRPr/>
            </a:p>
          </p:txBody>
        </p:sp>
      </p:grpSp>
      <p:pic>
        <p:nvPicPr>
          <p:cNvPr id="16" name="object 16"/>
          <p:cNvPicPr/>
          <p:nvPr/>
        </p:nvPicPr>
        <p:blipFill>
          <a:blip r:embed="rId4" cstate="print"/>
          <a:stretch>
            <a:fillRect/>
          </a:stretch>
        </p:blipFill>
        <p:spPr>
          <a:xfrm>
            <a:off x="17316450" y="237491"/>
            <a:ext cx="742949" cy="819149"/>
          </a:xfrm>
          <a:prstGeom prst="rect">
            <a:avLst/>
          </a:prstGeom>
        </p:spPr>
      </p:pic>
      <p:sp>
        <p:nvSpPr>
          <p:cNvPr id="17" name="object 17"/>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18" name="object 18"/>
          <p:cNvSpPr txBox="1"/>
          <p:nvPr/>
        </p:nvSpPr>
        <p:spPr>
          <a:xfrm>
            <a:off x="17811802" y="9932972"/>
            <a:ext cx="218440"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2</a:t>
            </a:r>
            <a:endParaRPr sz="900">
              <a:latin typeface="Arial"/>
              <a:cs typeface="Aria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37985" y="384153"/>
            <a:ext cx="615251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1.</a:t>
            </a:r>
            <a:r>
              <a:rPr sz="3000" spc="-114" dirty="0">
                <a:solidFill>
                  <a:srgbClr val="FFFFFF"/>
                </a:solidFill>
                <a:latin typeface="Roboto"/>
                <a:cs typeface="Roboto"/>
              </a:rPr>
              <a:t> </a:t>
            </a:r>
            <a:r>
              <a:rPr sz="3000" spc="-30" dirty="0">
                <a:solidFill>
                  <a:srgbClr val="FFFFFF"/>
                </a:solidFill>
                <a:latin typeface="Roboto"/>
                <a:cs typeface="Roboto"/>
              </a:rPr>
              <a:t>Situación</a:t>
            </a:r>
            <a:r>
              <a:rPr sz="3000" spc="-110" dirty="0">
                <a:solidFill>
                  <a:srgbClr val="FFFFFF"/>
                </a:solidFill>
                <a:latin typeface="Roboto"/>
                <a:cs typeface="Roboto"/>
              </a:rPr>
              <a:t> </a:t>
            </a:r>
            <a:r>
              <a:rPr sz="3000" spc="-20" dirty="0">
                <a:solidFill>
                  <a:srgbClr val="FFFFFF"/>
                </a:solidFill>
                <a:latin typeface="Roboto"/>
                <a:cs typeface="Roboto"/>
              </a:rPr>
              <a:t>actual</a:t>
            </a:r>
            <a:r>
              <a:rPr sz="3000" spc="-110" dirty="0">
                <a:solidFill>
                  <a:srgbClr val="FFFFFF"/>
                </a:solidFill>
                <a:latin typeface="Roboto"/>
                <a:cs typeface="Roboto"/>
              </a:rPr>
              <a:t> </a:t>
            </a:r>
            <a:r>
              <a:rPr sz="3000" dirty="0">
                <a:solidFill>
                  <a:srgbClr val="FFFFFF"/>
                </a:solidFill>
                <a:latin typeface="Roboto"/>
                <a:cs typeface="Roboto"/>
              </a:rPr>
              <a:t>segmento</a:t>
            </a:r>
            <a:r>
              <a:rPr sz="3000" spc="-110" dirty="0">
                <a:solidFill>
                  <a:srgbClr val="FFFFFF"/>
                </a:solidFill>
                <a:latin typeface="Roboto"/>
                <a:cs typeface="Roboto"/>
              </a:rPr>
              <a:t> </a:t>
            </a:r>
            <a:r>
              <a:rPr sz="3000" spc="-20" dirty="0">
                <a:solidFill>
                  <a:srgbClr val="FFFFFF"/>
                </a:solidFill>
                <a:latin typeface="Roboto"/>
                <a:cs typeface="Roboto"/>
              </a:rPr>
              <a:t>MICE</a:t>
            </a:r>
            <a:endParaRPr sz="3000">
              <a:latin typeface="Roboto"/>
              <a:cs typeface="Roboto"/>
            </a:endParaRPr>
          </a:p>
        </p:txBody>
      </p:sp>
      <p:sp>
        <p:nvSpPr>
          <p:cNvPr id="3" name="object 3"/>
          <p:cNvSpPr txBox="1">
            <a:spLocks noGrp="1"/>
          </p:cNvSpPr>
          <p:nvPr>
            <p:ph type="title"/>
          </p:nvPr>
        </p:nvSpPr>
        <p:spPr>
          <a:xfrm>
            <a:off x="4882646" y="1854018"/>
            <a:ext cx="8481060" cy="643890"/>
          </a:xfrm>
          <a:prstGeom prst="rect">
            <a:avLst/>
          </a:prstGeom>
        </p:spPr>
        <p:txBody>
          <a:bodyPr vert="horz" wrap="square" lIns="0" tIns="13335" rIns="0" bIns="0" rtlCol="0">
            <a:spAutoFit/>
          </a:bodyPr>
          <a:lstStyle/>
          <a:p>
            <a:pPr marL="12700">
              <a:lnSpc>
                <a:spcPct val="100000"/>
              </a:lnSpc>
              <a:spcBef>
                <a:spcPts val="105"/>
              </a:spcBef>
            </a:pPr>
            <a:r>
              <a:rPr sz="4050" spc="-25" dirty="0">
                <a:solidFill>
                  <a:srgbClr val="E3112B"/>
                </a:solidFill>
              </a:rPr>
              <a:t>Puntos</a:t>
            </a:r>
            <a:r>
              <a:rPr sz="4050" spc="-170" dirty="0">
                <a:solidFill>
                  <a:srgbClr val="E3112B"/>
                </a:solidFill>
              </a:rPr>
              <a:t> </a:t>
            </a:r>
            <a:r>
              <a:rPr sz="4050" dirty="0">
                <a:solidFill>
                  <a:srgbClr val="E3112B"/>
                </a:solidFill>
              </a:rPr>
              <a:t>clave</a:t>
            </a:r>
            <a:r>
              <a:rPr sz="4050" spc="-165" dirty="0">
                <a:solidFill>
                  <a:srgbClr val="E3112B"/>
                </a:solidFill>
              </a:rPr>
              <a:t> </a:t>
            </a:r>
            <a:r>
              <a:rPr sz="4050" dirty="0">
                <a:solidFill>
                  <a:srgbClr val="E3112B"/>
                </a:solidFill>
              </a:rPr>
              <a:t>del</a:t>
            </a:r>
            <a:r>
              <a:rPr sz="4050" spc="-170" dirty="0">
                <a:solidFill>
                  <a:srgbClr val="E3112B"/>
                </a:solidFill>
              </a:rPr>
              <a:t> </a:t>
            </a:r>
            <a:r>
              <a:rPr sz="4050" dirty="0">
                <a:solidFill>
                  <a:srgbClr val="E3112B"/>
                </a:solidFill>
              </a:rPr>
              <a:t>sector</a:t>
            </a:r>
            <a:r>
              <a:rPr sz="4050" spc="-165" dirty="0">
                <a:solidFill>
                  <a:srgbClr val="E3112B"/>
                </a:solidFill>
              </a:rPr>
              <a:t> </a:t>
            </a:r>
            <a:r>
              <a:rPr sz="4050" dirty="0">
                <a:solidFill>
                  <a:srgbClr val="E3112B"/>
                </a:solidFill>
              </a:rPr>
              <a:t>MICE</a:t>
            </a:r>
            <a:r>
              <a:rPr sz="4050" spc="-170" dirty="0">
                <a:solidFill>
                  <a:srgbClr val="E3112B"/>
                </a:solidFill>
              </a:rPr>
              <a:t> </a:t>
            </a:r>
            <a:r>
              <a:rPr sz="4050" spc="-10" dirty="0">
                <a:solidFill>
                  <a:srgbClr val="E3112B"/>
                </a:solidFill>
              </a:rPr>
              <a:t>chileno</a:t>
            </a:r>
            <a:endParaRPr sz="4050"/>
          </a:p>
        </p:txBody>
      </p:sp>
      <p:grpSp>
        <p:nvGrpSpPr>
          <p:cNvPr id="4" name="object 4"/>
          <p:cNvGrpSpPr/>
          <p:nvPr/>
        </p:nvGrpSpPr>
        <p:grpSpPr>
          <a:xfrm>
            <a:off x="1636038" y="2864194"/>
            <a:ext cx="3459479" cy="6638925"/>
            <a:chOff x="1636038" y="2864194"/>
            <a:chExt cx="3459479" cy="6638925"/>
          </a:xfrm>
        </p:grpSpPr>
        <p:sp>
          <p:nvSpPr>
            <p:cNvPr id="5" name="object 5"/>
            <p:cNvSpPr/>
            <p:nvPr/>
          </p:nvSpPr>
          <p:spPr>
            <a:xfrm>
              <a:off x="1636038" y="2864194"/>
              <a:ext cx="3459479" cy="6638925"/>
            </a:xfrm>
            <a:custGeom>
              <a:avLst/>
              <a:gdLst/>
              <a:ahLst/>
              <a:cxnLst/>
              <a:rect l="l" t="t" r="r" b="b"/>
              <a:pathLst>
                <a:path w="3459479" h="6638925">
                  <a:moveTo>
                    <a:pt x="3458958" y="6638677"/>
                  </a:moveTo>
                  <a:lnTo>
                    <a:pt x="0" y="6638677"/>
                  </a:lnTo>
                  <a:lnTo>
                    <a:pt x="0" y="0"/>
                  </a:lnTo>
                  <a:lnTo>
                    <a:pt x="3458958" y="0"/>
                  </a:lnTo>
                  <a:lnTo>
                    <a:pt x="3458958" y="6638677"/>
                  </a:lnTo>
                  <a:close/>
                </a:path>
              </a:pathLst>
            </a:custGeom>
            <a:solidFill>
              <a:srgbClr val="0090AE"/>
            </a:solidFill>
          </p:spPr>
          <p:txBody>
            <a:bodyPr wrap="square" lIns="0" tIns="0" rIns="0" bIns="0" rtlCol="0"/>
            <a:lstStyle/>
            <a:p>
              <a:endParaRPr/>
            </a:p>
          </p:txBody>
        </p:sp>
        <p:pic>
          <p:nvPicPr>
            <p:cNvPr id="6" name="object 6"/>
            <p:cNvPicPr/>
            <p:nvPr/>
          </p:nvPicPr>
          <p:blipFill>
            <a:blip r:embed="rId2" cstate="print"/>
            <a:stretch>
              <a:fillRect/>
            </a:stretch>
          </p:blipFill>
          <p:spPr>
            <a:xfrm>
              <a:off x="2222342" y="5121714"/>
              <a:ext cx="66675" cy="66674"/>
            </a:xfrm>
            <a:prstGeom prst="rect">
              <a:avLst/>
            </a:prstGeom>
          </p:spPr>
        </p:pic>
        <p:pic>
          <p:nvPicPr>
            <p:cNvPr id="7" name="object 7"/>
            <p:cNvPicPr/>
            <p:nvPr/>
          </p:nvPicPr>
          <p:blipFill>
            <a:blip r:embed="rId2" cstate="print"/>
            <a:stretch>
              <a:fillRect/>
            </a:stretch>
          </p:blipFill>
          <p:spPr>
            <a:xfrm>
              <a:off x="2222342" y="6188514"/>
              <a:ext cx="66675" cy="66674"/>
            </a:xfrm>
            <a:prstGeom prst="rect">
              <a:avLst/>
            </a:prstGeom>
          </p:spPr>
        </p:pic>
        <p:pic>
          <p:nvPicPr>
            <p:cNvPr id="8" name="object 8"/>
            <p:cNvPicPr/>
            <p:nvPr/>
          </p:nvPicPr>
          <p:blipFill>
            <a:blip r:embed="rId2" cstate="print"/>
            <a:stretch>
              <a:fillRect/>
            </a:stretch>
          </p:blipFill>
          <p:spPr>
            <a:xfrm>
              <a:off x="2222342" y="7522014"/>
              <a:ext cx="66675" cy="66674"/>
            </a:xfrm>
            <a:prstGeom prst="rect">
              <a:avLst/>
            </a:prstGeom>
          </p:spPr>
        </p:pic>
        <p:pic>
          <p:nvPicPr>
            <p:cNvPr id="9" name="object 9"/>
            <p:cNvPicPr/>
            <p:nvPr/>
          </p:nvPicPr>
          <p:blipFill>
            <a:blip r:embed="rId2" cstate="print"/>
            <a:stretch>
              <a:fillRect/>
            </a:stretch>
          </p:blipFill>
          <p:spPr>
            <a:xfrm>
              <a:off x="2222342" y="8588814"/>
              <a:ext cx="66675" cy="66674"/>
            </a:xfrm>
            <a:prstGeom prst="rect">
              <a:avLst/>
            </a:prstGeom>
          </p:spPr>
        </p:pic>
      </p:grpSp>
      <p:sp>
        <p:nvSpPr>
          <p:cNvPr id="10" name="object 10"/>
          <p:cNvSpPr txBox="1"/>
          <p:nvPr/>
        </p:nvSpPr>
        <p:spPr>
          <a:xfrm>
            <a:off x="1636038" y="2864194"/>
            <a:ext cx="3459479"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395605">
              <a:lnSpc>
                <a:spcPct val="100000"/>
              </a:lnSpc>
            </a:pPr>
            <a:r>
              <a:rPr sz="4600" b="1" spc="575" dirty="0">
                <a:solidFill>
                  <a:srgbClr val="F5A316"/>
                </a:solidFill>
                <a:latin typeface="Arial"/>
                <a:cs typeface="Arial"/>
              </a:rPr>
              <a:t>05</a:t>
            </a:r>
            <a:endParaRPr sz="4600">
              <a:latin typeface="Arial"/>
              <a:cs typeface="Arial"/>
            </a:endParaRPr>
          </a:p>
          <a:p>
            <a:pPr marL="395605">
              <a:lnSpc>
                <a:spcPct val="100000"/>
              </a:lnSpc>
              <a:spcBef>
                <a:spcPts val="305"/>
              </a:spcBef>
            </a:pPr>
            <a:r>
              <a:rPr sz="1850" b="1" spc="145" dirty="0">
                <a:solidFill>
                  <a:srgbClr val="FFFFFF"/>
                </a:solidFill>
                <a:latin typeface="Arial"/>
                <a:cs typeface="Arial"/>
              </a:rPr>
              <a:t>Oferta</a:t>
            </a:r>
            <a:r>
              <a:rPr sz="1850" b="1" spc="90" dirty="0">
                <a:solidFill>
                  <a:srgbClr val="FFFFFF"/>
                </a:solidFill>
                <a:latin typeface="Arial"/>
                <a:cs typeface="Arial"/>
              </a:rPr>
              <a:t> </a:t>
            </a:r>
            <a:r>
              <a:rPr sz="1850" b="1" spc="140" dirty="0">
                <a:solidFill>
                  <a:srgbClr val="FFFFFF"/>
                </a:solidFill>
                <a:latin typeface="Arial"/>
                <a:cs typeface="Arial"/>
              </a:rPr>
              <a:t>y</a:t>
            </a:r>
            <a:r>
              <a:rPr sz="1850" b="1" spc="95" dirty="0">
                <a:solidFill>
                  <a:srgbClr val="FFFFFF"/>
                </a:solidFill>
                <a:latin typeface="Arial"/>
                <a:cs typeface="Arial"/>
              </a:rPr>
              <a:t> </a:t>
            </a:r>
            <a:r>
              <a:rPr sz="1850" b="1" dirty="0">
                <a:solidFill>
                  <a:srgbClr val="FFFFFF"/>
                </a:solidFill>
                <a:latin typeface="Arial"/>
                <a:cs typeface="Arial"/>
              </a:rPr>
              <a:t>destinos</a:t>
            </a:r>
            <a:r>
              <a:rPr sz="1850" b="1" spc="95" dirty="0">
                <a:solidFill>
                  <a:srgbClr val="FFFFFF"/>
                </a:solidFill>
                <a:latin typeface="Arial"/>
                <a:cs typeface="Arial"/>
              </a:rPr>
              <a:t> </a:t>
            </a:r>
            <a:r>
              <a:rPr sz="1850" b="1" spc="-20" dirty="0">
                <a:solidFill>
                  <a:srgbClr val="FFFFFF"/>
                </a:solidFill>
                <a:latin typeface="Arial"/>
                <a:cs typeface="Arial"/>
              </a:rPr>
              <a:t>MICE</a:t>
            </a:r>
            <a:endParaRPr sz="1850">
              <a:latin typeface="Arial"/>
              <a:cs typeface="Arial"/>
            </a:endParaRPr>
          </a:p>
          <a:p>
            <a:pPr>
              <a:lnSpc>
                <a:spcPct val="100000"/>
              </a:lnSpc>
              <a:spcBef>
                <a:spcPts val="35"/>
              </a:spcBef>
            </a:pPr>
            <a:endParaRPr sz="2300">
              <a:latin typeface="Arial"/>
              <a:cs typeface="Arial"/>
            </a:endParaRPr>
          </a:p>
          <a:p>
            <a:pPr marL="781685" marR="307975">
              <a:lnSpc>
                <a:spcPct val="100000"/>
              </a:lnSpc>
            </a:pPr>
            <a:r>
              <a:rPr sz="1750" dirty="0">
                <a:solidFill>
                  <a:srgbClr val="FFFFFF"/>
                </a:solidFill>
                <a:latin typeface="Roboto"/>
                <a:cs typeface="Roboto"/>
              </a:rPr>
              <a:t>Gran</a:t>
            </a:r>
            <a:r>
              <a:rPr sz="1750" spc="95" dirty="0">
                <a:solidFill>
                  <a:srgbClr val="FFFFFF"/>
                </a:solidFill>
                <a:latin typeface="Roboto"/>
                <a:cs typeface="Roboto"/>
              </a:rPr>
              <a:t> </a:t>
            </a:r>
            <a:r>
              <a:rPr sz="1750" b="1" dirty="0">
                <a:solidFill>
                  <a:srgbClr val="FFFFFF"/>
                </a:solidFill>
                <a:latin typeface="Roboto"/>
                <a:cs typeface="Roboto"/>
              </a:rPr>
              <a:t>variedad</a:t>
            </a:r>
            <a:r>
              <a:rPr sz="1750" b="1" spc="100" dirty="0">
                <a:solidFill>
                  <a:srgbClr val="FFFFFF"/>
                </a:solidFill>
                <a:latin typeface="Roboto"/>
                <a:cs typeface="Roboto"/>
              </a:rPr>
              <a:t> </a:t>
            </a:r>
            <a:r>
              <a:rPr sz="1750" spc="-25" dirty="0">
                <a:solidFill>
                  <a:srgbClr val="FFFFFF"/>
                </a:solidFill>
                <a:latin typeface="Roboto"/>
                <a:cs typeface="Roboto"/>
              </a:rPr>
              <a:t>de </a:t>
            </a:r>
            <a:r>
              <a:rPr sz="1750" dirty="0">
                <a:solidFill>
                  <a:srgbClr val="FFFFFF"/>
                </a:solidFill>
                <a:latin typeface="Roboto"/>
                <a:cs typeface="Roboto"/>
              </a:rPr>
              <a:t>destinos</a:t>
            </a:r>
            <a:r>
              <a:rPr sz="1750" spc="-10" dirty="0">
                <a:solidFill>
                  <a:srgbClr val="FFFFFF"/>
                </a:solidFill>
                <a:latin typeface="Roboto"/>
                <a:cs typeface="Roboto"/>
              </a:rPr>
              <a:t> </a:t>
            </a:r>
            <a:r>
              <a:rPr sz="1750" dirty="0">
                <a:solidFill>
                  <a:srgbClr val="FFFFFF"/>
                </a:solidFill>
                <a:latin typeface="Roboto"/>
                <a:cs typeface="Roboto"/>
              </a:rPr>
              <a:t>y</a:t>
            </a:r>
            <a:r>
              <a:rPr sz="1750" spc="-10" dirty="0">
                <a:solidFill>
                  <a:srgbClr val="FFFFFF"/>
                </a:solidFill>
                <a:latin typeface="Roboto"/>
                <a:cs typeface="Roboto"/>
              </a:rPr>
              <a:t> experiencias auténticas.</a:t>
            </a:r>
            <a:endParaRPr sz="1750">
              <a:latin typeface="Roboto"/>
              <a:cs typeface="Roboto"/>
            </a:endParaRPr>
          </a:p>
          <a:p>
            <a:pPr>
              <a:lnSpc>
                <a:spcPct val="100000"/>
              </a:lnSpc>
              <a:spcBef>
                <a:spcPts val="55"/>
              </a:spcBef>
            </a:pPr>
            <a:endParaRPr sz="1550">
              <a:latin typeface="Roboto"/>
              <a:cs typeface="Roboto"/>
            </a:endParaRPr>
          </a:p>
          <a:p>
            <a:pPr marL="781685" marR="409575">
              <a:lnSpc>
                <a:spcPct val="100000"/>
              </a:lnSpc>
              <a:spcBef>
                <a:spcPts val="5"/>
              </a:spcBef>
            </a:pPr>
            <a:r>
              <a:rPr sz="1750" dirty="0">
                <a:solidFill>
                  <a:srgbClr val="FFFFFF"/>
                </a:solidFill>
                <a:latin typeface="Roboto"/>
                <a:cs typeface="Roboto"/>
              </a:rPr>
              <a:t>Falta</a:t>
            </a:r>
            <a:r>
              <a:rPr sz="1750" spc="5" dirty="0">
                <a:solidFill>
                  <a:srgbClr val="FFFFFF"/>
                </a:solidFill>
                <a:latin typeface="Roboto"/>
                <a:cs typeface="Roboto"/>
              </a:rPr>
              <a:t> </a:t>
            </a:r>
            <a:r>
              <a:rPr sz="1750" dirty="0">
                <a:solidFill>
                  <a:srgbClr val="FFFFFF"/>
                </a:solidFill>
                <a:latin typeface="Roboto"/>
                <a:cs typeface="Roboto"/>
              </a:rPr>
              <a:t>fortalecimiento </a:t>
            </a:r>
            <a:r>
              <a:rPr sz="1750" spc="-50" dirty="0">
                <a:solidFill>
                  <a:srgbClr val="FFFFFF"/>
                </a:solidFill>
                <a:latin typeface="Roboto"/>
                <a:cs typeface="Roboto"/>
              </a:rPr>
              <a:t>y </a:t>
            </a:r>
            <a:r>
              <a:rPr sz="1750" dirty="0">
                <a:solidFill>
                  <a:srgbClr val="FFFFFF"/>
                </a:solidFill>
                <a:latin typeface="Roboto"/>
                <a:cs typeface="Roboto"/>
              </a:rPr>
              <a:t>estabilidad</a:t>
            </a:r>
            <a:r>
              <a:rPr sz="1750" spc="10" dirty="0">
                <a:solidFill>
                  <a:srgbClr val="FFFFFF"/>
                </a:solidFill>
                <a:latin typeface="Roboto"/>
                <a:cs typeface="Roboto"/>
              </a:rPr>
              <a:t> </a:t>
            </a:r>
            <a:r>
              <a:rPr sz="1750" spc="-10" dirty="0">
                <a:solidFill>
                  <a:srgbClr val="FFFFFF"/>
                </a:solidFill>
                <a:latin typeface="Roboto"/>
                <a:cs typeface="Roboto"/>
              </a:rPr>
              <a:t>financiera </a:t>
            </a:r>
            <a:r>
              <a:rPr sz="1750" dirty="0">
                <a:solidFill>
                  <a:srgbClr val="FFFFFF"/>
                </a:solidFill>
                <a:latin typeface="Roboto"/>
                <a:cs typeface="Roboto"/>
              </a:rPr>
              <a:t>de</a:t>
            </a:r>
            <a:r>
              <a:rPr sz="1750" spc="20" dirty="0">
                <a:solidFill>
                  <a:srgbClr val="FFFFFF"/>
                </a:solidFill>
                <a:latin typeface="Roboto"/>
                <a:cs typeface="Roboto"/>
              </a:rPr>
              <a:t> </a:t>
            </a:r>
            <a:r>
              <a:rPr sz="1750" dirty="0">
                <a:solidFill>
                  <a:srgbClr val="FFFFFF"/>
                </a:solidFill>
                <a:latin typeface="Roboto"/>
                <a:cs typeface="Roboto"/>
              </a:rPr>
              <a:t>los</a:t>
            </a:r>
            <a:r>
              <a:rPr sz="1750" spc="25" dirty="0">
                <a:solidFill>
                  <a:srgbClr val="FFFFFF"/>
                </a:solidFill>
                <a:latin typeface="Roboto"/>
                <a:cs typeface="Roboto"/>
              </a:rPr>
              <a:t> </a:t>
            </a:r>
            <a:r>
              <a:rPr sz="1750" b="1" spc="-10" dirty="0">
                <a:solidFill>
                  <a:srgbClr val="FFFFFF"/>
                </a:solidFill>
                <a:latin typeface="Roboto"/>
                <a:cs typeface="Roboto"/>
              </a:rPr>
              <a:t>Convention Bureaus.</a:t>
            </a:r>
            <a:endParaRPr sz="1750">
              <a:latin typeface="Roboto"/>
              <a:cs typeface="Roboto"/>
            </a:endParaRPr>
          </a:p>
          <a:p>
            <a:pPr>
              <a:lnSpc>
                <a:spcPct val="100000"/>
              </a:lnSpc>
              <a:spcBef>
                <a:spcPts val="55"/>
              </a:spcBef>
            </a:pPr>
            <a:endParaRPr sz="1550">
              <a:latin typeface="Roboto"/>
              <a:cs typeface="Roboto"/>
            </a:endParaRPr>
          </a:p>
          <a:p>
            <a:pPr marL="781685" marR="391160">
              <a:lnSpc>
                <a:spcPct val="100000"/>
              </a:lnSpc>
            </a:pPr>
            <a:r>
              <a:rPr sz="1750" b="1" dirty="0">
                <a:solidFill>
                  <a:srgbClr val="FFFFFF"/>
                </a:solidFill>
                <a:latin typeface="Roboto"/>
                <a:cs typeface="Roboto"/>
              </a:rPr>
              <a:t>Poco</a:t>
            </a:r>
            <a:r>
              <a:rPr sz="1750" b="1" spc="140" dirty="0">
                <a:solidFill>
                  <a:srgbClr val="FFFFFF"/>
                </a:solidFill>
                <a:latin typeface="Roboto"/>
                <a:cs typeface="Roboto"/>
              </a:rPr>
              <a:t> </a:t>
            </a:r>
            <a:r>
              <a:rPr sz="1750" b="1" dirty="0">
                <a:solidFill>
                  <a:srgbClr val="FFFFFF"/>
                </a:solidFill>
                <a:latin typeface="Roboto"/>
                <a:cs typeface="Roboto"/>
              </a:rPr>
              <a:t>conocimiento</a:t>
            </a:r>
            <a:r>
              <a:rPr sz="1750" b="1" spc="145" dirty="0">
                <a:solidFill>
                  <a:srgbClr val="FFFFFF"/>
                </a:solidFill>
                <a:latin typeface="Roboto"/>
                <a:cs typeface="Roboto"/>
              </a:rPr>
              <a:t> </a:t>
            </a:r>
            <a:r>
              <a:rPr sz="1750" spc="-25" dirty="0">
                <a:solidFill>
                  <a:srgbClr val="FFFFFF"/>
                </a:solidFill>
                <a:latin typeface="Roboto"/>
                <a:cs typeface="Roboto"/>
              </a:rPr>
              <a:t>de </a:t>
            </a:r>
            <a:r>
              <a:rPr sz="1750" dirty="0">
                <a:solidFill>
                  <a:srgbClr val="FFFFFF"/>
                </a:solidFill>
                <a:latin typeface="Roboto"/>
                <a:cs typeface="Roboto"/>
              </a:rPr>
              <a:t>destinos</a:t>
            </a:r>
            <a:r>
              <a:rPr sz="1750" spc="20" dirty="0">
                <a:solidFill>
                  <a:srgbClr val="FFFFFF"/>
                </a:solidFill>
                <a:latin typeface="Roboto"/>
                <a:cs typeface="Roboto"/>
              </a:rPr>
              <a:t> </a:t>
            </a:r>
            <a:r>
              <a:rPr sz="1750" dirty="0">
                <a:solidFill>
                  <a:srgbClr val="FFFFFF"/>
                </a:solidFill>
                <a:latin typeface="Roboto"/>
                <a:cs typeface="Roboto"/>
              </a:rPr>
              <a:t>más</a:t>
            </a:r>
            <a:r>
              <a:rPr sz="1750" spc="20" dirty="0">
                <a:solidFill>
                  <a:srgbClr val="FFFFFF"/>
                </a:solidFill>
                <a:latin typeface="Roboto"/>
                <a:cs typeface="Roboto"/>
              </a:rPr>
              <a:t> </a:t>
            </a:r>
            <a:r>
              <a:rPr sz="1750" dirty="0">
                <a:solidFill>
                  <a:srgbClr val="FFFFFF"/>
                </a:solidFill>
                <a:latin typeface="Roboto"/>
                <a:cs typeface="Roboto"/>
              </a:rPr>
              <a:t>allá</a:t>
            </a:r>
            <a:r>
              <a:rPr sz="1750" spc="20" dirty="0">
                <a:solidFill>
                  <a:srgbClr val="FFFFFF"/>
                </a:solidFill>
                <a:latin typeface="Roboto"/>
                <a:cs typeface="Roboto"/>
              </a:rPr>
              <a:t> </a:t>
            </a:r>
            <a:r>
              <a:rPr sz="1750" spc="-25" dirty="0">
                <a:solidFill>
                  <a:srgbClr val="FFFFFF"/>
                </a:solidFill>
                <a:latin typeface="Roboto"/>
                <a:cs typeface="Roboto"/>
              </a:rPr>
              <a:t>de </a:t>
            </a:r>
            <a:r>
              <a:rPr sz="1750" spc="-10" dirty="0">
                <a:solidFill>
                  <a:srgbClr val="FFFFFF"/>
                </a:solidFill>
                <a:latin typeface="Roboto"/>
                <a:cs typeface="Roboto"/>
              </a:rPr>
              <a:t>Santiago</a:t>
            </a:r>
            <a:endParaRPr sz="1750">
              <a:latin typeface="Roboto"/>
              <a:cs typeface="Roboto"/>
            </a:endParaRPr>
          </a:p>
          <a:p>
            <a:pPr>
              <a:lnSpc>
                <a:spcPct val="100000"/>
              </a:lnSpc>
              <a:spcBef>
                <a:spcPts val="55"/>
              </a:spcBef>
            </a:pPr>
            <a:endParaRPr sz="1550">
              <a:latin typeface="Roboto"/>
              <a:cs typeface="Roboto"/>
            </a:endParaRPr>
          </a:p>
          <a:p>
            <a:pPr marL="781685" marR="704215">
              <a:lnSpc>
                <a:spcPct val="100000"/>
              </a:lnSpc>
            </a:pPr>
            <a:r>
              <a:rPr sz="1750" b="1" dirty="0">
                <a:solidFill>
                  <a:srgbClr val="FFFFFF"/>
                </a:solidFill>
                <a:latin typeface="Roboto"/>
                <a:cs typeface="Roboto"/>
              </a:rPr>
              <a:t>Oferta</a:t>
            </a:r>
            <a:r>
              <a:rPr sz="1750" b="1" spc="110" dirty="0">
                <a:solidFill>
                  <a:srgbClr val="FFFFFF"/>
                </a:solidFill>
                <a:latin typeface="Roboto"/>
                <a:cs typeface="Roboto"/>
              </a:rPr>
              <a:t> </a:t>
            </a:r>
            <a:r>
              <a:rPr sz="1750" b="1" dirty="0">
                <a:solidFill>
                  <a:srgbClr val="FFFFFF"/>
                </a:solidFill>
                <a:latin typeface="Roboto"/>
                <a:cs typeface="Roboto"/>
              </a:rPr>
              <a:t>limitada</a:t>
            </a:r>
            <a:r>
              <a:rPr sz="1750" b="1" spc="114" dirty="0">
                <a:solidFill>
                  <a:srgbClr val="FFFFFF"/>
                </a:solidFill>
                <a:latin typeface="Roboto"/>
                <a:cs typeface="Roboto"/>
              </a:rPr>
              <a:t> </a:t>
            </a:r>
            <a:r>
              <a:rPr sz="1750" b="1" spc="-25" dirty="0">
                <a:solidFill>
                  <a:srgbClr val="FFFFFF"/>
                </a:solidFill>
                <a:latin typeface="Roboto"/>
                <a:cs typeface="Roboto"/>
              </a:rPr>
              <a:t>de </a:t>
            </a:r>
            <a:r>
              <a:rPr sz="1750" b="1" dirty="0">
                <a:solidFill>
                  <a:srgbClr val="FFFFFF"/>
                </a:solidFill>
                <a:latin typeface="Roboto"/>
                <a:cs typeface="Roboto"/>
              </a:rPr>
              <a:t>grandes</a:t>
            </a:r>
            <a:r>
              <a:rPr sz="1750" b="1" spc="145" dirty="0">
                <a:solidFill>
                  <a:srgbClr val="FFFFFF"/>
                </a:solidFill>
                <a:latin typeface="Roboto"/>
                <a:cs typeface="Roboto"/>
              </a:rPr>
              <a:t> </a:t>
            </a:r>
            <a:r>
              <a:rPr sz="1750" b="1" dirty="0">
                <a:solidFill>
                  <a:srgbClr val="FFFFFF"/>
                </a:solidFill>
                <a:latin typeface="Roboto"/>
                <a:cs typeface="Roboto"/>
              </a:rPr>
              <a:t>centros</a:t>
            </a:r>
            <a:r>
              <a:rPr sz="1750" b="1" spc="150" dirty="0">
                <a:solidFill>
                  <a:srgbClr val="FFFFFF"/>
                </a:solidFill>
                <a:latin typeface="Roboto"/>
                <a:cs typeface="Roboto"/>
              </a:rPr>
              <a:t> </a:t>
            </a:r>
            <a:r>
              <a:rPr sz="1750" spc="-25" dirty="0">
                <a:solidFill>
                  <a:srgbClr val="FFFFFF"/>
                </a:solidFill>
                <a:latin typeface="Roboto"/>
                <a:cs typeface="Roboto"/>
              </a:rPr>
              <a:t>de </a:t>
            </a:r>
            <a:r>
              <a:rPr sz="1750" spc="-10" dirty="0">
                <a:solidFill>
                  <a:srgbClr val="FFFFFF"/>
                </a:solidFill>
                <a:latin typeface="Roboto"/>
                <a:cs typeface="Roboto"/>
              </a:rPr>
              <a:t>convenciones.</a:t>
            </a:r>
            <a:endParaRPr sz="1750">
              <a:latin typeface="Roboto"/>
              <a:cs typeface="Roboto"/>
            </a:endParaRPr>
          </a:p>
        </p:txBody>
      </p:sp>
      <p:grpSp>
        <p:nvGrpSpPr>
          <p:cNvPr id="11" name="object 11"/>
          <p:cNvGrpSpPr/>
          <p:nvPr/>
        </p:nvGrpSpPr>
        <p:grpSpPr>
          <a:xfrm>
            <a:off x="3830789" y="3149250"/>
            <a:ext cx="838200" cy="837565"/>
            <a:chOff x="3830789" y="3149250"/>
            <a:chExt cx="838200" cy="837565"/>
          </a:xfrm>
        </p:grpSpPr>
        <p:sp>
          <p:nvSpPr>
            <p:cNvPr id="12" name="object 12"/>
            <p:cNvSpPr/>
            <p:nvPr/>
          </p:nvSpPr>
          <p:spPr>
            <a:xfrm>
              <a:off x="3830777" y="3150475"/>
              <a:ext cx="838200" cy="836294"/>
            </a:xfrm>
            <a:custGeom>
              <a:avLst/>
              <a:gdLst/>
              <a:ahLst/>
              <a:cxnLst/>
              <a:rect l="l" t="t" r="r" b="b"/>
              <a:pathLst>
                <a:path w="838200" h="836295">
                  <a:moveTo>
                    <a:pt x="189395" y="101917"/>
                  </a:moveTo>
                  <a:lnTo>
                    <a:pt x="135420" y="109994"/>
                  </a:lnTo>
                  <a:lnTo>
                    <a:pt x="101625" y="144843"/>
                  </a:lnTo>
                  <a:lnTo>
                    <a:pt x="72072" y="183324"/>
                  </a:lnTo>
                  <a:lnTo>
                    <a:pt x="47218" y="224929"/>
                  </a:lnTo>
                  <a:lnTo>
                    <a:pt x="26835" y="270649"/>
                  </a:lnTo>
                  <a:lnTo>
                    <a:pt x="12052" y="318528"/>
                  </a:lnTo>
                  <a:lnTo>
                    <a:pt x="3048" y="367906"/>
                  </a:lnTo>
                  <a:lnTo>
                    <a:pt x="0" y="418147"/>
                  </a:lnTo>
                  <a:lnTo>
                    <a:pt x="2743" y="466458"/>
                  </a:lnTo>
                  <a:lnTo>
                    <a:pt x="10896" y="513575"/>
                  </a:lnTo>
                  <a:lnTo>
                    <a:pt x="24409" y="559320"/>
                  </a:lnTo>
                  <a:lnTo>
                    <a:pt x="43218" y="603516"/>
                  </a:lnTo>
                  <a:lnTo>
                    <a:pt x="68122" y="591146"/>
                  </a:lnTo>
                  <a:lnTo>
                    <a:pt x="50596" y="549884"/>
                  </a:lnTo>
                  <a:lnTo>
                    <a:pt x="38011" y="507199"/>
                  </a:lnTo>
                  <a:lnTo>
                    <a:pt x="30416" y="463232"/>
                  </a:lnTo>
                  <a:lnTo>
                    <a:pt x="27876" y="418147"/>
                  </a:lnTo>
                  <a:lnTo>
                    <a:pt x="30695" y="371271"/>
                  </a:lnTo>
                  <a:lnTo>
                    <a:pt x="39077" y="325170"/>
                  </a:lnTo>
                  <a:lnTo>
                    <a:pt x="52870" y="280479"/>
                  </a:lnTo>
                  <a:lnTo>
                    <a:pt x="71958" y="237820"/>
                  </a:lnTo>
                  <a:lnTo>
                    <a:pt x="95186" y="199021"/>
                  </a:lnTo>
                  <a:lnTo>
                    <a:pt x="122770" y="163144"/>
                  </a:lnTo>
                  <a:lnTo>
                    <a:pt x="154305" y="130632"/>
                  </a:lnTo>
                  <a:lnTo>
                    <a:pt x="189395" y="101917"/>
                  </a:lnTo>
                  <a:close/>
                </a:path>
                <a:path w="838200" h="836295">
                  <a:moveTo>
                    <a:pt x="461352" y="2260"/>
                  </a:moveTo>
                  <a:lnTo>
                    <a:pt x="450608" y="1320"/>
                  </a:lnTo>
                  <a:lnTo>
                    <a:pt x="439813" y="609"/>
                  </a:lnTo>
                  <a:lnTo>
                    <a:pt x="428993" y="152"/>
                  </a:lnTo>
                  <a:lnTo>
                    <a:pt x="418147" y="0"/>
                  </a:lnTo>
                  <a:lnTo>
                    <a:pt x="399986" y="393"/>
                  </a:lnTo>
                  <a:lnTo>
                    <a:pt x="381889" y="1574"/>
                  </a:lnTo>
                  <a:lnTo>
                    <a:pt x="363880" y="3530"/>
                  </a:lnTo>
                  <a:lnTo>
                    <a:pt x="346024" y="6273"/>
                  </a:lnTo>
                  <a:lnTo>
                    <a:pt x="350723" y="33794"/>
                  </a:lnTo>
                  <a:lnTo>
                    <a:pt x="367411" y="31178"/>
                  </a:lnTo>
                  <a:lnTo>
                    <a:pt x="384238" y="29337"/>
                  </a:lnTo>
                  <a:lnTo>
                    <a:pt x="401167" y="28244"/>
                  </a:lnTo>
                  <a:lnTo>
                    <a:pt x="418147" y="27876"/>
                  </a:lnTo>
                  <a:lnTo>
                    <a:pt x="428231" y="28003"/>
                  </a:lnTo>
                  <a:lnTo>
                    <a:pt x="438353" y="28397"/>
                  </a:lnTo>
                  <a:lnTo>
                    <a:pt x="448475" y="29057"/>
                  </a:lnTo>
                  <a:lnTo>
                    <a:pt x="458571" y="29972"/>
                  </a:lnTo>
                  <a:lnTo>
                    <a:pt x="461352" y="2260"/>
                  </a:lnTo>
                  <a:close/>
                </a:path>
                <a:path w="838200" h="836295">
                  <a:moveTo>
                    <a:pt x="547776" y="815898"/>
                  </a:moveTo>
                  <a:lnTo>
                    <a:pt x="539064" y="789419"/>
                  </a:lnTo>
                  <a:lnTo>
                    <a:pt x="512876" y="796886"/>
                  </a:lnTo>
                  <a:lnTo>
                    <a:pt x="486156" y="802551"/>
                  </a:lnTo>
                  <a:lnTo>
                    <a:pt x="459016" y="806348"/>
                  </a:lnTo>
                  <a:lnTo>
                    <a:pt x="431558" y="808228"/>
                  </a:lnTo>
                  <a:lnTo>
                    <a:pt x="432435" y="836104"/>
                  </a:lnTo>
                  <a:lnTo>
                    <a:pt x="461848" y="834059"/>
                  </a:lnTo>
                  <a:lnTo>
                    <a:pt x="490956" y="829995"/>
                  </a:lnTo>
                  <a:lnTo>
                    <a:pt x="519633" y="823937"/>
                  </a:lnTo>
                  <a:lnTo>
                    <a:pt x="547776" y="815898"/>
                  </a:lnTo>
                  <a:close/>
                </a:path>
                <a:path w="838200" h="836295">
                  <a:moveTo>
                    <a:pt x="838200" y="443230"/>
                  </a:moveTo>
                  <a:lnTo>
                    <a:pt x="835240" y="434873"/>
                  </a:lnTo>
                  <a:lnTo>
                    <a:pt x="779487" y="408025"/>
                  </a:lnTo>
                  <a:lnTo>
                    <a:pt x="779487" y="500900"/>
                  </a:lnTo>
                  <a:lnTo>
                    <a:pt x="640638" y="789762"/>
                  </a:lnTo>
                  <a:lnTo>
                    <a:pt x="508787" y="726351"/>
                  </a:lnTo>
                  <a:lnTo>
                    <a:pt x="505536" y="724776"/>
                  </a:lnTo>
                  <a:lnTo>
                    <a:pt x="398640" y="673379"/>
                  </a:lnTo>
                  <a:lnTo>
                    <a:pt x="396024" y="670598"/>
                  </a:lnTo>
                  <a:lnTo>
                    <a:pt x="394804" y="666940"/>
                  </a:lnTo>
                  <a:lnTo>
                    <a:pt x="393585" y="663448"/>
                  </a:lnTo>
                  <a:lnTo>
                    <a:pt x="393750" y="659625"/>
                  </a:lnTo>
                  <a:lnTo>
                    <a:pt x="395325" y="656310"/>
                  </a:lnTo>
                  <a:lnTo>
                    <a:pt x="476821" y="486956"/>
                  </a:lnTo>
                  <a:lnTo>
                    <a:pt x="529297" y="377901"/>
                  </a:lnTo>
                  <a:lnTo>
                    <a:pt x="532612" y="381203"/>
                  </a:lnTo>
                  <a:lnTo>
                    <a:pt x="536448" y="383997"/>
                  </a:lnTo>
                  <a:lnTo>
                    <a:pt x="779487" y="500900"/>
                  </a:lnTo>
                  <a:lnTo>
                    <a:pt x="779487" y="408025"/>
                  </a:lnTo>
                  <a:lnTo>
                    <a:pt x="716953" y="377901"/>
                  </a:lnTo>
                  <a:lnTo>
                    <a:pt x="577215" y="310642"/>
                  </a:lnTo>
                  <a:lnTo>
                    <a:pt x="561149" y="306590"/>
                  </a:lnTo>
                  <a:lnTo>
                    <a:pt x="545287" y="308902"/>
                  </a:lnTo>
                  <a:lnTo>
                    <a:pt x="531444" y="316966"/>
                  </a:lnTo>
                  <a:lnTo>
                    <a:pt x="521462" y="330161"/>
                  </a:lnTo>
                  <a:lnTo>
                    <a:pt x="446024" y="486956"/>
                  </a:lnTo>
                  <a:lnTo>
                    <a:pt x="446024" y="404202"/>
                  </a:lnTo>
                  <a:lnTo>
                    <a:pt x="446024" y="348449"/>
                  </a:lnTo>
                  <a:lnTo>
                    <a:pt x="440550" y="321322"/>
                  </a:lnTo>
                  <a:lnTo>
                    <a:pt x="425615" y="299173"/>
                  </a:lnTo>
                  <a:lnTo>
                    <a:pt x="403466" y="284238"/>
                  </a:lnTo>
                  <a:lnTo>
                    <a:pt x="376339" y="278765"/>
                  </a:lnTo>
                  <a:lnTo>
                    <a:pt x="376339" y="786803"/>
                  </a:lnTo>
                  <a:lnTo>
                    <a:pt x="376339" y="802132"/>
                  </a:lnTo>
                  <a:lnTo>
                    <a:pt x="370065" y="808405"/>
                  </a:lnTo>
                  <a:lnTo>
                    <a:pt x="354723" y="808405"/>
                  </a:lnTo>
                  <a:lnTo>
                    <a:pt x="348462" y="802132"/>
                  </a:lnTo>
                  <a:lnTo>
                    <a:pt x="348462" y="786803"/>
                  </a:lnTo>
                  <a:lnTo>
                    <a:pt x="354723" y="780529"/>
                  </a:lnTo>
                  <a:lnTo>
                    <a:pt x="370065" y="780529"/>
                  </a:lnTo>
                  <a:lnTo>
                    <a:pt x="376339" y="786803"/>
                  </a:lnTo>
                  <a:lnTo>
                    <a:pt x="376339" y="278765"/>
                  </a:lnTo>
                  <a:lnTo>
                    <a:pt x="362394" y="278765"/>
                  </a:lnTo>
                  <a:lnTo>
                    <a:pt x="362394" y="404202"/>
                  </a:lnTo>
                  <a:lnTo>
                    <a:pt x="362394" y="724776"/>
                  </a:lnTo>
                  <a:lnTo>
                    <a:pt x="334518" y="724776"/>
                  </a:lnTo>
                  <a:lnTo>
                    <a:pt x="334518" y="404202"/>
                  </a:lnTo>
                  <a:lnTo>
                    <a:pt x="362394" y="404202"/>
                  </a:lnTo>
                  <a:lnTo>
                    <a:pt x="362394" y="278765"/>
                  </a:lnTo>
                  <a:lnTo>
                    <a:pt x="320586" y="278765"/>
                  </a:lnTo>
                  <a:lnTo>
                    <a:pt x="320586" y="55753"/>
                  </a:lnTo>
                  <a:lnTo>
                    <a:pt x="316179" y="34099"/>
                  </a:lnTo>
                  <a:lnTo>
                    <a:pt x="311975" y="27876"/>
                  </a:lnTo>
                  <a:lnTo>
                    <a:pt x="304203" y="16383"/>
                  </a:lnTo>
                  <a:lnTo>
                    <a:pt x="292709" y="8623"/>
                  </a:lnTo>
                  <a:lnTo>
                    <a:pt x="292709" y="55753"/>
                  </a:lnTo>
                  <a:lnTo>
                    <a:pt x="292709" y="278765"/>
                  </a:lnTo>
                  <a:lnTo>
                    <a:pt x="278765" y="278765"/>
                  </a:lnTo>
                  <a:lnTo>
                    <a:pt x="278765" y="404202"/>
                  </a:lnTo>
                  <a:lnTo>
                    <a:pt x="278765" y="724776"/>
                  </a:lnTo>
                  <a:lnTo>
                    <a:pt x="250888" y="724776"/>
                  </a:lnTo>
                  <a:lnTo>
                    <a:pt x="250888" y="404202"/>
                  </a:lnTo>
                  <a:lnTo>
                    <a:pt x="278765" y="404202"/>
                  </a:lnTo>
                  <a:lnTo>
                    <a:pt x="278765" y="278765"/>
                  </a:lnTo>
                  <a:lnTo>
                    <a:pt x="236956" y="278765"/>
                  </a:lnTo>
                  <a:lnTo>
                    <a:pt x="236956" y="55753"/>
                  </a:lnTo>
                  <a:lnTo>
                    <a:pt x="239153" y="44932"/>
                  </a:lnTo>
                  <a:lnTo>
                    <a:pt x="245135" y="36068"/>
                  </a:lnTo>
                  <a:lnTo>
                    <a:pt x="254000" y="30073"/>
                  </a:lnTo>
                  <a:lnTo>
                    <a:pt x="264833" y="27876"/>
                  </a:lnTo>
                  <a:lnTo>
                    <a:pt x="275653" y="30073"/>
                  </a:lnTo>
                  <a:lnTo>
                    <a:pt x="284518" y="36068"/>
                  </a:lnTo>
                  <a:lnTo>
                    <a:pt x="290499" y="44932"/>
                  </a:lnTo>
                  <a:lnTo>
                    <a:pt x="292709" y="55753"/>
                  </a:lnTo>
                  <a:lnTo>
                    <a:pt x="292709" y="8623"/>
                  </a:lnTo>
                  <a:lnTo>
                    <a:pt x="286473" y="4394"/>
                  </a:lnTo>
                  <a:lnTo>
                    <a:pt x="264833" y="0"/>
                  </a:lnTo>
                  <a:lnTo>
                    <a:pt x="243179" y="4394"/>
                  </a:lnTo>
                  <a:lnTo>
                    <a:pt x="225450" y="16383"/>
                  </a:lnTo>
                  <a:lnTo>
                    <a:pt x="213474" y="34099"/>
                  </a:lnTo>
                  <a:lnTo>
                    <a:pt x="209080" y="55753"/>
                  </a:lnTo>
                  <a:lnTo>
                    <a:pt x="209080" y="278765"/>
                  </a:lnTo>
                  <a:lnTo>
                    <a:pt x="195135" y="278765"/>
                  </a:lnTo>
                  <a:lnTo>
                    <a:pt x="195135" y="404202"/>
                  </a:lnTo>
                  <a:lnTo>
                    <a:pt x="195135" y="724776"/>
                  </a:lnTo>
                  <a:lnTo>
                    <a:pt x="181203" y="724776"/>
                  </a:lnTo>
                  <a:lnTo>
                    <a:pt x="181203" y="786803"/>
                  </a:lnTo>
                  <a:lnTo>
                    <a:pt x="181203" y="802132"/>
                  </a:lnTo>
                  <a:lnTo>
                    <a:pt x="174929" y="808405"/>
                  </a:lnTo>
                  <a:lnTo>
                    <a:pt x="159600" y="808405"/>
                  </a:lnTo>
                  <a:lnTo>
                    <a:pt x="153327" y="802132"/>
                  </a:lnTo>
                  <a:lnTo>
                    <a:pt x="153327" y="786803"/>
                  </a:lnTo>
                  <a:lnTo>
                    <a:pt x="159600" y="780529"/>
                  </a:lnTo>
                  <a:lnTo>
                    <a:pt x="174929" y="780529"/>
                  </a:lnTo>
                  <a:lnTo>
                    <a:pt x="181203" y="786803"/>
                  </a:lnTo>
                  <a:lnTo>
                    <a:pt x="181203" y="724776"/>
                  </a:lnTo>
                  <a:lnTo>
                    <a:pt x="167259" y="724776"/>
                  </a:lnTo>
                  <a:lnTo>
                    <a:pt x="167259" y="404202"/>
                  </a:lnTo>
                  <a:lnTo>
                    <a:pt x="195135" y="404202"/>
                  </a:lnTo>
                  <a:lnTo>
                    <a:pt x="195135" y="278765"/>
                  </a:lnTo>
                  <a:lnTo>
                    <a:pt x="153327" y="278765"/>
                  </a:lnTo>
                  <a:lnTo>
                    <a:pt x="126187" y="284238"/>
                  </a:lnTo>
                  <a:lnTo>
                    <a:pt x="104038" y="299173"/>
                  </a:lnTo>
                  <a:lnTo>
                    <a:pt x="89103" y="321322"/>
                  </a:lnTo>
                  <a:lnTo>
                    <a:pt x="83629" y="348449"/>
                  </a:lnTo>
                  <a:lnTo>
                    <a:pt x="83629" y="710844"/>
                  </a:lnTo>
                  <a:lnTo>
                    <a:pt x="87045" y="732421"/>
                  </a:lnTo>
                  <a:lnTo>
                    <a:pt x="96570" y="751243"/>
                  </a:lnTo>
                  <a:lnTo>
                    <a:pt x="111125" y="766241"/>
                  </a:lnTo>
                  <a:lnTo>
                    <a:pt x="129628" y="776351"/>
                  </a:lnTo>
                  <a:lnTo>
                    <a:pt x="127012" y="781748"/>
                  </a:lnTo>
                  <a:lnTo>
                    <a:pt x="125450" y="788022"/>
                  </a:lnTo>
                  <a:lnTo>
                    <a:pt x="125450" y="794473"/>
                  </a:lnTo>
                  <a:lnTo>
                    <a:pt x="128752" y="810704"/>
                  </a:lnTo>
                  <a:lnTo>
                    <a:pt x="137731" y="824001"/>
                  </a:lnTo>
                  <a:lnTo>
                    <a:pt x="151028" y="832980"/>
                  </a:lnTo>
                  <a:lnTo>
                    <a:pt x="167259" y="836282"/>
                  </a:lnTo>
                  <a:lnTo>
                    <a:pt x="183502" y="832980"/>
                  </a:lnTo>
                  <a:lnTo>
                    <a:pt x="196799" y="824001"/>
                  </a:lnTo>
                  <a:lnTo>
                    <a:pt x="205778" y="810704"/>
                  </a:lnTo>
                  <a:lnTo>
                    <a:pt x="206248" y="808405"/>
                  </a:lnTo>
                  <a:lnTo>
                    <a:pt x="209080" y="794473"/>
                  </a:lnTo>
                  <a:lnTo>
                    <a:pt x="209080" y="789597"/>
                  </a:lnTo>
                  <a:lnTo>
                    <a:pt x="208203" y="784885"/>
                  </a:lnTo>
                  <a:lnTo>
                    <a:pt x="206641" y="780529"/>
                  </a:lnTo>
                  <a:lnTo>
                    <a:pt x="323024" y="780529"/>
                  </a:lnTo>
                  <a:lnTo>
                    <a:pt x="321449" y="784885"/>
                  </a:lnTo>
                  <a:lnTo>
                    <a:pt x="320586" y="789597"/>
                  </a:lnTo>
                  <a:lnTo>
                    <a:pt x="320586" y="794473"/>
                  </a:lnTo>
                  <a:lnTo>
                    <a:pt x="323875" y="810704"/>
                  </a:lnTo>
                  <a:lnTo>
                    <a:pt x="332867" y="824001"/>
                  </a:lnTo>
                  <a:lnTo>
                    <a:pt x="346163" y="832980"/>
                  </a:lnTo>
                  <a:lnTo>
                    <a:pt x="362394" y="836282"/>
                  </a:lnTo>
                  <a:lnTo>
                    <a:pt x="378625" y="832980"/>
                  </a:lnTo>
                  <a:lnTo>
                    <a:pt x="391922" y="824001"/>
                  </a:lnTo>
                  <a:lnTo>
                    <a:pt x="400913" y="810704"/>
                  </a:lnTo>
                  <a:lnTo>
                    <a:pt x="401370" y="808405"/>
                  </a:lnTo>
                  <a:lnTo>
                    <a:pt x="404215" y="794473"/>
                  </a:lnTo>
                  <a:lnTo>
                    <a:pt x="404215" y="788022"/>
                  </a:lnTo>
                  <a:lnTo>
                    <a:pt x="402640" y="781926"/>
                  </a:lnTo>
                  <a:lnTo>
                    <a:pt x="401993" y="780529"/>
                  </a:lnTo>
                  <a:lnTo>
                    <a:pt x="400024" y="776351"/>
                  </a:lnTo>
                  <a:lnTo>
                    <a:pt x="415518" y="768413"/>
                  </a:lnTo>
                  <a:lnTo>
                    <a:pt x="428421" y="757034"/>
                  </a:lnTo>
                  <a:lnTo>
                    <a:pt x="438200" y="742810"/>
                  </a:lnTo>
                  <a:lnTo>
                    <a:pt x="444284" y="726351"/>
                  </a:lnTo>
                  <a:lnTo>
                    <a:pt x="641159" y="820953"/>
                  </a:lnTo>
                  <a:lnTo>
                    <a:pt x="643077" y="821829"/>
                  </a:lnTo>
                  <a:lnTo>
                    <a:pt x="645160" y="822350"/>
                  </a:lnTo>
                  <a:lnTo>
                    <a:pt x="652475" y="822350"/>
                  </a:lnTo>
                  <a:lnTo>
                    <a:pt x="657364" y="819378"/>
                  </a:lnTo>
                  <a:lnTo>
                    <a:pt x="659803" y="814501"/>
                  </a:lnTo>
                  <a:lnTo>
                    <a:pt x="671703" y="789762"/>
                  </a:lnTo>
                  <a:lnTo>
                    <a:pt x="835075" y="450202"/>
                  </a:lnTo>
                  <a:lnTo>
                    <a:pt x="838200" y="443230"/>
                  </a:lnTo>
                  <a:close/>
                </a:path>
              </a:pathLst>
            </a:custGeom>
            <a:solidFill>
              <a:srgbClr val="FFFFFF"/>
            </a:solidFill>
          </p:spPr>
          <p:txBody>
            <a:bodyPr wrap="square" lIns="0" tIns="0" rIns="0" bIns="0" rtlCol="0"/>
            <a:lstStyle/>
            <a:p>
              <a:endParaRPr/>
            </a:p>
          </p:txBody>
        </p:sp>
        <p:pic>
          <p:nvPicPr>
            <p:cNvPr id="13" name="object 13"/>
            <p:cNvPicPr/>
            <p:nvPr/>
          </p:nvPicPr>
          <p:blipFill>
            <a:blip r:embed="rId3" cstate="print"/>
            <a:stretch>
              <a:fillRect/>
            </a:stretch>
          </p:blipFill>
          <p:spPr>
            <a:xfrm>
              <a:off x="4295065" y="3606547"/>
              <a:ext cx="232920" cy="278354"/>
            </a:xfrm>
            <a:prstGeom prst="rect">
              <a:avLst/>
            </a:prstGeom>
          </p:spPr>
        </p:pic>
        <p:sp>
          <p:nvSpPr>
            <p:cNvPr id="14" name="object 14"/>
            <p:cNvSpPr/>
            <p:nvPr/>
          </p:nvSpPr>
          <p:spPr>
            <a:xfrm>
              <a:off x="4179404" y="3149256"/>
              <a:ext cx="487045" cy="392430"/>
            </a:xfrm>
            <a:custGeom>
              <a:avLst/>
              <a:gdLst/>
              <a:ahLst/>
              <a:cxnLst/>
              <a:rect l="l" t="t" r="r" b="b"/>
              <a:pathLst>
                <a:path w="487045" h="392429">
                  <a:moveTo>
                    <a:pt x="473544" y="136588"/>
                  </a:moveTo>
                  <a:lnTo>
                    <a:pt x="472160" y="133108"/>
                  </a:lnTo>
                  <a:lnTo>
                    <a:pt x="436956" y="97917"/>
                  </a:lnTo>
                  <a:lnTo>
                    <a:pt x="429641" y="97218"/>
                  </a:lnTo>
                  <a:lnTo>
                    <a:pt x="424065" y="100876"/>
                  </a:lnTo>
                  <a:lnTo>
                    <a:pt x="389915" y="123520"/>
                  </a:lnTo>
                  <a:lnTo>
                    <a:pt x="326504" y="81368"/>
                  </a:lnTo>
                  <a:lnTo>
                    <a:pt x="363613" y="31889"/>
                  </a:lnTo>
                  <a:lnTo>
                    <a:pt x="363093" y="24218"/>
                  </a:lnTo>
                  <a:lnTo>
                    <a:pt x="358216" y="19164"/>
                  </a:lnTo>
                  <a:lnTo>
                    <a:pt x="340093" y="1041"/>
                  </a:lnTo>
                  <a:lnTo>
                    <a:pt x="333476" y="0"/>
                  </a:lnTo>
                  <a:lnTo>
                    <a:pt x="251409" y="40944"/>
                  </a:lnTo>
                  <a:lnTo>
                    <a:pt x="225450" y="25615"/>
                  </a:lnTo>
                  <a:lnTo>
                    <a:pt x="203708" y="17081"/>
                  </a:lnTo>
                  <a:lnTo>
                    <a:pt x="181025" y="16141"/>
                  </a:lnTo>
                  <a:lnTo>
                    <a:pt x="159245" y="22555"/>
                  </a:lnTo>
                  <a:lnTo>
                    <a:pt x="140258" y="36068"/>
                  </a:lnTo>
                  <a:lnTo>
                    <a:pt x="126314" y="49999"/>
                  </a:lnTo>
                  <a:lnTo>
                    <a:pt x="124752" y="54356"/>
                  </a:lnTo>
                  <a:lnTo>
                    <a:pt x="125793" y="62890"/>
                  </a:lnTo>
                  <a:lnTo>
                    <a:pt x="128231" y="66560"/>
                  </a:lnTo>
                  <a:lnTo>
                    <a:pt x="131889" y="68821"/>
                  </a:lnTo>
                  <a:lnTo>
                    <a:pt x="363956" y="210642"/>
                  </a:lnTo>
                  <a:lnTo>
                    <a:pt x="370751" y="214820"/>
                  </a:lnTo>
                  <a:lnTo>
                    <a:pt x="378244" y="216738"/>
                  </a:lnTo>
                  <a:lnTo>
                    <a:pt x="385737" y="216738"/>
                  </a:lnTo>
                  <a:lnTo>
                    <a:pt x="472160" y="147739"/>
                  </a:lnTo>
                  <a:lnTo>
                    <a:pt x="473544" y="144259"/>
                  </a:lnTo>
                  <a:lnTo>
                    <a:pt x="473544" y="136588"/>
                  </a:lnTo>
                  <a:close/>
                </a:path>
                <a:path w="487045" h="392429">
                  <a:moveTo>
                    <a:pt x="486968" y="390271"/>
                  </a:moveTo>
                  <a:lnTo>
                    <a:pt x="482104" y="349034"/>
                  </a:lnTo>
                  <a:lnTo>
                    <a:pt x="473265" y="308775"/>
                  </a:lnTo>
                  <a:lnTo>
                    <a:pt x="460476" y="269621"/>
                  </a:lnTo>
                  <a:lnTo>
                    <a:pt x="443750" y="231724"/>
                  </a:lnTo>
                  <a:lnTo>
                    <a:pt x="418846" y="244259"/>
                  </a:lnTo>
                  <a:lnTo>
                    <a:pt x="424624" y="256222"/>
                  </a:lnTo>
                  <a:lnTo>
                    <a:pt x="429945" y="268312"/>
                  </a:lnTo>
                  <a:lnTo>
                    <a:pt x="434822" y="280530"/>
                  </a:lnTo>
                  <a:lnTo>
                    <a:pt x="439229" y="292874"/>
                  </a:lnTo>
                  <a:lnTo>
                    <a:pt x="394931" y="285343"/>
                  </a:lnTo>
                  <a:lnTo>
                    <a:pt x="353034" y="270306"/>
                  </a:lnTo>
                  <a:lnTo>
                    <a:pt x="314325" y="248081"/>
                  </a:lnTo>
                  <a:lnTo>
                    <a:pt x="279641" y="218998"/>
                  </a:lnTo>
                  <a:lnTo>
                    <a:pt x="253682" y="193395"/>
                  </a:lnTo>
                  <a:lnTo>
                    <a:pt x="239318" y="183883"/>
                  </a:lnTo>
                  <a:lnTo>
                    <a:pt x="222923" y="180721"/>
                  </a:lnTo>
                  <a:lnTo>
                    <a:pt x="206540" y="183883"/>
                  </a:lnTo>
                  <a:lnTo>
                    <a:pt x="192176" y="193395"/>
                  </a:lnTo>
                  <a:lnTo>
                    <a:pt x="186080" y="199491"/>
                  </a:lnTo>
                  <a:lnTo>
                    <a:pt x="176149" y="199491"/>
                  </a:lnTo>
                  <a:lnTo>
                    <a:pt x="166560" y="189903"/>
                  </a:lnTo>
                  <a:lnTo>
                    <a:pt x="134239" y="168440"/>
                  </a:lnTo>
                  <a:lnTo>
                    <a:pt x="97485" y="161290"/>
                  </a:lnTo>
                  <a:lnTo>
                    <a:pt x="60718" y="168440"/>
                  </a:lnTo>
                  <a:lnTo>
                    <a:pt x="28397" y="189903"/>
                  </a:lnTo>
                  <a:lnTo>
                    <a:pt x="22225" y="194995"/>
                  </a:lnTo>
                  <a:lnTo>
                    <a:pt x="15316" y="198704"/>
                  </a:lnTo>
                  <a:lnTo>
                    <a:pt x="7848" y="200977"/>
                  </a:lnTo>
                  <a:lnTo>
                    <a:pt x="0" y="201752"/>
                  </a:lnTo>
                  <a:lnTo>
                    <a:pt x="0" y="229628"/>
                  </a:lnTo>
                  <a:lnTo>
                    <a:pt x="13373" y="228307"/>
                  </a:lnTo>
                  <a:lnTo>
                    <a:pt x="26098" y="224447"/>
                  </a:lnTo>
                  <a:lnTo>
                    <a:pt x="37833" y="218160"/>
                  </a:lnTo>
                  <a:lnTo>
                    <a:pt x="48260" y="209588"/>
                  </a:lnTo>
                  <a:lnTo>
                    <a:pt x="71348" y="194310"/>
                  </a:lnTo>
                  <a:lnTo>
                    <a:pt x="97663" y="189204"/>
                  </a:lnTo>
                  <a:lnTo>
                    <a:pt x="123964" y="194310"/>
                  </a:lnTo>
                  <a:lnTo>
                    <a:pt x="147053" y="209588"/>
                  </a:lnTo>
                  <a:lnTo>
                    <a:pt x="150533" y="213080"/>
                  </a:lnTo>
                  <a:lnTo>
                    <a:pt x="164896" y="222580"/>
                  </a:lnTo>
                  <a:lnTo>
                    <a:pt x="181279" y="225755"/>
                  </a:lnTo>
                  <a:lnTo>
                    <a:pt x="197675" y="222580"/>
                  </a:lnTo>
                  <a:lnTo>
                    <a:pt x="212039" y="213080"/>
                  </a:lnTo>
                  <a:lnTo>
                    <a:pt x="218135" y="206984"/>
                  </a:lnTo>
                  <a:lnTo>
                    <a:pt x="228066" y="206984"/>
                  </a:lnTo>
                  <a:lnTo>
                    <a:pt x="259778" y="238683"/>
                  </a:lnTo>
                  <a:lnTo>
                    <a:pt x="300469" y="272491"/>
                  </a:lnTo>
                  <a:lnTo>
                    <a:pt x="346036" y="297815"/>
                  </a:lnTo>
                  <a:lnTo>
                    <a:pt x="395427" y="314223"/>
                  </a:lnTo>
                  <a:lnTo>
                    <a:pt x="447586" y="321271"/>
                  </a:lnTo>
                  <a:lnTo>
                    <a:pt x="451637" y="338721"/>
                  </a:lnTo>
                  <a:lnTo>
                    <a:pt x="454901" y="356336"/>
                  </a:lnTo>
                  <a:lnTo>
                    <a:pt x="457390" y="374142"/>
                  </a:lnTo>
                  <a:lnTo>
                    <a:pt x="459092" y="392188"/>
                  </a:lnTo>
                  <a:lnTo>
                    <a:pt x="486968" y="390271"/>
                  </a:lnTo>
                  <a:close/>
                </a:path>
              </a:pathLst>
            </a:custGeom>
            <a:solidFill>
              <a:srgbClr val="FFFFFF"/>
            </a:solidFill>
          </p:spPr>
          <p:txBody>
            <a:bodyPr wrap="square" lIns="0" tIns="0" rIns="0" bIns="0" rtlCol="0"/>
            <a:lstStyle/>
            <a:p>
              <a:endParaRPr/>
            </a:p>
          </p:txBody>
        </p:sp>
      </p:grpSp>
      <p:sp>
        <p:nvSpPr>
          <p:cNvPr id="15" name="object 15"/>
          <p:cNvSpPr/>
          <p:nvPr/>
        </p:nvSpPr>
        <p:spPr>
          <a:xfrm>
            <a:off x="5283878" y="2864194"/>
            <a:ext cx="3558540" cy="6638925"/>
          </a:xfrm>
          <a:custGeom>
            <a:avLst/>
            <a:gdLst/>
            <a:ahLst/>
            <a:cxnLst/>
            <a:rect l="l" t="t" r="r" b="b"/>
            <a:pathLst>
              <a:path w="3558540" h="6638925">
                <a:moveTo>
                  <a:pt x="3558042" y="6638677"/>
                </a:moveTo>
                <a:lnTo>
                  <a:pt x="0" y="6638677"/>
                </a:lnTo>
                <a:lnTo>
                  <a:pt x="0" y="0"/>
                </a:lnTo>
                <a:lnTo>
                  <a:pt x="3558042" y="0"/>
                </a:lnTo>
                <a:lnTo>
                  <a:pt x="3558042" y="6638677"/>
                </a:lnTo>
                <a:close/>
              </a:path>
            </a:pathLst>
          </a:custGeom>
          <a:solidFill>
            <a:srgbClr val="0090AE"/>
          </a:solidFill>
        </p:spPr>
        <p:txBody>
          <a:bodyPr wrap="square" lIns="0" tIns="0" rIns="0" bIns="0" rtlCol="0"/>
          <a:lstStyle/>
          <a:p>
            <a:endParaRPr/>
          </a:p>
        </p:txBody>
      </p:sp>
      <p:sp>
        <p:nvSpPr>
          <p:cNvPr id="16" name="object 16"/>
          <p:cNvSpPr txBox="1"/>
          <p:nvPr/>
        </p:nvSpPr>
        <p:spPr>
          <a:xfrm>
            <a:off x="5283878" y="2864194"/>
            <a:ext cx="3558540"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478790">
              <a:lnSpc>
                <a:spcPct val="100000"/>
              </a:lnSpc>
            </a:pPr>
            <a:r>
              <a:rPr sz="4600" b="1" spc="675" dirty="0">
                <a:solidFill>
                  <a:srgbClr val="F5A316"/>
                </a:solidFill>
                <a:latin typeface="Arial"/>
                <a:cs typeface="Arial"/>
              </a:rPr>
              <a:t>06</a:t>
            </a:r>
            <a:endParaRPr sz="4600">
              <a:latin typeface="Arial"/>
              <a:cs typeface="Arial"/>
            </a:endParaRPr>
          </a:p>
          <a:p>
            <a:pPr marL="478790">
              <a:lnSpc>
                <a:spcPct val="100000"/>
              </a:lnSpc>
              <a:spcBef>
                <a:spcPts val="530"/>
              </a:spcBef>
            </a:pPr>
            <a:r>
              <a:rPr sz="1850" b="1" spc="75" dirty="0">
                <a:solidFill>
                  <a:srgbClr val="FFFFFF"/>
                </a:solidFill>
                <a:latin typeface="Arial"/>
                <a:cs typeface="Arial"/>
              </a:rPr>
              <a:t>Competencia</a:t>
            </a:r>
            <a:endParaRPr sz="1850">
              <a:latin typeface="Arial"/>
              <a:cs typeface="Arial"/>
            </a:endParaRPr>
          </a:p>
          <a:p>
            <a:pPr marL="478790" marR="355600">
              <a:lnSpc>
                <a:spcPct val="229700"/>
              </a:lnSpc>
              <a:spcBef>
                <a:spcPts val="1880"/>
              </a:spcBef>
            </a:pPr>
            <a:r>
              <a:rPr sz="1850" dirty="0">
                <a:solidFill>
                  <a:srgbClr val="FFFFFF"/>
                </a:solidFill>
                <a:latin typeface="Roboto"/>
                <a:cs typeface="Roboto"/>
              </a:rPr>
              <a:t>Principales</a:t>
            </a:r>
            <a:r>
              <a:rPr sz="1850" spc="-40" dirty="0">
                <a:solidFill>
                  <a:srgbClr val="FFFFFF"/>
                </a:solidFill>
                <a:latin typeface="Roboto"/>
                <a:cs typeface="Roboto"/>
              </a:rPr>
              <a:t> </a:t>
            </a:r>
            <a:r>
              <a:rPr sz="1850" spc="-10" dirty="0">
                <a:solidFill>
                  <a:srgbClr val="FFFFFF"/>
                </a:solidFill>
                <a:latin typeface="Roboto"/>
                <a:cs typeface="Roboto"/>
              </a:rPr>
              <a:t>competidores ARGENTINA</a:t>
            </a:r>
            <a:endParaRPr sz="1850">
              <a:latin typeface="Roboto"/>
              <a:cs typeface="Roboto"/>
            </a:endParaRPr>
          </a:p>
          <a:p>
            <a:pPr marL="478790" marR="1875155">
              <a:lnSpc>
                <a:spcPct val="229700"/>
              </a:lnSpc>
            </a:pPr>
            <a:r>
              <a:rPr sz="1850" spc="-10" dirty="0">
                <a:solidFill>
                  <a:srgbClr val="FFFFFF"/>
                </a:solidFill>
                <a:latin typeface="Roboto"/>
                <a:cs typeface="Roboto"/>
              </a:rPr>
              <a:t>BRASIL COLOMBIA PERÚ.</a:t>
            </a:r>
            <a:endParaRPr sz="1850">
              <a:latin typeface="Roboto"/>
              <a:cs typeface="Roboto"/>
            </a:endParaRPr>
          </a:p>
        </p:txBody>
      </p:sp>
      <p:grpSp>
        <p:nvGrpSpPr>
          <p:cNvPr id="17" name="object 17"/>
          <p:cNvGrpSpPr/>
          <p:nvPr/>
        </p:nvGrpSpPr>
        <p:grpSpPr>
          <a:xfrm>
            <a:off x="7382443" y="3297344"/>
            <a:ext cx="1055370" cy="757555"/>
            <a:chOff x="7382443" y="3297344"/>
            <a:chExt cx="1055370" cy="757555"/>
          </a:xfrm>
        </p:grpSpPr>
        <p:pic>
          <p:nvPicPr>
            <p:cNvPr id="18" name="object 18"/>
            <p:cNvPicPr/>
            <p:nvPr/>
          </p:nvPicPr>
          <p:blipFill>
            <a:blip r:embed="rId4" cstate="print"/>
            <a:stretch>
              <a:fillRect/>
            </a:stretch>
          </p:blipFill>
          <p:spPr>
            <a:xfrm>
              <a:off x="7796270" y="3297344"/>
              <a:ext cx="150120" cy="79728"/>
            </a:xfrm>
            <a:prstGeom prst="rect">
              <a:avLst/>
            </a:prstGeom>
          </p:spPr>
        </p:pic>
        <p:sp>
          <p:nvSpPr>
            <p:cNvPr id="19" name="object 19"/>
            <p:cNvSpPr/>
            <p:nvPr/>
          </p:nvSpPr>
          <p:spPr>
            <a:xfrm>
              <a:off x="7382434" y="3317975"/>
              <a:ext cx="1055370" cy="737235"/>
            </a:xfrm>
            <a:custGeom>
              <a:avLst/>
              <a:gdLst/>
              <a:ahLst/>
              <a:cxnLst/>
              <a:rect l="l" t="t" r="r" b="b"/>
              <a:pathLst>
                <a:path w="1055370" h="737235">
                  <a:moveTo>
                    <a:pt x="357555" y="638962"/>
                  </a:moveTo>
                  <a:lnTo>
                    <a:pt x="186359" y="397738"/>
                  </a:lnTo>
                  <a:lnTo>
                    <a:pt x="13385" y="567486"/>
                  </a:lnTo>
                  <a:lnTo>
                    <a:pt x="1308" y="587286"/>
                  </a:lnTo>
                  <a:lnTo>
                    <a:pt x="0" y="609295"/>
                  </a:lnTo>
                  <a:lnTo>
                    <a:pt x="8750" y="629526"/>
                  </a:lnTo>
                  <a:lnTo>
                    <a:pt x="26847" y="643966"/>
                  </a:lnTo>
                  <a:lnTo>
                    <a:pt x="223304" y="732993"/>
                  </a:lnTo>
                  <a:lnTo>
                    <a:pt x="237185" y="736854"/>
                  </a:lnTo>
                  <a:lnTo>
                    <a:pt x="251269" y="736346"/>
                  </a:lnTo>
                  <a:lnTo>
                    <a:pt x="264579" y="731647"/>
                  </a:lnTo>
                  <a:lnTo>
                    <a:pt x="276098" y="722947"/>
                  </a:lnTo>
                  <a:lnTo>
                    <a:pt x="357555" y="638962"/>
                  </a:lnTo>
                  <a:close/>
                </a:path>
                <a:path w="1055370" h="737235">
                  <a:moveTo>
                    <a:pt x="506730" y="106578"/>
                  </a:moveTo>
                  <a:lnTo>
                    <a:pt x="462026" y="102565"/>
                  </a:lnTo>
                  <a:lnTo>
                    <a:pt x="420801" y="81940"/>
                  </a:lnTo>
                  <a:lnTo>
                    <a:pt x="391299" y="48755"/>
                  </a:lnTo>
                  <a:lnTo>
                    <a:pt x="375462" y="7200"/>
                  </a:lnTo>
                  <a:lnTo>
                    <a:pt x="366814" y="15875"/>
                  </a:lnTo>
                  <a:lnTo>
                    <a:pt x="361162" y="26797"/>
                  </a:lnTo>
                  <a:lnTo>
                    <a:pt x="358762" y="38887"/>
                  </a:lnTo>
                  <a:lnTo>
                    <a:pt x="359867" y="51117"/>
                  </a:lnTo>
                  <a:lnTo>
                    <a:pt x="360451" y="53479"/>
                  </a:lnTo>
                  <a:lnTo>
                    <a:pt x="357962" y="55422"/>
                  </a:lnTo>
                  <a:lnTo>
                    <a:pt x="355803" y="54317"/>
                  </a:lnTo>
                  <a:lnTo>
                    <a:pt x="341439" y="50076"/>
                  </a:lnTo>
                  <a:lnTo>
                    <a:pt x="326351" y="50939"/>
                  </a:lnTo>
                  <a:lnTo>
                    <a:pt x="312432" y="56667"/>
                  </a:lnTo>
                  <a:lnTo>
                    <a:pt x="301548" y="67005"/>
                  </a:lnTo>
                  <a:lnTo>
                    <a:pt x="295859" y="79857"/>
                  </a:lnTo>
                  <a:lnTo>
                    <a:pt x="294881" y="93941"/>
                  </a:lnTo>
                  <a:lnTo>
                    <a:pt x="298259" y="107721"/>
                  </a:lnTo>
                  <a:lnTo>
                    <a:pt x="305663" y="119697"/>
                  </a:lnTo>
                  <a:lnTo>
                    <a:pt x="307403" y="121653"/>
                  </a:lnTo>
                  <a:lnTo>
                    <a:pt x="305752" y="124675"/>
                  </a:lnTo>
                  <a:lnTo>
                    <a:pt x="303149" y="124371"/>
                  </a:lnTo>
                  <a:lnTo>
                    <a:pt x="295630" y="124040"/>
                  </a:lnTo>
                  <a:lnTo>
                    <a:pt x="288150" y="124891"/>
                  </a:lnTo>
                  <a:lnTo>
                    <a:pt x="255651" y="155308"/>
                  </a:lnTo>
                  <a:lnTo>
                    <a:pt x="254558" y="165849"/>
                  </a:lnTo>
                  <a:lnTo>
                    <a:pt x="256819" y="177330"/>
                  </a:lnTo>
                  <a:lnTo>
                    <a:pt x="261962" y="187807"/>
                  </a:lnTo>
                  <a:lnTo>
                    <a:pt x="269201" y="197408"/>
                  </a:lnTo>
                  <a:lnTo>
                    <a:pt x="277749" y="206235"/>
                  </a:lnTo>
                  <a:lnTo>
                    <a:pt x="279806" y="208178"/>
                  </a:lnTo>
                  <a:lnTo>
                    <a:pt x="278091" y="211569"/>
                  </a:lnTo>
                  <a:lnTo>
                    <a:pt x="275310" y="211162"/>
                  </a:lnTo>
                  <a:lnTo>
                    <a:pt x="265950" y="210781"/>
                  </a:lnTo>
                  <a:lnTo>
                    <a:pt x="256743" y="212344"/>
                  </a:lnTo>
                  <a:lnTo>
                    <a:pt x="228066" y="242430"/>
                  </a:lnTo>
                  <a:lnTo>
                    <a:pt x="227063" y="254812"/>
                  </a:lnTo>
                  <a:lnTo>
                    <a:pt x="229958" y="266877"/>
                  </a:lnTo>
                  <a:lnTo>
                    <a:pt x="284835" y="328028"/>
                  </a:lnTo>
                  <a:lnTo>
                    <a:pt x="316255" y="351256"/>
                  </a:lnTo>
                  <a:lnTo>
                    <a:pt x="329819" y="353009"/>
                  </a:lnTo>
                  <a:lnTo>
                    <a:pt x="343242" y="350164"/>
                  </a:lnTo>
                  <a:lnTo>
                    <a:pt x="355104" y="343255"/>
                  </a:lnTo>
                  <a:lnTo>
                    <a:pt x="364007" y="332841"/>
                  </a:lnTo>
                  <a:lnTo>
                    <a:pt x="368604" y="319913"/>
                  </a:lnTo>
                  <a:lnTo>
                    <a:pt x="368693" y="306146"/>
                  </a:lnTo>
                  <a:lnTo>
                    <a:pt x="364502" y="293027"/>
                  </a:lnTo>
                  <a:lnTo>
                    <a:pt x="356247" y="282079"/>
                  </a:lnTo>
                  <a:lnTo>
                    <a:pt x="363093" y="286016"/>
                  </a:lnTo>
                  <a:lnTo>
                    <a:pt x="370827" y="287693"/>
                  </a:lnTo>
                  <a:lnTo>
                    <a:pt x="378891" y="287350"/>
                  </a:lnTo>
                  <a:lnTo>
                    <a:pt x="386702" y="285242"/>
                  </a:lnTo>
                  <a:lnTo>
                    <a:pt x="413385" y="255905"/>
                  </a:lnTo>
                  <a:lnTo>
                    <a:pt x="415023" y="245770"/>
                  </a:lnTo>
                  <a:lnTo>
                    <a:pt x="414324" y="235534"/>
                  </a:lnTo>
                  <a:lnTo>
                    <a:pt x="411378" y="225704"/>
                  </a:lnTo>
                  <a:lnTo>
                    <a:pt x="406273" y="216801"/>
                  </a:lnTo>
                  <a:lnTo>
                    <a:pt x="420370" y="219036"/>
                  </a:lnTo>
                  <a:lnTo>
                    <a:pt x="456501" y="198818"/>
                  </a:lnTo>
                  <a:lnTo>
                    <a:pt x="461619" y="172161"/>
                  </a:lnTo>
                  <a:lnTo>
                    <a:pt x="457784" y="159283"/>
                  </a:lnTo>
                  <a:lnTo>
                    <a:pt x="451294" y="147154"/>
                  </a:lnTo>
                  <a:lnTo>
                    <a:pt x="460756" y="149313"/>
                  </a:lnTo>
                  <a:lnTo>
                    <a:pt x="495960" y="134289"/>
                  </a:lnTo>
                  <a:lnTo>
                    <a:pt x="505307" y="116560"/>
                  </a:lnTo>
                  <a:lnTo>
                    <a:pt x="506730" y="106578"/>
                  </a:lnTo>
                  <a:close/>
                </a:path>
                <a:path w="1055370" h="737235">
                  <a:moveTo>
                    <a:pt x="795959" y="270865"/>
                  </a:moveTo>
                  <a:lnTo>
                    <a:pt x="782002" y="232486"/>
                  </a:lnTo>
                  <a:lnTo>
                    <a:pt x="756907" y="225183"/>
                  </a:lnTo>
                  <a:lnTo>
                    <a:pt x="744067" y="226593"/>
                  </a:lnTo>
                  <a:lnTo>
                    <a:pt x="742251" y="227050"/>
                  </a:lnTo>
                  <a:lnTo>
                    <a:pt x="740968" y="224853"/>
                  </a:lnTo>
                  <a:lnTo>
                    <a:pt x="747102" y="218262"/>
                  </a:lnTo>
                  <a:lnTo>
                    <a:pt x="752462" y="213702"/>
                  </a:lnTo>
                  <a:lnTo>
                    <a:pt x="756412" y="207708"/>
                  </a:lnTo>
                  <a:lnTo>
                    <a:pt x="761555" y="197218"/>
                  </a:lnTo>
                  <a:lnTo>
                    <a:pt x="764006" y="185750"/>
                  </a:lnTo>
                  <a:lnTo>
                    <a:pt x="763473" y="174142"/>
                  </a:lnTo>
                  <a:lnTo>
                    <a:pt x="732739" y="143370"/>
                  </a:lnTo>
                  <a:lnTo>
                    <a:pt x="723988" y="143268"/>
                  </a:lnTo>
                  <a:lnTo>
                    <a:pt x="714946" y="144246"/>
                  </a:lnTo>
                  <a:lnTo>
                    <a:pt x="706767" y="145732"/>
                  </a:lnTo>
                  <a:lnTo>
                    <a:pt x="704723" y="146189"/>
                  </a:lnTo>
                  <a:lnTo>
                    <a:pt x="703465" y="143548"/>
                  </a:lnTo>
                  <a:lnTo>
                    <a:pt x="727544" y="110223"/>
                  </a:lnTo>
                  <a:lnTo>
                    <a:pt x="727951" y="98158"/>
                  </a:lnTo>
                  <a:lnTo>
                    <a:pt x="725055" y="86499"/>
                  </a:lnTo>
                  <a:lnTo>
                    <a:pt x="692289" y="61747"/>
                  </a:lnTo>
                  <a:lnTo>
                    <a:pt x="681888" y="61518"/>
                  </a:lnTo>
                  <a:lnTo>
                    <a:pt x="677011" y="61950"/>
                  </a:lnTo>
                  <a:lnTo>
                    <a:pt x="668540" y="65532"/>
                  </a:lnTo>
                  <a:lnTo>
                    <a:pt x="659638" y="69710"/>
                  </a:lnTo>
                  <a:lnTo>
                    <a:pt x="656971" y="67094"/>
                  </a:lnTo>
                  <a:lnTo>
                    <a:pt x="658114" y="64490"/>
                  </a:lnTo>
                  <a:lnTo>
                    <a:pt x="663041" y="48768"/>
                  </a:lnTo>
                  <a:lnTo>
                    <a:pt x="663473" y="33223"/>
                  </a:lnTo>
                  <a:lnTo>
                    <a:pt x="658393" y="19037"/>
                  </a:lnTo>
                  <a:lnTo>
                    <a:pt x="646785" y="7353"/>
                  </a:lnTo>
                  <a:lnTo>
                    <a:pt x="633920" y="1587"/>
                  </a:lnTo>
                  <a:lnTo>
                    <a:pt x="620052" y="0"/>
                  </a:lnTo>
                  <a:lnTo>
                    <a:pt x="606272" y="2400"/>
                  </a:lnTo>
                  <a:lnTo>
                    <a:pt x="593610" y="8597"/>
                  </a:lnTo>
                  <a:lnTo>
                    <a:pt x="532282" y="50546"/>
                  </a:lnTo>
                  <a:lnTo>
                    <a:pt x="531228" y="56032"/>
                  </a:lnTo>
                  <a:lnTo>
                    <a:pt x="533882" y="60032"/>
                  </a:lnTo>
                  <a:lnTo>
                    <a:pt x="541223" y="73406"/>
                  </a:lnTo>
                  <a:lnTo>
                    <a:pt x="545922" y="87680"/>
                  </a:lnTo>
                  <a:lnTo>
                    <a:pt x="547979" y="102438"/>
                  </a:lnTo>
                  <a:lnTo>
                    <a:pt x="547382" y="117297"/>
                  </a:lnTo>
                  <a:lnTo>
                    <a:pt x="532930" y="154597"/>
                  </a:lnTo>
                  <a:lnTo>
                    <a:pt x="504190" y="179997"/>
                  </a:lnTo>
                  <a:lnTo>
                    <a:pt x="502297" y="195084"/>
                  </a:lnTo>
                  <a:lnTo>
                    <a:pt x="480085" y="235775"/>
                  </a:lnTo>
                  <a:lnTo>
                    <a:pt x="457161" y="252006"/>
                  </a:lnTo>
                  <a:lnTo>
                    <a:pt x="454736" y="265899"/>
                  </a:lnTo>
                  <a:lnTo>
                    <a:pt x="433311" y="303250"/>
                  </a:lnTo>
                  <a:lnTo>
                    <a:pt x="410387" y="319506"/>
                  </a:lnTo>
                  <a:lnTo>
                    <a:pt x="407962" y="333387"/>
                  </a:lnTo>
                  <a:lnTo>
                    <a:pt x="386549" y="370776"/>
                  </a:lnTo>
                  <a:lnTo>
                    <a:pt x="352209" y="391477"/>
                  </a:lnTo>
                  <a:lnTo>
                    <a:pt x="328091" y="395033"/>
                  </a:lnTo>
                  <a:lnTo>
                    <a:pt x="311823" y="393446"/>
                  </a:lnTo>
                  <a:lnTo>
                    <a:pt x="296430" y="388772"/>
                  </a:lnTo>
                  <a:lnTo>
                    <a:pt x="282244" y="381165"/>
                  </a:lnTo>
                  <a:lnTo>
                    <a:pt x="269646" y="370776"/>
                  </a:lnTo>
                  <a:lnTo>
                    <a:pt x="244830" y="345833"/>
                  </a:lnTo>
                  <a:lnTo>
                    <a:pt x="242735" y="355790"/>
                  </a:lnTo>
                  <a:lnTo>
                    <a:pt x="239369" y="368109"/>
                  </a:lnTo>
                  <a:lnTo>
                    <a:pt x="235991" y="379133"/>
                  </a:lnTo>
                  <a:lnTo>
                    <a:pt x="233845" y="385241"/>
                  </a:lnTo>
                  <a:lnTo>
                    <a:pt x="375196" y="584390"/>
                  </a:lnTo>
                  <a:lnTo>
                    <a:pt x="387324" y="574992"/>
                  </a:lnTo>
                  <a:lnTo>
                    <a:pt x="399249" y="565289"/>
                  </a:lnTo>
                  <a:lnTo>
                    <a:pt x="411848" y="556717"/>
                  </a:lnTo>
                  <a:lnTo>
                    <a:pt x="426008" y="550722"/>
                  </a:lnTo>
                  <a:lnTo>
                    <a:pt x="451751" y="542836"/>
                  </a:lnTo>
                  <a:lnTo>
                    <a:pt x="476338" y="533806"/>
                  </a:lnTo>
                  <a:lnTo>
                    <a:pt x="524687" y="511886"/>
                  </a:lnTo>
                  <a:lnTo>
                    <a:pt x="564007" y="490080"/>
                  </a:lnTo>
                  <a:lnTo>
                    <a:pt x="603542" y="463638"/>
                  </a:lnTo>
                  <a:lnTo>
                    <a:pt x="665949" y="412838"/>
                  </a:lnTo>
                  <a:lnTo>
                    <a:pt x="707694" y="374154"/>
                  </a:lnTo>
                  <a:lnTo>
                    <a:pt x="748322" y="334289"/>
                  </a:lnTo>
                  <a:lnTo>
                    <a:pt x="783894" y="297751"/>
                  </a:lnTo>
                  <a:lnTo>
                    <a:pt x="792060" y="285369"/>
                  </a:lnTo>
                  <a:lnTo>
                    <a:pt x="795959" y="270865"/>
                  </a:lnTo>
                  <a:close/>
                </a:path>
                <a:path w="1055370" h="737235">
                  <a:moveTo>
                    <a:pt x="827633" y="391464"/>
                  </a:moveTo>
                  <a:lnTo>
                    <a:pt x="816914" y="354190"/>
                  </a:lnTo>
                  <a:lnTo>
                    <a:pt x="814438" y="325729"/>
                  </a:lnTo>
                  <a:lnTo>
                    <a:pt x="776389" y="364820"/>
                  </a:lnTo>
                  <a:lnTo>
                    <a:pt x="734733" y="405638"/>
                  </a:lnTo>
                  <a:lnTo>
                    <a:pt x="692302" y="444855"/>
                  </a:lnTo>
                  <a:lnTo>
                    <a:pt x="652602" y="478421"/>
                  </a:lnTo>
                  <a:lnTo>
                    <a:pt x="619252" y="503351"/>
                  </a:lnTo>
                  <a:lnTo>
                    <a:pt x="583057" y="527024"/>
                  </a:lnTo>
                  <a:lnTo>
                    <a:pt x="570966" y="534136"/>
                  </a:lnTo>
                  <a:lnTo>
                    <a:pt x="586562" y="540600"/>
                  </a:lnTo>
                  <a:lnTo>
                    <a:pt x="602386" y="546544"/>
                  </a:lnTo>
                  <a:lnTo>
                    <a:pt x="618617" y="551980"/>
                  </a:lnTo>
                  <a:lnTo>
                    <a:pt x="635444" y="556945"/>
                  </a:lnTo>
                  <a:lnTo>
                    <a:pt x="649605" y="562940"/>
                  </a:lnTo>
                  <a:lnTo>
                    <a:pt x="662216" y="571512"/>
                  </a:lnTo>
                  <a:lnTo>
                    <a:pt x="674141" y="581215"/>
                  </a:lnTo>
                  <a:lnTo>
                    <a:pt x="686269" y="590613"/>
                  </a:lnTo>
                  <a:lnTo>
                    <a:pt x="827633" y="391464"/>
                  </a:lnTo>
                  <a:close/>
                </a:path>
                <a:path w="1055370" h="737235">
                  <a:moveTo>
                    <a:pt x="1055128" y="609307"/>
                  </a:moveTo>
                  <a:lnTo>
                    <a:pt x="1053820" y="587298"/>
                  </a:lnTo>
                  <a:lnTo>
                    <a:pt x="1041755" y="567512"/>
                  </a:lnTo>
                  <a:lnTo>
                    <a:pt x="875118" y="403948"/>
                  </a:lnTo>
                  <a:lnTo>
                    <a:pt x="703897" y="645185"/>
                  </a:lnTo>
                  <a:lnTo>
                    <a:pt x="779310" y="722947"/>
                  </a:lnTo>
                  <a:lnTo>
                    <a:pt x="790829" y="731647"/>
                  </a:lnTo>
                  <a:lnTo>
                    <a:pt x="804138" y="736346"/>
                  </a:lnTo>
                  <a:lnTo>
                    <a:pt x="818222" y="736854"/>
                  </a:lnTo>
                  <a:lnTo>
                    <a:pt x="832129" y="732993"/>
                  </a:lnTo>
                  <a:lnTo>
                    <a:pt x="1028293" y="643991"/>
                  </a:lnTo>
                  <a:lnTo>
                    <a:pt x="1046391" y="629539"/>
                  </a:lnTo>
                  <a:lnTo>
                    <a:pt x="1055128" y="609307"/>
                  </a:lnTo>
                  <a:close/>
                </a:path>
              </a:pathLst>
            </a:custGeom>
            <a:solidFill>
              <a:srgbClr val="FFFFFF"/>
            </a:solidFill>
          </p:spPr>
          <p:txBody>
            <a:bodyPr wrap="square" lIns="0" tIns="0" rIns="0" bIns="0" rtlCol="0"/>
            <a:lstStyle/>
            <a:p>
              <a:endParaRPr/>
            </a:p>
          </p:txBody>
        </p:sp>
      </p:grpSp>
      <p:pic>
        <p:nvPicPr>
          <p:cNvPr id="20" name="object 20"/>
          <p:cNvPicPr/>
          <p:nvPr/>
        </p:nvPicPr>
        <p:blipFill>
          <a:blip r:embed="rId5" cstate="print"/>
          <a:stretch>
            <a:fillRect/>
          </a:stretch>
        </p:blipFill>
        <p:spPr>
          <a:xfrm>
            <a:off x="17316450" y="237496"/>
            <a:ext cx="742949" cy="819149"/>
          </a:xfrm>
          <a:prstGeom prst="rect">
            <a:avLst/>
          </a:prstGeom>
        </p:spPr>
      </p:pic>
      <p:sp>
        <p:nvSpPr>
          <p:cNvPr id="21" name="object 21"/>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22" name="object 22"/>
          <p:cNvSpPr txBox="1"/>
          <p:nvPr/>
        </p:nvSpPr>
        <p:spPr>
          <a:xfrm>
            <a:off x="17811802" y="9932972"/>
            <a:ext cx="218440"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2</a:t>
            </a:r>
            <a:endParaRPr sz="900">
              <a:latin typeface="Arial"/>
              <a:cs typeface="Aria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sp>
        <p:nvSpPr>
          <p:cNvPr id="3" name="object 3"/>
          <p:cNvSpPr txBox="1"/>
          <p:nvPr/>
        </p:nvSpPr>
        <p:spPr>
          <a:xfrm>
            <a:off x="637985" y="384149"/>
            <a:ext cx="615251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1.</a:t>
            </a:r>
            <a:r>
              <a:rPr sz="3000" spc="-114" dirty="0">
                <a:solidFill>
                  <a:srgbClr val="FFFFFF"/>
                </a:solidFill>
                <a:latin typeface="Roboto"/>
                <a:cs typeface="Roboto"/>
              </a:rPr>
              <a:t> </a:t>
            </a:r>
            <a:r>
              <a:rPr sz="3000" spc="-30" dirty="0">
                <a:solidFill>
                  <a:srgbClr val="FFFFFF"/>
                </a:solidFill>
                <a:latin typeface="Roboto"/>
                <a:cs typeface="Roboto"/>
              </a:rPr>
              <a:t>Situación</a:t>
            </a:r>
            <a:r>
              <a:rPr sz="3000" spc="-110" dirty="0">
                <a:solidFill>
                  <a:srgbClr val="FFFFFF"/>
                </a:solidFill>
                <a:latin typeface="Roboto"/>
                <a:cs typeface="Roboto"/>
              </a:rPr>
              <a:t> </a:t>
            </a:r>
            <a:r>
              <a:rPr sz="3000" spc="-20" dirty="0">
                <a:solidFill>
                  <a:srgbClr val="FFFFFF"/>
                </a:solidFill>
                <a:latin typeface="Roboto"/>
                <a:cs typeface="Roboto"/>
              </a:rPr>
              <a:t>actual</a:t>
            </a:r>
            <a:r>
              <a:rPr sz="3000" spc="-110" dirty="0">
                <a:solidFill>
                  <a:srgbClr val="FFFFFF"/>
                </a:solidFill>
                <a:latin typeface="Roboto"/>
                <a:cs typeface="Roboto"/>
              </a:rPr>
              <a:t> </a:t>
            </a:r>
            <a:r>
              <a:rPr sz="3000" dirty="0">
                <a:solidFill>
                  <a:srgbClr val="FFFFFF"/>
                </a:solidFill>
                <a:latin typeface="Roboto"/>
                <a:cs typeface="Roboto"/>
              </a:rPr>
              <a:t>segmento</a:t>
            </a:r>
            <a:r>
              <a:rPr sz="3000" spc="-110" dirty="0">
                <a:solidFill>
                  <a:srgbClr val="FFFFFF"/>
                </a:solidFill>
                <a:latin typeface="Roboto"/>
                <a:cs typeface="Roboto"/>
              </a:rPr>
              <a:t> </a:t>
            </a:r>
            <a:r>
              <a:rPr sz="3000" spc="-20" dirty="0">
                <a:solidFill>
                  <a:srgbClr val="FFFFFF"/>
                </a:solidFill>
                <a:latin typeface="Roboto"/>
                <a:cs typeface="Roboto"/>
              </a:rPr>
              <a:t>MICE</a:t>
            </a:r>
            <a:endParaRPr sz="3000">
              <a:latin typeface="Roboto"/>
              <a:cs typeface="Roboto"/>
            </a:endParaRPr>
          </a:p>
        </p:txBody>
      </p:sp>
      <p:sp>
        <p:nvSpPr>
          <p:cNvPr id="4" name="object 4"/>
          <p:cNvSpPr txBox="1">
            <a:spLocks noGrp="1"/>
          </p:cNvSpPr>
          <p:nvPr>
            <p:ph type="title"/>
          </p:nvPr>
        </p:nvSpPr>
        <p:spPr>
          <a:xfrm>
            <a:off x="4882646" y="1854014"/>
            <a:ext cx="8481060" cy="643890"/>
          </a:xfrm>
          <a:prstGeom prst="rect">
            <a:avLst/>
          </a:prstGeom>
        </p:spPr>
        <p:txBody>
          <a:bodyPr vert="horz" wrap="square" lIns="0" tIns="13335" rIns="0" bIns="0" rtlCol="0">
            <a:spAutoFit/>
          </a:bodyPr>
          <a:lstStyle/>
          <a:p>
            <a:pPr marL="12700">
              <a:lnSpc>
                <a:spcPct val="100000"/>
              </a:lnSpc>
              <a:spcBef>
                <a:spcPts val="105"/>
              </a:spcBef>
            </a:pPr>
            <a:r>
              <a:rPr sz="4050" spc="-25" dirty="0">
                <a:solidFill>
                  <a:srgbClr val="E3112B"/>
                </a:solidFill>
              </a:rPr>
              <a:t>Puntos</a:t>
            </a:r>
            <a:r>
              <a:rPr sz="4050" spc="-170" dirty="0">
                <a:solidFill>
                  <a:srgbClr val="E3112B"/>
                </a:solidFill>
              </a:rPr>
              <a:t> </a:t>
            </a:r>
            <a:r>
              <a:rPr sz="4050" dirty="0">
                <a:solidFill>
                  <a:srgbClr val="E3112B"/>
                </a:solidFill>
              </a:rPr>
              <a:t>clave</a:t>
            </a:r>
            <a:r>
              <a:rPr sz="4050" spc="-165" dirty="0">
                <a:solidFill>
                  <a:srgbClr val="E3112B"/>
                </a:solidFill>
              </a:rPr>
              <a:t> </a:t>
            </a:r>
            <a:r>
              <a:rPr sz="4050" dirty="0">
                <a:solidFill>
                  <a:srgbClr val="E3112B"/>
                </a:solidFill>
              </a:rPr>
              <a:t>del</a:t>
            </a:r>
            <a:r>
              <a:rPr sz="4050" spc="-170" dirty="0">
                <a:solidFill>
                  <a:srgbClr val="E3112B"/>
                </a:solidFill>
              </a:rPr>
              <a:t> </a:t>
            </a:r>
            <a:r>
              <a:rPr sz="4050" dirty="0">
                <a:solidFill>
                  <a:srgbClr val="E3112B"/>
                </a:solidFill>
              </a:rPr>
              <a:t>sector</a:t>
            </a:r>
            <a:r>
              <a:rPr sz="4050" spc="-165" dirty="0">
                <a:solidFill>
                  <a:srgbClr val="E3112B"/>
                </a:solidFill>
              </a:rPr>
              <a:t> </a:t>
            </a:r>
            <a:r>
              <a:rPr sz="4050" dirty="0">
                <a:solidFill>
                  <a:srgbClr val="E3112B"/>
                </a:solidFill>
              </a:rPr>
              <a:t>MICE</a:t>
            </a:r>
            <a:r>
              <a:rPr sz="4050" spc="-170" dirty="0">
                <a:solidFill>
                  <a:srgbClr val="E3112B"/>
                </a:solidFill>
              </a:rPr>
              <a:t> </a:t>
            </a:r>
            <a:r>
              <a:rPr sz="4050" spc="-10" dirty="0">
                <a:solidFill>
                  <a:srgbClr val="E3112B"/>
                </a:solidFill>
              </a:rPr>
              <a:t>chileno</a:t>
            </a:r>
            <a:endParaRPr sz="4050"/>
          </a:p>
        </p:txBody>
      </p:sp>
      <p:grpSp>
        <p:nvGrpSpPr>
          <p:cNvPr id="5" name="object 5"/>
          <p:cNvGrpSpPr/>
          <p:nvPr/>
        </p:nvGrpSpPr>
        <p:grpSpPr>
          <a:xfrm>
            <a:off x="1636038" y="2864192"/>
            <a:ext cx="3459479" cy="6638925"/>
            <a:chOff x="1636038" y="2864192"/>
            <a:chExt cx="3459479" cy="6638925"/>
          </a:xfrm>
        </p:grpSpPr>
        <p:sp>
          <p:nvSpPr>
            <p:cNvPr id="6" name="object 6"/>
            <p:cNvSpPr/>
            <p:nvPr/>
          </p:nvSpPr>
          <p:spPr>
            <a:xfrm>
              <a:off x="1636038" y="2864192"/>
              <a:ext cx="3459479" cy="6638925"/>
            </a:xfrm>
            <a:custGeom>
              <a:avLst/>
              <a:gdLst/>
              <a:ahLst/>
              <a:cxnLst/>
              <a:rect l="l" t="t" r="r" b="b"/>
              <a:pathLst>
                <a:path w="3459479" h="6638925">
                  <a:moveTo>
                    <a:pt x="3458958" y="6638677"/>
                  </a:moveTo>
                  <a:lnTo>
                    <a:pt x="0" y="6638677"/>
                  </a:lnTo>
                  <a:lnTo>
                    <a:pt x="0" y="0"/>
                  </a:lnTo>
                  <a:lnTo>
                    <a:pt x="3458958" y="0"/>
                  </a:lnTo>
                  <a:lnTo>
                    <a:pt x="3458958" y="6638677"/>
                  </a:lnTo>
                  <a:close/>
                </a:path>
              </a:pathLst>
            </a:custGeom>
            <a:solidFill>
              <a:srgbClr val="0090AE"/>
            </a:solidFill>
          </p:spPr>
          <p:txBody>
            <a:bodyPr wrap="square" lIns="0" tIns="0" rIns="0" bIns="0" rtlCol="0"/>
            <a:lstStyle/>
            <a:p>
              <a:endParaRPr/>
            </a:p>
          </p:txBody>
        </p:sp>
        <p:pic>
          <p:nvPicPr>
            <p:cNvPr id="7" name="object 7"/>
            <p:cNvPicPr/>
            <p:nvPr/>
          </p:nvPicPr>
          <p:blipFill>
            <a:blip r:embed="rId2" cstate="print"/>
            <a:stretch>
              <a:fillRect/>
            </a:stretch>
          </p:blipFill>
          <p:spPr>
            <a:xfrm>
              <a:off x="2222342" y="5121710"/>
              <a:ext cx="66675" cy="66674"/>
            </a:xfrm>
            <a:prstGeom prst="rect">
              <a:avLst/>
            </a:prstGeom>
          </p:spPr>
        </p:pic>
        <p:pic>
          <p:nvPicPr>
            <p:cNvPr id="8" name="object 8"/>
            <p:cNvPicPr/>
            <p:nvPr/>
          </p:nvPicPr>
          <p:blipFill>
            <a:blip r:embed="rId2" cstate="print"/>
            <a:stretch>
              <a:fillRect/>
            </a:stretch>
          </p:blipFill>
          <p:spPr>
            <a:xfrm>
              <a:off x="2222342" y="6188510"/>
              <a:ext cx="66675" cy="66674"/>
            </a:xfrm>
            <a:prstGeom prst="rect">
              <a:avLst/>
            </a:prstGeom>
          </p:spPr>
        </p:pic>
        <p:pic>
          <p:nvPicPr>
            <p:cNvPr id="9" name="object 9"/>
            <p:cNvPicPr/>
            <p:nvPr/>
          </p:nvPicPr>
          <p:blipFill>
            <a:blip r:embed="rId2" cstate="print"/>
            <a:stretch>
              <a:fillRect/>
            </a:stretch>
          </p:blipFill>
          <p:spPr>
            <a:xfrm>
              <a:off x="2222342" y="7522010"/>
              <a:ext cx="66675" cy="66674"/>
            </a:xfrm>
            <a:prstGeom prst="rect">
              <a:avLst/>
            </a:prstGeom>
          </p:spPr>
        </p:pic>
        <p:pic>
          <p:nvPicPr>
            <p:cNvPr id="10" name="object 10"/>
            <p:cNvPicPr/>
            <p:nvPr/>
          </p:nvPicPr>
          <p:blipFill>
            <a:blip r:embed="rId2" cstate="print"/>
            <a:stretch>
              <a:fillRect/>
            </a:stretch>
          </p:blipFill>
          <p:spPr>
            <a:xfrm>
              <a:off x="2222342" y="8588810"/>
              <a:ext cx="66675" cy="66674"/>
            </a:xfrm>
            <a:prstGeom prst="rect">
              <a:avLst/>
            </a:prstGeom>
          </p:spPr>
        </p:pic>
      </p:grpSp>
      <p:sp>
        <p:nvSpPr>
          <p:cNvPr id="11" name="object 11"/>
          <p:cNvSpPr txBox="1"/>
          <p:nvPr/>
        </p:nvSpPr>
        <p:spPr>
          <a:xfrm>
            <a:off x="1636038" y="2864192"/>
            <a:ext cx="3459479"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395605">
              <a:lnSpc>
                <a:spcPct val="100000"/>
              </a:lnSpc>
            </a:pPr>
            <a:r>
              <a:rPr sz="4600" b="1" spc="575" dirty="0">
                <a:solidFill>
                  <a:srgbClr val="F5A316"/>
                </a:solidFill>
                <a:latin typeface="Arial"/>
                <a:cs typeface="Arial"/>
              </a:rPr>
              <a:t>05</a:t>
            </a:r>
            <a:endParaRPr sz="4600">
              <a:latin typeface="Arial"/>
              <a:cs typeface="Arial"/>
            </a:endParaRPr>
          </a:p>
          <a:p>
            <a:pPr marL="395605">
              <a:lnSpc>
                <a:spcPct val="100000"/>
              </a:lnSpc>
              <a:spcBef>
                <a:spcPts val="305"/>
              </a:spcBef>
            </a:pPr>
            <a:r>
              <a:rPr sz="1850" b="1" spc="145" dirty="0">
                <a:solidFill>
                  <a:srgbClr val="FFFFFF"/>
                </a:solidFill>
                <a:latin typeface="Arial"/>
                <a:cs typeface="Arial"/>
              </a:rPr>
              <a:t>Oferta</a:t>
            </a:r>
            <a:r>
              <a:rPr sz="1850" b="1" spc="90" dirty="0">
                <a:solidFill>
                  <a:srgbClr val="FFFFFF"/>
                </a:solidFill>
                <a:latin typeface="Arial"/>
                <a:cs typeface="Arial"/>
              </a:rPr>
              <a:t> </a:t>
            </a:r>
            <a:r>
              <a:rPr sz="1850" b="1" spc="140" dirty="0">
                <a:solidFill>
                  <a:srgbClr val="FFFFFF"/>
                </a:solidFill>
                <a:latin typeface="Arial"/>
                <a:cs typeface="Arial"/>
              </a:rPr>
              <a:t>y</a:t>
            </a:r>
            <a:r>
              <a:rPr sz="1850" b="1" spc="95" dirty="0">
                <a:solidFill>
                  <a:srgbClr val="FFFFFF"/>
                </a:solidFill>
                <a:latin typeface="Arial"/>
                <a:cs typeface="Arial"/>
              </a:rPr>
              <a:t> </a:t>
            </a:r>
            <a:r>
              <a:rPr sz="1850" b="1" dirty="0">
                <a:solidFill>
                  <a:srgbClr val="FFFFFF"/>
                </a:solidFill>
                <a:latin typeface="Arial"/>
                <a:cs typeface="Arial"/>
              </a:rPr>
              <a:t>destinos</a:t>
            </a:r>
            <a:r>
              <a:rPr sz="1850" b="1" spc="95" dirty="0">
                <a:solidFill>
                  <a:srgbClr val="FFFFFF"/>
                </a:solidFill>
                <a:latin typeface="Arial"/>
                <a:cs typeface="Arial"/>
              </a:rPr>
              <a:t> </a:t>
            </a:r>
            <a:r>
              <a:rPr sz="1850" b="1" spc="-20" dirty="0">
                <a:solidFill>
                  <a:srgbClr val="FFFFFF"/>
                </a:solidFill>
                <a:latin typeface="Arial"/>
                <a:cs typeface="Arial"/>
              </a:rPr>
              <a:t>MICE</a:t>
            </a:r>
            <a:endParaRPr sz="1850">
              <a:latin typeface="Arial"/>
              <a:cs typeface="Arial"/>
            </a:endParaRPr>
          </a:p>
          <a:p>
            <a:pPr>
              <a:lnSpc>
                <a:spcPct val="100000"/>
              </a:lnSpc>
              <a:spcBef>
                <a:spcPts val="35"/>
              </a:spcBef>
            </a:pPr>
            <a:endParaRPr sz="2300">
              <a:latin typeface="Arial"/>
              <a:cs typeface="Arial"/>
            </a:endParaRPr>
          </a:p>
          <a:p>
            <a:pPr marL="781685" marR="307975">
              <a:lnSpc>
                <a:spcPct val="100000"/>
              </a:lnSpc>
            </a:pPr>
            <a:r>
              <a:rPr sz="1750" dirty="0">
                <a:solidFill>
                  <a:srgbClr val="FFFFFF"/>
                </a:solidFill>
                <a:latin typeface="Roboto"/>
                <a:cs typeface="Roboto"/>
              </a:rPr>
              <a:t>Gran</a:t>
            </a:r>
            <a:r>
              <a:rPr sz="1750" spc="95" dirty="0">
                <a:solidFill>
                  <a:srgbClr val="FFFFFF"/>
                </a:solidFill>
                <a:latin typeface="Roboto"/>
                <a:cs typeface="Roboto"/>
              </a:rPr>
              <a:t> </a:t>
            </a:r>
            <a:r>
              <a:rPr sz="1750" b="1" dirty="0">
                <a:solidFill>
                  <a:srgbClr val="FFFFFF"/>
                </a:solidFill>
                <a:latin typeface="Roboto"/>
                <a:cs typeface="Roboto"/>
              </a:rPr>
              <a:t>variedad</a:t>
            </a:r>
            <a:r>
              <a:rPr sz="1750" b="1" spc="100" dirty="0">
                <a:solidFill>
                  <a:srgbClr val="FFFFFF"/>
                </a:solidFill>
                <a:latin typeface="Roboto"/>
                <a:cs typeface="Roboto"/>
              </a:rPr>
              <a:t> </a:t>
            </a:r>
            <a:r>
              <a:rPr sz="1750" spc="-25" dirty="0">
                <a:solidFill>
                  <a:srgbClr val="FFFFFF"/>
                </a:solidFill>
                <a:latin typeface="Roboto"/>
                <a:cs typeface="Roboto"/>
              </a:rPr>
              <a:t>de </a:t>
            </a:r>
            <a:r>
              <a:rPr sz="1750" dirty="0">
                <a:solidFill>
                  <a:srgbClr val="FFFFFF"/>
                </a:solidFill>
                <a:latin typeface="Roboto"/>
                <a:cs typeface="Roboto"/>
              </a:rPr>
              <a:t>destinos</a:t>
            </a:r>
            <a:r>
              <a:rPr sz="1750" spc="-10" dirty="0">
                <a:solidFill>
                  <a:srgbClr val="FFFFFF"/>
                </a:solidFill>
                <a:latin typeface="Roboto"/>
                <a:cs typeface="Roboto"/>
              </a:rPr>
              <a:t> </a:t>
            </a:r>
            <a:r>
              <a:rPr sz="1750" dirty="0">
                <a:solidFill>
                  <a:srgbClr val="FFFFFF"/>
                </a:solidFill>
                <a:latin typeface="Roboto"/>
                <a:cs typeface="Roboto"/>
              </a:rPr>
              <a:t>y</a:t>
            </a:r>
            <a:r>
              <a:rPr sz="1750" spc="-10" dirty="0">
                <a:solidFill>
                  <a:srgbClr val="FFFFFF"/>
                </a:solidFill>
                <a:latin typeface="Roboto"/>
                <a:cs typeface="Roboto"/>
              </a:rPr>
              <a:t> experiencias auténticas.</a:t>
            </a:r>
            <a:endParaRPr sz="1750">
              <a:latin typeface="Roboto"/>
              <a:cs typeface="Roboto"/>
            </a:endParaRPr>
          </a:p>
          <a:p>
            <a:pPr>
              <a:lnSpc>
                <a:spcPct val="100000"/>
              </a:lnSpc>
              <a:spcBef>
                <a:spcPts val="55"/>
              </a:spcBef>
            </a:pPr>
            <a:endParaRPr sz="1550">
              <a:latin typeface="Roboto"/>
              <a:cs typeface="Roboto"/>
            </a:endParaRPr>
          </a:p>
          <a:p>
            <a:pPr marL="781685" marR="409575">
              <a:lnSpc>
                <a:spcPct val="100000"/>
              </a:lnSpc>
              <a:spcBef>
                <a:spcPts val="5"/>
              </a:spcBef>
            </a:pPr>
            <a:r>
              <a:rPr sz="1750" dirty="0">
                <a:solidFill>
                  <a:srgbClr val="FFFFFF"/>
                </a:solidFill>
                <a:latin typeface="Roboto"/>
                <a:cs typeface="Roboto"/>
              </a:rPr>
              <a:t>Falta</a:t>
            </a:r>
            <a:r>
              <a:rPr sz="1750" spc="5" dirty="0">
                <a:solidFill>
                  <a:srgbClr val="FFFFFF"/>
                </a:solidFill>
                <a:latin typeface="Roboto"/>
                <a:cs typeface="Roboto"/>
              </a:rPr>
              <a:t> </a:t>
            </a:r>
            <a:r>
              <a:rPr sz="1750" dirty="0">
                <a:solidFill>
                  <a:srgbClr val="FFFFFF"/>
                </a:solidFill>
                <a:latin typeface="Roboto"/>
                <a:cs typeface="Roboto"/>
              </a:rPr>
              <a:t>fortalecimiento </a:t>
            </a:r>
            <a:r>
              <a:rPr sz="1750" spc="-50" dirty="0">
                <a:solidFill>
                  <a:srgbClr val="FFFFFF"/>
                </a:solidFill>
                <a:latin typeface="Roboto"/>
                <a:cs typeface="Roboto"/>
              </a:rPr>
              <a:t>y </a:t>
            </a:r>
            <a:r>
              <a:rPr sz="1750" dirty="0">
                <a:solidFill>
                  <a:srgbClr val="FFFFFF"/>
                </a:solidFill>
                <a:latin typeface="Roboto"/>
                <a:cs typeface="Roboto"/>
              </a:rPr>
              <a:t>estabilidad</a:t>
            </a:r>
            <a:r>
              <a:rPr sz="1750" spc="10" dirty="0">
                <a:solidFill>
                  <a:srgbClr val="FFFFFF"/>
                </a:solidFill>
                <a:latin typeface="Roboto"/>
                <a:cs typeface="Roboto"/>
              </a:rPr>
              <a:t> </a:t>
            </a:r>
            <a:r>
              <a:rPr sz="1750" spc="-10" dirty="0">
                <a:solidFill>
                  <a:srgbClr val="FFFFFF"/>
                </a:solidFill>
                <a:latin typeface="Roboto"/>
                <a:cs typeface="Roboto"/>
              </a:rPr>
              <a:t>financiera </a:t>
            </a:r>
            <a:r>
              <a:rPr sz="1750" dirty="0">
                <a:solidFill>
                  <a:srgbClr val="FFFFFF"/>
                </a:solidFill>
                <a:latin typeface="Roboto"/>
                <a:cs typeface="Roboto"/>
              </a:rPr>
              <a:t>de</a:t>
            </a:r>
            <a:r>
              <a:rPr sz="1750" spc="20" dirty="0">
                <a:solidFill>
                  <a:srgbClr val="FFFFFF"/>
                </a:solidFill>
                <a:latin typeface="Roboto"/>
                <a:cs typeface="Roboto"/>
              </a:rPr>
              <a:t> </a:t>
            </a:r>
            <a:r>
              <a:rPr sz="1750" dirty="0">
                <a:solidFill>
                  <a:srgbClr val="FFFFFF"/>
                </a:solidFill>
                <a:latin typeface="Roboto"/>
                <a:cs typeface="Roboto"/>
              </a:rPr>
              <a:t>los</a:t>
            </a:r>
            <a:r>
              <a:rPr sz="1750" spc="25" dirty="0">
                <a:solidFill>
                  <a:srgbClr val="FFFFFF"/>
                </a:solidFill>
                <a:latin typeface="Roboto"/>
                <a:cs typeface="Roboto"/>
              </a:rPr>
              <a:t> </a:t>
            </a:r>
            <a:r>
              <a:rPr sz="1750" b="1" spc="-10" dirty="0">
                <a:solidFill>
                  <a:srgbClr val="FFFFFF"/>
                </a:solidFill>
                <a:latin typeface="Roboto"/>
                <a:cs typeface="Roboto"/>
              </a:rPr>
              <a:t>Convention Bureaus.</a:t>
            </a:r>
            <a:endParaRPr sz="1750">
              <a:latin typeface="Roboto"/>
              <a:cs typeface="Roboto"/>
            </a:endParaRPr>
          </a:p>
          <a:p>
            <a:pPr>
              <a:lnSpc>
                <a:spcPct val="100000"/>
              </a:lnSpc>
              <a:spcBef>
                <a:spcPts val="55"/>
              </a:spcBef>
            </a:pPr>
            <a:endParaRPr sz="1550">
              <a:latin typeface="Roboto"/>
              <a:cs typeface="Roboto"/>
            </a:endParaRPr>
          </a:p>
          <a:p>
            <a:pPr marL="781685" marR="391160">
              <a:lnSpc>
                <a:spcPct val="100000"/>
              </a:lnSpc>
            </a:pPr>
            <a:r>
              <a:rPr sz="1750" b="1" dirty="0">
                <a:solidFill>
                  <a:srgbClr val="FFFFFF"/>
                </a:solidFill>
                <a:latin typeface="Roboto"/>
                <a:cs typeface="Roboto"/>
              </a:rPr>
              <a:t>Poco</a:t>
            </a:r>
            <a:r>
              <a:rPr sz="1750" b="1" spc="140" dirty="0">
                <a:solidFill>
                  <a:srgbClr val="FFFFFF"/>
                </a:solidFill>
                <a:latin typeface="Roboto"/>
                <a:cs typeface="Roboto"/>
              </a:rPr>
              <a:t> </a:t>
            </a:r>
            <a:r>
              <a:rPr sz="1750" b="1" dirty="0">
                <a:solidFill>
                  <a:srgbClr val="FFFFFF"/>
                </a:solidFill>
                <a:latin typeface="Roboto"/>
                <a:cs typeface="Roboto"/>
              </a:rPr>
              <a:t>conocimiento</a:t>
            </a:r>
            <a:r>
              <a:rPr sz="1750" b="1" spc="145" dirty="0">
                <a:solidFill>
                  <a:srgbClr val="FFFFFF"/>
                </a:solidFill>
                <a:latin typeface="Roboto"/>
                <a:cs typeface="Roboto"/>
              </a:rPr>
              <a:t> </a:t>
            </a:r>
            <a:r>
              <a:rPr sz="1750" spc="-25" dirty="0">
                <a:solidFill>
                  <a:srgbClr val="FFFFFF"/>
                </a:solidFill>
                <a:latin typeface="Roboto"/>
                <a:cs typeface="Roboto"/>
              </a:rPr>
              <a:t>de </a:t>
            </a:r>
            <a:r>
              <a:rPr sz="1750" dirty="0">
                <a:solidFill>
                  <a:srgbClr val="FFFFFF"/>
                </a:solidFill>
                <a:latin typeface="Roboto"/>
                <a:cs typeface="Roboto"/>
              </a:rPr>
              <a:t>destinos</a:t>
            </a:r>
            <a:r>
              <a:rPr sz="1750" spc="20" dirty="0">
                <a:solidFill>
                  <a:srgbClr val="FFFFFF"/>
                </a:solidFill>
                <a:latin typeface="Roboto"/>
                <a:cs typeface="Roboto"/>
              </a:rPr>
              <a:t> </a:t>
            </a:r>
            <a:r>
              <a:rPr sz="1750" dirty="0">
                <a:solidFill>
                  <a:srgbClr val="FFFFFF"/>
                </a:solidFill>
                <a:latin typeface="Roboto"/>
                <a:cs typeface="Roboto"/>
              </a:rPr>
              <a:t>más</a:t>
            </a:r>
            <a:r>
              <a:rPr sz="1750" spc="20" dirty="0">
                <a:solidFill>
                  <a:srgbClr val="FFFFFF"/>
                </a:solidFill>
                <a:latin typeface="Roboto"/>
                <a:cs typeface="Roboto"/>
              </a:rPr>
              <a:t> </a:t>
            </a:r>
            <a:r>
              <a:rPr sz="1750" dirty="0">
                <a:solidFill>
                  <a:srgbClr val="FFFFFF"/>
                </a:solidFill>
                <a:latin typeface="Roboto"/>
                <a:cs typeface="Roboto"/>
              </a:rPr>
              <a:t>allá</a:t>
            </a:r>
            <a:r>
              <a:rPr sz="1750" spc="20" dirty="0">
                <a:solidFill>
                  <a:srgbClr val="FFFFFF"/>
                </a:solidFill>
                <a:latin typeface="Roboto"/>
                <a:cs typeface="Roboto"/>
              </a:rPr>
              <a:t> </a:t>
            </a:r>
            <a:r>
              <a:rPr sz="1750" spc="-25" dirty="0">
                <a:solidFill>
                  <a:srgbClr val="FFFFFF"/>
                </a:solidFill>
                <a:latin typeface="Roboto"/>
                <a:cs typeface="Roboto"/>
              </a:rPr>
              <a:t>de </a:t>
            </a:r>
            <a:r>
              <a:rPr sz="1750" spc="-10" dirty="0">
                <a:solidFill>
                  <a:srgbClr val="FFFFFF"/>
                </a:solidFill>
                <a:latin typeface="Roboto"/>
                <a:cs typeface="Roboto"/>
              </a:rPr>
              <a:t>Santiago</a:t>
            </a:r>
            <a:endParaRPr sz="1750">
              <a:latin typeface="Roboto"/>
              <a:cs typeface="Roboto"/>
            </a:endParaRPr>
          </a:p>
          <a:p>
            <a:pPr>
              <a:lnSpc>
                <a:spcPct val="100000"/>
              </a:lnSpc>
              <a:spcBef>
                <a:spcPts val="55"/>
              </a:spcBef>
            </a:pPr>
            <a:endParaRPr sz="1550">
              <a:latin typeface="Roboto"/>
              <a:cs typeface="Roboto"/>
            </a:endParaRPr>
          </a:p>
          <a:p>
            <a:pPr marL="781685" marR="704215">
              <a:lnSpc>
                <a:spcPct val="100000"/>
              </a:lnSpc>
            </a:pPr>
            <a:r>
              <a:rPr sz="1750" b="1" dirty="0">
                <a:solidFill>
                  <a:srgbClr val="FFFFFF"/>
                </a:solidFill>
                <a:latin typeface="Roboto"/>
                <a:cs typeface="Roboto"/>
              </a:rPr>
              <a:t>Oferta</a:t>
            </a:r>
            <a:r>
              <a:rPr sz="1750" b="1" spc="110" dirty="0">
                <a:solidFill>
                  <a:srgbClr val="FFFFFF"/>
                </a:solidFill>
                <a:latin typeface="Roboto"/>
                <a:cs typeface="Roboto"/>
              </a:rPr>
              <a:t> </a:t>
            </a:r>
            <a:r>
              <a:rPr sz="1750" b="1" dirty="0">
                <a:solidFill>
                  <a:srgbClr val="FFFFFF"/>
                </a:solidFill>
                <a:latin typeface="Roboto"/>
                <a:cs typeface="Roboto"/>
              </a:rPr>
              <a:t>limitada</a:t>
            </a:r>
            <a:r>
              <a:rPr sz="1750" b="1" spc="114" dirty="0">
                <a:solidFill>
                  <a:srgbClr val="FFFFFF"/>
                </a:solidFill>
                <a:latin typeface="Roboto"/>
                <a:cs typeface="Roboto"/>
              </a:rPr>
              <a:t> </a:t>
            </a:r>
            <a:r>
              <a:rPr sz="1750" b="1" spc="-25" dirty="0">
                <a:solidFill>
                  <a:srgbClr val="FFFFFF"/>
                </a:solidFill>
                <a:latin typeface="Roboto"/>
                <a:cs typeface="Roboto"/>
              </a:rPr>
              <a:t>de </a:t>
            </a:r>
            <a:r>
              <a:rPr sz="1750" b="1" dirty="0">
                <a:solidFill>
                  <a:srgbClr val="FFFFFF"/>
                </a:solidFill>
                <a:latin typeface="Roboto"/>
                <a:cs typeface="Roboto"/>
              </a:rPr>
              <a:t>grandes</a:t>
            </a:r>
            <a:r>
              <a:rPr sz="1750" b="1" spc="145" dirty="0">
                <a:solidFill>
                  <a:srgbClr val="FFFFFF"/>
                </a:solidFill>
                <a:latin typeface="Roboto"/>
                <a:cs typeface="Roboto"/>
              </a:rPr>
              <a:t> </a:t>
            </a:r>
            <a:r>
              <a:rPr sz="1750" b="1" dirty="0">
                <a:solidFill>
                  <a:srgbClr val="FFFFFF"/>
                </a:solidFill>
                <a:latin typeface="Roboto"/>
                <a:cs typeface="Roboto"/>
              </a:rPr>
              <a:t>centros</a:t>
            </a:r>
            <a:r>
              <a:rPr sz="1750" b="1" spc="150" dirty="0">
                <a:solidFill>
                  <a:srgbClr val="FFFFFF"/>
                </a:solidFill>
                <a:latin typeface="Roboto"/>
                <a:cs typeface="Roboto"/>
              </a:rPr>
              <a:t> </a:t>
            </a:r>
            <a:r>
              <a:rPr sz="1750" spc="-25" dirty="0">
                <a:solidFill>
                  <a:srgbClr val="FFFFFF"/>
                </a:solidFill>
                <a:latin typeface="Roboto"/>
                <a:cs typeface="Roboto"/>
              </a:rPr>
              <a:t>de </a:t>
            </a:r>
            <a:r>
              <a:rPr sz="1750" spc="-10" dirty="0">
                <a:solidFill>
                  <a:srgbClr val="FFFFFF"/>
                </a:solidFill>
                <a:latin typeface="Roboto"/>
                <a:cs typeface="Roboto"/>
              </a:rPr>
              <a:t>convenciones.</a:t>
            </a:r>
            <a:endParaRPr sz="1750">
              <a:latin typeface="Roboto"/>
              <a:cs typeface="Roboto"/>
            </a:endParaRPr>
          </a:p>
        </p:txBody>
      </p:sp>
      <p:grpSp>
        <p:nvGrpSpPr>
          <p:cNvPr id="12" name="object 12"/>
          <p:cNvGrpSpPr/>
          <p:nvPr/>
        </p:nvGrpSpPr>
        <p:grpSpPr>
          <a:xfrm>
            <a:off x="3830789" y="3149250"/>
            <a:ext cx="838200" cy="837565"/>
            <a:chOff x="3830789" y="3149250"/>
            <a:chExt cx="838200" cy="837565"/>
          </a:xfrm>
        </p:grpSpPr>
        <p:sp>
          <p:nvSpPr>
            <p:cNvPr id="13" name="object 13"/>
            <p:cNvSpPr/>
            <p:nvPr/>
          </p:nvSpPr>
          <p:spPr>
            <a:xfrm>
              <a:off x="3830777" y="3150475"/>
              <a:ext cx="838200" cy="836294"/>
            </a:xfrm>
            <a:custGeom>
              <a:avLst/>
              <a:gdLst/>
              <a:ahLst/>
              <a:cxnLst/>
              <a:rect l="l" t="t" r="r" b="b"/>
              <a:pathLst>
                <a:path w="838200" h="836295">
                  <a:moveTo>
                    <a:pt x="189395" y="101917"/>
                  </a:moveTo>
                  <a:lnTo>
                    <a:pt x="135420" y="109994"/>
                  </a:lnTo>
                  <a:lnTo>
                    <a:pt x="101625" y="144843"/>
                  </a:lnTo>
                  <a:lnTo>
                    <a:pt x="72072" y="183324"/>
                  </a:lnTo>
                  <a:lnTo>
                    <a:pt x="47218" y="224929"/>
                  </a:lnTo>
                  <a:lnTo>
                    <a:pt x="26835" y="270649"/>
                  </a:lnTo>
                  <a:lnTo>
                    <a:pt x="12052" y="318528"/>
                  </a:lnTo>
                  <a:lnTo>
                    <a:pt x="3048" y="367906"/>
                  </a:lnTo>
                  <a:lnTo>
                    <a:pt x="0" y="418147"/>
                  </a:lnTo>
                  <a:lnTo>
                    <a:pt x="2743" y="466458"/>
                  </a:lnTo>
                  <a:lnTo>
                    <a:pt x="10896" y="513575"/>
                  </a:lnTo>
                  <a:lnTo>
                    <a:pt x="24409" y="559320"/>
                  </a:lnTo>
                  <a:lnTo>
                    <a:pt x="43218" y="603516"/>
                  </a:lnTo>
                  <a:lnTo>
                    <a:pt x="68122" y="591146"/>
                  </a:lnTo>
                  <a:lnTo>
                    <a:pt x="50596" y="549884"/>
                  </a:lnTo>
                  <a:lnTo>
                    <a:pt x="38011" y="507199"/>
                  </a:lnTo>
                  <a:lnTo>
                    <a:pt x="30416" y="463232"/>
                  </a:lnTo>
                  <a:lnTo>
                    <a:pt x="27876" y="418147"/>
                  </a:lnTo>
                  <a:lnTo>
                    <a:pt x="30695" y="371271"/>
                  </a:lnTo>
                  <a:lnTo>
                    <a:pt x="39077" y="325170"/>
                  </a:lnTo>
                  <a:lnTo>
                    <a:pt x="52870" y="280479"/>
                  </a:lnTo>
                  <a:lnTo>
                    <a:pt x="71958" y="237820"/>
                  </a:lnTo>
                  <a:lnTo>
                    <a:pt x="95186" y="199021"/>
                  </a:lnTo>
                  <a:lnTo>
                    <a:pt x="122770" y="163144"/>
                  </a:lnTo>
                  <a:lnTo>
                    <a:pt x="154305" y="130632"/>
                  </a:lnTo>
                  <a:lnTo>
                    <a:pt x="189395" y="101917"/>
                  </a:lnTo>
                  <a:close/>
                </a:path>
                <a:path w="838200" h="836295">
                  <a:moveTo>
                    <a:pt x="461352" y="2260"/>
                  </a:moveTo>
                  <a:lnTo>
                    <a:pt x="450608" y="1320"/>
                  </a:lnTo>
                  <a:lnTo>
                    <a:pt x="439813" y="609"/>
                  </a:lnTo>
                  <a:lnTo>
                    <a:pt x="428993" y="152"/>
                  </a:lnTo>
                  <a:lnTo>
                    <a:pt x="418147" y="0"/>
                  </a:lnTo>
                  <a:lnTo>
                    <a:pt x="399986" y="393"/>
                  </a:lnTo>
                  <a:lnTo>
                    <a:pt x="381889" y="1574"/>
                  </a:lnTo>
                  <a:lnTo>
                    <a:pt x="363880" y="3530"/>
                  </a:lnTo>
                  <a:lnTo>
                    <a:pt x="346024" y="6273"/>
                  </a:lnTo>
                  <a:lnTo>
                    <a:pt x="350723" y="33794"/>
                  </a:lnTo>
                  <a:lnTo>
                    <a:pt x="367411" y="31178"/>
                  </a:lnTo>
                  <a:lnTo>
                    <a:pt x="384238" y="29337"/>
                  </a:lnTo>
                  <a:lnTo>
                    <a:pt x="401167" y="28244"/>
                  </a:lnTo>
                  <a:lnTo>
                    <a:pt x="418147" y="27876"/>
                  </a:lnTo>
                  <a:lnTo>
                    <a:pt x="428231" y="28003"/>
                  </a:lnTo>
                  <a:lnTo>
                    <a:pt x="438353" y="28397"/>
                  </a:lnTo>
                  <a:lnTo>
                    <a:pt x="448475" y="29057"/>
                  </a:lnTo>
                  <a:lnTo>
                    <a:pt x="458571" y="29972"/>
                  </a:lnTo>
                  <a:lnTo>
                    <a:pt x="461352" y="2260"/>
                  </a:lnTo>
                  <a:close/>
                </a:path>
                <a:path w="838200" h="836295">
                  <a:moveTo>
                    <a:pt x="547776" y="815898"/>
                  </a:moveTo>
                  <a:lnTo>
                    <a:pt x="539064" y="789419"/>
                  </a:lnTo>
                  <a:lnTo>
                    <a:pt x="512876" y="796886"/>
                  </a:lnTo>
                  <a:lnTo>
                    <a:pt x="486156" y="802551"/>
                  </a:lnTo>
                  <a:lnTo>
                    <a:pt x="459016" y="806348"/>
                  </a:lnTo>
                  <a:lnTo>
                    <a:pt x="431558" y="808228"/>
                  </a:lnTo>
                  <a:lnTo>
                    <a:pt x="432435" y="836104"/>
                  </a:lnTo>
                  <a:lnTo>
                    <a:pt x="461848" y="834059"/>
                  </a:lnTo>
                  <a:lnTo>
                    <a:pt x="490956" y="829995"/>
                  </a:lnTo>
                  <a:lnTo>
                    <a:pt x="519633" y="823937"/>
                  </a:lnTo>
                  <a:lnTo>
                    <a:pt x="547776" y="815898"/>
                  </a:lnTo>
                  <a:close/>
                </a:path>
                <a:path w="838200" h="836295">
                  <a:moveTo>
                    <a:pt x="838200" y="443230"/>
                  </a:moveTo>
                  <a:lnTo>
                    <a:pt x="835240" y="434873"/>
                  </a:lnTo>
                  <a:lnTo>
                    <a:pt x="779487" y="408025"/>
                  </a:lnTo>
                  <a:lnTo>
                    <a:pt x="779487" y="500900"/>
                  </a:lnTo>
                  <a:lnTo>
                    <a:pt x="640638" y="789762"/>
                  </a:lnTo>
                  <a:lnTo>
                    <a:pt x="508787" y="726351"/>
                  </a:lnTo>
                  <a:lnTo>
                    <a:pt x="505536" y="724776"/>
                  </a:lnTo>
                  <a:lnTo>
                    <a:pt x="398640" y="673379"/>
                  </a:lnTo>
                  <a:lnTo>
                    <a:pt x="396024" y="670598"/>
                  </a:lnTo>
                  <a:lnTo>
                    <a:pt x="394804" y="666940"/>
                  </a:lnTo>
                  <a:lnTo>
                    <a:pt x="393585" y="663448"/>
                  </a:lnTo>
                  <a:lnTo>
                    <a:pt x="393750" y="659625"/>
                  </a:lnTo>
                  <a:lnTo>
                    <a:pt x="395325" y="656310"/>
                  </a:lnTo>
                  <a:lnTo>
                    <a:pt x="476821" y="486956"/>
                  </a:lnTo>
                  <a:lnTo>
                    <a:pt x="529297" y="377901"/>
                  </a:lnTo>
                  <a:lnTo>
                    <a:pt x="532612" y="381203"/>
                  </a:lnTo>
                  <a:lnTo>
                    <a:pt x="536448" y="383997"/>
                  </a:lnTo>
                  <a:lnTo>
                    <a:pt x="779487" y="500900"/>
                  </a:lnTo>
                  <a:lnTo>
                    <a:pt x="779487" y="408025"/>
                  </a:lnTo>
                  <a:lnTo>
                    <a:pt x="716953" y="377901"/>
                  </a:lnTo>
                  <a:lnTo>
                    <a:pt x="577215" y="310642"/>
                  </a:lnTo>
                  <a:lnTo>
                    <a:pt x="561149" y="306590"/>
                  </a:lnTo>
                  <a:lnTo>
                    <a:pt x="545287" y="308902"/>
                  </a:lnTo>
                  <a:lnTo>
                    <a:pt x="531444" y="316966"/>
                  </a:lnTo>
                  <a:lnTo>
                    <a:pt x="521462" y="330161"/>
                  </a:lnTo>
                  <a:lnTo>
                    <a:pt x="446024" y="486956"/>
                  </a:lnTo>
                  <a:lnTo>
                    <a:pt x="446024" y="404202"/>
                  </a:lnTo>
                  <a:lnTo>
                    <a:pt x="446024" y="348449"/>
                  </a:lnTo>
                  <a:lnTo>
                    <a:pt x="440550" y="321322"/>
                  </a:lnTo>
                  <a:lnTo>
                    <a:pt x="425615" y="299173"/>
                  </a:lnTo>
                  <a:lnTo>
                    <a:pt x="403466" y="284238"/>
                  </a:lnTo>
                  <a:lnTo>
                    <a:pt x="376339" y="278765"/>
                  </a:lnTo>
                  <a:lnTo>
                    <a:pt x="376339" y="786803"/>
                  </a:lnTo>
                  <a:lnTo>
                    <a:pt x="376339" y="802132"/>
                  </a:lnTo>
                  <a:lnTo>
                    <a:pt x="370065" y="808405"/>
                  </a:lnTo>
                  <a:lnTo>
                    <a:pt x="354723" y="808405"/>
                  </a:lnTo>
                  <a:lnTo>
                    <a:pt x="348462" y="802132"/>
                  </a:lnTo>
                  <a:lnTo>
                    <a:pt x="348462" y="786803"/>
                  </a:lnTo>
                  <a:lnTo>
                    <a:pt x="354723" y="780529"/>
                  </a:lnTo>
                  <a:lnTo>
                    <a:pt x="370065" y="780529"/>
                  </a:lnTo>
                  <a:lnTo>
                    <a:pt x="376339" y="786803"/>
                  </a:lnTo>
                  <a:lnTo>
                    <a:pt x="376339" y="278765"/>
                  </a:lnTo>
                  <a:lnTo>
                    <a:pt x="362394" y="278765"/>
                  </a:lnTo>
                  <a:lnTo>
                    <a:pt x="362394" y="404202"/>
                  </a:lnTo>
                  <a:lnTo>
                    <a:pt x="362394" y="724776"/>
                  </a:lnTo>
                  <a:lnTo>
                    <a:pt x="334518" y="724776"/>
                  </a:lnTo>
                  <a:lnTo>
                    <a:pt x="334518" y="404202"/>
                  </a:lnTo>
                  <a:lnTo>
                    <a:pt x="362394" y="404202"/>
                  </a:lnTo>
                  <a:lnTo>
                    <a:pt x="362394" y="278765"/>
                  </a:lnTo>
                  <a:lnTo>
                    <a:pt x="320586" y="278765"/>
                  </a:lnTo>
                  <a:lnTo>
                    <a:pt x="320586" y="55753"/>
                  </a:lnTo>
                  <a:lnTo>
                    <a:pt x="316179" y="34099"/>
                  </a:lnTo>
                  <a:lnTo>
                    <a:pt x="311975" y="27876"/>
                  </a:lnTo>
                  <a:lnTo>
                    <a:pt x="304203" y="16383"/>
                  </a:lnTo>
                  <a:lnTo>
                    <a:pt x="292709" y="8623"/>
                  </a:lnTo>
                  <a:lnTo>
                    <a:pt x="292709" y="55753"/>
                  </a:lnTo>
                  <a:lnTo>
                    <a:pt x="292709" y="278765"/>
                  </a:lnTo>
                  <a:lnTo>
                    <a:pt x="278765" y="278765"/>
                  </a:lnTo>
                  <a:lnTo>
                    <a:pt x="278765" y="404202"/>
                  </a:lnTo>
                  <a:lnTo>
                    <a:pt x="278765" y="724776"/>
                  </a:lnTo>
                  <a:lnTo>
                    <a:pt x="250888" y="724776"/>
                  </a:lnTo>
                  <a:lnTo>
                    <a:pt x="250888" y="404202"/>
                  </a:lnTo>
                  <a:lnTo>
                    <a:pt x="278765" y="404202"/>
                  </a:lnTo>
                  <a:lnTo>
                    <a:pt x="278765" y="278765"/>
                  </a:lnTo>
                  <a:lnTo>
                    <a:pt x="236956" y="278765"/>
                  </a:lnTo>
                  <a:lnTo>
                    <a:pt x="236956" y="55753"/>
                  </a:lnTo>
                  <a:lnTo>
                    <a:pt x="239153" y="44932"/>
                  </a:lnTo>
                  <a:lnTo>
                    <a:pt x="245135" y="36068"/>
                  </a:lnTo>
                  <a:lnTo>
                    <a:pt x="254000" y="30073"/>
                  </a:lnTo>
                  <a:lnTo>
                    <a:pt x="264833" y="27876"/>
                  </a:lnTo>
                  <a:lnTo>
                    <a:pt x="275653" y="30073"/>
                  </a:lnTo>
                  <a:lnTo>
                    <a:pt x="284518" y="36068"/>
                  </a:lnTo>
                  <a:lnTo>
                    <a:pt x="290499" y="44932"/>
                  </a:lnTo>
                  <a:lnTo>
                    <a:pt x="292709" y="55753"/>
                  </a:lnTo>
                  <a:lnTo>
                    <a:pt x="292709" y="8623"/>
                  </a:lnTo>
                  <a:lnTo>
                    <a:pt x="286473" y="4394"/>
                  </a:lnTo>
                  <a:lnTo>
                    <a:pt x="264833" y="0"/>
                  </a:lnTo>
                  <a:lnTo>
                    <a:pt x="243179" y="4394"/>
                  </a:lnTo>
                  <a:lnTo>
                    <a:pt x="225450" y="16383"/>
                  </a:lnTo>
                  <a:lnTo>
                    <a:pt x="213474" y="34099"/>
                  </a:lnTo>
                  <a:lnTo>
                    <a:pt x="209080" y="55753"/>
                  </a:lnTo>
                  <a:lnTo>
                    <a:pt x="209080" y="278765"/>
                  </a:lnTo>
                  <a:lnTo>
                    <a:pt x="195135" y="278765"/>
                  </a:lnTo>
                  <a:lnTo>
                    <a:pt x="195135" y="404202"/>
                  </a:lnTo>
                  <a:lnTo>
                    <a:pt x="195135" y="724776"/>
                  </a:lnTo>
                  <a:lnTo>
                    <a:pt x="181203" y="724776"/>
                  </a:lnTo>
                  <a:lnTo>
                    <a:pt x="181203" y="786803"/>
                  </a:lnTo>
                  <a:lnTo>
                    <a:pt x="181203" y="802132"/>
                  </a:lnTo>
                  <a:lnTo>
                    <a:pt x="174929" y="808405"/>
                  </a:lnTo>
                  <a:lnTo>
                    <a:pt x="159600" y="808405"/>
                  </a:lnTo>
                  <a:lnTo>
                    <a:pt x="153327" y="802132"/>
                  </a:lnTo>
                  <a:lnTo>
                    <a:pt x="153327" y="786803"/>
                  </a:lnTo>
                  <a:lnTo>
                    <a:pt x="159600" y="780529"/>
                  </a:lnTo>
                  <a:lnTo>
                    <a:pt x="174929" y="780529"/>
                  </a:lnTo>
                  <a:lnTo>
                    <a:pt x="181203" y="786803"/>
                  </a:lnTo>
                  <a:lnTo>
                    <a:pt x="181203" y="724776"/>
                  </a:lnTo>
                  <a:lnTo>
                    <a:pt x="167259" y="724776"/>
                  </a:lnTo>
                  <a:lnTo>
                    <a:pt x="167259" y="404202"/>
                  </a:lnTo>
                  <a:lnTo>
                    <a:pt x="195135" y="404202"/>
                  </a:lnTo>
                  <a:lnTo>
                    <a:pt x="195135" y="278765"/>
                  </a:lnTo>
                  <a:lnTo>
                    <a:pt x="153327" y="278765"/>
                  </a:lnTo>
                  <a:lnTo>
                    <a:pt x="126187" y="284238"/>
                  </a:lnTo>
                  <a:lnTo>
                    <a:pt x="104038" y="299173"/>
                  </a:lnTo>
                  <a:lnTo>
                    <a:pt x="89103" y="321322"/>
                  </a:lnTo>
                  <a:lnTo>
                    <a:pt x="83629" y="348449"/>
                  </a:lnTo>
                  <a:lnTo>
                    <a:pt x="83629" y="710844"/>
                  </a:lnTo>
                  <a:lnTo>
                    <a:pt x="87045" y="732421"/>
                  </a:lnTo>
                  <a:lnTo>
                    <a:pt x="96570" y="751243"/>
                  </a:lnTo>
                  <a:lnTo>
                    <a:pt x="111125" y="766241"/>
                  </a:lnTo>
                  <a:lnTo>
                    <a:pt x="129628" y="776351"/>
                  </a:lnTo>
                  <a:lnTo>
                    <a:pt x="127012" y="781748"/>
                  </a:lnTo>
                  <a:lnTo>
                    <a:pt x="125450" y="788022"/>
                  </a:lnTo>
                  <a:lnTo>
                    <a:pt x="125450" y="794473"/>
                  </a:lnTo>
                  <a:lnTo>
                    <a:pt x="128752" y="810704"/>
                  </a:lnTo>
                  <a:lnTo>
                    <a:pt x="137731" y="824001"/>
                  </a:lnTo>
                  <a:lnTo>
                    <a:pt x="151028" y="832980"/>
                  </a:lnTo>
                  <a:lnTo>
                    <a:pt x="167259" y="836282"/>
                  </a:lnTo>
                  <a:lnTo>
                    <a:pt x="183502" y="832980"/>
                  </a:lnTo>
                  <a:lnTo>
                    <a:pt x="196799" y="824001"/>
                  </a:lnTo>
                  <a:lnTo>
                    <a:pt x="205778" y="810704"/>
                  </a:lnTo>
                  <a:lnTo>
                    <a:pt x="206248" y="808405"/>
                  </a:lnTo>
                  <a:lnTo>
                    <a:pt x="209080" y="794473"/>
                  </a:lnTo>
                  <a:lnTo>
                    <a:pt x="209080" y="789597"/>
                  </a:lnTo>
                  <a:lnTo>
                    <a:pt x="208203" y="784885"/>
                  </a:lnTo>
                  <a:lnTo>
                    <a:pt x="206641" y="780529"/>
                  </a:lnTo>
                  <a:lnTo>
                    <a:pt x="323024" y="780529"/>
                  </a:lnTo>
                  <a:lnTo>
                    <a:pt x="321449" y="784885"/>
                  </a:lnTo>
                  <a:lnTo>
                    <a:pt x="320586" y="789597"/>
                  </a:lnTo>
                  <a:lnTo>
                    <a:pt x="320586" y="794473"/>
                  </a:lnTo>
                  <a:lnTo>
                    <a:pt x="323875" y="810704"/>
                  </a:lnTo>
                  <a:lnTo>
                    <a:pt x="332867" y="824001"/>
                  </a:lnTo>
                  <a:lnTo>
                    <a:pt x="346163" y="832980"/>
                  </a:lnTo>
                  <a:lnTo>
                    <a:pt x="362394" y="836282"/>
                  </a:lnTo>
                  <a:lnTo>
                    <a:pt x="378625" y="832980"/>
                  </a:lnTo>
                  <a:lnTo>
                    <a:pt x="391922" y="824001"/>
                  </a:lnTo>
                  <a:lnTo>
                    <a:pt x="400913" y="810704"/>
                  </a:lnTo>
                  <a:lnTo>
                    <a:pt x="401370" y="808405"/>
                  </a:lnTo>
                  <a:lnTo>
                    <a:pt x="404215" y="794473"/>
                  </a:lnTo>
                  <a:lnTo>
                    <a:pt x="404215" y="788022"/>
                  </a:lnTo>
                  <a:lnTo>
                    <a:pt x="402640" y="781926"/>
                  </a:lnTo>
                  <a:lnTo>
                    <a:pt x="401993" y="780529"/>
                  </a:lnTo>
                  <a:lnTo>
                    <a:pt x="400024" y="776351"/>
                  </a:lnTo>
                  <a:lnTo>
                    <a:pt x="415518" y="768413"/>
                  </a:lnTo>
                  <a:lnTo>
                    <a:pt x="428421" y="757034"/>
                  </a:lnTo>
                  <a:lnTo>
                    <a:pt x="438200" y="742810"/>
                  </a:lnTo>
                  <a:lnTo>
                    <a:pt x="444284" y="726351"/>
                  </a:lnTo>
                  <a:lnTo>
                    <a:pt x="641159" y="820953"/>
                  </a:lnTo>
                  <a:lnTo>
                    <a:pt x="643077" y="821829"/>
                  </a:lnTo>
                  <a:lnTo>
                    <a:pt x="645160" y="822350"/>
                  </a:lnTo>
                  <a:lnTo>
                    <a:pt x="652475" y="822350"/>
                  </a:lnTo>
                  <a:lnTo>
                    <a:pt x="657364" y="819378"/>
                  </a:lnTo>
                  <a:lnTo>
                    <a:pt x="659803" y="814501"/>
                  </a:lnTo>
                  <a:lnTo>
                    <a:pt x="671703" y="789762"/>
                  </a:lnTo>
                  <a:lnTo>
                    <a:pt x="835075" y="450202"/>
                  </a:lnTo>
                  <a:lnTo>
                    <a:pt x="838200" y="443230"/>
                  </a:lnTo>
                  <a:close/>
                </a:path>
              </a:pathLst>
            </a:custGeom>
            <a:solidFill>
              <a:srgbClr val="FFFFFF"/>
            </a:solidFill>
          </p:spPr>
          <p:txBody>
            <a:bodyPr wrap="square" lIns="0" tIns="0" rIns="0" bIns="0" rtlCol="0"/>
            <a:lstStyle/>
            <a:p>
              <a:endParaRPr/>
            </a:p>
          </p:txBody>
        </p:sp>
        <p:pic>
          <p:nvPicPr>
            <p:cNvPr id="14" name="object 14"/>
            <p:cNvPicPr/>
            <p:nvPr/>
          </p:nvPicPr>
          <p:blipFill>
            <a:blip r:embed="rId3" cstate="print"/>
            <a:stretch>
              <a:fillRect/>
            </a:stretch>
          </p:blipFill>
          <p:spPr>
            <a:xfrm>
              <a:off x="4295065" y="3606547"/>
              <a:ext cx="232920" cy="278354"/>
            </a:xfrm>
            <a:prstGeom prst="rect">
              <a:avLst/>
            </a:prstGeom>
          </p:spPr>
        </p:pic>
        <p:sp>
          <p:nvSpPr>
            <p:cNvPr id="15" name="object 15"/>
            <p:cNvSpPr/>
            <p:nvPr/>
          </p:nvSpPr>
          <p:spPr>
            <a:xfrm>
              <a:off x="4179404" y="3149256"/>
              <a:ext cx="487045" cy="392430"/>
            </a:xfrm>
            <a:custGeom>
              <a:avLst/>
              <a:gdLst/>
              <a:ahLst/>
              <a:cxnLst/>
              <a:rect l="l" t="t" r="r" b="b"/>
              <a:pathLst>
                <a:path w="487045" h="392429">
                  <a:moveTo>
                    <a:pt x="473544" y="136588"/>
                  </a:moveTo>
                  <a:lnTo>
                    <a:pt x="472160" y="133108"/>
                  </a:lnTo>
                  <a:lnTo>
                    <a:pt x="436956" y="97917"/>
                  </a:lnTo>
                  <a:lnTo>
                    <a:pt x="429641" y="97218"/>
                  </a:lnTo>
                  <a:lnTo>
                    <a:pt x="424065" y="100876"/>
                  </a:lnTo>
                  <a:lnTo>
                    <a:pt x="389915" y="123520"/>
                  </a:lnTo>
                  <a:lnTo>
                    <a:pt x="326504" y="81368"/>
                  </a:lnTo>
                  <a:lnTo>
                    <a:pt x="363613" y="31889"/>
                  </a:lnTo>
                  <a:lnTo>
                    <a:pt x="363093" y="24218"/>
                  </a:lnTo>
                  <a:lnTo>
                    <a:pt x="358216" y="19164"/>
                  </a:lnTo>
                  <a:lnTo>
                    <a:pt x="340093" y="1041"/>
                  </a:lnTo>
                  <a:lnTo>
                    <a:pt x="333476" y="0"/>
                  </a:lnTo>
                  <a:lnTo>
                    <a:pt x="251409" y="40944"/>
                  </a:lnTo>
                  <a:lnTo>
                    <a:pt x="225450" y="25615"/>
                  </a:lnTo>
                  <a:lnTo>
                    <a:pt x="203708" y="17081"/>
                  </a:lnTo>
                  <a:lnTo>
                    <a:pt x="181025" y="16141"/>
                  </a:lnTo>
                  <a:lnTo>
                    <a:pt x="159245" y="22555"/>
                  </a:lnTo>
                  <a:lnTo>
                    <a:pt x="140258" y="36068"/>
                  </a:lnTo>
                  <a:lnTo>
                    <a:pt x="126314" y="49999"/>
                  </a:lnTo>
                  <a:lnTo>
                    <a:pt x="124752" y="54356"/>
                  </a:lnTo>
                  <a:lnTo>
                    <a:pt x="125793" y="62890"/>
                  </a:lnTo>
                  <a:lnTo>
                    <a:pt x="128231" y="66560"/>
                  </a:lnTo>
                  <a:lnTo>
                    <a:pt x="131889" y="68821"/>
                  </a:lnTo>
                  <a:lnTo>
                    <a:pt x="363956" y="210642"/>
                  </a:lnTo>
                  <a:lnTo>
                    <a:pt x="370751" y="214820"/>
                  </a:lnTo>
                  <a:lnTo>
                    <a:pt x="378244" y="216738"/>
                  </a:lnTo>
                  <a:lnTo>
                    <a:pt x="385737" y="216738"/>
                  </a:lnTo>
                  <a:lnTo>
                    <a:pt x="472160" y="147739"/>
                  </a:lnTo>
                  <a:lnTo>
                    <a:pt x="473544" y="144259"/>
                  </a:lnTo>
                  <a:lnTo>
                    <a:pt x="473544" y="136588"/>
                  </a:lnTo>
                  <a:close/>
                </a:path>
                <a:path w="487045" h="392429">
                  <a:moveTo>
                    <a:pt x="486968" y="390271"/>
                  </a:moveTo>
                  <a:lnTo>
                    <a:pt x="482104" y="349034"/>
                  </a:lnTo>
                  <a:lnTo>
                    <a:pt x="473265" y="308775"/>
                  </a:lnTo>
                  <a:lnTo>
                    <a:pt x="460476" y="269621"/>
                  </a:lnTo>
                  <a:lnTo>
                    <a:pt x="443750" y="231724"/>
                  </a:lnTo>
                  <a:lnTo>
                    <a:pt x="418846" y="244259"/>
                  </a:lnTo>
                  <a:lnTo>
                    <a:pt x="424624" y="256222"/>
                  </a:lnTo>
                  <a:lnTo>
                    <a:pt x="429945" y="268312"/>
                  </a:lnTo>
                  <a:lnTo>
                    <a:pt x="434822" y="280530"/>
                  </a:lnTo>
                  <a:lnTo>
                    <a:pt x="439229" y="292874"/>
                  </a:lnTo>
                  <a:lnTo>
                    <a:pt x="394931" y="285343"/>
                  </a:lnTo>
                  <a:lnTo>
                    <a:pt x="353034" y="270306"/>
                  </a:lnTo>
                  <a:lnTo>
                    <a:pt x="314325" y="248081"/>
                  </a:lnTo>
                  <a:lnTo>
                    <a:pt x="279641" y="218998"/>
                  </a:lnTo>
                  <a:lnTo>
                    <a:pt x="253682" y="193395"/>
                  </a:lnTo>
                  <a:lnTo>
                    <a:pt x="239318" y="183883"/>
                  </a:lnTo>
                  <a:lnTo>
                    <a:pt x="222923" y="180721"/>
                  </a:lnTo>
                  <a:lnTo>
                    <a:pt x="206540" y="183883"/>
                  </a:lnTo>
                  <a:lnTo>
                    <a:pt x="192176" y="193395"/>
                  </a:lnTo>
                  <a:lnTo>
                    <a:pt x="186080" y="199491"/>
                  </a:lnTo>
                  <a:lnTo>
                    <a:pt x="176149" y="199491"/>
                  </a:lnTo>
                  <a:lnTo>
                    <a:pt x="166560" y="189903"/>
                  </a:lnTo>
                  <a:lnTo>
                    <a:pt x="134239" y="168440"/>
                  </a:lnTo>
                  <a:lnTo>
                    <a:pt x="97485" y="161290"/>
                  </a:lnTo>
                  <a:lnTo>
                    <a:pt x="60718" y="168440"/>
                  </a:lnTo>
                  <a:lnTo>
                    <a:pt x="28397" y="189903"/>
                  </a:lnTo>
                  <a:lnTo>
                    <a:pt x="22225" y="194995"/>
                  </a:lnTo>
                  <a:lnTo>
                    <a:pt x="15316" y="198704"/>
                  </a:lnTo>
                  <a:lnTo>
                    <a:pt x="7848" y="200977"/>
                  </a:lnTo>
                  <a:lnTo>
                    <a:pt x="0" y="201752"/>
                  </a:lnTo>
                  <a:lnTo>
                    <a:pt x="0" y="229628"/>
                  </a:lnTo>
                  <a:lnTo>
                    <a:pt x="13373" y="228307"/>
                  </a:lnTo>
                  <a:lnTo>
                    <a:pt x="26098" y="224447"/>
                  </a:lnTo>
                  <a:lnTo>
                    <a:pt x="37833" y="218160"/>
                  </a:lnTo>
                  <a:lnTo>
                    <a:pt x="48260" y="209588"/>
                  </a:lnTo>
                  <a:lnTo>
                    <a:pt x="71348" y="194310"/>
                  </a:lnTo>
                  <a:lnTo>
                    <a:pt x="97663" y="189204"/>
                  </a:lnTo>
                  <a:lnTo>
                    <a:pt x="123964" y="194310"/>
                  </a:lnTo>
                  <a:lnTo>
                    <a:pt x="147053" y="209588"/>
                  </a:lnTo>
                  <a:lnTo>
                    <a:pt x="150533" y="213080"/>
                  </a:lnTo>
                  <a:lnTo>
                    <a:pt x="164896" y="222580"/>
                  </a:lnTo>
                  <a:lnTo>
                    <a:pt x="181279" y="225755"/>
                  </a:lnTo>
                  <a:lnTo>
                    <a:pt x="197675" y="222580"/>
                  </a:lnTo>
                  <a:lnTo>
                    <a:pt x="212039" y="213080"/>
                  </a:lnTo>
                  <a:lnTo>
                    <a:pt x="218135" y="206984"/>
                  </a:lnTo>
                  <a:lnTo>
                    <a:pt x="228066" y="206984"/>
                  </a:lnTo>
                  <a:lnTo>
                    <a:pt x="259778" y="238683"/>
                  </a:lnTo>
                  <a:lnTo>
                    <a:pt x="300469" y="272491"/>
                  </a:lnTo>
                  <a:lnTo>
                    <a:pt x="346036" y="297815"/>
                  </a:lnTo>
                  <a:lnTo>
                    <a:pt x="395427" y="314223"/>
                  </a:lnTo>
                  <a:lnTo>
                    <a:pt x="447586" y="321271"/>
                  </a:lnTo>
                  <a:lnTo>
                    <a:pt x="451637" y="338721"/>
                  </a:lnTo>
                  <a:lnTo>
                    <a:pt x="454901" y="356336"/>
                  </a:lnTo>
                  <a:lnTo>
                    <a:pt x="457390" y="374142"/>
                  </a:lnTo>
                  <a:lnTo>
                    <a:pt x="459092" y="392188"/>
                  </a:lnTo>
                  <a:lnTo>
                    <a:pt x="486968" y="390271"/>
                  </a:lnTo>
                  <a:close/>
                </a:path>
              </a:pathLst>
            </a:custGeom>
            <a:solidFill>
              <a:srgbClr val="FFFFFF"/>
            </a:solidFill>
          </p:spPr>
          <p:txBody>
            <a:bodyPr wrap="square" lIns="0" tIns="0" rIns="0" bIns="0" rtlCol="0"/>
            <a:lstStyle/>
            <a:p>
              <a:endParaRPr/>
            </a:p>
          </p:txBody>
        </p:sp>
      </p:grpSp>
      <p:sp>
        <p:nvSpPr>
          <p:cNvPr id="16" name="object 16"/>
          <p:cNvSpPr/>
          <p:nvPr/>
        </p:nvSpPr>
        <p:spPr>
          <a:xfrm>
            <a:off x="5283878" y="2864192"/>
            <a:ext cx="3558540" cy="6638925"/>
          </a:xfrm>
          <a:custGeom>
            <a:avLst/>
            <a:gdLst/>
            <a:ahLst/>
            <a:cxnLst/>
            <a:rect l="l" t="t" r="r" b="b"/>
            <a:pathLst>
              <a:path w="3558540" h="6638925">
                <a:moveTo>
                  <a:pt x="3558042" y="6638677"/>
                </a:moveTo>
                <a:lnTo>
                  <a:pt x="0" y="6638677"/>
                </a:lnTo>
                <a:lnTo>
                  <a:pt x="0" y="0"/>
                </a:lnTo>
                <a:lnTo>
                  <a:pt x="3558042" y="0"/>
                </a:lnTo>
                <a:lnTo>
                  <a:pt x="3558042" y="6638677"/>
                </a:lnTo>
                <a:close/>
              </a:path>
            </a:pathLst>
          </a:custGeom>
          <a:solidFill>
            <a:srgbClr val="0090AE"/>
          </a:solidFill>
        </p:spPr>
        <p:txBody>
          <a:bodyPr wrap="square" lIns="0" tIns="0" rIns="0" bIns="0" rtlCol="0"/>
          <a:lstStyle/>
          <a:p>
            <a:endParaRPr/>
          </a:p>
        </p:txBody>
      </p:sp>
      <p:sp>
        <p:nvSpPr>
          <p:cNvPr id="17" name="object 17"/>
          <p:cNvSpPr txBox="1"/>
          <p:nvPr/>
        </p:nvSpPr>
        <p:spPr>
          <a:xfrm>
            <a:off x="5283878" y="2864192"/>
            <a:ext cx="3558540"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478790">
              <a:lnSpc>
                <a:spcPct val="100000"/>
              </a:lnSpc>
            </a:pPr>
            <a:r>
              <a:rPr sz="4600" b="1" spc="675" dirty="0">
                <a:solidFill>
                  <a:srgbClr val="F5A316"/>
                </a:solidFill>
                <a:latin typeface="Arial"/>
                <a:cs typeface="Arial"/>
              </a:rPr>
              <a:t>06</a:t>
            </a:r>
            <a:endParaRPr sz="4600">
              <a:latin typeface="Arial"/>
              <a:cs typeface="Arial"/>
            </a:endParaRPr>
          </a:p>
          <a:p>
            <a:pPr marL="478790">
              <a:lnSpc>
                <a:spcPct val="100000"/>
              </a:lnSpc>
              <a:spcBef>
                <a:spcPts val="530"/>
              </a:spcBef>
            </a:pPr>
            <a:r>
              <a:rPr sz="1850" b="1" spc="75" dirty="0">
                <a:solidFill>
                  <a:srgbClr val="FFFFFF"/>
                </a:solidFill>
                <a:latin typeface="Arial"/>
                <a:cs typeface="Arial"/>
              </a:rPr>
              <a:t>Competencia</a:t>
            </a:r>
            <a:endParaRPr sz="1850">
              <a:latin typeface="Arial"/>
              <a:cs typeface="Arial"/>
            </a:endParaRPr>
          </a:p>
          <a:p>
            <a:pPr marL="478790" marR="355600">
              <a:lnSpc>
                <a:spcPct val="229700"/>
              </a:lnSpc>
              <a:spcBef>
                <a:spcPts val="1880"/>
              </a:spcBef>
            </a:pPr>
            <a:r>
              <a:rPr sz="1850" dirty="0">
                <a:solidFill>
                  <a:srgbClr val="FFFFFF"/>
                </a:solidFill>
                <a:latin typeface="Roboto"/>
                <a:cs typeface="Roboto"/>
              </a:rPr>
              <a:t>Principales</a:t>
            </a:r>
            <a:r>
              <a:rPr sz="1850" spc="-40" dirty="0">
                <a:solidFill>
                  <a:srgbClr val="FFFFFF"/>
                </a:solidFill>
                <a:latin typeface="Roboto"/>
                <a:cs typeface="Roboto"/>
              </a:rPr>
              <a:t> </a:t>
            </a:r>
            <a:r>
              <a:rPr sz="1850" spc="-10" dirty="0">
                <a:solidFill>
                  <a:srgbClr val="FFFFFF"/>
                </a:solidFill>
                <a:latin typeface="Roboto"/>
                <a:cs typeface="Roboto"/>
              </a:rPr>
              <a:t>competidores ARGENTINA</a:t>
            </a:r>
            <a:endParaRPr sz="1850">
              <a:latin typeface="Roboto"/>
              <a:cs typeface="Roboto"/>
            </a:endParaRPr>
          </a:p>
          <a:p>
            <a:pPr marL="478790" marR="1875155">
              <a:lnSpc>
                <a:spcPct val="229700"/>
              </a:lnSpc>
            </a:pPr>
            <a:r>
              <a:rPr sz="1850" spc="-10" dirty="0">
                <a:solidFill>
                  <a:srgbClr val="FFFFFF"/>
                </a:solidFill>
                <a:latin typeface="Roboto"/>
                <a:cs typeface="Roboto"/>
              </a:rPr>
              <a:t>BRASIL COLOMBIA PERÚ.</a:t>
            </a:r>
            <a:endParaRPr sz="1850">
              <a:latin typeface="Roboto"/>
              <a:cs typeface="Roboto"/>
            </a:endParaRPr>
          </a:p>
        </p:txBody>
      </p:sp>
      <p:grpSp>
        <p:nvGrpSpPr>
          <p:cNvPr id="18" name="object 18"/>
          <p:cNvGrpSpPr/>
          <p:nvPr/>
        </p:nvGrpSpPr>
        <p:grpSpPr>
          <a:xfrm>
            <a:off x="7382443" y="3297339"/>
            <a:ext cx="1055370" cy="757555"/>
            <a:chOff x="7382443" y="3297339"/>
            <a:chExt cx="1055370" cy="757555"/>
          </a:xfrm>
        </p:grpSpPr>
        <p:pic>
          <p:nvPicPr>
            <p:cNvPr id="19" name="object 19"/>
            <p:cNvPicPr/>
            <p:nvPr/>
          </p:nvPicPr>
          <p:blipFill>
            <a:blip r:embed="rId4" cstate="print"/>
            <a:stretch>
              <a:fillRect/>
            </a:stretch>
          </p:blipFill>
          <p:spPr>
            <a:xfrm>
              <a:off x="7796270" y="3297339"/>
              <a:ext cx="150120" cy="79728"/>
            </a:xfrm>
            <a:prstGeom prst="rect">
              <a:avLst/>
            </a:prstGeom>
          </p:spPr>
        </p:pic>
        <p:sp>
          <p:nvSpPr>
            <p:cNvPr id="20" name="object 20"/>
            <p:cNvSpPr/>
            <p:nvPr/>
          </p:nvSpPr>
          <p:spPr>
            <a:xfrm>
              <a:off x="7382434" y="3317963"/>
              <a:ext cx="1055370" cy="737235"/>
            </a:xfrm>
            <a:custGeom>
              <a:avLst/>
              <a:gdLst/>
              <a:ahLst/>
              <a:cxnLst/>
              <a:rect l="l" t="t" r="r" b="b"/>
              <a:pathLst>
                <a:path w="1055370" h="737235">
                  <a:moveTo>
                    <a:pt x="357555" y="638962"/>
                  </a:moveTo>
                  <a:lnTo>
                    <a:pt x="186359" y="397751"/>
                  </a:lnTo>
                  <a:lnTo>
                    <a:pt x="13385" y="567499"/>
                  </a:lnTo>
                  <a:lnTo>
                    <a:pt x="1308" y="587298"/>
                  </a:lnTo>
                  <a:lnTo>
                    <a:pt x="0" y="609307"/>
                  </a:lnTo>
                  <a:lnTo>
                    <a:pt x="8750" y="629526"/>
                  </a:lnTo>
                  <a:lnTo>
                    <a:pt x="26847" y="643978"/>
                  </a:lnTo>
                  <a:lnTo>
                    <a:pt x="223304" y="733005"/>
                  </a:lnTo>
                  <a:lnTo>
                    <a:pt x="237185" y="736866"/>
                  </a:lnTo>
                  <a:lnTo>
                    <a:pt x="251269" y="736346"/>
                  </a:lnTo>
                  <a:lnTo>
                    <a:pt x="264579" y="731647"/>
                  </a:lnTo>
                  <a:lnTo>
                    <a:pt x="276098" y="722960"/>
                  </a:lnTo>
                  <a:lnTo>
                    <a:pt x="357555" y="638962"/>
                  </a:lnTo>
                  <a:close/>
                </a:path>
                <a:path w="1055370" h="737235">
                  <a:moveTo>
                    <a:pt x="506730" y="106591"/>
                  </a:moveTo>
                  <a:lnTo>
                    <a:pt x="462026" y="102577"/>
                  </a:lnTo>
                  <a:lnTo>
                    <a:pt x="420801" y="81953"/>
                  </a:lnTo>
                  <a:lnTo>
                    <a:pt x="391299" y="48755"/>
                  </a:lnTo>
                  <a:lnTo>
                    <a:pt x="375462" y="7200"/>
                  </a:lnTo>
                  <a:lnTo>
                    <a:pt x="366814" y="15887"/>
                  </a:lnTo>
                  <a:lnTo>
                    <a:pt x="361162" y="26809"/>
                  </a:lnTo>
                  <a:lnTo>
                    <a:pt x="358762" y="38900"/>
                  </a:lnTo>
                  <a:lnTo>
                    <a:pt x="359867" y="51117"/>
                  </a:lnTo>
                  <a:lnTo>
                    <a:pt x="360451" y="53492"/>
                  </a:lnTo>
                  <a:lnTo>
                    <a:pt x="357962" y="55435"/>
                  </a:lnTo>
                  <a:lnTo>
                    <a:pt x="355803" y="54330"/>
                  </a:lnTo>
                  <a:lnTo>
                    <a:pt x="341439" y="50076"/>
                  </a:lnTo>
                  <a:lnTo>
                    <a:pt x="326351" y="50939"/>
                  </a:lnTo>
                  <a:lnTo>
                    <a:pt x="312432" y="56667"/>
                  </a:lnTo>
                  <a:lnTo>
                    <a:pt x="301548" y="67005"/>
                  </a:lnTo>
                  <a:lnTo>
                    <a:pt x="295859" y="79870"/>
                  </a:lnTo>
                  <a:lnTo>
                    <a:pt x="294881" y="93941"/>
                  </a:lnTo>
                  <a:lnTo>
                    <a:pt x="298259" y="107734"/>
                  </a:lnTo>
                  <a:lnTo>
                    <a:pt x="305663" y="119697"/>
                  </a:lnTo>
                  <a:lnTo>
                    <a:pt x="307403" y="121666"/>
                  </a:lnTo>
                  <a:lnTo>
                    <a:pt x="305752" y="124688"/>
                  </a:lnTo>
                  <a:lnTo>
                    <a:pt x="303149" y="124371"/>
                  </a:lnTo>
                  <a:lnTo>
                    <a:pt x="295630" y="124040"/>
                  </a:lnTo>
                  <a:lnTo>
                    <a:pt x="288150" y="124891"/>
                  </a:lnTo>
                  <a:lnTo>
                    <a:pt x="255651" y="155321"/>
                  </a:lnTo>
                  <a:lnTo>
                    <a:pt x="254558" y="165849"/>
                  </a:lnTo>
                  <a:lnTo>
                    <a:pt x="256819" y="177330"/>
                  </a:lnTo>
                  <a:lnTo>
                    <a:pt x="261962" y="187820"/>
                  </a:lnTo>
                  <a:lnTo>
                    <a:pt x="269201" y="197421"/>
                  </a:lnTo>
                  <a:lnTo>
                    <a:pt x="277749" y="206248"/>
                  </a:lnTo>
                  <a:lnTo>
                    <a:pt x="279806" y="208191"/>
                  </a:lnTo>
                  <a:lnTo>
                    <a:pt x="278091" y="211569"/>
                  </a:lnTo>
                  <a:lnTo>
                    <a:pt x="275310" y="211162"/>
                  </a:lnTo>
                  <a:lnTo>
                    <a:pt x="265950" y="210794"/>
                  </a:lnTo>
                  <a:lnTo>
                    <a:pt x="256743" y="212356"/>
                  </a:lnTo>
                  <a:lnTo>
                    <a:pt x="228066" y="242430"/>
                  </a:lnTo>
                  <a:lnTo>
                    <a:pt x="227063" y="254825"/>
                  </a:lnTo>
                  <a:lnTo>
                    <a:pt x="229958" y="266877"/>
                  </a:lnTo>
                  <a:lnTo>
                    <a:pt x="284835" y="328041"/>
                  </a:lnTo>
                  <a:lnTo>
                    <a:pt x="316255" y="351256"/>
                  </a:lnTo>
                  <a:lnTo>
                    <a:pt x="329819" y="353021"/>
                  </a:lnTo>
                  <a:lnTo>
                    <a:pt x="343242" y="350177"/>
                  </a:lnTo>
                  <a:lnTo>
                    <a:pt x="355104" y="343268"/>
                  </a:lnTo>
                  <a:lnTo>
                    <a:pt x="364007" y="332841"/>
                  </a:lnTo>
                  <a:lnTo>
                    <a:pt x="368604" y="319925"/>
                  </a:lnTo>
                  <a:lnTo>
                    <a:pt x="368693" y="306146"/>
                  </a:lnTo>
                  <a:lnTo>
                    <a:pt x="364502" y="293039"/>
                  </a:lnTo>
                  <a:lnTo>
                    <a:pt x="356247" y="282092"/>
                  </a:lnTo>
                  <a:lnTo>
                    <a:pt x="363093" y="286029"/>
                  </a:lnTo>
                  <a:lnTo>
                    <a:pt x="370827" y="287705"/>
                  </a:lnTo>
                  <a:lnTo>
                    <a:pt x="378891" y="287362"/>
                  </a:lnTo>
                  <a:lnTo>
                    <a:pt x="386702" y="285254"/>
                  </a:lnTo>
                  <a:lnTo>
                    <a:pt x="413385" y="255917"/>
                  </a:lnTo>
                  <a:lnTo>
                    <a:pt x="415023" y="245783"/>
                  </a:lnTo>
                  <a:lnTo>
                    <a:pt x="414324" y="235546"/>
                  </a:lnTo>
                  <a:lnTo>
                    <a:pt x="411378" y="225704"/>
                  </a:lnTo>
                  <a:lnTo>
                    <a:pt x="406273" y="216801"/>
                  </a:lnTo>
                  <a:lnTo>
                    <a:pt x="420370" y="219036"/>
                  </a:lnTo>
                  <a:lnTo>
                    <a:pt x="456501" y="198818"/>
                  </a:lnTo>
                  <a:lnTo>
                    <a:pt x="461619" y="172173"/>
                  </a:lnTo>
                  <a:lnTo>
                    <a:pt x="457784" y="159296"/>
                  </a:lnTo>
                  <a:lnTo>
                    <a:pt x="451294" y="147167"/>
                  </a:lnTo>
                  <a:lnTo>
                    <a:pt x="460756" y="149326"/>
                  </a:lnTo>
                  <a:lnTo>
                    <a:pt x="495960" y="134302"/>
                  </a:lnTo>
                  <a:lnTo>
                    <a:pt x="505307" y="116573"/>
                  </a:lnTo>
                  <a:lnTo>
                    <a:pt x="506730" y="106591"/>
                  </a:lnTo>
                  <a:close/>
                </a:path>
                <a:path w="1055370" h="737235">
                  <a:moveTo>
                    <a:pt x="795959" y="270865"/>
                  </a:moveTo>
                  <a:lnTo>
                    <a:pt x="782002" y="232498"/>
                  </a:lnTo>
                  <a:lnTo>
                    <a:pt x="756907" y="225183"/>
                  </a:lnTo>
                  <a:lnTo>
                    <a:pt x="744067" y="226606"/>
                  </a:lnTo>
                  <a:lnTo>
                    <a:pt x="742251" y="227050"/>
                  </a:lnTo>
                  <a:lnTo>
                    <a:pt x="740968" y="224866"/>
                  </a:lnTo>
                  <a:lnTo>
                    <a:pt x="747102" y="218274"/>
                  </a:lnTo>
                  <a:lnTo>
                    <a:pt x="752462" y="213715"/>
                  </a:lnTo>
                  <a:lnTo>
                    <a:pt x="756412" y="207708"/>
                  </a:lnTo>
                  <a:lnTo>
                    <a:pt x="761555" y="197231"/>
                  </a:lnTo>
                  <a:lnTo>
                    <a:pt x="764006" y="185762"/>
                  </a:lnTo>
                  <a:lnTo>
                    <a:pt x="763473" y="174155"/>
                  </a:lnTo>
                  <a:lnTo>
                    <a:pt x="732739" y="143383"/>
                  </a:lnTo>
                  <a:lnTo>
                    <a:pt x="723988" y="143268"/>
                  </a:lnTo>
                  <a:lnTo>
                    <a:pt x="714946" y="144259"/>
                  </a:lnTo>
                  <a:lnTo>
                    <a:pt x="706767" y="145745"/>
                  </a:lnTo>
                  <a:lnTo>
                    <a:pt x="704723" y="146189"/>
                  </a:lnTo>
                  <a:lnTo>
                    <a:pt x="703465" y="143560"/>
                  </a:lnTo>
                  <a:lnTo>
                    <a:pt x="727544" y="110223"/>
                  </a:lnTo>
                  <a:lnTo>
                    <a:pt x="727951" y="98171"/>
                  </a:lnTo>
                  <a:lnTo>
                    <a:pt x="725055" y="86512"/>
                  </a:lnTo>
                  <a:lnTo>
                    <a:pt x="692289" y="61760"/>
                  </a:lnTo>
                  <a:lnTo>
                    <a:pt x="681888" y="61531"/>
                  </a:lnTo>
                  <a:lnTo>
                    <a:pt x="677011" y="61950"/>
                  </a:lnTo>
                  <a:lnTo>
                    <a:pt x="668540" y="65544"/>
                  </a:lnTo>
                  <a:lnTo>
                    <a:pt x="659638" y="69723"/>
                  </a:lnTo>
                  <a:lnTo>
                    <a:pt x="656971" y="67094"/>
                  </a:lnTo>
                  <a:lnTo>
                    <a:pt x="658114" y="64503"/>
                  </a:lnTo>
                  <a:lnTo>
                    <a:pt x="663041" y="48780"/>
                  </a:lnTo>
                  <a:lnTo>
                    <a:pt x="663473" y="33235"/>
                  </a:lnTo>
                  <a:lnTo>
                    <a:pt x="658393" y="19050"/>
                  </a:lnTo>
                  <a:lnTo>
                    <a:pt x="646785" y="7366"/>
                  </a:lnTo>
                  <a:lnTo>
                    <a:pt x="633920" y="1600"/>
                  </a:lnTo>
                  <a:lnTo>
                    <a:pt x="620052" y="0"/>
                  </a:lnTo>
                  <a:lnTo>
                    <a:pt x="606272" y="2400"/>
                  </a:lnTo>
                  <a:lnTo>
                    <a:pt x="593610" y="8610"/>
                  </a:lnTo>
                  <a:lnTo>
                    <a:pt x="532282" y="50558"/>
                  </a:lnTo>
                  <a:lnTo>
                    <a:pt x="531228" y="56045"/>
                  </a:lnTo>
                  <a:lnTo>
                    <a:pt x="533882" y="60032"/>
                  </a:lnTo>
                  <a:lnTo>
                    <a:pt x="541223" y="73418"/>
                  </a:lnTo>
                  <a:lnTo>
                    <a:pt x="545922" y="87680"/>
                  </a:lnTo>
                  <a:lnTo>
                    <a:pt x="547979" y="102438"/>
                  </a:lnTo>
                  <a:lnTo>
                    <a:pt x="547382" y="117309"/>
                  </a:lnTo>
                  <a:lnTo>
                    <a:pt x="532930" y="154609"/>
                  </a:lnTo>
                  <a:lnTo>
                    <a:pt x="504190" y="179997"/>
                  </a:lnTo>
                  <a:lnTo>
                    <a:pt x="502297" y="195097"/>
                  </a:lnTo>
                  <a:lnTo>
                    <a:pt x="480085" y="235788"/>
                  </a:lnTo>
                  <a:lnTo>
                    <a:pt x="457161" y="252006"/>
                  </a:lnTo>
                  <a:lnTo>
                    <a:pt x="454736" y="265899"/>
                  </a:lnTo>
                  <a:lnTo>
                    <a:pt x="433311" y="303263"/>
                  </a:lnTo>
                  <a:lnTo>
                    <a:pt x="410387" y="319506"/>
                  </a:lnTo>
                  <a:lnTo>
                    <a:pt x="407962" y="333400"/>
                  </a:lnTo>
                  <a:lnTo>
                    <a:pt x="386549" y="370776"/>
                  </a:lnTo>
                  <a:lnTo>
                    <a:pt x="352209" y="391477"/>
                  </a:lnTo>
                  <a:lnTo>
                    <a:pt x="328091" y="395046"/>
                  </a:lnTo>
                  <a:lnTo>
                    <a:pt x="311823" y="393446"/>
                  </a:lnTo>
                  <a:lnTo>
                    <a:pt x="296430" y="388772"/>
                  </a:lnTo>
                  <a:lnTo>
                    <a:pt x="282244" y="381165"/>
                  </a:lnTo>
                  <a:lnTo>
                    <a:pt x="269646" y="370776"/>
                  </a:lnTo>
                  <a:lnTo>
                    <a:pt x="244830" y="345846"/>
                  </a:lnTo>
                  <a:lnTo>
                    <a:pt x="242735" y="355803"/>
                  </a:lnTo>
                  <a:lnTo>
                    <a:pt x="239369" y="368122"/>
                  </a:lnTo>
                  <a:lnTo>
                    <a:pt x="235991" y="379145"/>
                  </a:lnTo>
                  <a:lnTo>
                    <a:pt x="233845" y="385241"/>
                  </a:lnTo>
                  <a:lnTo>
                    <a:pt x="375196" y="584403"/>
                  </a:lnTo>
                  <a:lnTo>
                    <a:pt x="387324" y="575005"/>
                  </a:lnTo>
                  <a:lnTo>
                    <a:pt x="399249" y="565289"/>
                  </a:lnTo>
                  <a:lnTo>
                    <a:pt x="411848" y="556729"/>
                  </a:lnTo>
                  <a:lnTo>
                    <a:pt x="426008" y="550722"/>
                  </a:lnTo>
                  <a:lnTo>
                    <a:pt x="451751" y="542836"/>
                  </a:lnTo>
                  <a:lnTo>
                    <a:pt x="476338" y="533819"/>
                  </a:lnTo>
                  <a:lnTo>
                    <a:pt x="524687" y="511886"/>
                  </a:lnTo>
                  <a:lnTo>
                    <a:pt x="564007" y="490093"/>
                  </a:lnTo>
                  <a:lnTo>
                    <a:pt x="603542" y="463651"/>
                  </a:lnTo>
                  <a:lnTo>
                    <a:pt x="665949" y="412851"/>
                  </a:lnTo>
                  <a:lnTo>
                    <a:pt x="707694" y="374167"/>
                  </a:lnTo>
                  <a:lnTo>
                    <a:pt x="748322" y="334302"/>
                  </a:lnTo>
                  <a:lnTo>
                    <a:pt x="783894" y="297751"/>
                  </a:lnTo>
                  <a:lnTo>
                    <a:pt x="792060" y="285369"/>
                  </a:lnTo>
                  <a:lnTo>
                    <a:pt x="795959" y="270865"/>
                  </a:lnTo>
                  <a:close/>
                </a:path>
                <a:path w="1055370" h="737235">
                  <a:moveTo>
                    <a:pt x="827633" y="391477"/>
                  </a:moveTo>
                  <a:lnTo>
                    <a:pt x="816914" y="354190"/>
                  </a:lnTo>
                  <a:lnTo>
                    <a:pt x="814438" y="325742"/>
                  </a:lnTo>
                  <a:lnTo>
                    <a:pt x="776389" y="364832"/>
                  </a:lnTo>
                  <a:lnTo>
                    <a:pt x="734733" y="405650"/>
                  </a:lnTo>
                  <a:lnTo>
                    <a:pt x="692302" y="444855"/>
                  </a:lnTo>
                  <a:lnTo>
                    <a:pt x="652602" y="478421"/>
                  </a:lnTo>
                  <a:lnTo>
                    <a:pt x="619252" y="503364"/>
                  </a:lnTo>
                  <a:lnTo>
                    <a:pt x="583057" y="527037"/>
                  </a:lnTo>
                  <a:lnTo>
                    <a:pt x="570966" y="534136"/>
                  </a:lnTo>
                  <a:lnTo>
                    <a:pt x="586562" y="540613"/>
                  </a:lnTo>
                  <a:lnTo>
                    <a:pt x="602386" y="546544"/>
                  </a:lnTo>
                  <a:lnTo>
                    <a:pt x="618617" y="551980"/>
                  </a:lnTo>
                  <a:lnTo>
                    <a:pt x="635444" y="556958"/>
                  </a:lnTo>
                  <a:lnTo>
                    <a:pt x="649605" y="562952"/>
                  </a:lnTo>
                  <a:lnTo>
                    <a:pt x="662216" y="571525"/>
                  </a:lnTo>
                  <a:lnTo>
                    <a:pt x="674141" y="581228"/>
                  </a:lnTo>
                  <a:lnTo>
                    <a:pt x="686269" y="590626"/>
                  </a:lnTo>
                  <a:lnTo>
                    <a:pt x="827633" y="391477"/>
                  </a:lnTo>
                  <a:close/>
                </a:path>
                <a:path w="1055370" h="737235">
                  <a:moveTo>
                    <a:pt x="1055128" y="609320"/>
                  </a:moveTo>
                  <a:lnTo>
                    <a:pt x="1053820" y="587311"/>
                  </a:lnTo>
                  <a:lnTo>
                    <a:pt x="1041755" y="567512"/>
                  </a:lnTo>
                  <a:lnTo>
                    <a:pt x="875118" y="403948"/>
                  </a:lnTo>
                  <a:lnTo>
                    <a:pt x="703897" y="645198"/>
                  </a:lnTo>
                  <a:lnTo>
                    <a:pt x="779310" y="722960"/>
                  </a:lnTo>
                  <a:lnTo>
                    <a:pt x="790829" y="731647"/>
                  </a:lnTo>
                  <a:lnTo>
                    <a:pt x="804138" y="736346"/>
                  </a:lnTo>
                  <a:lnTo>
                    <a:pt x="818222" y="736866"/>
                  </a:lnTo>
                  <a:lnTo>
                    <a:pt x="832129" y="733005"/>
                  </a:lnTo>
                  <a:lnTo>
                    <a:pt x="1028293" y="643991"/>
                  </a:lnTo>
                  <a:lnTo>
                    <a:pt x="1046391" y="629551"/>
                  </a:lnTo>
                  <a:lnTo>
                    <a:pt x="1055128" y="609320"/>
                  </a:lnTo>
                  <a:close/>
                </a:path>
              </a:pathLst>
            </a:custGeom>
            <a:solidFill>
              <a:srgbClr val="FFFFFF"/>
            </a:solidFill>
          </p:spPr>
          <p:txBody>
            <a:bodyPr wrap="square" lIns="0" tIns="0" rIns="0" bIns="0" rtlCol="0"/>
            <a:lstStyle/>
            <a:p>
              <a:endParaRPr/>
            </a:p>
          </p:txBody>
        </p:sp>
      </p:grpSp>
      <p:grpSp>
        <p:nvGrpSpPr>
          <p:cNvPr id="21" name="object 21"/>
          <p:cNvGrpSpPr/>
          <p:nvPr/>
        </p:nvGrpSpPr>
        <p:grpSpPr>
          <a:xfrm>
            <a:off x="9036900" y="2863537"/>
            <a:ext cx="3558540" cy="6638925"/>
            <a:chOff x="9036900" y="2863537"/>
            <a:chExt cx="3558540" cy="6638925"/>
          </a:xfrm>
        </p:grpSpPr>
        <p:sp>
          <p:nvSpPr>
            <p:cNvPr id="22" name="object 22"/>
            <p:cNvSpPr/>
            <p:nvPr/>
          </p:nvSpPr>
          <p:spPr>
            <a:xfrm>
              <a:off x="9036900" y="2863537"/>
              <a:ext cx="3558540" cy="6638925"/>
            </a:xfrm>
            <a:custGeom>
              <a:avLst/>
              <a:gdLst/>
              <a:ahLst/>
              <a:cxnLst/>
              <a:rect l="l" t="t" r="r" b="b"/>
              <a:pathLst>
                <a:path w="3558540" h="6638925">
                  <a:moveTo>
                    <a:pt x="3558042" y="6638677"/>
                  </a:moveTo>
                  <a:lnTo>
                    <a:pt x="0" y="6638677"/>
                  </a:lnTo>
                  <a:lnTo>
                    <a:pt x="0" y="0"/>
                  </a:lnTo>
                  <a:lnTo>
                    <a:pt x="3558042" y="0"/>
                  </a:lnTo>
                  <a:lnTo>
                    <a:pt x="3558042" y="6638677"/>
                  </a:lnTo>
                  <a:close/>
                </a:path>
              </a:pathLst>
            </a:custGeom>
            <a:solidFill>
              <a:srgbClr val="0090AE"/>
            </a:solidFill>
          </p:spPr>
          <p:txBody>
            <a:bodyPr wrap="square" lIns="0" tIns="0" rIns="0" bIns="0" rtlCol="0"/>
            <a:lstStyle/>
            <a:p>
              <a:endParaRPr/>
            </a:p>
          </p:txBody>
        </p:sp>
        <p:sp>
          <p:nvSpPr>
            <p:cNvPr id="23" name="object 23"/>
            <p:cNvSpPr/>
            <p:nvPr/>
          </p:nvSpPr>
          <p:spPr>
            <a:xfrm>
              <a:off x="11383886" y="3344591"/>
              <a:ext cx="805180" cy="826769"/>
            </a:xfrm>
            <a:custGeom>
              <a:avLst/>
              <a:gdLst/>
              <a:ahLst/>
              <a:cxnLst/>
              <a:rect l="l" t="t" r="r" b="b"/>
              <a:pathLst>
                <a:path w="805179" h="826770">
                  <a:moveTo>
                    <a:pt x="781485" y="826649"/>
                  </a:moveTo>
                  <a:lnTo>
                    <a:pt x="24494" y="826649"/>
                  </a:lnTo>
                  <a:lnTo>
                    <a:pt x="11319" y="822860"/>
                  </a:lnTo>
                  <a:lnTo>
                    <a:pt x="2721" y="813354"/>
                  </a:lnTo>
                  <a:lnTo>
                    <a:pt x="0" y="800916"/>
                  </a:lnTo>
                  <a:lnTo>
                    <a:pt x="4455" y="788333"/>
                  </a:lnTo>
                  <a:lnTo>
                    <a:pt x="176068" y="550512"/>
                  </a:lnTo>
                  <a:lnTo>
                    <a:pt x="184907" y="543162"/>
                  </a:lnTo>
                  <a:lnTo>
                    <a:pt x="195694" y="540713"/>
                  </a:lnTo>
                  <a:lnTo>
                    <a:pt x="206467" y="543162"/>
                  </a:lnTo>
                  <a:lnTo>
                    <a:pt x="215265" y="550512"/>
                  </a:lnTo>
                  <a:lnTo>
                    <a:pt x="264884" y="618482"/>
                  </a:lnTo>
                  <a:lnTo>
                    <a:pt x="378143" y="462503"/>
                  </a:lnTo>
                  <a:lnTo>
                    <a:pt x="378143" y="24442"/>
                  </a:lnTo>
                  <a:lnTo>
                    <a:pt x="380278" y="14130"/>
                  </a:lnTo>
                  <a:lnTo>
                    <a:pt x="386089" y="6028"/>
                  </a:lnTo>
                  <a:lnTo>
                    <a:pt x="394679" y="1021"/>
                  </a:lnTo>
                  <a:lnTo>
                    <a:pt x="405155" y="0"/>
                  </a:lnTo>
                  <a:lnTo>
                    <a:pt x="413690" y="2479"/>
                  </a:lnTo>
                  <a:lnTo>
                    <a:pt x="420587" y="8055"/>
                  </a:lnTo>
                  <a:lnTo>
                    <a:pt x="425200" y="15916"/>
                  </a:lnTo>
                  <a:lnTo>
                    <a:pt x="426882" y="25250"/>
                  </a:lnTo>
                  <a:lnTo>
                    <a:pt x="426882" y="47050"/>
                  </a:lnTo>
                  <a:lnTo>
                    <a:pt x="451047" y="53652"/>
                  </a:lnTo>
                  <a:lnTo>
                    <a:pt x="474483" y="52739"/>
                  </a:lnTo>
                  <a:lnTo>
                    <a:pt x="498083" y="46596"/>
                  </a:lnTo>
                  <a:lnTo>
                    <a:pt x="548413" y="28375"/>
                  </a:lnTo>
                  <a:lnTo>
                    <a:pt x="575878" y="20818"/>
                  </a:lnTo>
                  <a:lnTo>
                    <a:pt x="605311" y="17018"/>
                  </a:lnTo>
                  <a:lnTo>
                    <a:pt x="636884" y="19157"/>
                  </a:lnTo>
                  <a:lnTo>
                    <a:pt x="643999" y="21703"/>
                  </a:lnTo>
                  <a:lnTo>
                    <a:pt x="649490" y="26369"/>
                  </a:lnTo>
                  <a:lnTo>
                    <a:pt x="653027" y="32659"/>
                  </a:lnTo>
                  <a:lnTo>
                    <a:pt x="654280" y="40077"/>
                  </a:lnTo>
                  <a:lnTo>
                    <a:pt x="654280" y="208240"/>
                  </a:lnTo>
                  <a:lnTo>
                    <a:pt x="652309" y="217350"/>
                  </a:lnTo>
                  <a:lnTo>
                    <a:pt x="646995" y="224526"/>
                  </a:lnTo>
                  <a:lnTo>
                    <a:pt x="639230" y="228771"/>
                  </a:lnTo>
                  <a:lnTo>
                    <a:pt x="629910" y="229086"/>
                  </a:lnTo>
                  <a:lnTo>
                    <a:pt x="606279" y="227879"/>
                  </a:lnTo>
                  <a:lnTo>
                    <a:pt x="583493" y="231160"/>
                  </a:lnTo>
                  <a:lnTo>
                    <a:pt x="561052" y="237550"/>
                  </a:lnTo>
                  <a:lnTo>
                    <a:pt x="519280" y="252694"/>
                  </a:lnTo>
                  <a:lnTo>
                    <a:pt x="499641" y="258832"/>
                  </a:lnTo>
                  <a:lnTo>
                    <a:pt x="479368" y="263181"/>
                  </a:lnTo>
                  <a:lnTo>
                    <a:pt x="458297" y="264833"/>
                  </a:lnTo>
                  <a:lnTo>
                    <a:pt x="450455" y="264640"/>
                  </a:lnTo>
                  <a:lnTo>
                    <a:pt x="442516" y="263952"/>
                  </a:lnTo>
                  <a:lnTo>
                    <a:pt x="434412" y="262603"/>
                  </a:lnTo>
                  <a:lnTo>
                    <a:pt x="426074" y="260428"/>
                  </a:lnTo>
                  <a:lnTo>
                    <a:pt x="426074" y="462503"/>
                  </a:lnTo>
                  <a:lnTo>
                    <a:pt x="539333" y="618482"/>
                  </a:lnTo>
                  <a:lnTo>
                    <a:pt x="588952" y="550512"/>
                  </a:lnTo>
                  <a:lnTo>
                    <a:pt x="597750" y="543162"/>
                  </a:lnTo>
                  <a:lnTo>
                    <a:pt x="608523" y="540713"/>
                  </a:lnTo>
                  <a:lnTo>
                    <a:pt x="619310" y="543162"/>
                  </a:lnTo>
                  <a:lnTo>
                    <a:pt x="628149" y="550512"/>
                  </a:lnTo>
                  <a:lnTo>
                    <a:pt x="800569" y="788333"/>
                  </a:lnTo>
                  <a:lnTo>
                    <a:pt x="805071" y="800916"/>
                  </a:lnTo>
                  <a:lnTo>
                    <a:pt x="802450" y="813354"/>
                  </a:lnTo>
                  <a:lnTo>
                    <a:pt x="794118" y="822860"/>
                  </a:lnTo>
                  <a:lnTo>
                    <a:pt x="781485" y="826649"/>
                  </a:lnTo>
                  <a:close/>
                </a:path>
              </a:pathLst>
            </a:custGeom>
            <a:solidFill>
              <a:srgbClr val="FFFFFF"/>
            </a:solidFill>
          </p:spPr>
          <p:txBody>
            <a:bodyPr wrap="square" lIns="0" tIns="0" rIns="0" bIns="0" rtlCol="0"/>
            <a:lstStyle/>
            <a:p>
              <a:endParaRPr/>
            </a:p>
          </p:txBody>
        </p:sp>
        <p:pic>
          <p:nvPicPr>
            <p:cNvPr id="24" name="object 24"/>
            <p:cNvPicPr/>
            <p:nvPr/>
          </p:nvPicPr>
          <p:blipFill>
            <a:blip r:embed="rId2" cstate="print"/>
            <a:stretch>
              <a:fillRect/>
            </a:stretch>
          </p:blipFill>
          <p:spPr>
            <a:xfrm>
              <a:off x="9665550" y="5569385"/>
              <a:ext cx="66675" cy="66674"/>
            </a:xfrm>
            <a:prstGeom prst="rect">
              <a:avLst/>
            </a:prstGeom>
          </p:spPr>
        </p:pic>
        <p:pic>
          <p:nvPicPr>
            <p:cNvPr id="25" name="object 25"/>
            <p:cNvPicPr/>
            <p:nvPr/>
          </p:nvPicPr>
          <p:blipFill>
            <a:blip r:embed="rId2" cstate="print"/>
            <a:stretch>
              <a:fillRect/>
            </a:stretch>
          </p:blipFill>
          <p:spPr>
            <a:xfrm>
              <a:off x="9665550" y="6121835"/>
              <a:ext cx="66675" cy="66674"/>
            </a:xfrm>
            <a:prstGeom prst="rect">
              <a:avLst/>
            </a:prstGeom>
          </p:spPr>
        </p:pic>
        <p:pic>
          <p:nvPicPr>
            <p:cNvPr id="26" name="object 26"/>
            <p:cNvPicPr/>
            <p:nvPr/>
          </p:nvPicPr>
          <p:blipFill>
            <a:blip r:embed="rId5" cstate="print"/>
            <a:stretch>
              <a:fillRect/>
            </a:stretch>
          </p:blipFill>
          <p:spPr>
            <a:xfrm>
              <a:off x="9656025" y="6674285"/>
              <a:ext cx="76200" cy="76199"/>
            </a:xfrm>
            <a:prstGeom prst="rect">
              <a:avLst/>
            </a:prstGeom>
          </p:spPr>
        </p:pic>
      </p:grpSp>
      <p:sp>
        <p:nvSpPr>
          <p:cNvPr id="27" name="object 27"/>
          <p:cNvSpPr txBox="1"/>
          <p:nvPr/>
        </p:nvSpPr>
        <p:spPr>
          <a:xfrm>
            <a:off x="9036900" y="2863537"/>
            <a:ext cx="3558540" cy="6638925"/>
          </a:xfrm>
          <a:prstGeom prst="rect">
            <a:avLst/>
          </a:prstGeom>
        </p:spPr>
        <p:txBody>
          <a:bodyPr vert="horz" wrap="square" lIns="0" tIns="1905" rIns="0" bIns="0" rtlCol="0">
            <a:spAutoFit/>
          </a:bodyPr>
          <a:lstStyle/>
          <a:p>
            <a:pPr>
              <a:lnSpc>
                <a:spcPct val="100000"/>
              </a:lnSpc>
              <a:spcBef>
                <a:spcPts val="15"/>
              </a:spcBef>
            </a:pPr>
            <a:endParaRPr sz="5250">
              <a:latin typeface="Times New Roman"/>
              <a:cs typeface="Times New Roman"/>
            </a:endParaRPr>
          </a:p>
          <a:p>
            <a:pPr marL="427990">
              <a:lnSpc>
                <a:spcPct val="100000"/>
              </a:lnSpc>
            </a:pPr>
            <a:r>
              <a:rPr sz="4600" b="1" spc="675" dirty="0">
                <a:solidFill>
                  <a:srgbClr val="F5A316"/>
                </a:solidFill>
                <a:latin typeface="Arial"/>
                <a:cs typeface="Arial"/>
              </a:rPr>
              <a:t>07</a:t>
            </a:r>
            <a:endParaRPr sz="4600">
              <a:latin typeface="Arial"/>
              <a:cs typeface="Arial"/>
            </a:endParaRPr>
          </a:p>
          <a:p>
            <a:pPr marL="427990" marR="1780539">
              <a:lnSpc>
                <a:spcPts val="2850"/>
              </a:lnSpc>
              <a:spcBef>
                <a:spcPts val="175"/>
              </a:spcBef>
            </a:pPr>
            <a:r>
              <a:rPr sz="1850" b="1" spc="40" dirty="0">
                <a:solidFill>
                  <a:srgbClr val="FFFFFF"/>
                </a:solidFill>
                <a:latin typeface="Arial"/>
                <a:cs typeface="Arial"/>
              </a:rPr>
              <a:t>Principales </a:t>
            </a:r>
            <a:r>
              <a:rPr sz="1850" b="1" spc="70" dirty="0">
                <a:solidFill>
                  <a:srgbClr val="FFFFFF"/>
                </a:solidFill>
                <a:latin typeface="Arial"/>
                <a:cs typeface="Arial"/>
              </a:rPr>
              <a:t>retos</a:t>
            </a:r>
            <a:r>
              <a:rPr sz="1850" b="1" spc="-5" dirty="0">
                <a:solidFill>
                  <a:srgbClr val="FFFFFF"/>
                </a:solidFill>
                <a:latin typeface="Arial"/>
                <a:cs typeface="Arial"/>
              </a:rPr>
              <a:t> </a:t>
            </a:r>
            <a:r>
              <a:rPr sz="1850" b="1" spc="-20" dirty="0">
                <a:solidFill>
                  <a:srgbClr val="FFFFFF"/>
                </a:solidFill>
                <a:latin typeface="Arial"/>
                <a:cs typeface="Arial"/>
              </a:rPr>
              <a:t>MICE</a:t>
            </a:r>
            <a:endParaRPr sz="1850">
              <a:latin typeface="Arial"/>
              <a:cs typeface="Arial"/>
            </a:endParaRPr>
          </a:p>
          <a:p>
            <a:pPr marL="824865" marR="187325" indent="4445">
              <a:lnSpc>
                <a:spcPct val="195900"/>
              </a:lnSpc>
              <a:spcBef>
                <a:spcPts val="630"/>
              </a:spcBef>
            </a:pPr>
            <a:r>
              <a:rPr sz="1850" spc="-10" dirty="0">
                <a:solidFill>
                  <a:srgbClr val="FFFFFF"/>
                </a:solidFill>
                <a:latin typeface="Roboto"/>
                <a:cs typeface="Roboto"/>
              </a:rPr>
              <a:t>Competitividad. </a:t>
            </a:r>
            <a:r>
              <a:rPr sz="1850" spc="-20" dirty="0">
                <a:solidFill>
                  <a:srgbClr val="FFFFFF"/>
                </a:solidFill>
                <a:latin typeface="Roboto"/>
                <a:cs typeface="Roboto"/>
              </a:rPr>
              <a:t>Posicionamiento</a:t>
            </a:r>
            <a:r>
              <a:rPr sz="1850" spc="35" dirty="0">
                <a:solidFill>
                  <a:srgbClr val="FFFFFF"/>
                </a:solidFill>
                <a:latin typeface="Roboto"/>
                <a:cs typeface="Roboto"/>
              </a:rPr>
              <a:t> </a:t>
            </a:r>
            <a:r>
              <a:rPr sz="1850" spc="-10" dirty="0">
                <a:solidFill>
                  <a:srgbClr val="FFFFFF"/>
                </a:solidFill>
                <a:latin typeface="Roboto"/>
                <a:cs typeface="Roboto"/>
              </a:rPr>
              <a:t>global.</a:t>
            </a:r>
            <a:endParaRPr sz="1850">
              <a:latin typeface="Roboto"/>
              <a:cs typeface="Roboto"/>
            </a:endParaRPr>
          </a:p>
          <a:p>
            <a:pPr>
              <a:lnSpc>
                <a:spcPct val="100000"/>
              </a:lnSpc>
              <a:spcBef>
                <a:spcPts val="60"/>
              </a:spcBef>
            </a:pPr>
            <a:endParaRPr sz="1650">
              <a:latin typeface="Roboto"/>
              <a:cs typeface="Roboto"/>
            </a:endParaRPr>
          </a:p>
          <a:p>
            <a:pPr marL="824865" marR="443865">
              <a:lnSpc>
                <a:spcPct val="100699"/>
              </a:lnSpc>
            </a:pPr>
            <a:r>
              <a:rPr sz="1800" dirty="0">
                <a:solidFill>
                  <a:srgbClr val="FFFFFF"/>
                </a:solidFill>
                <a:latin typeface="Roboto"/>
                <a:cs typeface="Roboto"/>
              </a:rPr>
              <a:t>Puesta</a:t>
            </a:r>
            <a:r>
              <a:rPr sz="1800" spc="5" dirty="0">
                <a:solidFill>
                  <a:srgbClr val="FFFFFF"/>
                </a:solidFill>
                <a:latin typeface="Roboto"/>
                <a:cs typeface="Roboto"/>
              </a:rPr>
              <a:t> </a:t>
            </a:r>
            <a:r>
              <a:rPr sz="1800" dirty="0">
                <a:solidFill>
                  <a:srgbClr val="FFFFFF"/>
                </a:solidFill>
                <a:latin typeface="Roboto"/>
                <a:cs typeface="Roboto"/>
              </a:rPr>
              <a:t>en</a:t>
            </a:r>
            <a:r>
              <a:rPr sz="1800" spc="5" dirty="0">
                <a:solidFill>
                  <a:srgbClr val="FFFFFF"/>
                </a:solidFill>
                <a:latin typeface="Roboto"/>
                <a:cs typeface="Roboto"/>
              </a:rPr>
              <a:t> </a:t>
            </a:r>
            <a:r>
              <a:rPr sz="1800" dirty="0">
                <a:solidFill>
                  <a:srgbClr val="FFFFFF"/>
                </a:solidFill>
                <a:latin typeface="Roboto"/>
                <a:cs typeface="Roboto"/>
              </a:rPr>
              <a:t>valor</a:t>
            </a:r>
            <a:r>
              <a:rPr sz="1800" spc="5" dirty="0">
                <a:solidFill>
                  <a:srgbClr val="FFFFFF"/>
                </a:solidFill>
                <a:latin typeface="Roboto"/>
                <a:cs typeface="Roboto"/>
              </a:rPr>
              <a:t> </a:t>
            </a:r>
            <a:r>
              <a:rPr sz="1800" spc="-25" dirty="0">
                <a:solidFill>
                  <a:srgbClr val="FFFFFF"/>
                </a:solidFill>
                <a:latin typeface="Roboto"/>
                <a:cs typeface="Roboto"/>
              </a:rPr>
              <a:t>de </a:t>
            </a:r>
            <a:r>
              <a:rPr sz="1800" dirty="0">
                <a:solidFill>
                  <a:srgbClr val="FFFFFF"/>
                </a:solidFill>
                <a:latin typeface="Roboto"/>
                <a:cs typeface="Roboto"/>
              </a:rPr>
              <a:t>destinos</a:t>
            </a:r>
            <a:r>
              <a:rPr sz="1800" spc="5" dirty="0">
                <a:solidFill>
                  <a:srgbClr val="FFFFFF"/>
                </a:solidFill>
                <a:latin typeface="Roboto"/>
                <a:cs typeface="Roboto"/>
              </a:rPr>
              <a:t> </a:t>
            </a:r>
            <a:r>
              <a:rPr sz="1800" spc="-10" dirty="0">
                <a:solidFill>
                  <a:srgbClr val="FFFFFF"/>
                </a:solidFill>
                <a:latin typeface="Roboto"/>
                <a:cs typeface="Roboto"/>
              </a:rPr>
              <a:t>secundarios.</a:t>
            </a:r>
            <a:endParaRPr sz="1800">
              <a:latin typeface="Roboto"/>
              <a:cs typeface="Roboto"/>
            </a:endParaRPr>
          </a:p>
        </p:txBody>
      </p:sp>
      <p:pic>
        <p:nvPicPr>
          <p:cNvPr id="28" name="object 28"/>
          <p:cNvPicPr/>
          <p:nvPr/>
        </p:nvPicPr>
        <p:blipFill>
          <a:blip r:embed="rId6" cstate="print"/>
          <a:stretch>
            <a:fillRect/>
          </a:stretch>
        </p:blipFill>
        <p:spPr>
          <a:xfrm>
            <a:off x="17316450" y="237491"/>
            <a:ext cx="742949" cy="819149"/>
          </a:xfrm>
          <a:prstGeom prst="rect">
            <a:avLst/>
          </a:prstGeom>
        </p:spPr>
      </p:pic>
      <p:sp>
        <p:nvSpPr>
          <p:cNvPr id="29" name="object 29"/>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30" name="object 30"/>
          <p:cNvSpPr txBox="1"/>
          <p:nvPr/>
        </p:nvSpPr>
        <p:spPr>
          <a:xfrm>
            <a:off x="17811802" y="9932972"/>
            <a:ext cx="218440"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2</a:t>
            </a:r>
            <a:endParaRPr sz="900">
              <a:latin typeface="Arial"/>
              <a:cs typeface="Aria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113694"/>
            <a:ext cx="17954625" cy="8675370"/>
            <a:chOff x="166956" y="1113694"/>
            <a:chExt cx="17954625" cy="8675370"/>
          </a:xfrm>
        </p:grpSpPr>
        <p:sp>
          <p:nvSpPr>
            <p:cNvPr id="3" name="object 3"/>
            <p:cNvSpPr/>
            <p:nvPr/>
          </p:nvSpPr>
          <p:spPr>
            <a:xfrm>
              <a:off x="166956" y="1113694"/>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2043579" y="7540183"/>
              <a:ext cx="3036570" cy="1179195"/>
            </a:xfrm>
            <a:custGeom>
              <a:avLst/>
              <a:gdLst/>
              <a:ahLst/>
              <a:cxnLst/>
              <a:rect l="l" t="t" r="r" b="b"/>
              <a:pathLst>
                <a:path w="3036570" h="1179195">
                  <a:moveTo>
                    <a:pt x="2447083" y="1178745"/>
                  </a:moveTo>
                  <a:lnTo>
                    <a:pt x="589372" y="1178745"/>
                  </a:lnTo>
                  <a:lnTo>
                    <a:pt x="541035" y="1176791"/>
                  </a:lnTo>
                  <a:lnTo>
                    <a:pt x="493773" y="1171031"/>
                  </a:lnTo>
                  <a:lnTo>
                    <a:pt x="447739" y="1161616"/>
                  </a:lnTo>
                  <a:lnTo>
                    <a:pt x="403085" y="1148698"/>
                  </a:lnTo>
                  <a:lnTo>
                    <a:pt x="359962" y="1132429"/>
                  </a:lnTo>
                  <a:lnTo>
                    <a:pt x="318522" y="1112960"/>
                  </a:lnTo>
                  <a:lnTo>
                    <a:pt x="278916" y="1090443"/>
                  </a:lnTo>
                  <a:lnTo>
                    <a:pt x="241296" y="1065030"/>
                  </a:lnTo>
                  <a:lnTo>
                    <a:pt x="205815" y="1036872"/>
                  </a:lnTo>
                  <a:lnTo>
                    <a:pt x="172623" y="1006122"/>
                  </a:lnTo>
                  <a:lnTo>
                    <a:pt x="141872" y="972930"/>
                  </a:lnTo>
                  <a:lnTo>
                    <a:pt x="113714" y="937448"/>
                  </a:lnTo>
                  <a:lnTo>
                    <a:pt x="88301" y="899829"/>
                  </a:lnTo>
                  <a:lnTo>
                    <a:pt x="65784" y="860223"/>
                  </a:lnTo>
                  <a:lnTo>
                    <a:pt x="46315" y="818783"/>
                  </a:lnTo>
                  <a:lnTo>
                    <a:pt x="30046" y="775660"/>
                  </a:lnTo>
                  <a:lnTo>
                    <a:pt x="17128" y="731005"/>
                  </a:lnTo>
                  <a:lnTo>
                    <a:pt x="7713" y="684971"/>
                  </a:lnTo>
                  <a:lnTo>
                    <a:pt x="1953" y="637710"/>
                  </a:lnTo>
                  <a:lnTo>
                    <a:pt x="0" y="589372"/>
                  </a:lnTo>
                  <a:lnTo>
                    <a:pt x="1953" y="541034"/>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2" y="65784"/>
                  </a:lnTo>
                  <a:lnTo>
                    <a:pt x="359962" y="46315"/>
                  </a:lnTo>
                  <a:lnTo>
                    <a:pt x="403085" y="30046"/>
                  </a:lnTo>
                  <a:lnTo>
                    <a:pt x="447739" y="17128"/>
                  </a:lnTo>
                  <a:lnTo>
                    <a:pt x="493773" y="7713"/>
                  </a:lnTo>
                  <a:lnTo>
                    <a:pt x="541035" y="1953"/>
                  </a:lnTo>
                  <a:lnTo>
                    <a:pt x="589372" y="0"/>
                  </a:lnTo>
                  <a:lnTo>
                    <a:pt x="2447083" y="0"/>
                  </a:lnTo>
                  <a:lnTo>
                    <a:pt x="2495421" y="1953"/>
                  </a:lnTo>
                  <a:lnTo>
                    <a:pt x="2542682" y="7713"/>
                  </a:lnTo>
                  <a:lnTo>
                    <a:pt x="2588716" y="17128"/>
                  </a:lnTo>
                  <a:lnTo>
                    <a:pt x="2633370" y="30046"/>
                  </a:lnTo>
                  <a:lnTo>
                    <a:pt x="2676493" y="46315"/>
                  </a:lnTo>
                  <a:lnTo>
                    <a:pt x="2717934" y="65784"/>
                  </a:lnTo>
                  <a:lnTo>
                    <a:pt x="2757539" y="88301"/>
                  </a:lnTo>
                  <a:lnTo>
                    <a:pt x="2795159" y="113714"/>
                  </a:lnTo>
                  <a:lnTo>
                    <a:pt x="2830640" y="141872"/>
                  </a:lnTo>
                  <a:lnTo>
                    <a:pt x="2863832" y="172623"/>
                  </a:lnTo>
                  <a:lnTo>
                    <a:pt x="2894583" y="205815"/>
                  </a:lnTo>
                  <a:lnTo>
                    <a:pt x="2922741" y="241296"/>
                  </a:lnTo>
                  <a:lnTo>
                    <a:pt x="2948154" y="278916"/>
                  </a:lnTo>
                  <a:lnTo>
                    <a:pt x="2970671" y="318522"/>
                  </a:lnTo>
                  <a:lnTo>
                    <a:pt x="2990140" y="359962"/>
                  </a:lnTo>
                  <a:lnTo>
                    <a:pt x="3006409" y="403085"/>
                  </a:lnTo>
                  <a:lnTo>
                    <a:pt x="3019327" y="447739"/>
                  </a:lnTo>
                  <a:lnTo>
                    <a:pt x="3028742" y="493773"/>
                  </a:lnTo>
                  <a:lnTo>
                    <a:pt x="3034502" y="541034"/>
                  </a:lnTo>
                  <a:lnTo>
                    <a:pt x="3036456" y="589372"/>
                  </a:lnTo>
                  <a:lnTo>
                    <a:pt x="3034502" y="637710"/>
                  </a:lnTo>
                  <a:lnTo>
                    <a:pt x="3028742" y="684971"/>
                  </a:lnTo>
                  <a:lnTo>
                    <a:pt x="3019327" y="731005"/>
                  </a:lnTo>
                  <a:lnTo>
                    <a:pt x="3006409" y="775660"/>
                  </a:lnTo>
                  <a:lnTo>
                    <a:pt x="2990140" y="818783"/>
                  </a:lnTo>
                  <a:lnTo>
                    <a:pt x="2970671" y="860223"/>
                  </a:lnTo>
                  <a:lnTo>
                    <a:pt x="2948154" y="899829"/>
                  </a:lnTo>
                  <a:lnTo>
                    <a:pt x="2922741" y="937448"/>
                  </a:lnTo>
                  <a:lnTo>
                    <a:pt x="2894583" y="972930"/>
                  </a:lnTo>
                  <a:lnTo>
                    <a:pt x="2863832" y="1006122"/>
                  </a:lnTo>
                  <a:lnTo>
                    <a:pt x="2830640" y="1036872"/>
                  </a:lnTo>
                  <a:lnTo>
                    <a:pt x="2795159" y="1065030"/>
                  </a:lnTo>
                  <a:lnTo>
                    <a:pt x="2757539" y="1090443"/>
                  </a:lnTo>
                  <a:lnTo>
                    <a:pt x="2717934" y="1112960"/>
                  </a:lnTo>
                  <a:lnTo>
                    <a:pt x="2676493" y="1132429"/>
                  </a:lnTo>
                  <a:lnTo>
                    <a:pt x="2633370" y="1148698"/>
                  </a:lnTo>
                  <a:lnTo>
                    <a:pt x="2588716" y="1161616"/>
                  </a:lnTo>
                  <a:lnTo>
                    <a:pt x="2542682" y="1171031"/>
                  </a:lnTo>
                  <a:lnTo>
                    <a:pt x="2495421" y="1176791"/>
                  </a:lnTo>
                  <a:lnTo>
                    <a:pt x="2447083" y="1178745"/>
                  </a:lnTo>
                  <a:close/>
                </a:path>
              </a:pathLst>
            </a:custGeom>
            <a:solidFill>
              <a:srgbClr val="21408B"/>
            </a:solidFill>
          </p:spPr>
          <p:txBody>
            <a:bodyPr wrap="square" lIns="0" tIns="0" rIns="0" bIns="0" rtlCol="0"/>
            <a:lstStyle/>
            <a:p>
              <a:endParaRPr/>
            </a:p>
          </p:txBody>
        </p:sp>
        <p:sp>
          <p:nvSpPr>
            <p:cNvPr id="5" name="object 5"/>
            <p:cNvSpPr/>
            <p:nvPr/>
          </p:nvSpPr>
          <p:spPr>
            <a:xfrm>
              <a:off x="2018757" y="3686609"/>
              <a:ext cx="3086100" cy="3086100"/>
            </a:xfrm>
            <a:custGeom>
              <a:avLst/>
              <a:gdLst/>
              <a:ahLst/>
              <a:cxnLst/>
              <a:rect l="l" t="t" r="r" b="b"/>
              <a:pathLst>
                <a:path w="3086100" h="3086100">
                  <a:moveTo>
                    <a:pt x="1543076" y="3086099"/>
                  </a:moveTo>
                  <a:lnTo>
                    <a:pt x="1494987" y="3085365"/>
                  </a:lnTo>
                  <a:lnTo>
                    <a:pt x="1447291" y="3083177"/>
                  </a:lnTo>
                  <a:lnTo>
                    <a:pt x="1399983" y="3079555"/>
                  </a:lnTo>
                  <a:lnTo>
                    <a:pt x="1353083" y="3074522"/>
                  </a:lnTo>
                  <a:lnTo>
                    <a:pt x="1306613" y="3068099"/>
                  </a:lnTo>
                  <a:lnTo>
                    <a:pt x="1260594" y="3060306"/>
                  </a:lnTo>
                  <a:lnTo>
                    <a:pt x="1215048" y="3051166"/>
                  </a:lnTo>
                  <a:lnTo>
                    <a:pt x="1169996" y="3040700"/>
                  </a:lnTo>
                  <a:lnTo>
                    <a:pt x="1125459" y="3028929"/>
                  </a:lnTo>
                  <a:lnTo>
                    <a:pt x="1081460" y="3015874"/>
                  </a:lnTo>
                  <a:lnTo>
                    <a:pt x="1038018" y="3001557"/>
                  </a:lnTo>
                  <a:lnTo>
                    <a:pt x="995155" y="2985999"/>
                  </a:lnTo>
                  <a:lnTo>
                    <a:pt x="952894" y="2969221"/>
                  </a:lnTo>
                  <a:lnTo>
                    <a:pt x="911254" y="2951246"/>
                  </a:lnTo>
                  <a:lnTo>
                    <a:pt x="870258" y="2932093"/>
                  </a:lnTo>
                  <a:lnTo>
                    <a:pt x="829926" y="2911785"/>
                  </a:lnTo>
                  <a:lnTo>
                    <a:pt x="790281" y="2890342"/>
                  </a:lnTo>
                  <a:lnTo>
                    <a:pt x="751343" y="2867787"/>
                  </a:lnTo>
                  <a:lnTo>
                    <a:pt x="713134" y="2844140"/>
                  </a:lnTo>
                  <a:lnTo>
                    <a:pt x="675675" y="2819423"/>
                  </a:lnTo>
                  <a:lnTo>
                    <a:pt x="638987" y="2793658"/>
                  </a:lnTo>
                  <a:lnTo>
                    <a:pt x="603092" y="2766864"/>
                  </a:lnTo>
                  <a:lnTo>
                    <a:pt x="568012" y="2739065"/>
                  </a:lnTo>
                  <a:lnTo>
                    <a:pt x="533766" y="2710280"/>
                  </a:lnTo>
                  <a:lnTo>
                    <a:pt x="500378" y="2680532"/>
                  </a:lnTo>
                  <a:lnTo>
                    <a:pt x="467868" y="2649842"/>
                  </a:lnTo>
                  <a:lnTo>
                    <a:pt x="436257" y="2618231"/>
                  </a:lnTo>
                  <a:lnTo>
                    <a:pt x="405567" y="2585721"/>
                  </a:lnTo>
                  <a:lnTo>
                    <a:pt x="375819" y="2552333"/>
                  </a:lnTo>
                  <a:lnTo>
                    <a:pt x="347034" y="2518087"/>
                  </a:lnTo>
                  <a:lnTo>
                    <a:pt x="319235" y="2483007"/>
                  </a:lnTo>
                  <a:lnTo>
                    <a:pt x="292441" y="2447112"/>
                  </a:lnTo>
                  <a:lnTo>
                    <a:pt x="266676" y="2410424"/>
                  </a:lnTo>
                  <a:lnTo>
                    <a:pt x="241959" y="2372965"/>
                  </a:lnTo>
                  <a:lnTo>
                    <a:pt x="218312" y="2334756"/>
                  </a:lnTo>
                  <a:lnTo>
                    <a:pt x="195757" y="2295818"/>
                  </a:lnTo>
                  <a:lnTo>
                    <a:pt x="174314" y="2256172"/>
                  </a:lnTo>
                  <a:lnTo>
                    <a:pt x="154006" y="2215841"/>
                  </a:lnTo>
                  <a:lnTo>
                    <a:pt x="134853" y="2174845"/>
                  </a:lnTo>
                  <a:lnTo>
                    <a:pt x="116878"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8"/>
                  </a:lnTo>
                  <a:lnTo>
                    <a:pt x="734" y="1591112"/>
                  </a:lnTo>
                  <a:lnTo>
                    <a:pt x="0" y="1543050"/>
                  </a:lnTo>
                  <a:lnTo>
                    <a:pt x="734" y="1494988"/>
                  </a:lnTo>
                  <a:lnTo>
                    <a:pt x="2922" y="1447292"/>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8" y="952894"/>
                  </a:lnTo>
                  <a:lnTo>
                    <a:pt x="134853" y="911254"/>
                  </a:lnTo>
                  <a:lnTo>
                    <a:pt x="154006" y="870258"/>
                  </a:lnTo>
                  <a:lnTo>
                    <a:pt x="174314" y="829927"/>
                  </a:lnTo>
                  <a:lnTo>
                    <a:pt x="195757" y="790281"/>
                  </a:lnTo>
                  <a:lnTo>
                    <a:pt x="218312" y="751343"/>
                  </a:lnTo>
                  <a:lnTo>
                    <a:pt x="241959" y="713134"/>
                  </a:lnTo>
                  <a:lnTo>
                    <a:pt x="266676" y="675675"/>
                  </a:lnTo>
                  <a:lnTo>
                    <a:pt x="292441" y="638987"/>
                  </a:lnTo>
                  <a:lnTo>
                    <a:pt x="319235" y="603092"/>
                  </a:lnTo>
                  <a:lnTo>
                    <a:pt x="347034" y="568012"/>
                  </a:lnTo>
                  <a:lnTo>
                    <a:pt x="375819" y="533766"/>
                  </a:lnTo>
                  <a:lnTo>
                    <a:pt x="405567" y="500378"/>
                  </a:lnTo>
                  <a:lnTo>
                    <a:pt x="436257" y="467868"/>
                  </a:lnTo>
                  <a:lnTo>
                    <a:pt x="467868" y="436257"/>
                  </a:lnTo>
                  <a:lnTo>
                    <a:pt x="500378" y="405567"/>
                  </a:lnTo>
                  <a:lnTo>
                    <a:pt x="533766" y="375819"/>
                  </a:lnTo>
                  <a:lnTo>
                    <a:pt x="568012" y="347034"/>
                  </a:lnTo>
                  <a:lnTo>
                    <a:pt x="603092" y="319235"/>
                  </a:lnTo>
                  <a:lnTo>
                    <a:pt x="638987" y="292442"/>
                  </a:lnTo>
                  <a:lnTo>
                    <a:pt x="675675" y="266676"/>
                  </a:lnTo>
                  <a:lnTo>
                    <a:pt x="713134" y="241959"/>
                  </a:lnTo>
                  <a:lnTo>
                    <a:pt x="751343" y="218312"/>
                  </a:lnTo>
                  <a:lnTo>
                    <a:pt x="790281" y="195757"/>
                  </a:lnTo>
                  <a:lnTo>
                    <a:pt x="829926" y="174314"/>
                  </a:lnTo>
                  <a:lnTo>
                    <a:pt x="870258" y="154006"/>
                  </a:lnTo>
                  <a:lnTo>
                    <a:pt x="911254" y="134853"/>
                  </a:lnTo>
                  <a:lnTo>
                    <a:pt x="952894" y="116878"/>
                  </a:lnTo>
                  <a:lnTo>
                    <a:pt x="995155" y="100100"/>
                  </a:lnTo>
                  <a:lnTo>
                    <a:pt x="1038018" y="84542"/>
                  </a:lnTo>
                  <a:lnTo>
                    <a:pt x="1081460" y="70225"/>
                  </a:lnTo>
                  <a:lnTo>
                    <a:pt x="1125459" y="57170"/>
                  </a:lnTo>
                  <a:lnTo>
                    <a:pt x="1169996" y="45399"/>
                  </a:lnTo>
                  <a:lnTo>
                    <a:pt x="1215048" y="34933"/>
                  </a:lnTo>
                  <a:lnTo>
                    <a:pt x="1260594" y="25793"/>
                  </a:lnTo>
                  <a:lnTo>
                    <a:pt x="1306613" y="18000"/>
                  </a:lnTo>
                  <a:lnTo>
                    <a:pt x="1353083" y="11577"/>
                  </a:lnTo>
                  <a:lnTo>
                    <a:pt x="1399983"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5" y="134853"/>
                  </a:lnTo>
                  <a:lnTo>
                    <a:pt x="2215841" y="154006"/>
                  </a:lnTo>
                  <a:lnTo>
                    <a:pt x="2256172" y="174314"/>
                  </a:lnTo>
                  <a:lnTo>
                    <a:pt x="2295818" y="195757"/>
                  </a:lnTo>
                  <a:lnTo>
                    <a:pt x="2334756" y="218312"/>
                  </a:lnTo>
                  <a:lnTo>
                    <a:pt x="2372965" y="241959"/>
                  </a:lnTo>
                  <a:lnTo>
                    <a:pt x="2410424" y="266676"/>
                  </a:lnTo>
                  <a:lnTo>
                    <a:pt x="2447112" y="292442"/>
                  </a:lnTo>
                  <a:lnTo>
                    <a:pt x="2483006" y="319235"/>
                  </a:lnTo>
                  <a:lnTo>
                    <a:pt x="2518087" y="347034"/>
                  </a:lnTo>
                  <a:lnTo>
                    <a:pt x="2552333"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6" y="911254"/>
                  </a:lnTo>
                  <a:lnTo>
                    <a:pt x="2969221" y="952894"/>
                  </a:lnTo>
                  <a:lnTo>
                    <a:pt x="2985999" y="995156"/>
                  </a:lnTo>
                  <a:lnTo>
                    <a:pt x="3001557" y="1038018"/>
                  </a:lnTo>
                  <a:lnTo>
                    <a:pt x="3015874" y="1081460"/>
                  </a:lnTo>
                  <a:lnTo>
                    <a:pt x="3028928" y="1125460"/>
                  </a:lnTo>
                  <a:lnTo>
                    <a:pt x="3040700" y="1169996"/>
                  </a:lnTo>
                  <a:lnTo>
                    <a:pt x="3051166" y="1215048"/>
                  </a:lnTo>
                  <a:lnTo>
                    <a:pt x="3060306" y="1260594"/>
                  </a:lnTo>
                  <a:lnTo>
                    <a:pt x="3068098" y="1306613"/>
                  </a:lnTo>
                  <a:lnTo>
                    <a:pt x="3074522" y="1353083"/>
                  </a:lnTo>
                  <a:lnTo>
                    <a:pt x="3079555" y="1399983"/>
                  </a:lnTo>
                  <a:lnTo>
                    <a:pt x="3083176" y="1447292"/>
                  </a:lnTo>
                  <a:lnTo>
                    <a:pt x="3085365" y="1494988"/>
                  </a:lnTo>
                  <a:lnTo>
                    <a:pt x="3086099" y="1543050"/>
                  </a:lnTo>
                  <a:lnTo>
                    <a:pt x="3085365" y="1591112"/>
                  </a:lnTo>
                  <a:lnTo>
                    <a:pt x="3083176" y="1638808"/>
                  </a:lnTo>
                  <a:lnTo>
                    <a:pt x="3079555" y="1686116"/>
                  </a:lnTo>
                  <a:lnTo>
                    <a:pt x="3074522" y="1733016"/>
                  </a:lnTo>
                  <a:lnTo>
                    <a:pt x="3068098" y="1779486"/>
                  </a:lnTo>
                  <a:lnTo>
                    <a:pt x="3060306" y="1825505"/>
                  </a:lnTo>
                  <a:lnTo>
                    <a:pt x="3051166" y="1871051"/>
                  </a:lnTo>
                  <a:lnTo>
                    <a:pt x="3040700" y="1916103"/>
                  </a:lnTo>
                  <a:lnTo>
                    <a:pt x="3028928" y="1960639"/>
                  </a:lnTo>
                  <a:lnTo>
                    <a:pt x="3015874" y="2004639"/>
                  </a:lnTo>
                  <a:lnTo>
                    <a:pt x="3001557" y="2048081"/>
                  </a:lnTo>
                  <a:lnTo>
                    <a:pt x="2985999" y="2090943"/>
                  </a:lnTo>
                  <a:lnTo>
                    <a:pt x="2969221" y="2133205"/>
                  </a:lnTo>
                  <a:lnTo>
                    <a:pt x="2951246"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7"/>
                  </a:lnTo>
                  <a:lnTo>
                    <a:pt x="2739064" y="2518087"/>
                  </a:lnTo>
                  <a:lnTo>
                    <a:pt x="2710280" y="2552333"/>
                  </a:lnTo>
                  <a:lnTo>
                    <a:pt x="2680532" y="2585721"/>
                  </a:lnTo>
                  <a:lnTo>
                    <a:pt x="2649842" y="2618231"/>
                  </a:lnTo>
                  <a:lnTo>
                    <a:pt x="2618231" y="2649842"/>
                  </a:lnTo>
                  <a:lnTo>
                    <a:pt x="2585721" y="2680532"/>
                  </a:lnTo>
                  <a:lnTo>
                    <a:pt x="2552333" y="2710280"/>
                  </a:lnTo>
                  <a:lnTo>
                    <a:pt x="2518087" y="2739065"/>
                  </a:lnTo>
                  <a:lnTo>
                    <a:pt x="2483006" y="2766864"/>
                  </a:lnTo>
                  <a:lnTo>
                    <a:pt x="2447112" y="2793658"/>
                  </a:lnTo>
                  <a:lnTo>
                    <a:pt x="2410424" y="2819423"/>
                  </a:lnTo>
                  <a:lnTo>
                    <a:pt x="2372965" y="2844140"/>
                  </a:lnTo>
                  <a:lnTo>
                    <a:pt x="2334756" y="2867787"/>
                  </a:lnTo>
                  <a:lnTo>
                    <a:pt x="2295818" y="2890342"/>
                  </a:lnTo>
                  <a:lnTo>
                    <a:pt x="2256172" y="2911785"/>
                  </a:lnTo>
                  <a:lnTo>
                    <a:pt x="2215841" y="2932093"/>
                  </a:lnTo>
                  <a:lnTo>
                    <a:pt x="2174845"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9"/>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6" name="object 6"/>
            <p:cNvSpPr/>
            <p:nvPr/>
          </p:nvSpPr>
          <p:spPr>
            <a:xfrm>
              <a:off x="2857131" y="4437709"/>
              <a:ext cx="1410335" cy="1704339"/>
            </a:xfrm>
            <a:custGeom>
              <a:avLst/>
              <a:gdLst/>
              <a:ahLst/>
              <a:cxnLst/>
              <a:rect l="l" t="t" r="r" b="b"/>
              <a:pathLst>
                <a:path w="1410335" h="1704339">
                  <a:moveTo>
                    <a:pt x="530402" y="1267675"/>
                  </a:moveTo>
                  <a:lnTo>
                    <a:pt x="357124" y="1051687"/>
                  </a:lnTo>
                  <a:lnTo>
                    <a:pt x="344741" y="1044778"/>
                  </a:lnTo>
                  <a:lnTo>
                    <a:pt x="326072" y="1037361"/>
                  </a:lnTo>
                  <a:lnTo>
                    <a:pt x="305092" y="1034249"/>
                  </a:lnTo>
                  <a:lnTo>
                    <a:pt x="285762" y="1040231"/>
                  </a:lnTo>
                  <a:lnTo>
                    <a:pt x="273659" y="1054100"/>
                  </a:lnTo>
                  <a:lnTo>
                    <a:pt x="270192" y="1069174"/>
                  </a:lnTo>
                  <a:lnTo>
                    <a:pt x="271805" y="1082713"/>
                  </a:lnTo>
                  <a:lnTo>
                    <a:pt x="274891" y="1091946"/>
                  </a:lnTo>
                  <a:lnTo>
                    <a:pt x="331279" y="1180109"/>
                  </a:lnTo>
                  <a:lnTo>
                    <a:pt x="335381" y="1190434"/>
                  </a:lnTo>
                  <a:lnTo>
                    <a:pt x="314236" y="1224292"/>
                  </a:lnTo>
                  <a:lnTo>
                    <a:pt x="303491" y="1225105"/>
                  </a:lnTo>
                  <a:lnTo>
                    <a:pt x="293141" y="1221994"/>
                  </a:lnTo>
                  <a:lnTo>
                    <a:pt x="284289" y="1215072"/>
                  </a:lnTo>
                  <a:lnTo>
                    <a:pt x="111607" y="1014082"/>
                  </a:lnTo>
                  <a:lnTo>
                    <a:pt x="109258" y="1007021"/>
                  </a:lnTo>
                  <a:lnTo>
                    <a:pt x="113372" y="622376"/>
                  </a:lnTo>
                  <a:lnTo>
                    <a:pt x="107010" y="606869"/>
                  </a:lnTo>
                  <a:lnTo>
                    <a:pt x="94716" y="593356"/>
                  </a:lnTo>
                  <a:lnTo>
                    <a:pt x="78676" y="583692"/>
                  </a:lnTo>
                  <a:lnTo>
                    <a:pt x="61087" y="579767"/>
                  </a:lnTo>
                  <a:lnTo>
                    <a:pt x="34734" y="584314"/>
                  </a:lnTo>
                  <a:lnTo>
                    <a:pt x="16560" y="597433"/>
                  </a:lnTo>
                  <a:lnTo>
                    <a:pt x="5372" y="613029"/>
                  </a:lnTo>
                  <a:lnTo>
                    <a:pt x="0" y="625017"/>
                  </a:lnTo>
                  <a:lnTo>
                    <a:pt x="0" y="1089304"/>
                  </a:lnTo>
                  <a:lnTo>
                    <a:pt x="270789" y="1414297"/>
                  </a:lnTo>
                  <a:lnTo>
                    <a:pt x="273138" y="1421066"/>
                  </a:lnTo>
                  <a:lnTo>
                    <a:pt x="273138" y="1427822"/>
                  </a:lnTo>
                  <a:lnTo>
                    <a:pt x="273138" y="1508340"/>
                  </a:lnTo>
                  <a:lnTo>
                    <a:pt x="528637" y="1508340"/>
                  </a:lnTo>
                  <a:lnTo>
                    <a:pt x="530402" y="1267675"/>
                  </a:lnTo>
                  <a:close/>
                </a:path>
                <a:path w="1410335" h="1704339">
                  <a:moveTo>
                    <a:pt x="580923" y="1567395"/>
                  </a:moveTo>
                  <a:lnTo>
                    <a:pt x="223799" y="1567395"/>
                  </a:lnTo>
                  <a:lnTo>
                    <a:pt x="223799" y="1704327"/>
                  </a:lnTo>
                  <a:lnTo>
                    <a:pt x="580923" y="1704327"/>
                  </a:lnTo>
                  <a:lnTo>
                    <a:pt x="580923" y="1567395"/>
                  </a:lnTo>
                  <a:close/>
                </a:path>
                <a:path w="1410335" h="1704339">
                  <a:moveTo>
                    <a:pt x="1167117" y="455472"/>
                  </a:moveTo>
                  <a:lnTo>
                    <a:pt x="1164729" y="408952"/>
                  </a:lnTo>
                  <a:lnTo>
                    <a:pt x="1157706" y="363766"/>
                  </a:lnTo>
                  <a:lnTo>
                    <a:pt x="1146302" y="320141"/>
                  </a:lnTo>
                  <a:lnTo>
                    <a:pt x="1130731" y="278307"/>
                  </a:lnTo>
                  <a:lnTo>
                    <a:pt x="1111250" y="238493"/>
                  </a:lnTo>
                  <a:lnTo>
                    <a:pt x="1088072" y="200939"/>
                  </a:lnTo>
                  <a:lnTo>
                    <a:pt x="1061440" y="165874"/>
                  </a:lnTo>
                  <a:lnTo>
                    <a:pt x="1031582" y="133515"/>
                  </a:lnTo>
                  <a:lnTo>
                    <a:pt x="998740" y="104101"/>
                  </a:lnTo>
                  <a:lnTo>
                    <a:pt x="963142" y="77863"/>
                  </a:lnTo>
                  <a:lnTo>
                    <a:pt x="925029" y="55029"/>
                  </a:lnTo>
                  <a:lnTo>
                    <a:pt x="884631" y="35839"/>
                  </a:lnTo>
                  <a:lnTo>
                    <a:pt x="860310" y="27063"/>
                  </a:lnTo>
                  <a:lnTo>
                    <a:pt x="860310" y="536816"/>
                  </a:lnTo>
                  <a:lnTo>
                    <a:pt x="858088" y="563422"/>
                  </a:lnTo>
                  <a:lnTo>
                    <a:pt x="849579" y="589305"/>
                  </a:lnTo>
                  <a:lnTo>
                    <a:pt x="834961" y="613562"/>
                  </a:lnTo>
                  <a:lnTo>
                    <a:pt x="834364" y="613562"/>
                  </a:lnTo>
                  <a:lnTo>
                    <a:pt x="817397" y="629932"/>
                  </a:lnTo>
                  <a:lnTo>
                    <a:pt x="793953" y="643864"/>
                  </a:lnTo>
                  <a:lnTo>
                    <a:pt x="765606" y="654761"/>
                  </a:lnTo>
                  <a:lnTo>
                    <a:pt x="733933" y="662038"/>
                  </a:lnTo>
                  <a:lnTo>
                    <a:pt x="733933" y="719937"/>
                  </a:lnTo>
                  <a:lnTo>
                    <a:pt x="731608" y="731342"/>
                  </a:lnTo>
                  <a:lnTo>
                    <a:pt x="725297" y="740689"/>
                  </a:lnTo>
                  <a:lnTo>
                    <a:pt x="715962" y="747001"/>
                  </a:lnTo>
                  <a:lnTo>
                    <a:pt x="704557" y="749312"/>
                  </a:lnTo>
                  <a:lnTo>
                    <a:pt x="693153" y="747001"/>
                  </a:lnTo>
                  <a:lnTo>
                    <a:pt x="683818" y="740689"/>
                  </a:lnTo>
                  <a:lnTo>
                    <a:pt x="677506" y="731342"/>
                  </a:lnTo>
                  <a:lnTo>
                    <a:pt x="675195" y="719937"/>
                  </a:lnTo>
                  <a:lnTo>
                    <a:pt x="675195" y="663803"/>
                  </a:lnTo>
                  <a:lnTo>
                    <a:pt x="645731" y="659663"/>
                  </a:lnTo>
                  <a:lnTo>
                    <a:pt x="589330" y="640918"/>
                  </a:lnTo>
                  <a:lnTo>
                    <a:pt x="554685" y="618045"/>
                  </a:lnTo>
                  <a:lnTo>
                    <a:pt x="549948" y="596442"/>
                  </a:lnTo>
                  <a:lnTo>
                    <a:pt x="554189" y="585647"/>
                  </a:lnTo>
                  <a:lnTo>
                    <a:pt x="562343" y="577329"/>
                  </a:lnTo>
                  <a:lnTo>
                    <a:pt x="572693" y="572858"/>
                  </a:lnTo>
                  <a:lnTo>
                    <a:pt x="583933" y="572579"/>
                  </a:lnTo>
                  <a:lnTo>
                    <a:pt x="594715" y="576821"/>
                  </a:lnTo>
                  <a:lnTo>
                    <a:pt x="625284" y="592785"/>
                  </a:lnTo>
                  <a:lnTo>
                    <a:pt x="654456" y="602030"/>
                  </a:lnTo>
                  <a:lnTo>
                    <a:pt x="680910" y="606082"/>
                  </a:lnTo>
                  <a:lnTo>
                    <a:pt x="703389" y="606501"/>
                  </a:lnTo>
                  <a:lnTo>
                    <a:pt x="734733" y="602424"/>
                  </a:lnTo>
                  <a:lnTo>
                    <a:pt x="760069" y="594791"/>
                  </a:lnTo>
                  <a:lnTo>
                    <a:pt x="778141" y="585889"/>
                  </a:lnTo>
                  <a:lnTo>
                    <a:pt x="787679" y="578002"/>
                  </a:lnTo>
                  <a:lnTo>
                    <a:pt x="790981" y="572579"/>
                  </a:lnTo>
                  <a:lnTo>
                    <a:pt x="795210" y="565670"/>
                  </a:lnTo>
                  <a:lnTo>
                    <a:pt x="799680" y="552767"/>
                  </a:lnTo>
                  <a:lnTo>
                    <a:pt x="801014" y="539699"/>
                  </a:lnTo>
                  <a:lnTo>
                    <a:pt x="799122" y="526872"/>
                  </a:lnTo>
                  <a:lnTo>
                    <a:pt x="766216" y="489102"/>
                  </a:lnTo>
                  <a:lnTo>
                    <a:pt x="731583" y="474865"/>
                  </a:lnTo>
                  <a:lnTo>
                    <a:pt x="723061" y="471919"/>
                  </a:lnTo>
                  <a:lnTo>
                    <a:pt x="658914" y="447967"/>
                  </a:lnTo>
                  <a:lnTo>
                    <a:pt x="623277" y="427659"/>
                  </a:lnTo>
                  <a:lnTo>
                    <a:pt x="591947" y="399580"/>
                  </a:lnTo>
                  <a:lnTo>
                    <a:pt x="568871" y="361734"/>
                  </a:lnTo>
                  <a:lnTo>
                    <a:pt x="562241" y="336435"/>
                  </a:lnTo>
                  <a:lnTo>
                    <a:pt x="562495" y="310527"/>
                  </a:lnTo>
                  <a:lnTo>
                    <a:pt x="582968" y="260642"/>
                  </a:lnTo>
                  <a:lnTo>
                    <a:pt x="623392" y="223697"/>
                  </a:lnTo>
                  <a:lnTo>
                    <a:pt x="675487" y="205689"/>
                  </a:lnTo>
                  <a:lnTo>
                    <a:pt x="675487" y="149567"/>
                  </a:lnTo>
                  <a:lnTo>
                    <a:pt x="677799" y="138163"/>
                  </a:lnTo>
                  <a:lnTo>
                    <a:pt x="684110" y="128816"/>
                  </a:lnTo>
                  <a:lnTo>
                    <a:pt x="693445" y="122504"/>
                  </a:lnTo>
                  <a:lnTo>
                    <a:pt x="704850" y="120180"/>
                  </a:lnTo>
                  <a:lnTo>
                    <a:pt x="716254" y="122504"/>
                  </a:lnTo>
                  <a:lnTo>
                    <a:pt x="725601" y="128816"/>
                  </a:lnTo>
                  <a:lnTo>
                    <a:pt x="731901" y="138163"/>
                  </a:lnTo>
                  <a:lnTo>
                    <a:pt x="734225" y="149567"/>
                  </a:lnTo>
                  <a:lnTo>
                    <a:pt x="734225" y="209511"/>
                  </a:lnTo>
                  <a:lnTo>
                    <a:pt x="755573" y="215379"/>
                  </a:lnTo>
                  <a:lnTo>
                    <a:pt x="798068" y="232613"/>
                  </a:lnTo>
                  <a:lnTo>
                    <a:pt x="828459" y="262585"/>
                  </a:lnTo>
                  <a:lnTo>
                    <a:pt x="828230" y="273812"/>
                  </a:lnTo>
                  <a:lnTo>
                    <a:pt x="823506" y="284441"/>
                  </a:lnTo>
                  <a:lnTo>
                    <a:pt x="815022" y="292442"/>
                  </a:lnTo>
                  <a:lnTo>
                    <a:pt x="804519" y="296456"/>
                  </a:lnTo>
                  <a:lnTo>
                    <a:pt x="793318" y="296227"/>
                  </a:lnTo>
                  <a:lnTo>
                    <a:pt x="782675" y="291503"/>
                  </a:lnTo>
                  <a:lnTo>
                    <a:pt x="764819" y="281419"/>
                  </a:lnTo>
                  <a:lnTo>
                    <a:pt x="743292" y="272834"/>
                  </a:lnTo>
                  <a:lnTo>
                    <a:pt x="721271" y="266458"/>
                  </a:lnTo>
                  <a:lnTo>
                    <a:pt x="701916" y="262991"/>
                  </a:lnTo>
                  <a:lnTo>
                    <a:pt x="697801" y="262699"/>
                  </a:lnTo>
                  <a:lnTo>
                    <a:pt x="678675" y="264274"/>
                  </a:lnTo>
                  <a:lnTo>
                    <a:pt x="644029" y="280758"/>
                  </a:lnTo>
                  <a:lnTo>
                    <a:pt x="621995" y="313093"/>
                  </a:lnTo>
                  <a:lnTo>
                    <a:pt x="620560" y="325551"/>
                  </a:lnTo>
                  <a:lnTo>
                    <a:pt x="623506" y="339394"/>
                  </a:lnTo>
                  <a:lnTo>
                    <a:pt x="661568" y="382117"/>
                  </a:lnTo>
                  <a:lnTo>
                    <a:pt x="714844" y="406984"/>
                  </a:lnTo>
                  <a:lnTo>
                    <a:pt x="741565" y="415798"/>
                  </a:lnTo>
                  <a:lnTo>
                    <a:pt x="755548" y="420458"/>
                  </a:lnTo>
                  <a:lnTo>
                    <a:pt x="799528" y="440131"/>
                  </a:lnTo>
                  <a:lnTo>
                    <a:pt x="844067" y="483463"/>
                  </a:lnTo>
                  <a:lnTo>
                    <a:pt x="860310" y="536816"/>
                  </a:lnTo>
                  <a:lnTo>
                    <a:pt x="860310" y="27063"/>
                  </a:lnTo>
                  <a:lnTo>
                    <a:pt x="842175" y="20497"/>
                  </a:lnTo>
                  <a:lnTo>
                    <a:pt x="797902" y="9258"/>
                  </a:lnTo>
                  <a:lnTo>
                    <a:pt x="752055" y="2349"/>
                  </a:lnTo>
                  <a:lnTo>
                    <a:pt x="704850" y="0"/>
                  </a:lnTo>
                  <a:lnTo>
                    <a:pt x="657656" y="2349"/>
                  </a:lnTo>
                  <a:lnTo>
                    <a:pt x="611797" y="9258"/>
                  </a:lnTo>
                  <a:lnTo>
                    <a:pt x="567537" y="20497"/>
                  </a:lnTo>
                  <a:lnTo>
                    <a:pt x="525081" y="35839"/>
                  </a:lnTo>
                  <a:lnTo>
                    <a:pt x="484682" y="55029"/>
                  </a:lnTo>
                  <a:lnTo>
                    <a:pt x="446570" y="77863"/>
                  </a:lnTo>
                  <a:lnTo>
                    <a:pt x="410972" y="104101"/>
                  </a:lnTo>
                  <a:lnTo>
                    <a:pt x="378129" y="133515"/>
                  </a:lnTo>
                  <a:lnTo>
                    <a:pt x="348272" y="165874"/>
                  </a:lnTo>
                  <a:lnTo>
                    <a:pt x="321640" y="200939"/>
                  </a:lnTo>
                  <a:lnTo>
                    <a:pt x="298462" y="238493"/>
                  </a:lnTo>
                  <a:lnTo>
                    <a:pt x="278968" y="278307"/>
                  </a:lnTo>
                  <a:lnTo>
                    <a:pt x="263410" y="320141"/>
                  </a:lnTo>
                  <a:lnTo>
                    <a:pt x="251993" y="363766"/>
                  </a:lnTo>
                  <a:lnTo>
                    <a:pt x="244983" y="408952"/>
                  </a:lnTo>
                  <a:lnTo>
                    <a:pt x="242595" y="455472"/>
                  </a:lnTo>
                  <a:lnTo>
                    <a:pt x="244983" y="501980"/>
                  </a:lnTo>
                  <a:lnTo>
                    <a:pt x="251993" y="547166"/>
                  </a:lnTo>
                  <a:lnTo>
                    <a:pt x="263410" y="590791"/>
                  </a:lnTo>
                  <a:lnTo>
                    <a:pt x="278968" y="632625"/>
                  </a:lnTo>
                  <a:lnTo>
                    <a:pt x="298462" y="672439"/>
                  </a:lnTo>
                  <a:lnTo>
                    <a:pt x="321640" y="709993"/>
                  </a:lnTo>
                  <a:lnTo>
                    <a:pt x="348272" y="745058"/>
                  </a:lnTo>
                  <a:lnTo>
                    <a:pt x="378129" y="777417"/>
                  </a:lnTo>
                  <a:lnTo>
                    <a:pt x="410972" y="806831"/>
                  </a:lnTo>
                  <a:lnTo>
                    <a:pt x="446570" y="833069"/>
                  </a:lnTo>
                  <a:lnTo>
                    <a:pt x="484682" y="855903"/>
                  </a:lnTo>
                  <a:lnTo>
                    <a:pt x="525081" y="875106"/>
                  </a:lnTo>
                  <a:lnTo>
                    <a:pt x="567537" y="890435"/>
                  </a:lnTo>
                  <a:lnTo>
                    <a:pt x="611797" y="901674"/>
                  </a:lnTo>
                  <a:lnTo>
                    <a:pt x="657656" y="908583"/>
                  </a:lnTo>
                  <a:lnTo>
                    <a:pt x="704850" y="910932"/>
                  </a:lnTo>
                  <a:lnTo>
                    <a:pt x="752055" y="908583"/>
                  </a:lnTo>
                  <a:lnTo>
                    <a:pt x="797902" y="901674"/>
                  </a:lnTo>
                  <a:lnTo>
                    <a:pt x="842175" y="890435"/>
                  </a:lnTo>
                  <a:lnTo>
                    <a:pt x="884631" y="875106"/>
                  </a:lnTo>
                  <a:lnTo>
                    <a:pt x="925029" y="855903"/>
                  </a:lnTo>
                  <a:lnTo>
                    <a:pt x="963142" y="833069"/>
                  </a:lnTo>
                  <a:lnTo>
                    <a:pt x="998740" y="806831"/>
                  </a:lnTo>
                  <a:lnTo>
                    <a:pt x="1031582" y="777417"/>
                  </a:lnTo>
                  <a:lnTo>
                    <a:pt x="1057503" y="749312"/>
                  </a:lnTo>
                  <a:lnTo>
                    <a:pt x="1061440" y="745058"/>
                  </a:lnTo>
                  <a:lnTo>
                    <a:pt x="1088072" y="709993"/>
                  </a:lnTo>
                  <a:lnTo>
                    <a:pt x="1111250" y="672439"/>
                  </a:lnTo>
                  <a:lnTo>
                    <a:pt x="1130731" y="632625"/>
                  </a:lnTo>
                  <a:lnTo>
                    <a:pt x="1146302" y="590791"/>
                  </a:lnTo>
                  <a:lnTo>
                    <a:pt x="1157706" y="547166"/>
                  </a:lnTo>
                  <a:lnTo>
                    <a:pt x="1164729" y="501980"/>
                  </a:lnTo>
                  <a:lnTo>
                    <a:pt x="1167117" y="455472"/>
                  </a:lnTo>
                  <a:close/>
                </a:path>
                <a:path w="1410335" h="1704339">
                  <a:moveTo>
                    <a:pt x="1185913" y="1567395"/>
                  </a:moveTo>
                  <a:lnTo>
                    <a:pt x="828789" y="1567395"/>
                  </a:lnTo>
                  <a:lnTo>
                    <a:pt x="828789" y="1704327"/>
                  </a:lnTo>
                  <a:lnTo>
                    <a:pt x="1185913" y="1704327"/>
                  </a:lnTo>
                  <a:lnTo>
                    <a:pt x="1185913" y="1567395"/>
                  </a:lnTo>
                  <a:close/>
                </a:path>
                <a:path w="1410335" h="1704339">
                  <a:moveTo>
                    <a:pt x="1409992" y="620318"/>
                  </a:moveTo>
                  <a:lnTo>
                    <a:pt x="1408531" y="608330"/>
                  </a:lnTo>
                  <a:lnTo>
                    <a:pt x="1402257" y="594271"/>
                  </a:lnTo>
                  <a:lnTo>
                    <a:pt x="1388313" y="582587"/>
                  </a:lnTo>
                  <a:lnTo>
                    <a:pt x="1363891" y="577710"/>
                  </a:lnTo>
                  <a:lnTo>
                    <a:pt x="1345565" y="579907"/>
                  </a:lnTo>
                  <a:lnTo>
                    <a:pt x="1323581" y="588035"/>
                  </a:lnTo>
                  <a:lnTo>
                    <a:pt x="1304785" y="604367"/>
                  </a:lnTo>
                  <a:lnTo>
                    <a:pt x="1296339" y="631190"/>
                  </a:lnTo>
                  <a:lnTo>
                    <a:pt x="1300454" y="1006729"/>
                  </a:lnTo>
                  <a:lnTo>
                    <a:pt x="1298105" y="1013777"/>
                  </a:lnTo>
                  <a:lnTo>
                    <a:pt x="1125410" y="1214780"/>
                  </a:lnTo>
                  <a:lnTo>
                    <a:pt x="1116698" y="1221701"/>
                  </a:lnTo>
                  <a:lnTo>
                    <a:pt x="1106322" y="1224800"/>
                  </a:lnTo>
                  <a:lnTo>
                    <a:pt x="1095514" y="1223987"/>
                  </a:lnTo>
                  <a:lnTo>
                    <a:pt x="1085469" y="1219187"/>
                  </a:lnTo>
                  <a:lnTo>
                    <a:pt x="1077976" y="1211008"/>
                  </a:lnTo>
                  <a:lnTo>
                    <a:pt x="1074127" y="1200924"/>
                  </a:lnTo>
                  <a:lnTo>
                    <a:pt x="1074204" y="1190129"/>
                  </a:lnTo>
                  <a:lnTo>
                    <a:pt x="1078420" y="1179804"/>
                  </a:lnTo>
                  <a:lnTo>
                    <a:pt x="1135100" y="1091653"/>
                  </a:lnTo>
                  <a:lnTo>
                    <a:pt x="1138072" y="1082713"/>
                  </a:lnTo>
                  <a:lnTo>
                    <a:pt x="1139698" y="1069251"/>
                  </a:lnTo>
                  <a:lnTo>
                    <a:pt x="1136307" y="1054138"/>
                  </a:lnTo>
                  <a:lnTo>
                    <a:pt x="1124242" y="1040231"/>
                  </a:lnTo>
                  <a:lnTo>
                    <a:pt x="1104950" y="1034288"/>
                  </a:lnTo>
                  <a:lnTo>
                    <a:pt x="1084046" y="1037475"/>
                  </a:lnTo>
                  <a:lnTo>
                    <a:pt x="1065390" y="1044905"/>
                  </a:lnTo>
                  <a:lnTo>
                    <a:pt x="1052868" y="1051687"/>
                  </a:lnTo>
                  <a:lnTo>
                    <a:pt x="879602" y="1267675"/>
                  </a:lnTo>
                  <a:lnTo>
                    <a:pt x="881354" y="1508340"/>
                  </a:lnTo>
                  <a:lnTo>
                    <a:pt x="1136865" y="1508340"/>
                  </a:lnTo>
                  <a:lnTo>
                    <a:pt x="1136865" y="1420761"/>
                  </a:lnTo>
                  <a:lnTo>
                    <a:pt x="1139215" y="1414005"/>
                  </a:lnTo>
                  <a:lnTo>
                    <a:pt x="1409992" y="1089012"/>
                  </a:lnTo>
                  <a:lnTo>
                    <a:pt x="1409992" y="620318"/>
                  </a:lnTo>
                  <a:close/>
                </a:path>
              </a:pathLst>
            </a:custGeom>
            <a:solidFill>
              <a:srgbClr val="FFFFFF"/>
            </a:solidFill>
          </p:spPr>
          <p:txBody>
            <a:bodyPr wrap="square" lIns="0" tIns="0" rIns="0" bIns="0" rtlCol="0"/>
            <a:lstStyle/>
            <a:p>
              <a:endParaRPr/>
            </a:p>
          </p:txBody>
        </p:sp>
      </p:grpSp>
      <p:sp>
        <p:nvSpPr>
          <p:cNvPr id="7" name="object 7"/>
          <p:cNvSpPr txBox="1"/>
          <p:nvPr/>
        </p:nvSpPr>
        <p:spPr>
          <a:xfrm>
            <a:off x="2477593" y="7621691"/>
            <a:ext cx="2104390" cy="927100"/>
          </a:xfrm>
          <a:prstGeom prst="rect">
            <a:avLst/>
          </a:prstGeom>
        </p:spPr>
        <p:txBody>
          <a:bodyPr vert="horz" wrap="square" lIns="0" tIns="35560" rIns="0" bIns="0" rtlCol="0">
            <a:spAutoFit/>
          </a:bodyPr>
          <a:lstStyle/>
          <a:p>
            <a:pPr marL="12065" marR="5080" algn="ctr">
              <a:lnSpc>
                <a:spcPts val="2320"/>
              </a:lnSpc>
              <a:spcBef>
                <a:spcPts val="280"/>
              </a:spcBef>
            </a:pPr>
            <a:r>
              <a:rPr sz="2000" b="1" spc="-10" dirty="0">
                <a:solidFill>
                  <a:srgbClr val="FFFFFF"/>
                </a:solidFill>
                <a:latin typeface="Roboto"/>
                <a:cs typeface="Roboto"/>
              </a:rPr>
              <a:t>Situación </a:t>
            </a:r>
            <a:r>
              <a:rPr sz="2000" b="1" dirty="0">
                <a:solidFill>
                  <a:srgbClr val="FFFFFF"/>
                </a:solidFill>
                <a:latin typeface="Roboto"/>
                <a:cs typeface="Roboto"/>
              </a:rPr>
              <a:t>económico-</a:t>
            </a:r>
            <a:r>
              <a:rPr sz="2000" b="1" spc="-10" dirty="0">
                <a:solidFill>
                  <a:srgbClr val="FFFFFF"/>
                </a:solidFill>
                <a:latin typeface="Roboto"/>
                <a:cs typeface="Roboto"/>
              </a:rPr>
              <a:t>social </a:t>
            </a:r>
            <a:r>
              <a:rPr sz="2000" b="1" dirty="0">
                <a:solidFill>
                  <a:srgbClr val="FFFFFF"/>
                </a:solidFill>
                <a:latin typeface="Roboto"/>
                <a:cs typeface="Roboto"/>
              </a:rPr>
              <a:t>de</a:t>
            </a:r>
            <a:r>
              <a:rPr sz="2000" b="1" spc="50" dirty="0">
                <a:solidFill>
                  <a:srgbClr val="FFFFFF"/>
                </a:solidFill>
                <a:latin typeface="Roboto"/>
                <a:cs typeface="Roboto"/>
              </a:rPr>
              <a:t> </a:t>
            </a:r>
            <a:r>
              <a:rPr sz="2000" b="1" spc="-10" dirty="0">
                <a:solidFill>
                  <a:srgbClr val="FFFFFF"/>
                </a:solidFill>
                <a:latin typeface="Roboto"/>
                <a:cs typeface="Roboto"/>
              </a:rPr>
              <a:t>Argentina</a:t>
            </a:r>
            <a:endParaRPr sz="2000">
              <a:latin typeface="Roboto"/>
              <a:cs typeface="Roboto"/>
            </a:endParaRPr>
          </a:p>
        </p:txBody>
      </p:sp>
      <p:grpSp>
        <p:nvGrpSpPr>
          <p:cNvPr id="8" name="object 8"/>
          <p:cNvGrpSpPr/>
          <p:nvPr/>
        </p:nvGrpSpPr>
        <p:grpSpPr>
          <a:xfrm>
            <a:off x="5811656" y="3686609"/>
            <a:ext cx="3086100" cy="5032375"/>
            <a:chOff x="5811656" y="3686609"/>
            <a:chExt cx="3086100" cy="5032375"/>
          </a:xfrm>
        </p:grpSpPr>
        <p:sp>
          <p:nvSpPr>
            <p:cNvPr id="9" name="object 9"/>
            <p:cNvSpPr/>
            <p:nvPr/>
          </p:nvSpPr>
          <p:spPr>
            <a:xfrm>
              <a:off x="5861300" y="7540183"/>
              <a:ext cx="3036570" cy="1179195"/>
            </a:xfrm>
            <a:custGeom>
              <a:avLst/>
              <a:gdLst/>
              <a:ahLst/>
              <a:cxnLst/>
              <a:rect l="l" t="t" r="r" b="b"/>
              <a:pathLst>
                <a:path w="3036570" h="1179195">
                  <a:moveTo>
                    <a:pt x="2447083" y="1178745"/>
                  </a:moveTo>
                  <a:lnTo>
                    <a:pt x="589372" y="1178745"/>
                  </a:lnTo>
                  <a:lnTo>
                    <a:pt x="541034" y="1176791"/>
                  </a:lnTo>
                  <a:lnTo>
                    <a:pt x="493773" y="1171031"/>
                  </a:lnTo>
                  <a:lnTo>
                    <a:pt x="447739" y="1161616"/>
                  </a:lnTo>
                  <a:lnTo>
                    <a:pt x="403085" y="1148698"/>
                  </a:lnTo>
                  <a:lnTo>
                    <a:pt x="359962" y="1132429"/>
                  </a:lnTo>
                  <a:lnTo>
                    <a:pt x="318521" y="1112960"/>
                  </a:lnTo>
                  <a:lnTo>
                    <a:pt x="278916" y="1090443"/>
                  </a:lnTo>
                  <a:lnTo>
                    <a:pt x="241296" y="1065030"/>
                  </a:lnTo>
                  <a:lnTo>
                    <a:pt x="205815" y="1036872"/>
                  </a:lnTo>
                  <a:lnTo>
                    <a:pt x="172623" y="1006122"/>
                  </a:lnTo>
                  <a:lnTo>
                    <a:pt x="141872" y="972930"/>
                  </a:lnTo>
                  <a:lnTo>
                    <a:pt x="113714" y="937448"/>
                  </a:lnTo>
                  <a:lnTo>
                    <a:pt x="88301" y="899829"/>
                  </a:lnTo>
                  <a:lnTo>
                    <a:pt x="65784" y="860223"/>
                  </a:lnTo>
                  <a:lnTo>
                    <a:pt x="46315" y="818783"/>
                  </a:lnTo>
                  <a:lnTo>
                    <a:pt x="30046" y="775660"/>
                  </a:lnTo>
                  <a:lnTo>
                    <a:pt x="17128" y="731005"/>
                  </a:lnTo>
                  <a:lnTo>
                    <a:pt x="7713" y="684971"/>
                  </a:lnTo>
                  <a:lnTo>
                    <a:pt x="1953" y="637710"/>
                  </a:lnTo>
                  <a:lnTo>
                    <a:pt x="0" y="589372"/>
                  </a:lnTo>
                  <a:lnTo>
                    <a:pt x="1953" y="541034"/>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1" y="65784"/>
                  </a:lnTo>
                  <a:lnTo>
                    <a:pt x="359962" y="46315"/>
                  </a:lnTo>
                  <a:lnTo>
                    <a:pt x="403085" y="30046"/>
                  </a:lnTo>
                  <a:lnTo>
                    <a:pt x="447739" y="17128"/>
                  </a:lnTo>
                  <a:lnTo>
                    <a:pt x="493773" y="7713"/>
                  </a:lnTo>
                  <a:lnTo>
                    <a:pt x="541034" y="1953"/>
                  </a:lnTo>
                  <a:lnTo>
                    <a:pt x="589372" y="0"/>
                  </a:lnTo>
                  <a:lnTo>
                    <a:pt x="2447083" y="0"/>
                  </a:lnTo>
                  <a:lnTo>
                    <a:pt x="2495421" y="1953"/>
                  </a:lnTo>
                  <a:lnTo>
                    <a:pt x="2542682" y="7713"/>
                  </a:lnTo>
                  <a:lnTo>
                    <a:pt x="2588716" y="17128"/>
                  </a:lnTo>
                  <a:lnTo>
                    <a:pt x="2633370" y="30046"/>
                  </a:lnTo>
                  <a:lnTo>
                    <a:pt x="2676493" y="46315"/>
                  </a:lnTo>
                  <a:lnTo>
                    <a:pt x="2717934" y="65784"/>
                  </a:lnTo>
                  <a:lnTo>
                    <a:pt x="2757539" y="88301"/>
                  </a:lnTo>
                  <a:lnTo>
                    <a:pt x="2795159" y="113714"/>
                  </a:lnTo>
                  <a:lnTo>
                    <a:pt x="2830640" y="141872"/>
                  </a:lnTo>
                  <a:lnTo>
                    <a:pt x="2863832" y="172623"/>
                  </a:lnTo>
                  <a:lnTo>
                    <a:pt x="2894583" y="205815"/>
                  </a:lnTo>
                  <a:lnTo>
                    <a:pt x="2922741" y="241296"/>
                  </a:lnTo>
                  <a:lnTo>
                    <a:pt x="2948154" y="278916"/>
                  </a:lnTo>
                  <a:lnTo>
                    <a:pt x="2970671" y="318522"/>
                  </a:lnTo>
                  <a:lnTo>
                    <a:pt x="2990140" y="359962"/>
                  </a:lnTo>
                  <a:lnTo>
                    <a:pt x="3006409" y="403085"/>
                  </a:lnTo>
                  <a:lnTo>
                    <a:pt x="3019327" y="447739"/>
                  </a:lnTo>
                  <a:lnTo>
                    <a:pt x="3028741" y="493773"/>
                  </a:lnTo>
                  <a:lnTo>
                    <a:pt x="3034502" y="541034"/>
                  </a:lnTo>
                  <a:lnTo>
                    <a:pt x="3036455" y="589372"/>
                  </a:lnTo>
                  <a:lnTo>
                    <a:pt x="3034502" y="637710"/>
                  </a:lnTo>
                  <a:lnTo>
                    <a:pt x="3028741" y="684971"/>
                  </a:lnTo>
                  <a:lnTo>
                    <a:pt x="3019327" y="731005"/>
                  </a:lnTo>
                  <a:lnTo>
                    <a:pt x="3006409" y="775660"/>
                  </a:lnTo>
                  <a:lnTo>
                    <a:pt x="2990140" y="818783"/>
                  </a:lnTo>
                  <a:lnTo>
                    <a:pt x="2970671" y="860223"/>
                  </a:lnTo>
                  <a:lnTo>
                    <a:pt x="2948154" y="899829"/>
                  </a:lnTo>
                  <a:lnTo>
                    <a:pt x="2922741" y="937448"/>
                  </a:lnTo>
                  <a:lnTo>
                    <a:pt x="2894583" y="972930"/>
                  </a:lnTo>
                  <a:lnTo>
                    <a:pt x="2863832" y="1006122"/>
                  </a:lnTo>
                  <a:lnTo>
                    <a:pt x="2830640" y="1036872"/>
                  </a:lnTo>
                  <a:lnTo>
                    <a:pt x="2795159" y="1065030"/>
                  </a:lnTo>
                  <a:lnTo>
                    <a:pt x="2757539" y="1090443"/>
                  </a:lnTo>
                  <a:lnTo>
                    <a:pt x="2717934" y="1112960"/>
                  </a:lnTo>
                  <a:lnTo>
                    <a:pt x="2676493" y="1132429"/>
                  </a:lnTo>
                  <a:lnTo>
                    <a:pt x="2633370" y="1148698"/>
                  </a:lnTo>
                  <a:lnTo>
                    <a:pt x="2588716" y="1161616"/>
                  </a:lnTo>
                  <a:lnTo>
                    <a:pt x="2542682" y="1171031"/>
                  </a:lnTo>
                  <a:lnTo>
                    <a:pt x="2495421" y="1176791"/>
                  </a:lnTo>
                  <a:lnTo>
                    <a:pt x="2447083" y="1178745"/>
                  </a:lnTo>
                  <a:close/>
                </a:path>
              </a:pathLst>
            </a:custGeom>
            <a:solidFill>
              <a:srgbClr val="21408B"/>
            </a:solidFill>
          </p:spPr>
          <p:txBody>
            <a:bodyPr wrap="square" lIns="0" tIns="0" rIns="0" bIns="0" rtlCol="0"/>
            <a:lstStyle/>
            <a:p>
              <a:endParaRPr/>
            </a:p>
          </p:txBody>
        </p:sp>
        <p:sp>
          <p:nvSpPr>
            <p:cNvPr id="10" name="object 10"/>
            <p:cNvSpPr/>
            <p:nvPr/>
          </p:nvSpPr>
          <p:spPr>
            <a:xfrm>
              <a:off x="5811656" y="3686609"/>
              <a:ext cx="3086100" cy="3086100"/>
            </a:xfrm>
            <a:custGeom>
              <a:avLst/>
              <a:gdLst/>
              <a:ahLst/>
              <a:cxnLst/>
              <a:rect l="l" t="t" r="r" b="b"/>
              <a:pathLst>
                <a:path w="3086100" h="3086100">
                  <a:moveTo>
                    <a:pt x="1543076" y="3086099"/>
                  </a:moveTo>
                  <a:lnTo>
                    <a:pt x="1494987" y="3085365"/>
                  </a:lnTo>
                  <a:lnTo>
                    <a:pt x="1447291" y="3083177"/>
                  </a:lnTo>
                  <a:lnTo>
                    <a:pt x="1399982" y="3079555"/>
                  </a:lnTo>
                  <a:lnTo>
                    <a:pt x="1353082" y="3074522"/>
                  </a:lnTo>
                  <a:lnTo>
                    <a:pt x="1306612" y="3068099"/>
                  </a:lnTo>
                  <a:lnTo>
                    <a:pt x="1260594" y="3060306"/>
                  </a:lnTo>
                  <a:lnTo>
                    <a:pt x="1215048" y="3051166"/>
                  </a:lnTo>
                  <a:lnTo>
                    <a:pt x="1169996" y="3040700"/>
                  </a:lnTo>
                  <a:lnTo>
                    <a:pt x="1125459" y="3028929"/>
                  </a:lnTo>
                  <a:lnTo>
                    <a:pt x="1081460" y="3015874"/>
                  </a:lnTo>
                  <a:lnTo>
                    <a:pt x="1038018" y="3001557"/>
                  </a:lnTo>
                  <a:lnTo>
                    <a:pt x="995155" y="2985999"/>
                  </a:lnTo>
                  <a:lnTo>
                    <a:pt x="952894" y="2969221"/>
                  </a:lnTo>
                  <a:lnTo>
                    <a:pt x="911254" y="2951246"/>
                  </a:lnTo>
                  <a:lnTo>
                    <a:pt x="870258" y="2932093"/>
                  </a:lnTo>
                  <a:lnTo>
                    <a:pt x="829926" y="2911785"/>
                  </a:lnTo>
                  <a:lnTo>
                    <a:pt x="790281" y="2890342"/>
                  </a:lnTo>
                  <a:lnTo>
                    <a:pt x="751343" y="2867787"/>
                  </a:lnTo>
                  <a:lnTo>
                    <a:pt x="713134" y="2844140"/>
                  </a:lnTo>
                  <a:lnTo>
                    <a:pt x="675675" y="2819423"/>
                  </a:lnTo>
                  <a:lnTo>
                    <a:pt x="638987" y="2793658"/>
                  </a:lnTo>
                  <a:lnTo>
                    <a:pt x="603092" y="2766864"/>
                  </a:lnTo>
                  <a:lnTo>
                    <a:pt x="568012" y="2739065"/>
                  </a:lnTo>
                  <a:lnTo>
                    <a:pt x="533766" y="2710280"/>
                  </a:lnTo>
                  <a:lnTo>
                    <a:pt x="500378" y="2680532"/>
                  </a:lnTo>
                  <a:lnTo>
                    <a:pt x="467868" y="2649842"/>
                  </a:lnTo>
                  <a:lnTo>
                    <a:pt x="436257" y="2618231"/>
                  </a:lnTo>
                  <a:lnTo>
                    <a:pt x="405567" y="2585721"/>
                  </a:lnTo>
                  <a:lnTo>
                    <a:pt x="375819" y="2552333"/>
                  </a:lnTo>
                  <a:lnTo>
                    <a:pt x="347034" y="2518087"/>
                  </a:lnTo>
                  <a:lnTo>
                    <a:pt x="319235" y="2483007"/>
                  </a:lnTo>
                  <a:lnTo>
                    <a:pt x="292441" y="2447112"/>
                  </a:lnTo>
                  <a:lnTo>
                    <a:pt x="266676" y="2410424"/>
                  </a:lnTo>
                  <a:lnTo>
                    <a:pt x="241959" y="2372965"/>
                  </a:lnTo>
                  <a:lnTo>
                    <a:pt x="218312" y="2334756"/>
                  </a:lnTo>
                  <a:lnTo>
                    <a:pt x="195757" y="2295818"/>
                  </a:lnTo>
                  <a:lnTo>
                    <a:pt x="174314" y="2256172"/>
                  </a:lnTo>
                  <a:lnTo>
                    <a:pt x="154006" y="2215841"/>
                  </a:lnTo>
                  <a:lnTo>
                    <a:pt x="134853" y="2174845"/>
                  </a:lnTo>
                  <a:lnTo>
                    <a:pt x="116878"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8"/>
                  </a:lnTo>
                  <a:lnTo>
                    <a:pt x="734" y="1591112"/>
                  </a:lnTo>
                  <a:lnTo>
                    <a:pt x="0" y="1543046"/>
                  </a:lnTo>
                  <a:lnTo>
                    <a:pt x="734" y="1494988"/>
                  </a:lnTo>
                  <a:lnTo>
                    <a:pt x="2922" y="1447292"/>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8" y="952894"/>
                  </a:lnTo>
                  <a:lnTo>
                    <a:pt x="134853" y="911254"/>
                  </a:lnTo>
                  <a:lnTo>
                    <a:pt x="154006" y="870258"/>
                  </a:lnTo>
                  <a:lnTo>
                    <a:pt x="174314" y="829927"/>
                  </a:lnTo>
                  <a:lnTo>
                    <a:pt x="195757" y="790281"/>
                  </a:lnTo>
                  <a:lnTo>
                    <a:pt x="218312" y="751343"/>
                  </a:lnTo>
                  <a:lnTo>
                    <a:pt x="241959" y="713134"/>
                  </a:lnTo>
                  <a:lnTo>
                    <a:pt x="266676" y="675675"/>
                  </a:lnTo>
                  <a:lnTo>
                    <a:pt x="292441" y="638987"/>
                  </a:lnTo>
                  <a:lnTo>
                    <a:pt x="319235" y="603092"/>
                  </a:lnTo>
                  <a:lnTo>
                    <a:pt x="347034" y="568012"/>
                  </a:lnTo>
                  <a:lnTo>
                    <a:pt x="375819" y="533766"/>
                  </a:lnTo>
                  <a:lnTo>
                    <a:pt x="405567" y="500378"/>
                  </a:lnTo>
                  <a:lnTo>
                    <a:pt x="436257" y="467868"/>
                  </a:lnTo>
                  <a:lnTo>
                    <a:pt x="467868" y="436257"/>
                  </a:lnTo>
                  <a:lnTo>
                    <a:pt x="500378" y="405567"/>
                  </a:lnTo>
                  <a:lnTo>
                    <a:pt x="533766" y="375819"/>
                  </a:lnTo>
                  <a:lnTo>
                    <a:pt x="568012" y="347034"/>
                  </a:lnTo>
                  <a:lnTo>
                    <a:pt x="603092" y="319235"/>
                  </a:lnTo>
                  <a:lnTo>
                    <a:pt x="638987" y="292442"/>
                  </a:lnTo>
                  <a:lnTo>
                    <a:pt x="675675" y="266676"/>
                  </a:lnTo>
                  <a:lnTo>
                    <a:pt x="713134" y="241959"/>
                  </a:lnTo>
                  <a:lnTo>
                    <a:pt x="751343" y="218312"/>
                  </a:lnTo>
                  <a:lnTo>
                    <a:pt x="790281" y="195757"/>
                  </a:lnTo>
                  <a:lnTo>
                    <a:pt x="829926" y="174314"/>
                  </a:lnTo>
                  <a:lnTo>
                    <a:pt x="870258" y="154006"/>
                  </a:lnTo>
                  <a:lnTo>
                    <a:pt x="911254" y="134853"/>
                  </a:lnTo>
                  <a:lnTo>
                    <a:pt x="952894" y="116878"/>
                  </a:lnTo>
                  <a:lnTo>
                    <a:pt x="995155" y="100100"/>
                  </a:lnTo>
                  <a:lnTo>
                    <a:pt x="1038018" y="84542"/>
                  </a:lnTo>
                  <a:lnTo>
                    <a:pt x="1081460" y="70225"/>
                  </a:lnTo>
                  <a:lnTo>
                    <a:pt x="1125459" y="57170"/>
                  </a:lnTo>
                  <a:lnTo>
                    <a:pt x="1169996" y="45399"/>
                  </a:lnTo>
                  <a:lnTo>
                    <a:pt x="1215048" y="34933"/>
                  </a:lnTo>
                  <a:lnTo>
                    <a:pt x="1260594" y="25793"/>
                  </a:lnTo>
                  <a:lnTo>
                    <a:pt x="1306612" y="18000"/>
                  </a:lnTo>
                  <a:lnTo>
                    <a:pt x="1353082" y="11577"/>
                  </a:lnTo>
                  <a:lnTo>
                    <a:pt x="1399982"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5" y="134853"/>
                  </a:lnTo>
                  <a:lnTo>
                    <a:pt x="2215841" y="154006"/>
                  </a:lnTo>
                  <a:lnTo>
                    <a:pt x="2256172" y="174314"/>
                  </a:lnTo>
                  <a:lnTo>
                    <a:pt x="2295818" y="195757"/>
                  </a:lnTo>
                  <a:lnTo>
                    <a:pt x="2334756" y="218312"/>
                  </a:lnTo>
                  <a:lnTo>
                    <a:pt x="2372965" y="241959"/>
                  </a:lnTo>
                  <a:lnTo>
                    <a:pt x="2410424" y="266676"/>
                  </a:lnTo>
                  <a:lnTo>
                    <a:pt x="2447112" y="292442"/>
                  </a:lnTo>
                  <a:lnTo>
                    <a:pt x="2483006" y="319235"/>
                  </a:lnTo>
                  <a:lnTo>
                    <a:pt x="2518087" y="347034"/>
                  </a:lnTo>
                  <a:lnTo>
                    <a:pt x="2552332"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5" y="911254"/>
                  </a:lnTo>
                  <a:lnTo>
                    <a:pt x="2969221" y="952894"/>
                  </a:lnTo>
                  <a:lnTo>
                    <a:pt x="2985999" y="995156"/>
                  </a:lnTo>
                  <a:lnTo>
                    <a:pt x="3001557" y="1038018"/>
                  </a:lnTo>
                  <a:lnTo>
                    <a:pt x="3015874" y="1081460"/>
                  </a:lnTo>
                  <a:lnTo>
                    <a:pt x="3028928" y="1125460"/>
                  </a:lnTo>
                  <a:lnTo>
                    <a:pt x="3040700" y="1169996"/>
                  </a:lnTo>
                  <a:lnTo>
                    <a:pt x="3051166" y="1215048"/>
                  </a:lnTo>
                  <a:lnTo>
                    <a:pt x="3060306" y="1260594"/>
                  </a:lnTo>
                  <a:lnTo>
                    <a:pt x="3068098" y="1306613"/>
                  </a:lnTo>
                  <a:lnTo>
                    <a:pt x="3074522" y="1353083"/>
                  </a:lnTo>
                  <a:lnTo>
                    <a:pt x="3079555" y="1399983"/>
                  </a:lnTo>
                  <a:lnTo>
                    <a:pt x="3083176" y="1447292"/>
                  </a:lnTo>
                  <a:lnTo>
                    <a:pt x="3085365" y="1494988"/>
                  </a:lnTo>
                  <a:lnTo>
                    <a:pt x="3086099" y="1543050"/>
                  </a:lnTo>
                  <a:lnTo>
                    <a:pt x="3085365" y="1591112"/>
                  </a:lnTo>
                  <a:lnTo>
                    <a:pt x="3083176" y="1638808"/>
                  </a:lnTo>
                  <a:lnTo>
                    <a:pt x="3079555" y="1686116"/>
                  </a:lnTo>
                  <a:lnTo>
                    <a:pt x="3074522" y="1733016"/>
                  </a:lnTo>
                  <a:lnTo>
                    <a:pt x="3068098" y="1779486"/>
                  </a:lnTo>
                  <a:lnTo>
                    <a:pt x="3060306" y="1825505"/>
                  </a:lnTo>
                  <a:lnTo>
                    <a:pt x="3051166" y="1871051"/>
                  </a:lnTo>
                  <a:lnTo>
                    <a:pt x="3040700" y="1916103"/>
                  </a:lnTo>
                  <a:lnTo>
                    <a:pt x="3028928" y="1960639"/>
                  </a:lnTo>
                  <a:lnTo>
                    <a:pt x="3015874" y="2004639"/>
                  </a:lnTo>
                  <a:lnTo>
                    <a:pt x="3001557" y="2048081"/>
                  </a:lnTo>
                  <a:lnTo>
                    <a:pt x="2985999" y="2090943"/>
                  </a:lnTo>
                  <a:lnTo>
                    <a:pt x="2969221" y="2133205"/>
                  </a:lnTo>
                  <a:lnTo>
                    <a:pt x="2951245"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7"/>
                  </a:lnTo>
                  <a:lnTo>
                    <a:pt x="2739064" y="2518087"/>
                  </a:lnTo>
                  <a:lnTo>
                    <a:pt x="2710280" y="2552333"/>
                  </a:lnTo>
                  <a:lnTo>
                    <a:pt x="2680532" y="2585721"/>
                  </a:lnTo>
                  <a:lnTo>
                    <a:pt x="2649842" y="2618231"/>
                  </a:lnTo>
                  <a:lnTo>
                    <a:pt x="2618231" y="2649842"/>
                  </a:lnTo>
                  <a:lnTo>
                    <a:pt x="2585721" y="2680532"/>
                  </a:lnTo>
                  <a:lnTo>
                    <a:pt x="2552332" y="2710280"/>
                  </a:lnTo>
                  <a:lnTo>
                    <a:pt x="2518087" y="2739065"/>
                  </a:lnTo>
                  <a:lnTo>
                    <a:pt x="2483006" y="2766864"/>
                  </a:lnTo>
                  <a:lnTo>
                    <a:pt x="2447112" y="2793658"/>
                  </a:lnTo>
                  <a:lnTo>
                    <a:pt x="2410424" y="2819423"/>
                  </a:lnTo>
                  <a:lnTo>
                    <a:pt x="2372965" y="2844140"/>
                  </a:lnTo>
                  <a:lnTo>
                    <a:pt x="2334756" y="2867787"/>
                  </a:lnTo>
                  <a:lnTo>
                    <a:pt x="2295818" y="2890342"/>
                  </a:lnTo>
                  <a:lnTo>
                    <a:pt x="2256172" y="2911785"/>
                  </a:lnTo>
                  <a:lnTo>
                    <a:pt x="2215841" y="2932093"/>
                  </a:lnTo>
                  <a:lnTo>
                    <a:pt x="2174845"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9"/>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11" name="object 11"/>
            <p:cNvSpPr/>
            <p:nvPr/>
          </p:nvSpPr>
          <p:spPr>
            <a:xfrm>
              <a:off x="6610998" y="4390224"/>
              <a:ext cx="1485900" cy="1487170"/>
            </a:xfrm>
            <a:custGeom>
              <a:avLst/>
              <a:gdLst/>
              <a:ahLst/>
              <a:cxnLst/>
              <a:rect l="l" t="t" r="r" b="b"/>
              <a:pathLst>
                <a:path w="1485900" h="1487170">
                  <a:moveTo>
                    <a:pt x="635812" y="665251"/>
                  </a:moveTo>
                  <a:lnTo>
                    <a:pt x="625830" y="640295"/>
                  </a:lnTo>
                  <a:lnTo>
                    <a:pt x="607466" y="621131"/>
                  </a:lnTo>
                  <a:lnTo>
                    <a:pt x="582739" y="610577"/>
                  </a:lnTo>
                  <a:lnTo>
                    <a:pt x="535990" y="486740"/>
                  </a:lnTo>
                  <a:lnTo>
                    <a:pt x="480390" y="507746"/>
                  </a:lnTo>
                  <a:lnTo>
                    <a:pt x="524662" y="625005"/>
                  </a:lnTo>
                  <a:lnTo>
                    <a:pt x="510159" y="638949"/>
                  </a:lnTo>
                  <a:lnTo>
                    <a:pt x="499592" y="663575"/>
                  </a:lnTo>
                  <a:lnTo>
                    <a:pt x="456501" y="858431"/>
                  </a:lnTo>
                  <a:lnTo>
                    <a:pt x="323507" y="922172"/>
                  </a:lnTo>
                  <a:lnTo>
                    <a:pt x="222999" y="922197"/>
                  </a:lnTo>
                  <a:lnTo>
                    <a:pt x="266293" y="916355"/>
                  </a:lnTo>
                  <a:lnTo>
                    <a:pt x="305320" y="899858"/>
                  </a:lnTo>
                  <a:lnTo>
                    <a:pt x="338404" y="874268"/>
                  </a:lnTo>
                  <a:lnTo>
                    <a:pt x="363982" y="841184"/>
                  </a:lnTo>
                  <a:lnTo>
                    <a:pt x="380479" y="802157"/>
                  </a:lnTo>
                  <a:lnTo>
                    <a:pt x="386334" y="758761"/>
                  </a:lnTo>
                  <a:lnTo>
                    <a:pt x="380479" y="715352"/>
                  </a:lnTo>
                  <a:lnTo>
                    <a:pt x="363982" y="676325"/>
                  </a:lnTo>
                  <a:lnTo>
                    <a:pt x="338404" y="643229"/>
                  </a:lnTo>
                  <a:lnTo>
                    <a:pt x="305320" y="617651"/>
                  </a:lnTo>
                  <a:lnTo>
                    <a:pt x="266293" y="601154"/>
                  </a:lnTo>
                  <a:lnTo>
                    <a:pt x="222885" y="595312"/>
                  </a:lnTo>
                  <a:lnTo>
                    <a:pt x="179476" y="601154"/>
                  </a:lnTo>
                  <a:lnTo>
                    <a:pt x="140449" y="617651"/>
                  </a:lnTo>
                  <a:lnTo>
                    <a:pt x="107353" y="643229"/>
                  </a:lnTo>
                  <a:lnTo>
                    <a:pt x="81775" y="676325"/>
                  </a:lnTo>
                  <a:lnTo>
                    <a:pt x="65278" y="715352"/>
                  </a:lnTo>
                  <a:lnTo>
                    <a:pt x="59436" y="758761"/>
                  </a:lnTo>
                  <a:lnTo>
                    <a:pt x="65278" y="802157"/>
                  </a:lnTo>
                  <a:lnTo>
                    <a:pt x="81775" y="841184"/>
                  </a:lnTo>
                  <a:lnTo>
                    <a:pt x="107353" y="874268"/>
                  </a:lnTo>
                  <a:lnTo>
                    <a:pt x="140449" y="899858"/>
                  </a:lnTo>
                  <a:lnTo>
                    <a:pt x="179476" y="916355"/>
                  </a:lnTo>
                  <a:lnTo>
                    <a:pt x="222758" y="922197"/>
                  </a:lnTo>
                  <a:lnTo>
                    <a:pt x="153403" y="922210"/>
                  </a:lnTo>
                  <a:lnTo>
                    <a:pt x="105930" y="930376"/>
                  </a:lnTo>
                  <a:lnTo>
                    <a:pt x="63944" y="947293"/>
                  </a:lnTo>
                  <a:lnTo>
                    <a:pt x="30353" y="972908"/>
                  </a:lnTo>
                  <a:lnTo>
                    <a:pt x="8077" y="1007148"/>
                  </a:lnTo>
                  <a:lnTo>
                    <a:pt x="0" y="1049959"/>
                  </a:lnTo>
                  <a:lnTo>
                    <a:pt x="0" y="1480197"/>
                  </a:lnTo>
                  <a:lnTo>
                    <a:pt x="6654" y="1486852"/>
                  </a:lnTo>
                  <a:lnTo>
                    <a:pt x="401193" y="1486852"/>
                  </a:lnTo>
                  <a:lnTo>
                    <a:pt x="409397" y="1486852"/>
                  </a:lnTo>
                  <a:lnTo>
                    <a:pt x="416052" y="1480197"/>
                  </a:lnTo>
                  <a:lnTo>
                    <a:pt x="416052" y="1095844"/>
                  </a:lnTo>
                  <a:lnTo>
                    <a:pt x="550164" y="987285"/>
                  </a:lnTo>
                  <a:lnTo>
                    <a:pt x="580351" y="946277"/>
                  </a:lnTo>
                  <a:lnTo>
                    <a:pt x="635698" y="693318"/>
                  </a:lnTo>
                  <a:lnTo>
                    <a:pt x="635812" y="665251"/>
                  </a:lnTo>
                  <a:close/>
                </a:path>
                <a:path w="1485900" h="1487170">
                  <a:moveTo>
                    <a:pt x="827163" y="343865"/>
                  </a:moveTo>
                  <a:lnTo>
                    <a:pt x="718197" y="13843"/>
                  </a:lnTo>
                  <a:lnTo>
                    <a:pt x="712812" y="7632"/>
                  </a:lnTo>
                  <a:lnTo>
                    <a:pt x="698665" y="558"/>
                  </a:lnTo>
                  <a:lnTo>
                    <a:pt x="690435" y="0"/>
                  </a:lnTo>
                  <a:lnTo>
                    <a:pt x="48437" y="216014"/>
                  </a:lnTo>
                  <a:lnTo>
                    <a:pt x="42252" y="221424"/>
                  </a:lnTo>
                  <a:lnTo>
                    <a:pt x="35242" y="235572"/>
                  </a:lnTo>
                  <a:lnTo>
                    <a:pt x="34709" y="243751"/>
                  </a:lnTo>
                  <a:lnTo>
                    <a:pt x="146773" y="573709"/>
                  </a:lnTo>
                  <a:lnTo>
                    <a:pt x="152184" y="579856"/>
                  </a:lnTo>
                  <a:lnTo>
                    <a:pt x="163385" y="585381"/>
                  </a:lnTo>
                  <a:lnTo>
                    <a:pt x="167881" y="586397"/>
                  </a:lnTo>
                  <a:lnTo>
                    <a:pt x="172364" y="586397"/>
                  </a:lnTo>
                  <a:lnTo>
                    <a:pt x="178866" y="585863"/>
                  </a:lnTo>
                  <a:lnTo>
                    <a:pt x="606628" y="439318"/>
                  </a:lnTo>
                  <a:lnTo>
                    <a:pt x="813231" y="371475"/>
                  </a:lnTo>
                  <a:lnTo>
                    <a:pt x="819442" y="366128"/>
                  </a:lnTo>
                  <a:lnTo>
                    <a:pt x="826541" y="352044"/>
                  </a:lnTo>
                  <a:lnTo>
                    <a:pt x="827163" y="343865"/>
                  </a:lnTo>
                  <a:close/>
                </a:path>
                <a:path w="1485900" h="1487170">
                  <a:moveTo>
                    <a:pt x="1426464" y="937069"/>
                  </a:moveTo>
                  <a:lnTo>
                    <a:pt x="1420609" y="893673"/>
                  </a:lnTo>
                  <a:lnTo>
                    <a:pt x="1404112" y="854646"/>
                  </a:lnTo>
                  <a:lnTo>
                    <a:pt x="1378534" y="821550"/>
                  </a:lnTo>
                  <a:lnTo>
                    <a:pt x="1345438" y="795972"/>
                  </a:lnTo>
                  <a:lnTo>
                    <a:pt x="1306410" y="779462"/>
                  </a:lnTo>
                  <a:lnTo>
                    <a:pt x="1263015" y="773620"/>
                  </a:lnTo>
                  <a:lnTo>
                    <a:pt x="1219619" y="779462"/>
                  </a:lnTo>
                  <a:lnTo>
                    <a:pt x="1180592" y="795972"/>
                  </a:lnTo>
                  <a:lnTo>
                    <a:pt x="1147495" y="821550"/>
                  </a:lnTo>
                  <a:lnTo>
                    <a:pt x="1121918" y="854646"/>
                  </a:lnTo>
                  <a:lnTo>
                    <a:pt x="1105420" y="893673"/>
                  </a:lnTo>
                  <a:lnTo>
                    <a:pt x="1099566" y="937069"/>
                  </a:lnTo>
                  <a:lnTo>
                    <a:pt x="1105420" y="980465"/>
                  </a:lnTo>
                  <a:lnTo>
                    <a:pt x="1121918" y="1019492"/>
                  </a:lnTo>
                  <a:lnTo>
                    <a:pt x="1147495" y="1052576"/>
                  </a:lnTo>
                  <a:lnTo>
                    <a:pt x="1180592" y="1078166"/>
                  </a:lnTo>
                  <a:lnTo>
                    <a:pt x="1219619" y="1094663"/>
                  </a:lnTo>
                  <a:lnTo>
                    <a:pt x="1263015" y="1100518"/>
                  </a:lnTo>
                  <a:lnTo>
                    <a:pt x="1306410" y="1094663"/>
                  </a:lnTo>
                  <a:lnTo>
                    <a:pt x="1345438" y="1078166"/>
                  </a:lnTo>
                  <a:lnTo>
                    <a:pt x="1378534" y="1052576"/>
                  </a:lnTo>
                  <a:lnTo>
                    <a:pt x="1404112" y="1019492"/>
                  </a:lnTo>
                  <a:lnTo>
                    <a:pt x="1420609" y="980465"/>
                  </a:lnTo>
                  <a:lnTo>
                    <a:pt x="1426464" y="937069"/>
                  </a:lnTo>
                  <a:close/>
                </a:path>
                <a:path w="1485900" h="1487170">
                  <a:moveTo>
                    <a:pt x="1451190" y="407250"/>
                  </a:moveTo>
                  <a:lnTo>
                    <a:pt x="835190" y="178663"/>
                  </a:lnTo>
                  <a:lnTo>
                    <a:pt x="881049" y="317563"/>
                  </a:lnTo>
                  <a:lnTo>
                    <a:pt x="884910" y="334721"/>
                  </a:lnTo>
                  <a:lnTo>
                    <a:pt x="876084" y="385762"/>
                  </a:lnTo>
                  <a:lnTo>
                    <a:pt x="840422" y="423252"/>
                  </a:lnTo>
                  <a:lnTo>
                    <a:pt x="667080" y="481965"/>
                  </a:lnTo>
                  <a:lnTo>
                    <a:pt x="661225" y="499910"/>
                  </a:lnTo>
                  <a:lnTo>
                    <a:pt x="680059" y="537324"/>
                  </a:lnTo>
                  <a:lnTo>
                    <a:pt x="1307261" y="746391"/>
                  </a:lnTo>
                  <a:lnTo>
                    <a:pt x="1313535" y="746899"/>
                  </a:lnTo>
                  <a:lnTo>
                    <a:pt x="1322552" y="745490"/>
                  </a:lnTo>
                  <a:lnTo>
                    <a:pt x="1330642" y="741464"/>
                  </a:lnTo>
                  <a:lnTo>
                    <a:pt x="1337208" y="735139"/>
                  </a:lnTo>
                  <a:lnTo>
                    <a:pt x="1341653" y="726808"/>
                  </a:lnTo>
                  <a:lnTo>
                    <a:pt x="1451190" y="407250"/>
                  </a:lnTo>
                  <a:close/>
                </a:path>
                <a:path w="1485900" h="1487170">
                  <a:moveTo>
                    <a:pt x="1485900" y="1225296"/>
                  </a:moveTo>
                  <a:lnTo>
                    <a:pt x="1477556" y="1172337"/>
                  </a:lnTo>
                  <a:lnTo>
                    <a:pt x="1453235" y="1133170"/>
                  </a:lnTo>
                  <a:lnTo>
                    <a:pt x="1414043" y="1108862"/>
                  </a:lnTo>
                  <a:lnTo>
                    <a:pt x="1361084" y="1100518"/>
                  </a:lnTo>
                  <a:lnTo>
                    <a:pt x="1263015" y="1100518"/>
                  </a:lnTo>
                  <a:lnTo>
                    <a:pt x="1162354" y="1100518"/>
                  </a:lnTo>
                  <a:lnTo>
                    <a:pt x="1029398" y="1036802"/>
                  </a:lnTo>
                  <a:lnTo>
                    <a:pt x="986345" y="842022"/>
                  </a:lnTo>
                  <a:lnTo>
                    <a:pt x="975753" y="817346"/>
                  </a:lnTo>
                  <a:lnTo>
                    <a:pt x="961186" y="803313"/>
                  </a:lnTo>
                  <a:lnTo>
                    <a:pt x="1005497" y="686079"/>
                  </a:lnTo>
                  <a:lnTo>
                    <a:pt x="949909" y="665073"/>
                  </a:lnTo>
                  <a:lnTo>
                    <a:pt x="903097" y="788924"/>
                  </a:lnTo>
                  <a:lnTo>
                    <a:pt x="878459" y="799465"/>
                  </a:lnTo>
                  <a:lnTo>
                    <a:pt x="860107" y="818642"/>
                  </a:lnTo>
                  <a:lnTo>
                    <a:pt x="850112" y="843648"/>
                  </a:lnTo>
                  <a:lnTo>
                    <a:pt x="850226" y="871804"/>
                  </a:lnTo>
                  <a:lnTo>
                    <a:pt x="900722" y="1109395"/>
                  </a:lnTo>
                  <a:lnTo>
                    <a:pt x="923963" y="1154125"/>
                  </a:lnTo>
                  <a:lnTo>
                    <a:pt x="1069848" y="1259293"/>
                  </a:lnTo>
                  <a:lnTo>
                    <a:pt x="1069848" y="1480197"/>
                  </a:lnTo>
                  <a:lnTo>
                    <a:pt x="1076502" y="1486852"/>
                  </a:lnTo>
                  <a:lnTo>
                    <a:pt x="1471041" y="1486852"/>
                  </a:lnTo>
                  <a:lnTo>
                    <a:pt x="1479245" y="1486852"/>
                  </a:lnTo>
                  <a:lnTo>
                    <a:pt x="1485900" y="1480197"/>
                  </a:lnTo>
                  <a:lnTo>
                    <a:pt x="1485900" y="1225296"/>
                  </a:lnTo>
                  <a:close/>
                </a:path>
              </a:pathLst>
            </a:custGeom>
            <a:solidFill>
              <a:srgbClr val="FFFFFF"/>
            </a:solidFill>
          </p:spPr>
          <p:txBody>
            <a:bodyPr wrap="square" lIns="0" tIns="0" rIns="0" bIns="0" rtlCol="0"/>
            <a:lstStyle/>
            <a:p>
              <a:endParaRPr/>
            </a:p>
          </p:txBody>
        </p:sp>
      </p:grpSp>
      <p:sp>
        <p:nvSpPr>
          <p:cNvPr id="12" name="object 12"/>
          <p:cNvSpPr txBox="1"/>
          <p:nvPr/>
        </p:nvSpPr>
        <p:spPr>
          <a:xfrm>
            <a:off x="6133934" y="7927637"/>
            <a:ext cx="2441575" cy="336550"/>
          </a:xfrm>
          <a:prstGeom prst="rect">
            <a:avLst/>
          </a:prstGeom>
        </p:spPr>
        <p:txBody>
          <a:bodyPr vert="horz" wrap="square" lIns="0" tIns="17145" rIns="0" bIns="0" rtlCol="0">
            <a:spAutoFit/>
          </a:bodyPr>
          <a:lstStyle/>
          <a:p>
            <a:pPr marL="12700">
              <a:lnSpc>
                <a:spcPct val="100000"/>
              </a:lnSpc>
              <a:spcBef>
                <a:spcPts val="135"/>
              </a:spcBef>
            </a:pPr>
            <a:r>
              <a:rPr sz="2000" b="1" dirty="0">
                <a:solidFill>
                  <a:srgbClr val="FFFFFF"/>
                </a:solidFill>
                <a:latin typeface="Roboto"/>
                <a:cs typeface="Roboto"/>
              </a:rPr>
              <a:t>Estallido</a:t>
            </a:r>
            <a:r>
              <a:rPr sz="2000" b="1" spc="30" dirty="0">
                <a:solidFill>
                  <a:srgbClr val="FFFFFF"/>
                </a:solidFill>
                <a:latin typeface="Roboto"/>
                <a:cs typeface="Roboto"/>
              </a:rPr>
              <a:t> </a:t>
            </a:r>
            <a:r>
              <a:rPr sz="2000" b="1" dirty="0">
                <a:solidFill>
                  <a:srgbClr val="FFFFFF"/>
                </a:solidFill>
                <a:latin typeface="Roboto"/>
                <a:cs typeface="Roboto"/>
              </a:rPr>
              <a:t>social</a:t>
            </a:r>
            <a:r>
              <a:rPr sz="2000" b="1" spc="35" dirty="0">
                <a:solidFill>
                  <a:srgbClr val="FFFFFF"/>
                </a:solidFill>
                <a:latin typeface="Roboto"/>
                <a:cs typeface="Roboto"/>
              </a:rPr>
              <a:t> </a:t>
            </a:r>
            <a:r>
              <a:rPr sz="2000" b="1" spc="-20" dirty="0">
                <a:solidFill>
                  <a:srgbClr val="FFFFFF"/>
                </a:solidFill>
                <a:latin typeface="Roboto"/>
                <a:cs typeface="Roboto"/>
              </a:rPr>
              <a:t>2019</a:t>
            </a:r>
            <a:endParaRPr sz="2000">
              <a:latin typeface="Roboto"/>
              <a:cs typeface="Roboto"/>
            </a:endParaRPr>
          </a:p>
        </p:txBody>
      </p:sp>
      <p:sp>
        <p:nvSpPr>
          <p:cNvPr id="13" name="object 13"/>
          <p:cNvSpPr txBox="1"/>
          <p:nvPr/>
        </p:nvSpPr>
        <p:spPr>
          <a:xfrm>
            <a:off x="5256519" y="1864490"/>
            <a:ext cx="7775575" cy="1062990"/>
          </a:xfrm>
          <a:prstGeom prst="rect">
            <a:avLst/>
          </a:prstGeom>
        </p:spPr>
        <p:txBody>
          <a:bodyPr vert="horz" wrap="square" lIns="0" tIns="33655" rIns="0" bIns="0" rtlCol="0">
            <a:spAutoFit/>
          </a:bodyPr>
          <a:lstStyle/>
          <a:p>
            <a:pPr marL="12700" marR="5080" indent="152400">
              <a:lnSpc>
                <a:spcPts val="4050"/>
              </a:lnSpc>
              <a:spcBef>
                <a:spcPts val="265"/>
              </a:spcBef>
            </a:pPr>
            <a:r>
              <a:rPr sz="3400" b="1" dirty="0">
                <a:solidFill>
                  <a:srgbClr val="E3112B"/>
                </a:solidFill>
                <a:latin typeface="Roboto"/>
                <a:cs typeface="Roboto"/>
              </a:rPr>
              <a:t>Chile</a:t>
            </a:r>
            <a:r>
              <a:rPr sz="3400" b="1" spc="100" dirty="0">
                <a:solidFill>
                  <a:srgbClr val="E3112B"/>
                </a:solidFill>
                <a:latin typeface="Roboto"/>
                <a:cs typeface="Roboto"/>
              </a:rPr>
              <a:t> </a:t>
            </a:r>
            <a:r>
              <a:rPr sz="3400" b="1" dirty="0">
                <a:solidFill>
                  <a:srgbClr val="E3112B"/>
                </a:solidFill>
                <a:latin typeface="Roboto"/>
                <a:cs typeface="Roboto"/>
              </a:rPr>
              <a:t>pierde</a:t>
            </a:r>
            <a:r>
              <a:rPr sz="3400" b="1" spc="105" dirty="0">
                <a:solidFill>
                  <a:srgbClr val="E3112B"/>
                </a:solidFill>
                <a:latin typeface="Roboto"/>
                <a:cs typeface="Roboto"/>
              </a:rPr>
              <a:t> </a:t>
            </a:r>
            <a:r>
              <a:rPr sz="3400" b="1" dirty="0">
                <a:solidFill>
                  <a:srgbClr val="E3112B"/>
                </a:solidFill>
                <a:latin typeface="Roboto"/>
                <a:cs typeface="Roboto"/>
              </a:rPr>
              <a:t>mercado</a:t>
            </a:r>
            <a:r>
              <a:rPr sz="3400" b="1" spc="105" dirty="0">
                <a:solidFill>
                  <a:srgbClr val="E3112B"/>
                </a:solidFill>
                <a:latin typeface="Roboto"/>
                <a:cs typeface="Roboto"/>
              </a:rPr>
              <a:t> </a:t>
            </a:r>
            <a:r>
              <a:rPr sz="3400" b="1" dirty="0">
                <a:solidFill>
                  <a:srgbClr val="E3112B"/>
                </a:solidFill>
                <a:latin typeface="Roboto"/>
                <a:cs typeface="Roboto"/>
              </a:rPr>
              <a:t>desde</a:t>
            </a:r>
            <a:r>
              <a:rPr sz="3400" b="1" spc="100" dirty="0">
                <a:solidFill>
                  <a:srgbClr val="E3112B"/>
                </a:solidFill>
                <a:latin typeface="Roboto"/>
                <a:cs typeface="Roboto"/>
              </a:rPr>
              <a:t> </a:t>
            </a:r>
            <a:r>
              <a:rPr sz="3400" b="1" dirty="0">
                <a:solidFill>
                  <a:srgbClr val="E3112B"/>
                </a:solidFill>
                <a:latin typeface="Roboto"/>
                <a:cs typeface="Roboto"/>
              </a:rPr>
              <a:t>2017</a:t>
            </a:r>
            <a:r>
              <a:rPr sz="3400" b="1" spc="105" dirty="0">
                <a:solidFill>
                  <a:srgbClr val="E3112B"/>
                </a:solidFill>
                <a:latin typeface="Roboto"/>
                <a:cs typeface="Roboto"/>
              </a:rPr>
              <a:t> </a:t>
            </a:r>
            <a:r>
              <a:rPr sz="3400" b="1" spc="-25" dirty="0">
                <a:solidFill>
                  <a:srgbClr val="E3112B"/>
                </a:solidFill>
                <a:latin typeface="Roboto"/>
                <a:cs typeface="Roboto"/>
              </a:rPr>
              <a:t>por </a:t>
            </a:r>
            <a:r>
              <a:rPr sz="3400" b="1" dirty="0">
                <a:solidFill>
                  <a:srgbClr val="E3112B"/>
                </a:solidFill>
                <a:latin typeface="Roboto"/>
                <a:cs typeface="Roboto"/>
              </a:rPr>
              <a:t>factores</a:t>
            </a:r>
            <a:r>
              <a:rPr sz="3400" b="1" spc="105" dirty="0">
                <a:solidFill>
                  <a:srgbClr val="E3112B"/>
                </a:solidFill>
                <a:latin typeface="Roboto"/>
                <a:cs typeface="Roboto"/>
              </a:rPr>
              <a:t> </a:t>
            </a:r>
            <a:r>
              <a:rPr sz="3400" b="1" dirty="0">
                <a:solidFill>
                  <a:srgbClr val="E3112B"/>
                </a:solidFill>
                <a:latin typeface="Roboto"/>
                <a:cs typeface="Roboto"/>
              </a:rPr>
              <a:t>externos</a:t>
            </a:r>
            <a:r>
              <a:rPr sz="3400" b="1" spc="110" dirty="0">
                <a:solidFill>
                  <a:srgbClr val="E3112B"/>
                </a:solidFill>
                <a:latin typeface="Roboto"/>
                <a:cs typeface="Roboto"/>
              </a:rPr>
              <a:t> </a:t>
            </a:r>
            <a:r>
              <a:rPr sz="3400" b="1" dirty="0">
                <a:solidFill>
                  <a:srgbClr val="E3112B"/>
                </a:solidFill>
                <a:latin typeface="Roboto"/>
                <a:cs typeface="Roboto"/>
              </a:rPr>
              <a:t>al</a:t>
            </a:r>
            <a:r>
              <a:rPr sz="3400" b="1" spc="110" dirty="0">
                <a:solidFill>
                  <a:srgbClr val="E3112B"/>
                </a:solidFill>
                <a:latin typeface="Roboto"/>
                <a:cs typeface="Roboto"/>
              </a:rPr>
              <a:t> </a:t>
            </a:r>
            <a:r>
              <a:rPr sz="3400" b="1" dirty="0">
                <a:solidFill>
                  <a:srgbClr val="E3112B"/>
                </a:solidFill>
                <a:latin typeface="Roboto"/>
                <a:cs typeface="Roboto"/>
              </a:rPr>
              <a:t>marketing</a:t>
            </a:r>
            <a:r>
              <a:rPr sz="3400" b="1" spc="105" dirty="0">
                <a:solidFill>
                  <a:srgbClr val="E3112B"/>
                </a:solidFill>
                <a:latin typeface="Roboto"/>
                <a:cs typeface="Roboto"/>
              </a:rPr>
              <a:t> </a:t>
            </a:r>
            <a:r>
              <a:rPr sz="3400" b="1" spc="-10" dirty="0">
                <a:solidFill>
                  <a:srgbClr val="E3112B"/>
                </a:solidFill>
                <a:latin typeface="Roboto"/>
                <a:cs typeface="Roboto"/>
              </a:rPr>
              <a:t>turístico</a:t>
            </a:r>
            <a:endParaRPr sz="3400">
              <a:latin typeface="Roboto"/>
              <a:cs typeface="Roboto"/>
            </a:endParaRPr>
          </a:p>
        </p:txBody>
      </p:sp>
      <p:sp>
        <p:nvSpPr>
          <p:cNvPr id="14" name="object 14"/>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sp>
        <p:nvSpPr>
          <p:cNvPr id="15" name="object 15"/>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1.</a:t>
            </a:r>
            <a:r>
              <a:rPr spc="-110" dirty="0"/>
              <a:t> </a:t>
            </a:r>
            <a:r>
              <a:rPr spc="-30" dirty="0"/>
              <a:t>Situación</a:t>
            </a:r>
            <a:r>
              <a:rPr spc="-105" dirty="0"/>
              <a:t> </a:t>
            </a:r>
            <a:r>
              <a:rPr spc="-10" dirty="0"/>
              <a:t>general</a:t>
            </a:r>
            <a:r>
              <a:rPr spc="-110" dirty="0"/>
              <a:t> </a:t>
            </a:r>
            <a:r>
              <a:rPr dirty="0"/>
              <a:t>del</a:t>
            </a:r>
            <a:r>
              <a:rPr spc="-105" dirty="0"/>
              <a:t> </a:t>
            </a:r>
            <a:r>
              <a:rPr spc="-10" dirty="0"/>
              <a:t>turismo</a:t>
            </a:r>
            <a:r>
              <a:rPr spc="-105" dirty="0"/>
              <a:t> </a:t>
            </a:r>
            <a:r>
              <a:rPr dirty="0"/>
              <a:t>hacia</a:t>
            </a:r>
            <a:r>
              <a:rPr spc="-110" dirty="0"/>
              <a:t> </a:t>
            </a:r>
            <a:r>
              <a:rPr spc="-10" dirty="0"/>
              <a:t>Chile</a:t>
            </a:r>
          </a:p>
        </p:txBody>
      </p:sp>
      <p:pic>
        <p:nvPicPr>
          <p:cNvPr id="16" name="object 16"/>
          <p:cNvPicPr/>
          <p:nvPr/>
        </p:nvPicPr>
        <p:blipFill>
          <a:blip r:embed="rId2" cstate="print"/>
          <a:stretch>
            <a:fillRect/>
          </a:stretch>
        </p:blipFill>
        <p:spPr>
          <a:xfrm>
            <a:off x="17316450" y="237496"/>
            <a:ext cx="742949" cy="819149"/>
          </a:xfrm>
          <a:prstGeom prst="rect">
            <a:avLst/>
          </a:prstGeom>
        </p:spPr>
      </p:pic>
      <p:sp>
        <p:nvSpPr>
          <p:cNvPr id="17" name="object 17"/>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18" name="object 18"/>
          <p:cNvSpPr txBox="1"/>
          <p:nvPr/>
        </p:nvSpPr>
        <p:spPr>
          <a:xfrm>
            <a:off x="17811802" y="9932972"/>
            <a:ext cx="203835"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01</a:t>
            </a:r>
            <a:endParaRPr sz="900">
              <a:latin typeface="Arial"/>
              <a:cs typeface="Arial"/>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sp>
        <p:nvSpPr>
          <p:cNvPr id="3" name="object 3"/>
          <p:cNvSpPr txBox="1"/>
          <p:nvPr/>
        </p:nvSpPr>
        <p:spPr>
          <a:xfrm>
            <a:off x="637985" y="384150"/>
            <a:ext cx="615251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1.</a:t>
            </a:r>
            <a:r>
              <a:rPr sz="3000" spc="-114" dirty="0">
                <a:solidFill>
                  <a:srgbClr val="FFFFFF"/>
                </a:solidFill>
                <a:latin typeface="Roboto"/>
                <a:cs typeface="Roboto"/>
              </a:rPr>
              <a:t> </a:t>
            </a:r>
            <a:r>
              <a:rPr sz="3000" spc="-30" dirty="0">
                <a:solidFill>
                  <a:srgbClr val="FFFFFF"/>
                </a:solidFill>
                <a:latin typeface="Roboto"/>
                <a:cs typeface="Roboto"/>
              </a:rPr>
              <a:t>Situación</a:t>
            </a:r>
            <a:r>
              <a:rPr sz="3000" spc="-110" dirty="0">
                <a:solidFill>
                  <a:srgbClr val="FFFFFF"/>
                </a:solidFill>
                <a:latin typeface="Roboto"/>
                <a:cs typeface="Roboto"/>
              </a:rPr>
              <a:t> </a:t>
            </a:r>
            <a:r>
              <a:rPr sz="3000" spc="-20" dirty="0">
                <a:solidFill>
                  <a:srgbClr val="FFFFFF"/>
                </a:solidFill>
                <a:latin typeface="Roboto"/>
                <a:cs typeface="Roboto"/>
              </a:rPr>
              <a:t>actual</a:t>
            </a:r>
            <a:r>
              <a:rPr sz="3000" spc="-110" dirty="0">
                <a:solidFill>
                  <a:srgbClr val="FFFFFF"/>
                </a:solidFill>
                <a:latin typeface="Roboto"/>
                <a:cs typeface="Roboto"/>
              </a:rPr>
              <a:t> </a:t>
            </a:r>
            <a:r>
              <a:rPr sz="3000" dirty="0">
                <a:solidFill>
                  <a:srgbClr val="FFFFFF"/>
                </a:solidFill>
                <a:latin typeface="Roboto"/>
                <a:cs typeface="Roboto"/>
              </a:rPr>
              <a:t>segmento</a:t>
            </a:r>
            <a:r>
              <a:rPr sz="3000" spc="-110" dirty="0">
                <a:solidFill>
                  <a:srgbClr val="FFFFFF"/>
                </a:solidFill>
                <a:latin typeface="Roboto"/>
                <a:cs typeface="Roboto"/>
              </a:rPr>
              <a:t> </a:t>
            </a:r>
            <a:r>
              <a:rPr sz="3000" spc="-20" dirty="0">
                <a:solidFill>
                  <a:srgbClr val="FFFFFF"/>
                </a:solidFill>
                <a:latin typeface="Roboto"/>
                <a:cs typeface="Roboto"/>
              </a:rPr>
              <a:t>MICE</a:t>
            </a:r>
            <a:endParaRPr sz="3000">
              <a:latin typeface="Roboto"/>
              <a:cs typeface="Roboto"/>
            </a:endParaRPr>
          </a:p>
        </p:txBody>
      </p:sp>
      <p:sp>
        <p:nvSpPr>
          <p:cNvPr id="4" name="object 4"/>
          <p:cNvSpPr txBox="1">
            <a:spLocks noGrp="1"/>
          </p:cNvSpPr>
          <p:nvPr>
            <p:ph type="title"/>
          </p:nvPr>
        </p:nvSpPr>
        <p:spPr>
          <a:xfrm>
            <a:off x="4882646" y="1854015"/>
            <a:ext cx="8481060" cy="643890"/>
          </a:xfrm>
          <a:prstGeom prst="rect">
            <a:avLst/>
          </a:prstGeom>
        </p:spPr>
        <p:txBody>
          <a:bodyPr vert="horz" wrap="square" lIns="0" tIns="13335" rIns="0" bIns="0" rtlCol="0">
            <a:spAutoFit/>
          </a:bodyPr>
          <a:lstStyle/>
          <a:p>
            <a:pPr marL="12700">
              <a:lnSpc>
                <a:spcPct val="100000"/>
              </a:lnSpc>
              <a:spcBef>
                <a:spcPts val="105"/>
              </a:spcBef>
            </a:pPr>
            <a:r>
              <a:rPr sz="4050" spc="-25" dirty="0">
                <a:solidFill>
                  <a:srgbClr val="E3112B"/>
                </a:solidFill>
              </a:rPr>
              <a:t>Puntos</a:t>
            </a:r>
            <a:r>
              <a:rPr sz="4050" spc="-170" dirty="0">
                <a:solidFill>
                  <a:srgbClr val="E3112B"/>
                </a:solidFill>
              </a:rPr>
              <a:t> </a:t>
            </a:r>
            <a:r>
              <a:rPr sz="4050" dirty="0">
                <a:solidFill>
                  <a:srgbClr val="E3112B"/>
                </a:solidFill>
              </a:rPr>
              <a:t>clave</a:t>
            </a:r>
            <a:r>
              <a:rPr sz="4050" spc="-165" dirty="0">
                <a:solidFill>
                  <a:srgbClr val="E3112B"/>
                </a:solidFill>
              </a:rPr>
              <a:t> </a:t>
            </a:r>
            <a:r>
              <a:rPr sz="4050" dirty="0">
                <a:solidFill>
                  <a:srgbClr val="E3112B"/>
                </a:solidFill>
              </a:rPr>
              <a:t>del</a:t>
            </a:r>
            <a:r>
              <a:rPr sz="4050" spc="-170" dirty="0">
                <a:solidFill>
                  <a:srgbClr val="E3112B"/>
                </a:solidFill>
              </a:rPr>
              <a:t> </a:t>
            </a:r>
            <a:r>
              <a:rPr sz="4050" dirty="0">
                <a:solidFill>
                  <a:srgbClr val="E3112B"/>
                </a:solidFill>
              </a:rPr>
              <a:t>sector</a:t>
            </a:r>
            <a:r>
              <a:rPr sz="4050" spc="-165" dirty="0">
                <a:solidFill>
                  <a:srgbClr val="E3112B"/>
                </a:solidFill>
              </a:rPr>
              <a:t> </a:t>
            </a:r>
            <a:r>
              <a:rPr sz="4050" dirty="0">
                <a:solidFill>
                  <a:srgbClr val="E3112B"/>
                </a:solidFill>
              </a:rPr>
              <a:t>MICE</a:t>
            </a:r>
            <a:r>
              <a:rPr sz="4050" spc="-170" dirty="0">
                <a:solidFill>
                  <a:srgbClr val="E3112B"/>
                </a:solidFill>
              </a:rPr>
              <a:t> </a:t>
            </a:r>
            <a:r>
              <a:rPr sz="4050" spc="-10" dirty="0">
                <a:solidFill>
                  <a:srgbClr val="E3112B"/>
                </a:solidFill>
              </a:rPr>
              <a:t>chileno</a:t>
            </a:r>
            <a:endParaRPr sz="4050"/>
          </a:p>
        </p:txBody>
      </p:sp>
      <p:grpSp>
        <p:nvGrpSpPr>
          <p:cNvPr id="5" name="object 5"/>
          <p:cNvGrpSpPr/>
          <p:nvPr/>
        </p:nvGrpSpPr>
        <p:grpSpPr>
          <a:xfrm>
            <a:off x="1636038" y="2864193"/>
            <a:ext cx="3459479" cy="6638925"/>
            <a:chOff x="1636038" y="2864193"/>
            <a:chExt cx="3459479" cy="6638925"/>
          </a:xfrm>
        </p:grpSpPr>
        <p:sp>
          <p:nvSpPr>
            <p:cNvPr id="6" name="object 6"/>
            <p:cNvSpPr/>
            <p:nvPr/>
          </p:nvSpPr>
          <p:spPr>
            <a:xfrm>
              <a:off x="1636038" y="2864193"/>
              <a:ext cx="3459479" cy="6638925"/>
            </a:xfrm>
            <a:custGeom>
              <a:avLst/>
              <a:gdLst/>
              <a:ahLst/>
              <a:cxnLst/>
              <a:rect l="l" t="t" r="r" b="b"/>
              <a:pathLst>
                <a:path w="3459479" h="6638925">
                  <a:moveTo>
                    <a:pt x="3458958" y="6638677"/>
                  </a:moveTo>
                  <a:lnTo>
                    <a:pt x="0" y="6638677"/>
                  </a:lnTo>
                  <a:lnTo>
                    <a:pt x="0" y="0"/>
                  </a:lnTo>
                  <a:lnTo>
                    <a:pt x="3458958" y="0"/>
                  </a:lnTo>
                  <a:lnTo>
                    <a:pt x="3458958" y="6638677"/>
                  </a:lnTo>
                  <a:close/>
                </a:path>
              </a:pathLst>
            </a:custGeom>
            <a:solidFill>
              <a:srgbClr val="0090AE"/>
            </a:solidFill>
          </p:spPr>
          <p:txBody>
            <a:bodyPr wrap="square" lIns="0" tIns="0" rIns="0" bIns="0" rtlCol="0"/>
            <a:lstStyle/>
            <a:p>
              <a:endParaRPr/>
            </a:p>
          </p:txBody>
        </p:sp>
        <p:pic>
          <p:nvPicPr>
            <p:cNvPr id="7" name="object 7"/>
            <p:cNvPicPr/>
            <p:nvPr/>
          </p:nvPicPr>
          <p:blipFill>
            <a:blip r:embed="rId2" cstate="print"/>
            <a:stretch>
              <a:fillRect/>
            </a:stretch>
          </p:blipFill>
          <p:spPr>
            <a:xfrm>
              <a:off x="2222342" y="5121710"/>
              <a:ext cx="66675" cy="66674"/>
            </a:xfrm>
            <a:prstGeom prst="rect">
              <a:avLst/>
            </a:prstGeom>
          </p:spPr>
        </p:pic>
        <p:pic>
          <p:nvPicPr>
            <p:cNvPr id="8" name="object 8"/>
            <p:cNvPicPr/>
            <p:nvPr/>
          </p:nvPicPr>
          <p:blipFill>
            <a:blip r:embed="rId2" cstate="print"/>
            <a:stretch>
              <a:fillRect/>
            </a:stretch>
          </p:blipFill>
          <p:spPr>
            <a:xfrm>
              <a:off x="2222342" y="6188510"/>
              <a:ext cx="66675" cy="66674"/>
            </a:xfrm>
            <a:prstGeom prst="rect">
              <a:avLst/>
            </a:prstGeom>
          </p:spPr>
        </p:pic>
        <p:pic>
          <p:nvPicPr>
            <p:cNvPr id="9" name="object 9"/>
            <p:cNvPicPr/>
            <p:nvPr/>
          </p:nvPicPr>
          <p:blipFill>
            <a:blip r:embed="rId2" cstate="print"/>
            <a:stretch>
              <a:fillRect/>
            </a:stretch>
          </p:blipFill>
          <p:spPr>
            <a:xfrm>
              <a:off x="2222342" y="7522010"/>
              <a:ext cx="66675" cy="66674"/>
            </a:xfrm>
            <a:prstGeom prst="rect">
              <a:avLst/>
            </a:prstGeom>
          </p:spPr>
        </p:pic>
        <p:pic>
          <p:nvPicPr>
            <p:cNvPr id="10" name="object 10"/>
            <p:cNvPicPr/>
            <p:nvPr/>
          </p:nvPicPr>
          <p:blipFill>
            <a:blip r:embed="rId2" cstate="print"/>
            <a:stretch>
              <a:fillRect/>
            </a:stretch>
          </p:blipFill>
          <p:spPr>
            <a:xfrm>
              <a:off x="2222342" y="8588810"/>
              <a:ext cx="66675" cy="66674"/>
            </a:xfrm>
            <a:prstGeom prst="rect">
              <a:avLst/>
            </a:prstGeom>
          </p:spPr>
        </p:pic>
      </p:grpSp>
      <p:sp>
        <p:nvSpPr>
          <p:cNvPr id="11" name="object 11"/>
          <p:cNvSpPr txBox="1"/>
          <p:nvPr/>
        </p:nvSpPr>
        <p:spPr>
          <a:xfrm>
            <a:off x="1636038" y="2864193"/>
            <a:ext cx="3459479"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395605">
              <a:lnSpc>
                <a:spcPct val="100000"/>
              </a:lnSpc>
            </a:pPr>
            <a:r>
              <a:rPr sz="4600" b="1" spc="575" dirty="0">
                <a:solidFill>
                  <a:srgbClr val="F5A316"/>
                </a:solidFill>
                <a:latin typeface="Arial"/>
                <a:cs typeface="Arial"/>
              </a:rPr>
              <a:t>05</a:t>
            </a:r>
            <a:endParaRPr sz="4600">
              <a:latin typeface="Arial"/>
              <a:cs typeface="Arial"/>
            </a:endParaRPr>
          </a:p>
          <a:p>
            <a:pPr marL="395605">
              <a:lnSpc>
                <a:spcPct val="100000"/>
              </a:lnSpc>
              <a:spcBef>
                <a:spcPts val="305"/>
              </a:spcBef>
            </a:pPr>
            <a:r>
              <a:rPr sz="1850" b="1" spc="145" dirty="0">
                <a:solidFill>
                  <a:srgbClr val="FFFFFF"/>
                </a:solidFill>
                <a:latin typeface="Arial"/>
                <a:cs typeface="Arial"/>
              </a:rPr>
              <a:t>Oferta</a:t>
            </a:r>
            <a:r>
              <a:rPr sz="1850" b="1" spc="90" dirty="0">
                <a:solidFill>
                  <a:srgbClr val="FFFFFF"/>
                </a:solidFill>
                <a:latin typeface="Arial"/>
                <a:cs typeface="Arial"/>
              </a:rPr>
              <a:t> </a:t>
            </a:r>
            <a:r>
              <a:rPr sz="1850" b="1" spc="140" dirty="0">
                <a:solidFill>
                  <a:srgbClr val="FFFFFF"/>
                </a:solidFill>
                <a:latin typeface="Arial"/>
                <a:cs typeface="Arial"/>
              </a:rPr>
              <a:t>y</a:t>
            </a:r>
            <a:r>
              <a:rPr sz="1850" b="1" spc="95" dirty="0">
                <a:solidFill>
                  <a:srgbClr val="FFFFFF"/>
                </a:solidFill>
                <a:latin typeface="Arial"/>
                <a:cs typeface="Arial"/>
              </a:rPr>
              <a:t> </a:t>
            </a:r>
            <a:r>
              <a:rPr sz="1850" b="1" dirty="0">
                <a:solidFill>
                  <a:srgbClr val="FFFFFF"/>
                </a:solidFill>
                <a:latin typeface="Arial"/>
                <a:cs typeface="Arial"/>
              </a:rPr>
              <a:t>destinos</a:t>
            </a:r>
            <a:r>
              <a:rPr sz="1850" b="1" spc="95" dirty="0">
                <a:solidFill>
                  <a:srgbClr val="FFFFFF"/>
                </a:solidFill>
                <a:latin typeface="Arial"/>
                <a:cs typeface="Arial"/>
              </a:rPr>
              <a:t> </a:t>
            </a:r>
            <a:r>
              <a:rPr sz="1850" b="1" spc="-20" dirty="0">
                <a:solidFill>
                  <a:srgbClr val="FFFFFF"/>
                </a:solidFill>
                <a:latin typeface="Arial"/>
                <a:cs typeface="Arial"/>
              </a:rPr>
              <a:t>MICE</a:t>
            </a:r>
            <a:endParaRPr sz="1850">
              <a:latin typeface="Arial"/>
              <a:cs typeface="Arial"/>
            </a:endParaRPr>
          </a:p>
          <a:p>
            <a:pPr>
              <a:lnSpc>
                <a:spcPct val="100000"/>
              </a:lnSpc>
              <a:spcBef>
                <a:spcPts val="35"/>
              </a:spcBef>
            </a:pPr>
            <a:endParaRPr sz="2300">
              <a:latin typeface="Arial"/>
              <a:cs typeface="Arial"/>
            </a:endParaRPr>
          </a:p>
          <a:p>
            <a:pPr marL="781685" marR="307975">
              <a:lnSpc>
                <a:spcPct val="100000"/>
              </a:lnSpc>
            </a:pPr>
            <a:r>
              <a:rPr sz="1750" dirty="0">
                <a:solidFill>
                  <a:srgbClr val="FFFFFF"/>
                </a:solidFill>
                <a:latin typeface="Roboto"/>
                <a:cs typeface="Roboto"/>
              </a:rPr>
              <a:t>Gran</a:t>
            </a:r>
            <a:r>
              <a:rPr sz="1750" spc="95" dirty="0">
                <a:solidFill>
                  <a:srgbClr val="FFFFFF"/>
                </a:solidFill>
                <a:latin typeface="Roboto"/>
                <a:cs typeface="Roboto"/>
              </a:rPr>
              <a:t> </a:t>
            </a:r>
            <a:r>
              <a:rPr sz="1750" b="1" dirty="0">
                <a:solidFill>
                  <a:srgbClr val="FFFFFF"/>
                </a:solidFill>
                <a:latin typeface="Roboto"/>
                <a:cs typeface="Roboto"/>
              </a:rPr>
              <a:t>variedad</a:t>
            </a:r>
            <a:r>
              <a:rPr sz="1750" b="1" spc="100" dirty="0">
                <a:solidFill>
                  <a:srgbClr val="FFFFFF"/>
                </a:solidFill>
                <a:latin typeface="Roboto"/>
                <a:cs typeface="Roboto"/>
              </a:rPr>
              <a:t> </a:t>
            </a:r>
            <a:r>
              <a:rPr sz="1750" spc="-25" dirty="0">
                <a:solidFill>
                  <a:srgbClr val="FFFFFF"/>
                </a:solidFill>
                <a:latin typeface="Roboto"/>
                <a:cs typeface="Roboto"/>
              </a:rPr>
              <a:t>de </a:t>
            </a:r>
            <a:r>
              <a:rPr sz="1750" dirty="0">
                <a:solidFill>
                  <a:srgbClr val="FFFFFF"/>
                </a:solidFill>
                <a:latin typeface="Roboto"/>
                <a:cs typeface="Roboto"/>
              </a:rPr>
              <a:t>destinos</a:t>
            </a:r>
            <a:r>
              <a:rPr sz="1750" spc="-10" dirty="0">
                <a:solidFill>
                  <a:srgbClr val="FFFFFF"/>
                </a:solidFill>
                <a:latin typeface="Roboto"/>
                <a:cs typeface="Roboto"/>
              </a:rPr>
              <a:t> </a:t>
            </a:r>
            <a:r>
              <a:rPr sz="1750" dirty="0">
                <a:solidFill>
                  <a:srgbClr val="FFFFFF"/>
                </a:solidFill>
                <a:latin typeface="Roboto"/>
                <a:cs typeface="Roboto"/>
              </a:rPr>
              <a:t>y</a:t>
            </a:r>
            <a:r>
              <a:rPr sz="1750" spc="-10" dirty="0">
                <a:solidFill>
                  <a:srgbClr val="FFFFFF"/>
                </a:solidFill>
                <a:latin typeface="Roboto"/>
                <a:cs typeface="Roboto"/>
              </a:rPr>
              <a:t> experiencias auténticas.</a:t>
            </a:r>
            <a:endParaRPr sz="1750">
              <a:latin typeface="Roboto"/>
              <a:cs typeface="Roboto"/>
            </a:endParaRPr>
          </a:p>
          <a:p>
            <a:pPr>
              <a:lnSpc>
                <a:spcPct val="100000"/>
              </a:lnSpc>
              <a:spcBef>
                <a:spcPts val="55"/>
              </a:spcBef>
            </a:pPr>
            <a:endParaRPr sz="1550">
              <a:latin typeface="Roboto"/>
              <a:cs typeface="Roboto"/>
            </a:endParaRPr>
          </a:p>
          <a:p>
            <a:pPr marL="781685" marR="409575">
              <a:lnSpc>
                <a:spcPct val="100000"/>
              </a:lnSpc>
              <a:spcBef>
                <a:spcPts val="5"/>
              </a:spcBef>
            </a:pPr>
            <a:r>
              <a:rPr sz="1750" dirty="0">
                <a:solidFill>
                  <a:srgbClr val="FFFFFF"/>
                </a:solidFill>
                <a:latin typeface="Roboto"/>
                <a:cs typeface="Roboto"/>
              </a:rPr>
              <a:t>Falta</a:t>
            </a:r>
            <a:r>
              <a:rPr sz="1750" spc="5" dirty="0">
                <a:solidFill>
                  <a:srgbClr val="FFFFFF"/>
                </a:solidFill>
                <a:latin typeface="Roboto"/>
                <a:cs typeface="Roboto"/>
              </a:rPr>
              <a:t> </a:t>
            </a:r>
            <a:r>
              <a:rPr sz="1750" dirty="0">
                <a:solidFill>
                  <a:srgbClr val="FFFFFF"/>
                </a:solidFill>
                <a:latin typeface="Roboto"/>
                <a:cs typeface="Roboto"/>
              </a:rPr>
              <a:t>fortalecimiento </a:t>
            </a:r>
            <a:r>
              <a:rPr sz="1750" spc="-50" dirty="0">
                <a:solidFill>
                  <a:srgbClr val="FFFFFF"/>
                </a:solidFill>
                <a:latin typeface="Roboto"/>
                <a:cs typeface="Roboto"/>
              </a:rPr>
              <a:t>y </a:t>
            </a:r>
            <a:r>
              <a:rPr sz="1750" dirty="0">
                <a:solidFill>
                  <a:srgbClr val="FFFFFF"/>
                </a:solidFill>
                <a:latin typeface="Roboto"/>
                <a:cs typeface="Roboto"/>
              </a:rPr>
              <a:t>estabilidad</a:t>
            </a:r>
            <a:r>
              <a:rPr sz="1750" spc="10" dirty="0">
                <a:solidFill>
                  <a:srgbClr val="FFFFFF"/>
                </a:solidFill>
                <a:latin typeface="Roboto"/>
                <a:cs typeface="Roboto"/>
              </a:rPr>
              <a:t> </a:t>
            </a:r>
            <a:r>
              <a:rPr sz="1750" spc="-10" dirty="0">
                <a:solidFill>
                  <a:srgbClr val="FFFFFF"/>
                </a:solidFill>
                <a:latin typeface="Roboto"/>
                <a:cs typeface="Roboto"/>
              </a:rPr>
              <a:t>financiera </a:t>
            </a:r>
            <a:r>
              <a:rPr sz="1750" dirty="0">
                <a:solidFill>
                  <a:srgbClr val="FFFFFF"/>
                </a:solidFill>
                <a:latin typeface="Roboto"/>
                <a:cs typeface="Roboto"/>
              </a:rPr>
              <a:t>de</a:t>
            </a:r>
            <a:r>
              <a:rPr sz="1750" spc="20" dirty="0">
                <a:solidFill>
                  <a:srgbClr val="FFFFFF"/>
                </a:solidFill>
                <a:latin typeface="Roboto"/>
                <a:cs typeface="Roboto"/>
              </a:rPr>
              <a:t> </a:t>
            </a:r>
            <a:r>
              <a:rPr sz="1750" dirty="0">
                <a:solidFill>
                  <a:srgbClr val="FFFFFF"/>
                </a:solidFill>
                <a:latin typeface="Roboto"/>
                <a:cs typeface="Roboto"/>
              </a:rPr>
              <a:t>los</a:t>
            </a:r>
            <a:r>
              <a:rPr sz="1750" spc="25" dirty="0">
                <a:solidFill>
                  <a:srgbClr val="FFFFFF"/>
                </a:solidFill>
                <a:latin typeface="Roboto"/>
                <a:cs typeface="Roboto"/>
              </a:rPr>
              <a:t> </a:t>
            </a:r>
            <a:r>
              <a:rPr sz="1750" b="1" spc="-10" dirty="0">
                <a:solidFill>
                  <a:srgbClr val="FFFFFF"/>
                </a:solidFill>
                <a:latin typeface="Roboto"/>
                <a:cs typeface="Roboto"/>
              </a:rPr>
              <a:t>Convention Bureaus.</a:t>
            </a:r>
            <a:endParaRPr sz="1750">
              <a:latin typeface="Roboto"/>
              <a:cs typeface="Roboto"/>
            </a:endParaRPr>
          </a:p>
          <a:p>
            <a:pPr>
              <a:lnSpc>
                <a:spcPct val="100000"/>
              </a:lnSpc>
              <a:spcBef>
                <a:spcPts val="55"/>
              </a:spcBef>
            </a:pPr>
            <a:endParaRPr sz="1550">
              <a:latin typeface="Roboto"/>
              <a:cs typeface="Roboto"/>
            </a:endParaRPr>
          </a:p>
          <a:p>
            <a:pPr marL="781685" marR="391160">
              <a:lnSpc>
                <a:spcPct val="100000"/>
              </a:lnSpc>
            </a:pPr>
            <a:r>
              <a:rPr sz="1750" b="1" dirty="0">
                <a:solidFill>
                  <a:srgbClr val="FFFFFF"/>
                </a:solidFill>
                <a:latin typeface="Roboto"/>
                <a:cs typeface="Roboto"/>
              </a:rPr>
              <a:t>Poco</a:t>
            </a:r>
            <a:r>
              <a:rPr sz="1750" b="1" spc="140" dirty="0">
                <a:solidFill>
                  <a:srgbClr val="FFFFFF"/>
                </a:solidFill>
                <a:latin typeface="Roboto"/>
                <a:cs typeface="Roboto"/>
              </a:rPr>
              <a:t> </a:t>
            </a:r>
            <a:r>
              <a:rPr sz="1750" b="1" dirty="0">
                <a:solidFill>
                  <a:srgbClr val="FFFFFF"/>
                </a:solidFill>
                <a:latin typeface="Roboto"/>
                <a:cs typeface="Roboto"/>
              </a:rPr>
              <a:t>conocimiento</a:t>
            </a:r>
            <a:r>
              <a:rPr sz="1750" b="1" spc="145" dirty="0">
                <a:solidFill>
                  <a:srgbClr val="FFFFFF"/>
                </a:solidFill>
                <a:latin typeface="Roboto"/>
                <a:cs typeface="Roboto"/>
              </a:rPr>
              <a:t> </a:t>
            </a:r>
            <a:r>
              <a:rPr sz="1750" spc="-25" dirty="0">
                <a:solidFill>
                  <a:srgbClr val="FFFFFF"/>
                </a:solidFill>
                <a:latin typeface="Roboto"/>
                <a:cs typeface="Roboto"/>
              </a:rPr>
              <a:t>de </a:t>
            </a:r>
            <a:r>
              <a:rPr sz="1750" dirty="0">
                <a:solidFill>
                  <a:srgbClr val="FFFFFF"/>
                </a:solidFill>
                <a:latin typeface="Roboto"/>
                <a:cs typeface="Roboto"/>
              </a:rPr>
              <a:t>destinos</a:t>
            </a:r>
            <a:r>
              <a:rPr sz="1750" spc="20" dirty="0">
                <a:solidFill>
                  <a:srgbClr val="FFFFFF"/>
                </a:solidFill>
                <a:latin typeface="Roboto"/>
                <a:cs typeface="Roboto"/>
              </a:rPr>
              <a:t> </a:t>
            </a:r>
            <a:r>
              <a:rPr sz="1750" dirty="0">
                <a:solidFill>
                  <a:srgbClr val="FFFFFF"/>
                </a:solidFill>
                <a:latin typeface="Roboto"/>
                <a:cs typeface="Roboto"/>
              </a:rPr>
              <a:t>más</a:t>
            </a:r>
            <a:r>
              <a:rPr sz="1750" spc="20" dirty="0">
                <a:solidFill>
                  <a:srgbClr val="FFFFFF"/>
                </a:solidFill>
                <a:latin typeface="Roboto"/>
                <a:cs typeface="Roboto"/>
              </a:rPr>
              <a:t> </a:t>
            </a:r>
            <a:r>
              <a:rPr sz="1750" dirty="0">
                <a:solidFill>
                  <a:srgbClr val="FFFFFF"/>
                </a:solidFill>
                <a:latin typeface="Roboto"/>
                <a:cs typeface="Roboto"/>
              </a:rPr>
              <a:t>allá</a:t>
            </a:r>
            <a:r>
              <a:rPr sz="1750" spc="20" dirty="0">
                <a:solidFill>
                  <a:srgbClr val="FFFFFF"/>
                </a:solidFill>
                <a:latin typeface="Roboto"/>
                <a:cs typeface="Roboto"/>
              </a:rPr>
              <a:t> </a:t>
            </a:r>
            <a:r>
              <a:rPr sz="1750" spc="-25" dirty="0">
                <a:solidFill>
                  <a:srgbClr val="FFFFFF"/>
                </a:solidFill>
                <a:latin typeface="Roboto"/>
                <a:cs typeface="Roboto"/>
              </a:rPr>
              <a:t>de </a:t>
            </a:r>
            <a:r>
              <a:rPr sz="1750" spc="-10" dirty="0">
                <a:solidFill>
                  <a:srgbClr val="FFFFFF"/>
                </a:solidFill>
                <a:latin typeface="Roboto"/>
                <a:cs typeface="Roboto"/>
              </a:rPr>
              <a:t>Santiago.</a:t>
            </a:r>
            <a:endParaRPr sz="1750">
              <a:latin typeface="Roboto"/>
              <a:cs typeface="Roboto"/>
            </a:endParaRPr>
          </a:p>
          <a:p>
            <a:pPr>
              <a:lnSpc>
                <a:spcPct val="100000"/>
              </a:lnSpc>
              <a:spcBef>
                <a:spcPts val="55"/>
              </a:spcBef>
            </a:pPr>
            <a:endParaRPr sz="1550">
              <a:latin typeface="Roboto"/>
              <a:cs typeface="Roboto"/>
            </a:endParaRPr>
          </a:p>
          <a:p>
            <a:pPr marL="781685" marR="704215">
              <a:lnSpc>
                <a:spcPct val="100000"/>
              </a:lnSpc>
            </a:pPr>
            <a:r>
              <a:rPr sz="1750" b="1" dirty="0">
                <a:solidFill>
                  <a:srgbClr val="FFFFFF"/>
                </a:solidFill>
                <a:latin typeface="Roboto"/>
                <a:cs typeface="Roboto"/>
              </a:rPr>
              <a:t>Oferta</a:t>
            </a:r>
            <a:r>
              <a:rPr sz="1750" b="1" spc="110" dirty="0">
                <a:solidFill>
                  <a:srgbClr val="FFFFFF"/>
                </a:solidFill>
                <a:latin typeface="Roboto"/>
                <a:cs typeface="Roboto"/>
              </a:rPr>
              <a:t> </a:t>
            </a:r>
            <a:r>
              <a:rPr sz="1750" b="1" dirty="0">
                <a:solidFill>
                  <a:srgbClr val="FFFFFF"/>
                </a:solidFill>
                <a:latin typeface="Roboto"/>
                <a:cs typeface="Roboto"/>
              </a:rPr>
              <a:t>limitada</a:t>
            </a:r>
            <a:r>
              <a:rPr sz="1750" b="1" spc="114" dirty="0">
                <a:solidFill>
                  <a:srgbClr val="FFFFFF"/>
                </a:solidFill>
                <a:latin typeface="Roboto"/>
                <a:cs typeface="Roboto"/>
              </a:rPr>
              <a:t> </a:t>
            </a:r>
            <a:r>
              <a:rPr sz="1750" b="1" spc="-25" dirty="0">
                <a:solidFill>
                  <a:srgbClr val="FFFFFF"/>
                </a:solidFill>
                <a:latin typeface="Roboto"/>
                <a:cs typeface="Roboto"/>
              </a:rPr>
              <a:t>de </a:t>
            </a:r>
            <a:r>
              <a:rPr sz="1750" b="1" dirty="0">
                <a:solidFill>
                  <a:srgbClr val="FFFFFF"/>
                </a:solidFill>
                <a:latin typeface="Roboto"/>
                <a:cs typeface="Roboto"/>
              </a:rPr>
              <a:t>grandes</a:t>
            </a:r>
            <a:r>
              <a:rPr sz="1750" b="1" spc="145" dirty="0">
                <a:solidFill>
                  <a:srgbClr val="FFFFFF"/>
                </a:solidFill>
                <a:latin typeface="Roboto"/>
                <a:cs typeface="Roboto"/>
              </a:rPr>
              <a:t> </a:t>
            </a:r>
            <a:r>
              <a:rPr sz="1750" b="1" dirty="0">
                <a:solidFill>
                  <a:srgbClr val="FFFFFF"/>
                </a:solidFill>
                <a:latin typeface="Roboto"/>
                <a:cs typeface="Roboto"/>
              </a:rPr>
              <a:t>centros</a:t>
            </a:r>
            <a:r>
              <a:rPr sz="1750" b="1" spc="150" dirty="0">
                <a:solidFill>
                  <a:srgbClr val="FFFFFF"/>
                </a:solidFill>
                <a:latin typeface="Roboto"/>
                <a:cs typeface="Roboto"/>
              </a:rPr>
              <a:t> </a:t>
            </a:r>
            <a:r>
              <a:rPr sz="1750" spc="-25" dirty="0">
                <a:solidFill>
                  <a:srgbClr val="FFFFFF"/>
                </a:solidFill>
                <a:latin typeface="Roboto"/>
                <a:cs typeface="Roboto"/>
              </a:rPr>
              <a:t>de </a:t>
            </a:r>
            <a:r>
              <a:rPr sz="1750" spc="-10" dirty="0">
                <a:solidFill>
                  <a:srgbClr val="FFFFFF"/>
                </a:solidFill>
                <a:latin typeface="Roboto"/>
                <a:cs typeface="Roboto"/>
              </a:rPr>
              <a:t>convenciones.</a:t>
            </a:r>
            <a:endParaRPr sz="1750">
              <a:latin typeface="Roboto"/>
              <a:cs typeface="Roboto"/>
            </a:endParaRPr>
          </a:p>
        </p:txBody>
      </p:sp>
      <p:grpSp>
        <p:nvGrpSpPr>
          <p:cNvPr id="12" name="object 12"/>
          <p:cNvGrpSpPr/>
          <p:nvPr/>
        </p:nvGrpSpPr>
        <p:grpSpPr>
          <a:xfrm>
            <a:off x="3830789" y="3149251"/>
            <a:ext cx="838200" cy="837565"/>
            <a:chOff x="3830789" y="3149251"/>
            <a:chExt cx="838200" cy="837565"/>
          </a:xfrm>
        </p:grpSpPr>
        <p:sp>
          <p:nvSpPr>
            <p:cNvPr id="13" name="object 13"/>
            <p:cNvSpPr/>
            <p:nvPr/>
          </p:nvSpPr>
          <p:spPr>
            <a:xfrm>
              <a:off x="3830777" y="3150475"/>
              <a:ext cx="838200" cy="836294"/>
            </a:xfrm>
            <a:custGeom>
              <a:avLst/>
              <a:gdLst/>
              <a:ahLst/>
              <a:cxnLst/>
              <a:rect l="l" t="t" r="r" b="b"/>
              <a:pathLst>
                <a:path w="838200" h="836295">
                  <a:moveTo>
                    <a:pt x="189395" y="101917"/>
                  </a:moveTo>
                  <a:lnTo>
                    <a:pt x="135420" y="109994"/>
                  </a:lnTo>
                  <a:lnTo>
                    <a:pt x="101625" y="144843"/>
                  </a:lnTo>
                  <a:lnTo>
                    <a:pt x="72072" y="183324"/>
                  </a:lnTo>
                  <a:lnTo>
                    <a:pt x="47218" y="224929"/>
                  </a:lnTo>
                  <a:lnTo>
                    <a:pt x="26835" y="270649"/>
                  </a:lnTo>
                  <a:lnTo>
                    <a:pt x="12052" y="318528"/>
                  </a:lnTo>
                  <a:lnTo>
                    <a:pt x="3048" y="367906"/>
                  </a:lnTo>
                  <a:lnTo>
                    <a:pt x="0" y="418147"/>
                  </a:lnTo>
                  <a:lnTo>
                    <a:pt x="2743" y="466458"/>
                  </a:lnTo>
                  <a:lnTo>
                    <a:pt x="10896" y="513575"/>
                  </a:lnTo>
                  <a:lnTo>
                    <a:pt x="24409" y="559320"/>
                  </a:lnTo>
                  <a:lnTo>
                    <a:pt x="43218" y="603516"/>
                  </a:lnTo>
                  <a:lnTo>
                    <a:pt x="68122" y="591146"/>
                  </a:lnTo>
                  <a:lnTo>
                    <a:pt x="50596" y="549884"/>
                  </a:lnTo>
                  <a:lnTo>
                    <a:pt x="38011" y="507199"/>
                  </a:lnTo>
                  <a:lnTo>
                    <a:pt x="30416" y="463232"/>
                  </a:lnTo>
                  <a:lnTo>
                    <a:pt x="27876" y="418147"/>
                  </a:lnTo>
                  <a:lnTo>
                    <a:pt x="30695" y="371271"/>
                  </a:lnTo>
                  <a:lnTo>
                    <a:pt x="39077" y="325170"/>
                  </a:lnTo>
                  <a:lnTo>
                    <a:pt x="52870" y="280479"/>
                  </a:lnTo>
                  <a:lnTo>
                    <a:pt x="71958" y="237820"/>
                  </a:lnTo>
                  <a:lnTo>
                    <a:pt x="95186" y="199021"/>
                  </a:lnTo>
                  <a:lnTo>
                    <a:pt x="122770" y="163144"/>
                  </a:lnTo>
                  <a:lnTo>
                    <a:pt x="154305" y="130632"/>
                  </a:lnTo>
                  <a:lnTo>
                    <a:pt x="189395" y="101917"/>
                  </a:lnTo>
                  <a:close/>
                </a:path>
                <a:path w="838200" h="836295">
                  <a:moveTo>
                    <a:pt x="461352" y="2260"/>
                  </a:moveTo>
                  <a:lnTo>
                    <a:pt x="450608" y="1320"/>
                  </a:lnTo>
                  <a:lnTo>
                    <a:pt x="439813" y="609"/>
                  </a:lnTo>
                  <a:lnTo>
                    <a:pt x="428993" y="165"/>
                  </a:lnTo>
                  <a:lnTo>
                    <a:pt x="418147" y="0"/>
                  </a:lnTo>
                  <a:lnTo>
                    <a:pt x="399986" y="393"/>
                  </a:lnTo>
                  <a:lnTo>
                    <a:pt x="381889" y="1574"/>
                  </a:lnTo>
                  <a:lnTo>
                    <a:pt x="363880" y="3530"/>
                  </a:lnTo>
                  <a:lnTo>
                    <a:pt x="346024" y="6273"/>
                  </a:lnTo>
                  <a:lnTo>
                    <a:pt x="350723" y="33807"/>
                  </a:lnTo>
                  <a:lnTo>
                    <a:pt x="367411" y="31191"/>
                  </a:lnTo>
                  <a:lnTo>
                    <a:pt x="384238" y="29337"/>
                  </a:lnTo>
                  <a:lnTo>
                    <a:pt x="401167" y="28244"/>
                  </a:lnTo>
                  <a:lnTo>
                    <a:pt x="418147" y="27876"/>
                  </a:lnTo>
                  <a:lnTo>
                    <a:pt x="428231" y="28003"/>
                  </a:lnTo>
                  <a:lnTo>
                    <a:pt x="438353" y="28397"/>
                  </a:lnTo>
                  <a:lnTo>
                    <a:pt x="448475" y="29057"/>
                  </a:lnTo>
                  <a:lnTo>
                    <a:pt x="458571" y="29972"/>
                  </a:lnTo>
                  <a:lnTo>
                    <a:pt x="461352" y="2260"/>
                  </a:lnTo>
                  <a:close/>
                </a:path>
                <a:path w="838200" h="836295">
                  <a:moveTo>
                    <a:pt x="547776" y="815898"/>
                  </a:moveTo>
                  <a:lnTo>
                    <a:pt x="539064" y="789419"/>
                  </a:lnTo>
                  <a:lnTo>
                    <a:pt x="512876" y="796886"/>
                  </a:lnTo>
                  <a:lnTo>
                    <a:pt x="486156" y="802551"/>
                  </a:lnTo>
                  <a:lnTo>
                    <a:pt x="459016" y="806348"/>
                  </a:lnTo>
                  <a:lnTo>
                    <a:pt x="431558" y="808240"/>
                  </a:lnTo>
                  <a:lnTo>
                    <a:pt x="432435" y="836117"/>
                  </a:lnTo>
                  <a:lnTo>
                    <a:pt x="461848" y="834059"/>
                  </a:lnTo>
                  <a:lnTo>
                    <a:pt x="490956" y="829995"/>
                  </a:lnTo>
                  <a:lnTo>
                    <a:pt x="519633" y="823937"/>
                  </a:lnTo>
                  <a:lnTo>
                    <a:pt x="547776" y="815898"/>
                  </a:lnTo>
                  <a:close/>
                </a:path>
                <a:path w="838200" h="836295">
                  <a:moveTo>
                    <a:pt x="838200" y="443230"/>
                  </a:moveTo>
                  <a:lnTo>
                    <a:pt x="835240" y="434873"/>
                  </a:lnTo>
                  <a:lnTo>
                    <a:pt x="779487" y="408025"/>
                  </a:lnTo>
                  <a:lnTo>
                    <a:pt x="779487" y="500900"/>
                  </a:lnTo>
                  <a:lnTo>
                    <a:pt x="640638" y="789762"/>
                  </a:lnTo>
                  <a:lnTo>
                    <a:pt x="508787" y="726351"/>
                  </a:lnTo>
                  <a:lnTo>
                    <a:pt x="505536" y="724776"/>
                  </a:lnTo>
                  <a:lnTo>
                    <a:pt x="398640" y="673379"/>
                  </a:lnTo>
                  <a:lnTo>
                    <a:pt x="396024" y="670598"/>
                  </a:lnTo>
                  <a:lnTo>
                    <a:pt x="394804" y="666940"/>
                  </a:lnTo>
                  <a:lnTo>
                    <a:pt x="393585" y="663448"/>
                  </a:lnTo>
                  <a:lnTo>
                    <a:pt x="393750" y="659625"/>
                  </a:lnTo>
                  <a:lnTo>
                    <a:pt x="395325" y="656310"/>
                  </a:lnTo>
                  <a:lnTo>
                    <a:pt x="476821" y="486968"/>
                  </a:lnTo>
                  <a:lnTo>
                    <a:pt x="529297" y="377901"/>
                  </a:lnTo>
                  <a:lnTo>
                    <a:pt x="532612" y="381203"/>
                  </a:lnTo>
                  <a:lnTo>
                    <a:pt x="536448" y="383997"/>
                  </a:lnTo>
                  <a:lnTo>
                    <a:pt x="779487" y="500900"/>
                  </a:lnTo>
                  <a:lnTo>
                    <a:pt x="779487" y="408025"/>
                  </a:lnTo>
                  <a:lnTo>
                    <a:pt x="716953" y="377901"/>
                  </a:lnTo>
                  <a:lnTo>
                    <a:pt x="577215" y="310642"/>
                  </a:lnTo>
                  <a:lnTo>
                    <a:pt x="561149" y="306590"/>
                  </a:lnTo>
                  <a:lnTo>
                    <a:pt x="545287" y="308902"/>
                  </a:lnTo>
                  <a:lnTo>
                    <a:pt x="531444" y="316966"/>
                  </a:lnTo>
                  <a:lnTo>
                    <a:pt x="521462" y="330161"/>
                  </a:lnTo>
                  <a:lnTo>
                    <a:pt x="446024" y="486968"/>
                  </a:lnTo>
                  <a:lnTo>
                    <a:pt x="446024" y="404202"/>
                  </a:lnTo>
                  <a:lnTo>
                    <a:pt x="446024" y="348449"/>
                  </a:lnTo>
                  <a:lnTo>
                    <a:pt x="440550" y="321322"/>
                  </a:lnTo>
                  <a:lnTo>
                    <a:pt x="425615" y="299173"/>
                  </a:lnTo>
                  <a:lnTo>
                    <a:pt x="403466" y="284238"/>
                  </a:lnTo>
                  <a:lnTo>
                    <a:pt x="376339" y="278765"/>
                  </a:lnTo>
                  <a:lnTo>
                    <a:pt x="376339" y="786803"/>
                  </a:lnTo>
                  <a:lnTo>
                    <a:pt x="376339" y="802132"/>
                  </a:lnTo>
                  <a:lnTo>
                    <a:pt x="370065" y="808405"/>
                  </a:lnTo>
                  <a:lnTo>
                    <a:pt x="354723" y="808405"/>
                  </a:lnTo>
                  <a:lnTo>
                    <a:pt x="348462" y="802132"/>
                  </a:lnTo>
                  <a:lnTo>
                    <a:pt x="348462" y="786803"/>
                  </a:lnTo>
                  <a:lnTo>
                    <a:pt x="354723" y="780529"/>
                  </a:lnTo>
                  <a:lnTo>
                    <a:pt x="370065" y="780529"/>
                  </a:lnTo>
                  <a:lnTo>
                    <a:pt x="376339" y="786803"/>
                  </a:lnTo>
                  <a:lnTo>
                    <a:pt x="376339" y="278765"/>
                  </a:lnTo>
                  <a:lnTo>
                    <a:pt x="362394" y="278765"/>
                  </a:lnTo>
                  <a:lnTo>
                    <a:pt x="362394" y="404202"/>
                  </a:lnTo>
                  <a:lnTo>
                    <a:pt x="362394" y="724776"/>
                  </a:lnTo>
                  <a:lnTo>
                    <a:pt x="334518" y="724776"/>
                  </a:lnTo>
                  <a:lnTo>
                    <a:pt x="334518" y="404202"/>
                  </a:lnTo>
                  <a:lnTo>
                    <a:pt x="362394" y="404202"/>
                  </a:lnTo>
                  <a:lnTo>
                    <a:pt x="362394" y="278765"/>
                  </a:lnTo>
                  <a:lnTo>
                    <a:pt x="320586" y="278765"/>
                  </a:lnTo>
                  <a:lnTo>
                    <a:pt x="320586" y="55753"/>
                  </a:lnTo>
                  <a:lnTo>
                    <a:pt x="316179" y="34112"/>
                  </a:lnTo>
                  <a:lnTo>
                    <a:pt x="311975" y="27876"/>
                  </a:lnTo>
                  <a:lnTo>
                    <a:pt x="304203" y="16383"/>
                  </a:lnTo>
                  <a:lnTo>
                    <a:pt x="292709" y="8623"/>
                  </a:lnTo>
                  <a:lnTo>
                    <a:pt x="292709" y="55753"/>
                  </a:lnTo>
                  <a:lnTo>
                    <a:pt x="292709" y="278765"/>
                  </a:lnTo>
                  <a:lnTo>
                    <a:pt x="278765" y="278765"/>
                  </a:lnTo>
                  <a:lnTo>
                    <a:pt x="278765" y="404202"/>
                  </a:lnTo>
                  <a:lnTo>
                    <a:pt x="278765" y="724776"/>
                  </a:lnTo>
                  <a:lnTo>
                    <a:pt x="250888" y="724776"/>
                  </a:lnTo>
                  <a:lnTo>
                    <a:pt x="250888" y="404202"/>
                  </a:lnTo>
                  <a:lnTo>
                    <a:pt x="278765" y="404202"/>
                  </a:lnTo>
                  <a:lnTo>
                    <a:pt x="278765" y="278765"/>
                  </a:lnTo>
                  <a:lnTo>
                    <a:pt x="236956" y="278765"/>
                  </a:lnTo>
                  <a:lnTo>
                    <a:pt x="236956" y="55753"/>
                  </a:lnTo>
                  <a:lnTo>
                    <a:pt x="239153" y="44932"/>
                  </a:lnTo>
                  <a:lnTo>
                    <a:pt x="245135" y="36068"/>
                  </a:lnTo>
                  <a:lnTo>
                    <a:pt x="254000" y="30073"/>
                  </a:lnTo>
                  <a:lnTo>
                    <a:pt x="264833" y="27876"/>
                  </a:lnTo>
                  <a:lnTo>
                    <a:pt x="275653" y="30073"/>
                  </a:lnTo>
                  <a:lnTo>
                    <a:pt x="284518" y="36068"/>
                  </a:lnTo>
                  <a:lnTo>
                    <a:pt x="290499" y="44932"/>
                  </a:lnTo>
                  <a:lnTo>
                    <a:pt x="292709" y="55753"/>
                  </a:lnTo>
                  <a:lnTo>
                    <a:pt x="292709" y="8623"/>
                  </a:lnTo>
                  <a:lnTo>
                    <a:pt x="286473" y="4406"/>
                  </a:lnTo>
                  <a:lnTo>
                    <a:pt x="264833" y="0"/>
                  </a:lnTo>
                  <a:lnTo>
                    <a:pt x="243179" y="4406"/>
                  </a:lnTo>
                  <a:lnTo>
                    <a:pt x="225450" y="16383"/>
                  </a:lnTo>
                  <a:lnTo>
                    <a:pt x="213474" y="34112"/>
                  </a:lnTo>
                  <a:lnTo>
                    <a:pt x="209080" y="55753"/>
                  </a:lnTo>
                  <a:lnTo>
                    <a:pt x="209080" y="278765"/>
                  </a:lnTo>
                  <a:lnTo>
                    <a:pt x="195135" y="278765"/>
                  </a:lnTo>
                  <a:lnTo>
                    <a:pt x="195135" y="404202"/>
                  </a:lnTo>
                  <a:lnTo>
                    <a:pt x="195135" y="724776"/>
                  </a:lnTo>
                  <a:lnTo>
                    <a:pt x="181203" y="724776"/>
                  </a:lnTo>
                  <a:lnTo>
                    <a:pt x="181203" y="786803"/>
                  </a:lnTo>
                  <a:lnTo>
                    <a:pt x="181203" y="802132"/>
                  </a:lnTo>
                  <a:lnTo>
                    <a:pt x="174929" y="808405"/>
                  </a:lnTo>
                  <a:lnTo>
                    <a:pt x="159600" y="808405"/>
                  </a:lnTo>
                  <a:lnTo>
                    <a:pt x="153327" y="802132"/>
                  </a:lnTo>
                  <a:lnTo>
                    <a:pt x="153327" y="786803"/>
                  </a:lnTo>
                  <a:lnTo>
                    <a:pt x="159600" y="780529"/>
                  </a:lnTo>
                  <a:lnTo>
                    <a:pt x="174929" y="780529"/>
                  </a:lnTo>
                  <a:lnTo>
                    <a:pt x="181203" y="786803"/>
                  </a:lnTo>
                  <a:lnTo>
                    <a:pt x="181203" y="724776"/>
                  </a:lnTo>
                  <a:lnTo>
                    <a:pt x="167259" y="724776"/>
                  </a:lnTo>
                  <a:lnTo>
                    <a:pt x="167259" y="404202"/>
                  </a:lnTo>
                  <a:lnTo>
                    <a:pt x="195135" y="404202"/>
                  </a:lnTo>
                  <a:lnTo>
                    <a:pt x="195135" y="278765"/>
                  </a:lnTo>
                  <a:lnTo>
                    <a:pt x="153327" y="278765"/>
                  </a:lnTo>
                  <a:lnTo>
                    <a:pt x="126187" y="284238"/>
                  </a:lnTo>
                  <a:lnTo>
                    <a:pt x="104038" y="299173"/>
                  </a:lnTo>
                  <a:lnTo>
                    <a:pt x="89103" y="321322"/>
                  </a:lnTo>
                  <a:lnTo>
                    <a:pt x="83629" y="348449"/>
                  </a:lnTo>
                  <a:lnTo>
                    <a:pt x="83629" y="710844"/>
                  </a:lnTo>
                  <a:lnTo>
                    <a:pt x="87045" y="732421"/>
                  </a:lnTo>
                  <a:lnTo>
                    <a:pt x="96570" y="751243"/>
                  </a:lnTo>
                  <a:lnTo>
                    <a:pt x="111125" y="766241"/>
                  </a:lnTo>
                  <a:lnTo>
                    <a:pt x="129628" y="776351"/>
                  </a:lnTo>
                  <a:lnTo>
                    <a:pt x="127012" y="781748"/>
                  </a:lnTo>
                  <a:lnTo>
                    <a:pt x="125450" y="788022"/>
                  </a:lnTo>
                  <a:lnTo>
                    <a:pt x="125450" y="794473"/>
                  </a:lnTo>
                  <a:lnTo>
                    <a:pt x="128752" y="810704"/>
                  </a:lnTo>
                  <a:lnTo>
                    <a:pt x="137731" y="824001"/>
                  </a:lnTo>
                  <a:lnTo>
                    <a:pt x="151028" y="832980"/>
                  </a:lnTo>
                  <a:lnTo>
                    <a:pt x="167259" y="836282"/>
                  </a:lnTo>
                  <a:lnTo>
                    <a:pt x="183502" y="832980"/>
                  </a:lnTo>
                  <a:lnTo>
                    <a:pt x="196799" y="824001"/>
                  </a:lnTo>
                  <a:lnTo>
                    <a:pt x="205778" y="810704"/>
                  </a:lnTo>
                  <a:lnTo>
                    <a:pt x="206248" y="808405"/>
                  </a:lnTo>
                  <a:lnTo>
                    <a:pt x="209080" y="794473"/>
                  </a:lnTo>
                  <a:lnTo>
                    <a:pt x="209080" y="789597"/>
                  </a:lnTo>
                  <a:lnTo>
                    <a:pt x="208203" y="784885"/>
                  </a:lnTo>
                  <a:lnTo>
                    <a:pt x="206641" y="780529"/>
                  </a:lnTo>
                  <a:lnTo>
                    <a:pt x="323024" y="780529"/>
                  </a:lnTo>
                  <a:lnTo>
                    <a:pt x="321449" y="784885"/>
                  </a:lnTo>
                  <a:lnTo>
                    <a:pt x="320586" y="789597"/>
                  </a:lnTo>
                  <a:lnTo>
                    <a:pt x="320586" y="794473"/>
                  </a:lnTo>
                  <a:lnTo>
                    <a:pt x="323875" y="810704"/>
                  </a:lnTo>
                  <a:lnTo>
                    <a:pt x="332867" y="824001"/>
                  </a:lnTo>
                  <a:lnTo>
                    <a:pt x="346163" y="832980"/>
                  </a:lnTo>
                  <a:lnTo>
                    <a:pt x="362394" y="836282"/>
                  </a:lnTo>
                  <a:lnTo>
                    <a:pt x="378625" y="832980"/>
                  </a:lnTo>
                  <a:lnTo>
                    <a:pt x="391922" y="824001"/>
                  </a:lnTo>
                  <a:lnTo>
                    <a:pt x="400913" y="810704"/>
                  </a:lnTo>
                  <a:lnTo>
                    <a:pt x="401370" y="808405"/>
                  </a:lnTo>
                  <a:lnTo>
                    <a:pt x="404215" y="794473"/>
                  </a:lnTo>
                  <a:lnTo>
                    <a:pt x="404215" y="788022"/>
                  </a:lnTo>
                  <a:lnTo>
                    <a:pt x="402640" y="781926"/>
                  </a:lnTo>
                  <a:lnTo>
                    <a:pt x="401993" y="780529"/>
                  </a:lnTo>
                  <a:lnTo>
                    <a:pt x="400024" y="776351"/>
                  </a:lnTo>
                  <a:lnTo>
                    <a:pt x="415518" y="768413"/>
                  </a:lnTo>
                  <a:lnTo>
                    <a:pt x="428421" y="757034"/>
                  </a:lnTo>
                  <a:lnTo>
                    <a:pt x="438200" y="742810"/>
                  </a:lnTo>
                  <a:lnTo>
                    <a:pt x="444284" y="726351"/>
                  </a:lnTo>
                  <a:lnTo>
                    <a:pt x="641159" y="820953"/>
                  </a:lnTo>
                  <a:lnTo>
                    <a:pt x="643077" y="821829"/>
                  </a:lnTo>
                  <a:lnTo>
                    <a:pt x="645160" y="822350"/>
                  </a:lnTo>
                  <a:lnTo>
                    <a:pt x="652475" y="822350"/>
                  </a:lnTo>
                  <a:lnTo>
                    <a:pt x="657364" y="819391"/>
                  </a:lnTo>
                  <a:lnTo>
                    <a:pt x="659803" y="814501"/>
                  </a:lnTo>
                  <a:lnTo>
                    <a:pt x="671703" y="789762"/>
                  </a:lnTo>
                  <a:lnTo>
                    <a:pt x="835075" y="450202"/>
                  </a:lnTo>
                  <a:lnTo>
                    <a:pt x="838200" y="443230"/>
                  </a:lnTo>
                  <a:close/>
                </a:path>
              </a:pathLst>
            </a:custGeom>
            <a:solidFill>
              <a:srgbClr val="FFFFFF"/>
            </a:solidFill>
          </p:spPr>
          <p:txBody>
            <a:bodyPr wrap="square" lIns="0" tIns="0" rIns="0" bIns="0" rtlCol="0"/>
            <a:lstStyle/>
            <a:p>
              <a:endParaRPr/>
            </a:p>
          </p:txBody>
        </p:sp>
        <p:pic>
          <p:nvPicPr>
            <p:cNvPr id="14" name="object 14"/>
            <p:cNvPicPr/>
            <p:nvPr/>
          </p:nvPicPr>
          <p:blipFill>
            <a:blip r:embed="rId3" cstate="print"/>
            <a:stretch>
              <a:fillRect/>
            </a:stretch>
          </p:blipFill>
          <p:spPr>
            <a:xfrm>
              <a:off x="4295065" y="3606548"/>
              <a:ext cx="232920" cy="278354"/>
            </a:xfrm>
            <a:prstGeom prst="rect">
              <a:avLst/>
            </a:prstGeom>
          </p:spPr>
        </p:pic>
        <p:sp>
          <p:nvSpPr>
            <p:cNvPr id="15" name="object 15"/>
            <p:cNvSpPr/>
            <p:nvPr/>
          </p:nvSpPr>
          <p:spPr>
            <a:xfrm>
              <a:off x="4179404" y="3149256"/>
              <a:ext cx="487045" cy="392430"/>
            </a:xfrm>
            <a:custGeom>
              <a:avLst/>
              <a:gdLst/>
              <a:ahLst/>
              <a:cxnLst/>
              <a:rect l="l" t="t" r="r" b="b"/>
              <a:pathLst>
                <a:path w="487045" h="392429">
                  <a:moveTo>
                    <a:pt x="473544" y="136588"/>
                  </a:moveTo>
                  <a:lnTo>
                    <a:pt x="472160" y="133108"/>
                  </a:lnTo>
                  <a:lnTo>
                    <a:pt x="436956" y="97917"/>
                  </a:lnTo>
                  <a:lnTo>
                    <a:pt x="429641" y="97218"/>
                  </a:lnTo>
                  <a:lnTo>
                    <a:pt x="424065" y="100876"/>
                  </a:lnTo>
                  <a:lnTo>
                    <a:pt x="389915" y="123532"/>
                  </a:lnTo>
                  <a:lnTo>
                    <a:pt x="326504" y="81368"/>
                  </a:lnTo>
                  <a:lnTo>
                    <a:pt x="363613" y="31889"/>
                  </a:lnTo>
                  <a:lnTo>
                    <a:pt x="363093" y="24218"/>
                  </a:lnTo>
                  <a:lnTo>
                    <a:pt x="358216" y="19164"/>
                  </a:lnTo>
                  <a:lnTo>
                    <a:pt x="340093" y="1041"/>
                  </a:lnTo>
                  <a:lnTo>
                    <a:pt x="333476" y="0"/>
                  </a:lnTo>
                  <a:lnTo>
                    <a:pt x="251409" y="40944"/>
                  </a:lnTo>
                  <a:lnTo>
                    <a:pt x="225450" y="25615"/>
                  </a:lnTo>
                  <a:lnTo>
                    <a:pt x="203708" y="17081"/>
                  </a:lnTo>
                  <a:lnTo>
                    <a:pt x="181025" y="16141"/>
                  </a:lnTo>
                  <a:lnTo>
                    <a:pt x="159245" y="22555"/>
                  </a:lnTo>
                  <a:lnTo>
                    <a:pt x="140258" y="36068"/>
                  </a:lnTo>
                  <a:lnTo>
                    <a:pt x="126314" y="49999"/>
                  </a:lnTo>
                  <a:lnTo>
                    <a:pt x="124752" y="54356"/>
                  </a:lnTo>
                  <a:lnTo>
                    <a:pt x="125793" y="62890"/>
                  </a:lnTo>
                  <a:lnTo>
                    <a:pt x="128231" y="66560"/>
                  </a:lnTo>
                  <a:lnTo>
                    <a:pt x="131889" y="68821"/>
                  </a:lnTo>
                  <a:lnTo>
                    <a:pt x="363956" y="210642"/>
                  </a:lnTo>
                  <a:lnTo>
                    <a:pt x="370751" y="214820"/>
                  </a:lnTo>
                  <a:lnTo>
                    <a:pt x="378244" y="216738"/>
                  </a:lnTo>
                  <a:lnTo>
                    <a:pt x="385737" y="216738"/>
                  </a:lnTo>
                  <a:lnTo>
                    <a:pt x="472160" y="147739"/>
                  </a:lnTo>
                  <a:lnTo>
                    <a:pt x="473544" y="144259"/>
                  </a:lnTo>
                  <a:lnTo>
                    <a:pt x="473544" y="136588"/>
                  </a:lnTo>
                  <a:close/>
                </a:path>
                <a:path w="487045" h="392429">
                  <a:moveTo>
                    <a:pt x="486968" y="390271"/>
                  </a:moveTo>
                  <a:lnTo>
                    <a:pt x="482104" y="349034"/>
                  </a:lnTo>
                  <a:lnTo>
                    <a:pt x="473265" y="308775"/>
                  </a:lnTo>
                  <a:lnTo>
                    <a:pt x="460476" y="269621"/>
                  </a:lnTo>
                  <a:lnTo>
                    <a:pt x="443750" y="231724"/>
                  </a:lnTo>
                  <a:lnTo>
                    <a:pt x="418846" y="244271"/>
                  </a:lnTo>
                  <a:lnTo>
                    <a:pt x="424624" y="256222"/>
                  </a:lnTo>
                  <a:lnTo>
                    <a:pt x="429945" y="268312"/>
                  </a:lnTo>
                  <a:lnTo>
                    <a:pt x="434822" y="280530"/>
                  </a:lnTo>
                  <a:lnTo>
                    <a:pt x="439229" y="292874"/>
                  </a:lnTo>
                  <a:lnTo>
                    <a:pt x="394931" y="285356"/>
                  </a:lnTo>
                  <a:lnTo>
                    <a:pt x="353034" y="270306"/>
                  </a:lnTo>
                  <a:lnTo>
                    <a:pt x="314325" y="248081"/>
                  </a:lnTo>
                  <a:lnTo>
                    <a:pt x="279641" y="218998"/>
                  </a:lnTo>
                  <a:lnTo>
                    <a:pt x="253682" y="193395"/>
                  </a:lnTo>
                  <a:lnTo>
                    <a:pt x="239318" y="183883"/>
                  </a:lnTo>
                  <a:lnTo>
                    <a:pt x="222923" y="180721"/>
                  </a:lnTo>
                  <a:lnTo>
                    <a:pt x="206540" y="183883"/>
                  </a:lnTo>
                  <a:lnTo>
                    <a:pt x="192176" y="193395"/>
                  </a:lnTo>
                  <a:lnTo>
                    <a:pt x="186080" y="199491"/>
                  </a:lnTo>
                  <a:lnTo>
                    <a:pt x="176149" y="199491"/>
                  </a:lnTo>
                  <a:lnTo>
                    <a:pt x="166560" y="189903"/>
                  </a:lnTo>
                  <a:lnTo>
                    <a:pt x="134239" y="168440"/>
                  </a:lnTo>
                  <a:lnTo>
                    <a:pt x="97485" y="161290"/>
                  </a:lnTo>
                  <a:lnTo>
                    <a:pt x="60718" y="168440"/>
                  </a:lnTo>
                  <a:lnTo>
                    <a:pt x="28397" y="189903"/>
                  </a:lnTo>
                  <a:lnTo>
                    <a:pt x="22225" y="194995"/>
                  </a:lnTo>
                  <a:lnTo>
                    <a:pt x="15316" y="198704"/>
                  </a:lnTo>
                  <a:lnTo>
                    <a:pt x="7848" y="200977"/>
                  </a:lnTo>
                  <a:lnTo>
                    <a:pt x="0" y="201752"/>
                  </a:lnTo>
                  <a:lnTo>
                    <a:pt x="0" y="229628"/>
                  </a:lnTo>
                  <a:lnTo>
                    <a:pt x="13373" y="228307"/>
                  </a:lnTo>
                  <a:lnTo>
                    <a:pt x="26098" y="224447"/>
                  </a:lnTo>
                  <a:lnTo>
                    <a:pt x="37833" y="218160"/>
                  </a:lnTo>
                  <a:lnTo>
                    <a:pt x="48260" y="209600"/>
                  </a:lnTo>
                  <a:lnTo>
                    <a:pt x="71348" y="194310"/>
                  </a:lnTo>
                  <a:lnTo>
                    <a:pt x="97663" y="189204"/>
                  </a:lnTo>
                  <a:lnTo>
                    <a:pt x="123964" y="194310"/>
                  </a:lnTo>
                  <a:lnTo>
                    <a:pt x="147053" y="209600"/>
                  </a:lnTo>
                  <a:lnTo>
                    <a:pt x="150533" y="213080"/>
                  </a:lnTo>
                  <a:lnTo>
                    <a:pt x="164896" y="222580"/>
                  </a:lnTo>
                  <a:lnTo>
                    <a:pt x="181279" y="225755"/>
                  </a:lnTo>
                  <a:lnTo>
                    <a:pt x="197675" y="222580"/>
                  </a:lnTo>
                  <a:lnTo>
                    <a:pt x="212039" y="213080"/>
                  </a:lnTo>
                  <a:lnTo>
                    <a:pt x="218135" y="206984"/>
                  </a:lnTo>
                  <a:lnTo>
                    <a:pt x="228066" y="206984"/>
                  </a:lnTo>
                  <a:lnTo>
                    <a:pt x="259778" y="238696"/>
                  </a:lnTo>
                  <a:lnTo>
                    <a:pt x="300469" y="272491"/>
                  </a:lnTo>
                  <a:lnTo>
                    <a:pt x="346036" y="297815"/>
                  </a:lnTo>
                  <a:lnTo>
                    <a:pt x="395427" y="314223"/>
                  </a:lnTo>
                  <a:lnTo>
                    <a:pt x="447586" y="321271"/>
                  </a:lnTo>
                  <a:lnTo>
                    <a:pt x="451637" y="338721"/>
                  </a:lnTo>
                  <a:lnTo>
                    <a:pt x="454901" y="356336"/>
                  </a:lnTo>
                  <a:lnTo>
                    <a:pt x="457390" y="374142"/>
                  </a:lnTo>
                  <a:lnTo>
                    <a:pt x="459092" y="392188"/>
                  </a:lnTo>
                  <a:lnTo>
                    <a:pt x="486968" y="390271"/>
                  </a:lnTo>
                  <a:close/>
                </a:path>
              </a:pathLst>
            </a:custGeom>
            <a:solidFill>
              <a:srgbClr val="FFFFFF"/>
            </a:solidFill>
          </p:spPr>
          <p:txBody>
            <a:bodyPr wrap="square" lIns="0" tIns="0" rIns="0" bIns="0" rtlCol="0"/>
            <a:lstStyle/>
            <a:p>
              <a:endParaRPr/>
            </a:p>
          </p:txBody>
        </p:sp>
      </p:grpSp>
      <p:sp>
        <p:nvSpPr>
          <p:cNvPr id="16" name="object 16"/>
          <p:cNvSpPr/>
          <p:nvPr/>
        </p:nvSpPr>
        <p:spPr>
          <a:xfrm>
            <a:off x="5283878" y="2864193"/>
            <a:ext cx="3558540" cy="6638925"/>
          </a:xfrm>
          <a:custGeom>
            <a:avLst/>
            <a:gdLst/>
            <a:ahLst/>
            <a:cxnLst/>
            <a:rect l="l" t="t" r="r" b="b"/>
            <a:pathLst>
              <a:path w="3558540" h="6638925">
                <a:moveTo>
                  <a:pt x="3558042" y="6638677"/>
                </a:moveTo>
                <a:lnTo>
                  <a:pt x="0" y="6638677"/>
                </a:lnTo>
                <a:lnTo>
                  <a:pt x="0" y="0"/>
                </a:lnTo>
                <a:lnTo>
                  <a:pt x="3558042" y="0"/>
                </a:lnTo>
                <a:lnTo>
                  <a:pt x="3558042" y="6638677"/>
                </a:lnTo>
                <a:close/>
              </a:path>
            </a:pathLst>
          </a:custGeom>
          <a:solidFill>
            <a:srgbClr val="0090AE"/>
          </a:solidFill>
        </p:spPr>
        <p:txBody>
          <a:bodyPr wrap="square" lIns="0" tIns="0" rIns="0" bIns="0" rtlCol="0"/>
          <a:lstStyle/>
          <a:p>
            <a:endParaRPr/>
          </a:p>
        </p:txBody>
      </p:sp>
      <p:sp>
        <p:nvSpPr>
          <p:cNvPr id="17" name="object 17"/>
          <p:cNvSpPr txBox="1"/>
          <p:nvPr/>
        </p:nvSpPr>
        <p:spPr>
          <a:xfrm>
            <a:off x="5283878" y="2864193"/>
            <a:ext cx="3558540"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478790">
              <a:lnSpc>
                <a:spcPct val="100000"/>
              </a:lnSpc>
            </a:pPr>
            <a:r>
              <a:rPr sz="4600" b="1" spc="675" dirty="0">
                <a:solidFill>
                  <a:srgbClr val="F5A316"/>
                </a:solidFill>
                <a:latin typeface="Arial"/>
                <a:cs typeface="Arial"/>
              </a:rPr>
              <a:t>06</a:t>
            </a:r>
            <a:endParaRPr sz="4600">
              <a:latin typeface="Arial"/>
              <a:cs typeface="Arial"/>
            </a:endParaRPr>
          </a:p>
          <a:p>
            <a:pPr marL="478790">
              <a:lnSpc>
                <a:spcPct val="100000"/>
              </a:lnSpc>
              <a:spcBef>
                <a:spcPts val="530"/>
              </a:spcBef>
            </a:pPr>
            <a:r>
              <a:rPr sz="1850" b="1" spc="75" dirty="0">
                <a:solidFill>
                  <a:srgbClr val="FFFFFF"/>
                </a:solidFill>
                <a:latin typeface="Arial"/>
                <a:cs typeface="Arial"/>
              </a:rPr>
              <a:t>Competencia</a:t>
            </a:r>
            <a:endParaRPr sz="1850">
              <a:latin typeface="Arial"/>
              <a:cs typeface="Arial"/>
            </a:endParaRPr>
          </a:p>
          <a:p>
            <a:pPr marL="478790" marR="355600">
              <a:lnSpc>
                <a:spcPct val="229700"/>
              </a:lnSpc>
              <a:spcBef>
                <a:spcPts val="1880"/>
              </a:spcBef>
            </a:pPr>
            <a:r>
              <a:rPr sz="1850" dirty="0">
                <a:solidFill>
                  <a:srgbClr val="FFFFFF"/>
                </a:solidFill>
                <a:latin typeface="Roboto"/>
                <a:cs typeface="Roboto"/>
              </a:rPr>
              <a:t>Principales</a:t>
            </a:r>
            <a:r>
              <a:rPr sz="1850" spc="-40" dirty="0">
                <a:solidFill>
                  <a:srgbClr val="FFFFFF"/>
                </a:solidFill>
                <a:latin typeface="Roboto"/>
                <a:cs typeface="Roboto"/>
              </a:rPr>
              <a:t> </a:t>
            </a:r>
            <a:r>
              <a:rPr sz="1850" spc="-10" dirty="0">
                <a:solidFill>
                  <a:srgbClr val="FFFFFF"/>
                </a:solidFill>
                <a:latin typeface="Roboto"/>
                <a:cs typeface="Roboto"/>
              </a:rPr>
              <a:t>competidores ARGENTINA</a:t>
            </a:r>
            <a:endParaRPr sz="1850">
              <a:latin typeface="Roboto"/>
              <a:cs typeface="Roboto"/>
            </a:endParaRPr>
          </a:p>
          <a:p>
            <a:pPr marL="478790" marR="1875155">
              <a:lnSpc>
                <a:spcPct val="229700"/>
              </a:lnSpc>
            </a:pPr>
            <a:r>
              <a:rPr sz="1850" spc="-10" dirty="0">
                <a:solidFill>
                  <a:srgbClr val="FFFFFF"/>
                </a:solidFill>
                <a:latin typeface="Roboto"/>
                <a:cs typeface="Roboto"/>
              </a:rPr>
              <a:t>BRASIL COLOMBIA PERÚ.</a:t>
            </a:r>
            <a:endParaRPr sz="1850">
              <a:latin typeface="Roboto"/>
              <a:cs typeface="Roboto"/>
            </a:endParaRPr>
          </a:p>
        </p:txBody>
      </p:sp>
      <p:grpSp>
        <p:nvGrpSpPr>
          <p:cNvPr id="18" name="object 18"/>
          <p:cNvGrpSpPr/>
          <p:nvPr/>
        </p:nvGrpSpPr>
        <p:grpSpPr>
          <a:xfrm>
            <a:off x="7382443" y="3297340"/>
            <a:ext cx="1055370" cy="757555"/>
            <a:chOff x="7382443" y="3297340"/>
            <a:chExt cx="1055370" cy="757555"/>
          </a:xfrm>
        </p:grpSpPr>
        <p:pic>
          <p:nvPicPr>
            <p:cNvPr id="19" name="object 19"/>
            <p:cNvPicPr/>
            <p:nvPr/>
          </p:nvPicPr>
          <p:blipFill>
            <a:blip r:embed="rId4" cstate="print"/>
            <a:stretch>
              <a:fillRect/>
            </a:stretch>
          </p:blipFill>
          <p:spPr>
            <a:xfrm>
              <a:off x="7796270" y="3297340"/>
              <a:ext cx="150120" cy="79728"/>
            </a:xfrm>
            <a:prstGeom prst="rect">
              <a:avLst/>
            </a:prstGeom>
          </p:spPr>
        </p:pic>
        <p:sp>
          <p:nvSpPr>
            <p:cNvPr id="20" name="object 20"/>
            <p:cNvSpPr/>
            <p:nvPr/>
          </p:nvSpPr>
          <p:spPr>
            <a:xfrm>
              <a:off x="7382434" y="3317976"/>
              <a:ext cx="1055370" cy="737235"/>
            </a:xfrm>
            <a:custGeom>
              <a:avLst/>
              <a:gdLst/>
              <a:ahLst/>
              <a:cxnLst/>
              <a:rect l="l" t="t" r="r" b="b"/>
              <a:pathLst>
                <a:path w="1055370" h="737235">
                  <a:moveTo>
                    <a:pt x="357555" y="638949"/>
                  </a:moveTo>
                  <a:lnTo>
                    <a:pt x="186359" y="397738"/>
                  </a:lnTo>
                  <a:lnTo>
                    <a:pt x="13385" y="567486"/>
                  </a:lnTo>
                  <a:lnTo>
                    <a:pt x="1308" y="587286"/>
                  </a:lnTo>
                  <a:lnTo>
                    <a:pt x="0" y="609295"/>
                  </a:lnTo>
                  <a:lnTo>
                    <a:pt x="8750" y="629513"/>
                  </a:lnTo>
                  <a:lnTo>
                    <a:pt x="26847" y="643966"/>
                  </a:lnTo>
                  <a:lnTo>
                    <a:pt x="223304" y="732993"/>
                  </a:lnTo>
                  <a:lnTo>
                    <a:pt x="237185" y="736854"/>
                  </a:lnTo>
                  <a:lnTo>
                    <a:pt x="251269" y="736333"/>
                  </a:lnTo>
                  <a:lnTo>
                    <a:pt x="264579" y="731634"/>
                  </a:lnTo>
                  <a:lnTo>
                    <a:pt x="276098" y="722947"/>
                  </a:lnTo>
                  <a:lnTo>
                    <a:pt x="357555" y="638949"/>
                  </a:lnTo>
                  <a:close/>
                </a:path>
                <a:path w="1055370" h="737235">
                  <a:moveTo>
                    <a:pt x="506730" y="106578"/>
                  </a:moveTo>
                  <a:lnTo>
                    <a:pt x="462026" y="102565"/>
                  </a:lnTo>
                  <a:lnTo>
                    <a:pt x="420801" y="81940"/>
                  </a:lnTo>
                  <a:lnTo>
                    <a:pt x="391299" y="48742"/>
                  </a:lnTo>
                  <a:lnTo>
                    <a:pt x="375462" y="7200"/>
                  </a:lnTo>
                  <a:lnTo>
                    <a:pt x="366814" y="15875"/>
                  </a:lnTo>
                  <a:lnTo>
                    <a:pt x="361162" y="26797"/>
                  </a:lnTo>
                  <a:lnTo>
                    <a:pt x="358762" y="38887"/>
                  </a:lnTo>
                  <a:lnTo>
                    <a:pt x="359867" y="51104"/>
                  </a:lnTo>
                  <a:lnTo>
                    <a:pt x="360451" y="53479"/>
                  </a:lnTo>
                  <a:lnTo>
                    <a:pt x="357962" y="55422"/>
                  </a:lnTo>
                  <a:lnTo>
                    <a:pt x="355803" y="54317"/>
                  </a:lnTo>
                  <a:lnTo>
                    <a:pt x="341439" y="50063"/>
                  </a:lnTo>
                  <a:lnTo>
                    <a:pt x="326351" y="50927"/>
                  </a:lnTo>
                  <a:lnTo>
                    <a:pt x="312432" y="56654"/>
                  </a:lnTo>
                  <a:lnTo>
                    <a:pt x="301548" y="66992"/>
                  </a:lnTo>
                  <a:lnTo>
                    <a:pt x="295859" y="79857"/>
                  </a:lnTo>
                  <a:lnTo>
                    <a:pt x="294881" y="93941"/>
                  </a:lnTo>
                  <a:lnTo>
                    <a:pt x="298259" y="107721"/>
                  </a:lnTo>
                  <a:lnTo>
                    <a:pt x="305663" y="119684"/>
                  </a:lnTo>
                  <a:lnTo>
                    <a:pt x="307403" y="121653"/>
                  </a:lnTo>
                  <a:lnTo>
                    <a:pt x="305752" y="124675"/>
                  </a:lnTo>
                  <a:lnTo>
                    <a:pt x="303149" y="124358"/>
                  </a:lnTo>
                  <a:lnTo>
                    <a:pt x="295630" y="124028"/>
                  </a:lnTo>
                  <a:lnTo>
                    <a:pt x="288150" y="124879"/>
                  </a:lnTo>
                  <a:lnTo>
                    <a:pt x="255651" y="155308"/>
                  </a:lnTo>
                  <a:lnTo>
                    <a:pt x="254558" y="165836"/>
                  </a:lnTo>
                  <a:lnTo>
                    <a:pt x="256819" y="177317"/>
                  </a:lnTo>
                  <a:lnTo>
                    <a:pt x="261962" y="187807"/>
                  </a:lnTo>
                  <a:lnTo>
                    <a:pt x="269201" y="197408"/>
                  </a:lnTo>
                  <a:lnTo>
                    <a:pt x="277749" y="206235"/>
                  </a:lnTo>
                  <a:lnTo>
                    <a:pt x="279806" y="208178"/>
                  </a:lnTo>
                  <a:lnTo>
                    <a:pt x="278091" y="211556"/>
                  </a:lnTo>
                  <a:lnTo>
                    <a:pt x="275310" y="211150"/>
                  </a:lnTo>
                  <a:lnTo>
                    <a:pt x="265950" y="210781"/>
                  </a:lnTo>
                  <a:lnTo>
                    <a:pt x="256743" y="212344"/>
                  </a:lnTo>
                  <a:lnTo>
                    <a:pt x="228066" y="242417"/>
                  </a:lnTo>
                  <a:lnTo>
                    <a:pt x="227063" y="254812"/>
                  </a:lnTo>
                  <a:lnTo>
                    <a:pt x="229958" y="266877"/>
                  </a:lnTo>
                  <a:lnTo>
                    <a:pt x="284835" y="328028"/>
                  </a:lnTo>
                  <a:lnTo>
                    <a:pt x="316255" y="351243"/>
                  </a:lnTo>
                  <a:lnTo>
                    <a:pt x="329819" y="353009"/>
                  </a:lnTo>
                  <a:lnTo>
                    <a:pt x="343242" y="350164"/>
                  </a:lnTo>
                  <a:lnTo>
                    <a:pt x="355104" y="343255"/>
                  </a:lnTo>
                  <a:lnTo>
                    <a:pt x="364007" y="332828"/>
                  </a:lnTo>
                  <a:lnTo>
                    <a:pt x="368604" y="319913"/>
                  </a:lnTo>
                  <a:lnTo>
                    <a:pt x="368693" y="306133"/>
                  </a:lnTo>
                  <a:lnTo>
                    <a:pt x="364502" y="293027"/>
                  </a:lnTo>
                  <a:lnTo>
                    <a:pt x="356247" y="282079"/>
                  </a:lnTo>
                  <a:lnTo>
                    <a:pt x="363093" y="286016"/>
                  </a:lnTo>
                  <a:lnTo>
                    <a:pt x="370827" y="287693"/>
                  </a:lnTo>
                  <a:lnTo>
                    <a:pt x="378891" y="287350"/>
                  </a:lnTo>
                  <a:lnTo>
                    <a:pt x="386702" y="285242"/>
                  </a:lnTo>
                  <a:lnTo>
                    <a:pt x="413385" y="255905"/>
                  </a:lnTo>
                  <a:lnTo>
                    <a:pt x="415023" y="245770"/>
                  </a:lnTo>
                  <a:lnTo>
                    <a:pt x="414324" y="235534"/>
                  </a:lnTo>
                  <a:lnTo>
                    <a:pt x="411378" y="225691"/>
                  </a:lnTo>
                  <a:lnTo>
                    <a:pt x="406273" y="216801"/>
                  </a:lnTo>
                  <a:lnTo>
                    <a:pt x="420370" y="219036"/>
                  </a:lnTo>
                  <a:lnTo>
                    <a:pt x="456501" y="198805"/>
                  </a:lnTo>
                  <a:lnTo>
                    <a:pt x="461619" y="172161"/>
                  </a:lnTo>
                  <a:lnTo>
                    <a:pt x="457784" y="159283"/>
                  </a:lnTo>
                  <a:lnTo>
                    <a:pt x="451294" y="147154"/>
                  </a:lnTo>
                  <a:lnTo>
                    <a:pt x="460756" y="149313"/>
                  </a:lnTo>
                  <a:lnTo>
                    <a:pt x="495960" y="134289"/>
                  </a:lnTo>
                  <a:lnTo>
                    <a:pt x="505307" y="116560"/>
                  </a:lnTo>
                  <a:lnTo>
                    <a:pt x="506730" y="106578"/>
                  </a:lnTo>
                  <a:close/>
                </a:path>
                <a:path w="1055370" h="737235">
                  <a:moveTo>
                    <a:pt x="795959" y="270852"/>
                  </a:moveTo>
                  <a:lnTo>
                    <a:pt x="782002" y="232486"/>
                  </a:lnTo>
                  <a:lnTo>
                    <a:pt x="756907" y="225183"/>
                  </a:lnTo>
                  <a:lnTo>
                    <a:pt x="744067" y="226593"/>
                  </a:lnTo>
                  <a:lnTo>
                    <a:pt x="742251" y="227037"/>
                  </a:lnTo>
                  <a:lnTo>
                    <a:pt x="740968" y="224853"/>
                  </a:lnTo>
                  <a:lnTo>
                    <a:pt x="747102" y="218262"/>
                  </a:lnTo>
                  <a:lnTo>
                    <a:pt x="752462" y="213702"/>
                  </a:lnTo>
                  <a:lnTo>
                    <a:pt x="756412" y="207695"/>
                  </a:lnTo>
                  <a:lnTo>
                    <a:pt x="761555" y="197218"/>
                  </a:lnTo>
                  <a:lnTo>
                    <a:pt x="764006" y="185750"/>
                  </a:lnTo>
                  <a:lnTo>
                    <a:pt x="763473" y="174142"/>
                  </a:lnTo>
                  <a:lnTo>
                    <a:pt x="732739" y="143370"/>
                  </a:lnTo>
                  <a:lnTo>
                    <a:pt x="723988" y="143256"/>
                  </a:lnTo>
                  <a:lnTo>
                    <a:pt x="714946" y="144246"/>
                  </a:lnTo>
                  <a:lnTo>
                    <a:pt x="706767" y="145732"/>
                  </a:lnTo>
                  <a:lnTo>
                    <a:pt x="704723" y="146189"/>
                  </a:lnTo>
                  <a:lnTo>
                    <a:pt x="703465" y="143548"/>
                  </a:lnTo>
                  <a:lnTo>
                    <a:pt x="727544" y="110210"/>
                  </a:lnTo>
                  <a:lnTo>
                    <a:pt x="727951" y="98158"/>
                  </a:lnTo>
                  <a:lnTo>
                    <a:pt x="725055" y="86499"/>
                  </a:lnTo>
                  <a:lnTo>
                    <a:pt x="692289" y="61747"/>
                  </a:lnTo>
                  <a:lnTo>
                    <a:pt x="681888" y="61518"/>
                  </a:lnTo>
                  <a:lnTo>
                    <a:pt x="677011" y="61937"/>
                  </a:lnTo>
                  <a:lnTo>
                    <a:pt x="668540" y="65532"/>
                  </a:lnTo>
                  <a:lnTo>
                    <a:pt x="659638" y="69710"/>
                  </a:lnTo>
                  <a:lnTo>
                    <a:pt x="656971" y="67081"/>
                  </a:lnTo>
                  <a:lnTo>
                    <a:pt x="658114" y="64490"/>
                  </a:lnTo>
                  <a:lnTo>
                    <a:pt x="663041" y="48768"/>
                  </a:lnTo>
                  <a:lnTo>
                    <a:pt x="663473" y="33223"/>
                  </a:lnTo>
                  <a:lnTo>
                    <a:pt x="658393" y="19037"/>
                  </a:lnTo>
                  <a:lnTo>
                    <a:pt x="646785" y="7353"/>
                  </a:lnTo>
                  <a:lnTo>
                    <a:pt x="633920" y="1587"/>
                  </a:lnTo>
                  <a:lnTo>
                    <a:pt x="620052" y="0"/>
                  </a:lnTo>
                  <a:lnTo>
                    <a:pt x="606272" y="2387"/>
                  </a:lnTo>
                  <a:lnTo>
                    <a:pt x="593610" y="8597"/>
                  </a:lnTo>
                  <a:lnTo>
                    <a:pt x="532282" y="50546"/>
                  </a:lnTo>
                  <a:lnTo>
                    <a:pt x="531228" y="56032"/>
                  </a:lnTo>
                  <a:lnTo>
                    <a:pt x="533882" y="60020"/>
                  </a:lnTo>
                  <a:lnTo>
                    <a:pt x="541223" y="73406"/>
                  </a:lnTo>
                  <a:lnTo>
                    <a:pt x="545922" y="87668"/>
                  </a:lnTo>
                  <a:lnTo>
                    <a:pt x="547979" y="102425"/>
                  </a:lnTo>
                  <a:lnTo>
                    <a:pt x="547382" y="117297"/>
                  </a:lnTo>
                  <a:lnTo>
                    <a:pt x="532930" y="154597"/>
                  </a:lnTo>
                  <a:lnTo>
                    <a:pt x="504190" y="179984"/>
                  </a:lnTo>
                  <a:lnTo>
                    <a:pt x="502297" y="195084"/>
                  </a:lnTo>
                  <a:lnTo>
                    <a:pt x="480085" y="235775"/>
                  </a:lnTo>
                  <a:lnTo>
                    <a:pt x="457161" y="252006"/>
                  </a:lnTo>
                  <a:lnTo>
                    <a:pt x="454736" y="265887"/>
                  </a:lnTo>
                  <a:lnTo>
                    <a:pt x="433311" y="303250"/>
                  </a:lnTo>
                  <a:lnTo>
                    <a:pt x="410387" y="319493"/>
                  </a:lnTo>
                  <a:lnTo>
                    <a:pt x="407962" y="333387"/>
                  </a:lnTo>
                  <a:lnTo>
                    <a:pt x="386549" y="370763"/>
                  </a:lnTo>
                  <a:lnTo>
                    <a:pt x="352209" y="391464"/>
                  </a:lnTo>
                  <a:lnTo>
                    <a:pt x="328091" y="395033"/>
                  </a:lnTo>
                  <a:lnTo>
                    <a:pt x="311823" y="393433"/>
                  </a:lnTo>
                  <a:lnTo>
                    <a:pt x="296430" y="388759"/>
                  </a:lnTo>
                  <a:lnTo>
                    <a:pt x="282244" y="381152"/>
                  </a:lnTo>
                  <a:lnTo>
                    <a:pt x="269646" y="370763"/>
                  </a:lnTo>
                  <a:lnTo>
                    <a:pt x="244830" y="345833"/>
                  </a:lnTo>
                  <a:lnTo>
                    <a:pt x="242735" y="355790"/>
                  </a:lnTo>
                  <a:lnTo>
                    <a:pt x="239369" y="368109"/>
                  </a:lnTo>
                  <a:lnTo>
                    <a:pt x="235991" y="379133"/>
                  </a:lnTo>
                  <a:lnTo>
                    <a:pt x="233845" y="385229"/>
                  </a:lnTo>
                  <a:lnTo>
                    <a:pt x="375196" y="584390"/>
                  </a:lnTo>
                  <a:lnTo>
                    <a:pt x="387324" y="574992"/>
                  </a:lnTo>
                  <a:lnTo>
                    <a:pt x="399249" y="565289"/>
                  </a:lnTo>
                  <a:lnTo>
                    <a:pt x="411848" y="556717"/>
                  </a:lnTo>
                  <a:lnTo>
                    <a:pt x="426008" y="550722"/>
                  </a:lnTo>
                  <a:lnTo>
                    <a:pt x="451751" y="542823"/>
                  </a:lnTo>
                  <a:lnTo>
                    <a:pt x="476338" y="533806"/>
                  </a:lnTo>
                  <a:lnTo>
                    <a:pt x="524687" y="511873"/>
                  </a:lnTo>
                  <a:lnTo>
                    <a:pt x="564007" y="490080"/>
                  </a:lnTo>
                  <a:lnTo>
                    <a:pt x="603542" y="463638"/>
                  </a:lnTo>
                  <a:lnTo>
                    <a:pt x="665949" y="412838"/>
                  </a:lnTo>
                  <a:lnTo>
                    <a:pt x="707694" y="374154"/>
                  </a:lnTo>
                  <a:lnTo>
                    <a:pt x="748322" y="334289"/>
                  </a:lnTo>
                  <a:lnTo>
                    <a:pt x="783894" y="297738"/>
                  </a:lnTo>
                  <a:lnTo>
                    <a:pt x="792060" y="285356"/>
                  </a:lnTo>
                  <a:lnTo>
                    <a:pt x="795959" y="270852"/>
                  </a:lnTo>
                  <a:close/>
                </a:path>
                <a:path w="1055370" h="737235">
                  <a:moveTo>
                    <a:pt x="827633" y="391464"/>
                  </a:moveTo>
                  <a:lnTo>
                    <a:pt x="816914" y="354177"/>
                  </a:lnTo>
                  <a:lnTo>
                    <a:pt x="814438" y="325729"/>
                  </a:lnTo>
                  <a:lnTo>
                    <a:pt x="776389" y="364820"/>
                  </a:lnTo>
                  <a:lnTo>
                    <a:pt x="734733" y="405638"/>
                  </a:lnTo>
                  <a:lnTo>
                    <a:pt x="692302" y="444842"/>
                  </a:lnTo>
                  <a:lnTo>
                    <a:pt x="652602" y="478409"/>
                  </a:lnTo>
                  <a:lnTo>
                    <a:pt x="619252" y="503351"/>
                  </a:lnTo>
                  <a:lnTo>
                    <a:pt x="583057" y="527024"/>
                  </a:lnTo>
                  <a:lnTo>
                    <a:pt x="570966" y="534136"/>
                  </a:lnTo>
                  <a:lnTo>
                    <a:pt x="586562" y="540600"/>
                  </a:lnTo>
                  <a:lnTo>
                    <a:pt x="602386" y="546531"/>
                  </a:lnTo>
                  <a:lnTo>
                    <a:pt x="618617" y="551967"/>
                  </a:lnTo>
                  <a:lnTo>
                    <a:pt x="635444" y="556945"/>
                  </a:lnTo>
                  <a:lnTo>
                    <a:pt x="649605" y="562940"/>
                  </a:lnTo>
                  <a:lnTo>
                    <a:pt x="662216" y="571512"/>
                  </a:lnTo>
                  <a:lnTo>
                    <a:pt x="674141" y="581215"/>
                  </a:lnTo>
                  <a:lnTo>
                    <a:pt x="686269" y="590613"/>
                  </a:lnTo>
                  <a:lnTo>
                    <a:pt x="827633" y="391464"/>
                  </a:lnTo>
                  <a:close/>
                </a:path>
                <a:path w="1055370" h="737235">
                  <a:moveTo>
                    <a:pt x="1055128" y="609307"/>
                  </a:moveTo>
                  <a:lnTo>
                    <a:pt x="1053820" y="587298"/>
                  </a:lnTo>
                  <a:lnTo>
                    <a:pt x="1041755" y="567512"/>
                  </a:lnTo>
                  <a:lnTo>
                    <a:pt x="875118" y="403936"/>
                  </a:lnTo>
                  <a:lnTo>
                    <a:pt x="703897" y="645185"/>
                  </a:lnTo>
                  <a:lnTo>
                    <a:pt x="779310" y="722947"/>
                  </a:lnTo>
                  <a:lnTo>
                    <a:pt x="790829" y="731634"/>
                  </a:lnTo>
                  <a:lnTo>
                    <a:pt x="804138" y="736333"/>
                  </a:lnTo>
                  <a:lnTo>
                    <a:pt x="818222" y="736854"/>
                  </a:lnTo>
                  <a:lnTo>
                    <a:pt x="832129" y="732993"/>
                  </a:lnTo>
                  <a:lnTo>
                    <a:pt x="1028293" y="643991"/>
                  </a:lnTo>
                  <a:lnTo>
                    <a:pt x="1046391" y="629539"/>
                  </a:lnTo>
                  <a:lnTo>
                    <a:pt x="1055128" y="609307"/>
                  </a:lnTo>
                  <a:close/>
                </a:path>
              </a:pathLst>
            </a:custGeom>
            <a:solidFill>
              <a:srgbClr val="FFFFFF"/>
            </a:solidFill>
          </p:spPr>
          <p:txBody>
            <a:bodyPr wrap="square" lIns="0" tIns="0" rIns="0" bIns="0" rtlCol="0"/>
            <a:lstStyle/>
            <a:p>
              <a:endParaRPr/>
            </a:p>
          </p:txBody>
        </p:sp>
      </p:grpSp>
      <p:grpSp>
        <p:nvGrpSpPr>
          <p:cNvPr id="21" name="object 21"/>
          <p:cNvGrpSpPr/>
          <p:nvPr/>
        </p:nvGrpSpPr>
        <p:grpSpPr>
          <a:xfrm>
            <a:off x="9036900" y="2863538"/>
            <a:ext cx="3558540" cy="6638925"/>
            <a:chOff x="9036900" y="2863538"/>
            <a:chExt cx="3558540" cy="6638925"/>
          </a:xfrm>
        </p:grpSpPr>
        <p:sp>
          <p:nvSpPr>
            <p:cNvPr id="22" name="object 22"/>
            <p:cNvSpPr/>
            <p:nvPr/>
          </p:nvSpPr>
          <p:spPr>
            <a:xfrm>
              <a:off x="9036900" y="2863538"/>
              <a:ext cx="3558540" cy="6638925"/>
            </a:xfrm>
            <a:custGeom>
              <a:avLst/>
              <a:gdLst/>
              <a:ahLst/>
              <a:cxnLst/>
              <a:rect l="l" t="t" r="r" b="b"/>
              <a:pathLst>
                <a:path w="3558540" h="6638925">
                  <a:moveTo>
                    <a:pt x="3558042" y="6638677"/>
                  </a:moveTo>
                  <a:lnTo>
                    <a:pt x="0" y="6638677"/>
                  </a:lnTo>
                  <a:lnTo>
                    <a:pt x="0" y="0"/>
                  </a:lnTo>
                  <a:lnTo>
                    <a:pt x="3558042" y="0"/>
                  </a:lnTo>
                  <a:lnTo>
                    <a:pt x="3558042" y="6638677"/>
                  </a:lnTo>
                  <a:close/>
                </a:path>
              </a:pathLst>
            </a:custGeom>
            <a:solidFill>
              <a:srgbClr val="0090AE"/>
            </a:solidFill>
          </p:spPr>
          <p:txBody>
            <a:bodyPr wrap="square" lIns="0" tIns="0" rIns="0" bIns="0" rtlCol="0"/>
            <a:lstStyle/>
            <a:p>
              <a:endParaRPr/>
            </a:p>
          </p:txBody>
        </p:sp>
        <p:sp>
          <p:nvSpPr>
            <p:cNvPr id="23" name="object 23"/>
            <p:cNvSpPr/>
            <p:nvPr/>
          </p:nvSpPr>
          <p:spPr>
            <a:xfrm>
              <a:off x="11383886" y="3344591"/>
              <a:ext cx="805180" cy="826769"/>
            </a:xfrm>
            <a:custGeom>
              <a:avLst/>
              <a:gdLst/>
              <a:ahLst/>
              <a:cxnLst/>
              <a:rect l="l" t="t" r="r" b="b"/>
              <a:pathLst>
                <a:path w="805179" h="826770">
                  <a:moveTo>
                    <a:pt x="781485" y="826649"/>
                  </a:moveTo>
                  <a:lnTo>
                    <a:pt x="24494" y="826649"/>
                  </a:lnTo>
                  <a:lnTo>
                    <a:pt x="11319" y="822860"/>
                  </a:lnTo>
                  <a:lnTo>
                    <a:pt x="2721" y="813354"/>
                  </a:lnTo>
                  <a:lnTo>
                    <a:pt x="0" y="800916"/>
                  </a:lnTo>
                  <a:lnTo>
                    <a:pt x="4455" y="788333"/>
                  </a:lnTo>
                  <a:lnTo>
                    <a:pt x="176068" y="550512"/>
                  </a:lnTo>
                  <a:lnTo>
                    <a:pt x="184907" y="543162"/>
                  </a:lnTo>
                  <a:lnTo>
                    <a:pt x="195694" y="540713"/>
                  </a:lnTo>
                  <a:lnTo>
                    <a:pt x="206467" y="543162"/>
                  </a:lnTo>
                  <a:lnTo>
                    <a:pt x="215265" y="550512"/>
                  </a:lnTo>
                  <a:lnTo>
                    <a:pt x="264884" y="618482"/>
                  </a:lnTo>
                  <a:lnTo>
                    <a:pt x="378143" y="462503"/>
                  </a:lnTo>
                  <a:lnTo>
                    <a:pt x="378143" y="24442"/>
                  </a:lnTo>
                  <a:lnTo>
                    <a:pt x="380278" y="14130"/>
                  </a:lnTo>
                  <a:lnTo>
                    <a:pt x="386089" y="6028"/>
                  </a:lnTo>
                  <a:lnTo>
                    <a:pt x="394679" y="1021"/>
                  </a:lnTo>
                  <a:lnTo>
                    <a:pt x="405155" y="0"/>
                  </a:lnTo>
                  <a:lnTo>
                    <a:pt x="413690" y="2479"/>
                  </a:lnTo>
                  <a:lnTo>
                    <a:pt x="420587" y="8055"/>
                  </a:lnTo>
                  <a:lnTo>
                    <a:pt x="425200" y="15916"/>
                  </a:lnTo>
                  <a:lnTo>
                    <a:pt x="426882" y="25250"/>
                  </a:lnTo>
                  <a:lnTo>
                    <a:pt x="426882" y="47050"/>
                  </a:lnTo>
                  <a:lnTo>
                    <a:pt x="451047" y="53652"/>
                  </a:lnTo>
                  <a:lnTo>
                    <a:pt x="474483" y="52739"/>
                  </a:lnTo>
                  <a:lnTo>
                    <a:pt x="498083" y="46596"/>
                  </a:lnTo>
                  <a:lnTo>
                    <a:pt x="548413" y="28375"/>
                  </a:lnTo>
                  <a:lnTo>
                    <a:pt x="575878" y="20818"/>
                  </a:lnTo>
                  <a:lnTo>
                    <a:pt x="605311" y="17018"/>
                  </a:lnTo>
                  <a:lnTo>
                    <a:pt x="636884" y="19157"/>
                  </a:lnTo>
                  <a:lnTo>
                    <a:pt x="643999" y="21703"/>
                  </a:lnTo>
                  <a:lnTo>
                    <a:pt x="649490" y="26369"/>
                  </a:lnTo>
                  <a:lnTo>
                    <a:pt x="653027" y="32659"/>
                  </a:lnTo>
                  <a:lnTo>
                    <a:pt x="654280" y="40077"/>
                  </a:lnTo>
                  <a:lnTo>
                    <a:pt x="654280" y="208240"/>
                  </a:lnTo>
                  <a:lnTo>
                    <a:pt x="652309" y="217350"/>
                  </a:lnTo>
                  <a:lnTo>
                    <a:pt x="646995" y="224526"/>
                  </a:lnTo>
                  <a:lnTo>
                    <a:pt x="639230" y="228771"/>
                  </a:lnTo>
                  <a:lnTo>
                    <a:pt x="629910" y="229086"/>
                  </a:lnTo>
                  <a:lnTo>
                    <a:pt x="606279" y="227879"/>
                  </a:lnTo>
                  <a:lnTo>
                    <a:pt x="583493" y="231160"/>
                  </a:lnTo>
                  <a:lnTo>
                    <a:pt x="561052" y="237550"/>
                  </a:lnTo>
                  <a:lnTo>
                    <a:pt x="519280" y="252694"/>
                  </a:lnTo>
                  <a:lnTo>
                    <a:pt x="499641" y="258832"/>
                  </a:lnTo>
                  <a:lnTo>
                    <a:pt x="479368" y="263181"/>
                  </a:lnTo>
                  <a:lnTo>
                    <a:pt x="458297" y="264833"/>
                  </a:lnTo>
                  <a:lnTo>
                    <a:pt x="450455" y="264640"/>
                  </a:lnTo>
                  <a:lnTo>
                    <a:pt x="442516" y="263952"/>
                  </a:lnTo>
                  <a:lnTo>
                    <a:pt x="434412" y="262603"/>
                  </a:lnTo>
                  <a:lnTo>
                    <a:pt x="426074" y="260428"/>
                  </a:lnTo>
                  <a:lnTo>
                    <a:pt x="426074" y="462503"/>
                  </a:lnTo>
                  <a:lnTo>
                    <a:pt x="539333" y="618482"/>
                  </a:lnTo>
                  <a:lnTo>
                    <a:pt x="588952" y="550512"/>
                  </a:lnTo>
                  <a:lnTo>
                    <a:pt x="597750" y="543162"/>
                  </a:lnTo>
                  <a:lnTo>
                    <a:pt x="608523" y="540713"/>
                  </a:lnTo>
                  <a:lnTo>
                    <a:pt x="619310" y="543162"/>
                  </a:lnTo>
                  <a:lnTo>
                    <a:pt x="628149" y="550512"/>
                  </a:lnTo>
                  <a:lnTo>
                    <a:pt x="800569" y="788333"/>
                  </a:lnTo>
                  <a:lnTo>
                    <a:pt x="805071" y="800916"/>
                  </a:lnTo>
                  <a:lnTo>
                    <a:pt x="802450" y="813354"/>
                  </a:lnTo>
                  <a:lnTo>
                    <a:pt x="794118" y="822860"/>
                  </a:lnTo>
                  <a:lnTo>
                    <a:pt x="781485" y="826649"/>
                  </a:lnTo>
                  <a:close/>
                </a:path>
              </a:pathLst>
            </a:custGeom>
            <a:solidFill>
              <a:srgbClr val="FFFFFF"/>
            </a:solidFill>
          </p:spPr>
          <p:txBody>
            <a:bodyPr wrap="square" lIns="0" tIns="0" rIns="0" bIns="0" rtlCol="0"/>
            <a:lstStyle/>
            <a:p>
              <a:endParaRPr/>
            </a:p>
          </p:txBody>
        </p:sp>
        <p:pic>
          <p:nvPicPr>
            <p:cNvPr id="24" name="object 24"/>
            <p:cNvPicPr/>
            <p:nvPr/>
          </p:nvPicPr>
          <p:blipFill>
            <a:blip r:embed="rId2" cstate="print"/>
            <a:stretch>
              <a:fillRect/>
            </a:stretch>
          </p:blipFill>
          <p:spPr>
            <a:xfrm>
              <a:off x="9665550" y="5569386"/>
              <a:ext cx="66675" cy="66674"/>
            </a:xfrm>
            <a:prstGeom prst="rect">
              <a:avLst/>
            </a:prstGeom>
          </p:spPr>
        </p:pic>
        <p:pic>
          <p:nvPicPr>
            <p:cNvPr id="25" name="object 25"/>
            <p:cNvPicPr/>
            <p:nvPr/>
          </p:nvPicPr>
          <p:blipFill>
            <a:blip r:embed="rId2" cstate="print"/>
            <a:stretch>
              <a:fillRect/>
            </a:stretch>
          </p:blipFill>
          <p:spPr>
            <a:xfrm>
              <a:off x="9665550" y="6121836"/>
              <a:ext cx="66675" cy="66674"/>
            </a:xfrm>
            <a:prstGeom prst="rect">
              <a:avLst/>
            </a:prstGeom>
          </p:spPr>
        </p:pic>
        <p:pic>
          <p:nvPicPr>
            <p:cNvPr id="26" name="object 26"/>
            <p:cNvPicPr/>
            <p:nvPr/>
          </p:nvPicPr>
          <p:blipFill>
            <a:blip r:embed="rId5" cstate="print"/>
            <a:stretch>
              <a:fillRect/>
            </a:stretch>
          </p:blipFill>
          <p:spPr>
            <a:xfrm>
              <a:off x="9656025" y="6674286"/>
              <a:ext cx="76200" cy="76199"/>
            </a:xfrm>
            <a:prstGeom prst="rect">
              <a:avLst/>
            </a:prstGeom>
          </p:spPr>
        </p:pic>
      </p:grpSp>
      <p:sp>
        <p:nvSpPr>
          <p:cNvPr id="27" name="object 27"/>
          <p:cNvSpPr txBox="1"/>
          <p:nvPr/>
        </p:nvSpPr>
        <p:spPr>
          <a:xfrm>
            <a:off x="9036900" y="2863538"/>
            <a:ext cx="3558540" cy="6638925"/>
          </a:xfrm>
          <a:prstGeom prst="rect">
            <a:avLst/>
          </a:prstGeom>
        </p:spPr>
        <p:txBody>
          <a:bodyPr vert="horz" wrap="square" lIns="0" tIns="1905" rIns="0" bIns="0" rtlCol="0">
            <a:spAutoFit/>
          </a:bodyPr>
          <a:lstStyle/>
          <a:p>
            <a:pPr>
              <a:lnSpc>
                <a:spcPct val="100000"/>
              </a:lnSpc>
              <a:spcBef>
                <a:spcPts val="15"/>
              </a:spcBef>
            </a:pPr>
            <a:endParaRPr sz="5250">
              <a:latin typeface="Times New Roman"/>
              <a:cs typeface="Times New Roman"/>
            </a:endParaRPr>
          </a:p>
          <a:p>
            <a:pPr marL="427990">
              <a:lnSpc>
                <a:spcPct val="100000"/>
              </a:lnSpc>
            </a:pPr>
            <a:r>
              <a:rPr sz="4600" b="1" spc="675" dirty="0">
                <a:solidFill>
                  <a:srgbClr val="F5A316"/>
                </a:solidFill>
                <a:latin typeface="Arial"/>
                <a:cs typeface="Arial"/>
              </a:rPr>
              <a:t>07</a:t>
            </a:r>
            <a:endParaRPr sz="4600">
              <a:latin typeface="Arial"/>
              <a:cs typeface="Arial"/>
            </a:endParaRPr>
          </a:p>
          <a:p>
            <a:pPr marL="427990" marR="1780539">
              <a:lnSpc>
                <a:spcPts val="2850"/>
              </a:lnSpc>
              <a:spcBef>
                <a:spcPts val="175"/>
              </a:spcBef>
            </a:pPr>
            <a:r>
              <a:rPr sz="1850" b="1" spc="40" dirty="0">
                <a:solidFill>
                  <a:srgbClr val="FFFFFF"/>
                </a:solidFill>
                <a:latin typeface="Arial"/>
                <a:cs typeface="Arial"/>
              </a:rPr>
              <a:t>Principales </a:t>
            </a:r>
            <a:r>
              <a:rPr sz="1850" b="1" spc="70" dirty="0">
                <a:solidFill>
                  <a:srgbClr val="FFFFFF"/>
                </a:solidFill>
                <a:latin typeface="Arial"/>
                <a:cs typeface="Arial"/>
              </a:rPr>
              <a:t>retos</a:t>
            </a:r>
            <a:r>
              <a:rPr sz="1850" b="1" spc="-5" dirty="0">
                <a:solidFill>
                  <a:srgbClr val="FFFFFF"/>
                </a:solidFill>
                <a:latin typeface="Arial"/>
                <a:cs typeface="Arial"/>
              </a:rPr>
              <a:t> </a:t>
            </a:r>
            <a:r>
              <a:rPr sz="1850" b="1" spc="-20" dirty="0">
                <a:solidFill>
                  <a:srgbClr val="FFFFFF"/>
                </a:solidFill>
                <a:latin typeface="Arial"/>
                <a:cs typeface="Arial"/>
              </a:rPr>
              <a:t>MICE</a:t>
            </a:r>
            <a:endParaRPr sz="1850">
              <a:latin typeface="Arial"/>
              <a:cs typeface="Arial"/>
            </a:endParaRPr>
          </a:p>
          <a:p>
            <a:pPr marL="824865" marR="187325" indent="4445">
              <a:lnSpc>
                <a:spcPct val="195900"/>
              </a:lnSpc>
              <a:spcBef>
                <a:spcPts val="630"/>
              </a:spcBef>
            </a:pPr>
            <a:r>
              <a:rPr sz="1850" spc="-10" dirty="0">
                <a:solidFill>
                  <a:srgbClr val="FFFFFF"/>
                </a:solidFill>
                <a:latin typeface="Roboto"/>
                <a:cs typeface="Roboto"/>
              </a:rPr>
              <a:t>Competitividad. </a:t>
            </a:r>
            <a:r>
              <a:rPr sz="1850" spc="-20" dirty="0">
                <a:solidFill>
                  <a:srgbClr val="FFFFFF"/>
                </a:solidFill>
                <a:latin typeface="Roboto"/>
                <a:cs typeface="Roboto"/>
              </a:rPr>
              <a:t>Posicionamiento</a:t>
            </a:r>
            <a:r>
              <a:rPr sz="1850" spc="35" dirty="0">
                <a:solidFill>
                  <a:srgbClr val="FFFFFF"/>
                </a:solidFill>
                <a:latin typeface="Roboto"/>
                <a:cs typeface="Roboto"/>
              </a:rPr>
              <a:t> </a:t>
            </a:r>
            <a:r>
              <a:rPr sz="1850" spc="-10" dirty="0">
                <a:solidFill>
                  <a:srgbClr val="FFFFFF"/>
                </a:solidFill>
                <a:latin typeface="Roboto"/>
                <a:cs typeface="Roboto"/>
              </a:rPr>
              <a:t>global.</a:t>
            </a:r>
            <a:endParaRPr sz="1850">
              <a:latin typeface="Roboto"/>
              <a:cs typeface="Roboto"/>
            </a:endParaRPr>
          </a:p>
          <a:p>
            <a:pPr>
              <a:lnSpc>
                <a:spcPct val="100000"/>
              </a:lnSpc>
              <a:spcBef>
                <a:spcPts val="60"/>
              </a:spcBef>
            </a:pPr>
            <a:endParaRPr sz="1650">
              <a:latin typeface="Roboto"/>
              <a:cs typeface="Roboto"/>
            </a:endParaRPr>
          </a:p>
          <a:p>
            <a:pPr marL="824865" marR="443865">
              <a:lnSpc>
                <a:spcPct val="100699"/>
              </a:lnSpc>
            </a:pPr>
            <a:r>
              <a:rPr sz="1800" dirty="0">
                <a:solidFill>
                  <a:srgbClr val="FFFFFF"/>
                </a:solidFill>
                <a:latin typeface="Roboto"/>
                <a:cs typeface="Roboto"/>
              </a:rPr>
              <a:t>Puesta</a:t>
            </a:r>
            <a:r>
              <a:rPr sz="1800" spc="5" dirty="0">
                <a:solidFill>
                  <a:srgbClr val="FFFFFF"/>
                </a:solidFill>
                <a:latin typeface="Roboto"/>
                <a:cs typeface="Roboto"/>
              </a:rPr>
              <a:t> </a:t>
            </a:r>
            <a:r>
              <a:rPr sz="1800" dirty="0">
                <a:solidFill>
                  <a:srgbClr val="FFFFFF"/>
                </a:solidFill>
                <a:latin typeface="Roboto"/>
                <a:cs typeface="Roboto"/>
              </a:rPr>
              <a:t>en</a:t>
            </a:r>
            <a:r>
              <a:rPr sz="1800" spc="5" dirty="0">
                <a:solidFill>
                  <a:srgbClr val="FFFFFF"/>
                </a:solidFill>
                <a:latin typeface="Roboto"/>
                <a:cs typeface="Roboto"/>
              </a:rPr>
              <a:t> </a:t>
            </a:r>
            <a:r>
              <a:rPr sz="1800" dirty="0">
                <a:solidFill>
                  <a:srgbClr val="FFFFFF"/>
                </a:solidFill>
                <a:latin typeface="Roboto"/>
                <a:cs typeface="Roboto"/>
              </a:rPr>
              <a:t>valor</a:t>
            </a:r>
            <a:r>
              <a:rPr sz="1800" spc="5" dirty="0">
                <a:solidFill>
                  <a:srgbClr val="FFFFFF"/>
                </a:solidFill>
                <a:latin typeface="Roboto"/>
                <a:cs typeface="Roboto"/>
              </a:rPr>
              <a:t> </a:t>
            </a:r>
            <a:r>
              <a:rPr sz="1800" spc="-25" dirty="0">
                <a:solidFill>
                  <a:srgbClr val="FFFFFF"/>
                </a:solidFill>
                <a:latin typeface="Roboto"/>
                <a:cs typeface="Roboto"/>
              </a:rPr>
              <a:t>de </a:t>
            </a:r>
            <a:r>
              <a:rPr sz="1800" dirty="0">
                <a:solidFill>
                  <a:srgbClr val="FFFFFF"/>
                </a:solidFill>
                <a:latin typeface="Roboto"/>
                <a:cs typeface="Roboto"/>
              </a:rPr>
              <a:t>destinos</a:t>
            </a:r>
            <a:r>
              <a:rPr sz="1800" spc="5" dirty="0">
                <a:solidFill>
                  <a:srgbClr val="FFFFFF"/>
                </a:solidFill>
                <a:latin typeface="Roboto"/>
                <a:cs typeface="Roboto"/>
              </a:rPr>
              <a:t> </a:t>
            </a:r>
            <a:r>
              <a:rPr sz="1800" spc="-10" dirty="0">
                <a:solidFill>
                  <a:srgbClr val="FFFFFF"/>
                </a:solidFill>
                <a:latin typeface="Roboto"/>
                <a:cs typeface="Roboto"/>
              </a:rPr>
              <a:t>secundarios.</a:t>
            </a:r>
            <a:endParaRPr sz="1800">
              <a:latin typeface="Roboto"/>
              <a:cs typeface="Roboto"/>
            </a:endParaRPr>
          </a:p>
        </p:txBody>
      </p:sp>
      <p:grpSp>
        <p:nvGrpSpPr>
          <p:cNvPr id="28" name="object 28"/>
          <p:cNvGrpSpPr/>
          <p:nvPr/>
        </p:nvGrpSpPr>
        <p:grpSpPr>
          <a:xfrm>
            <a:off x="12792949" y="2864193"/>
            <a:ext cx="3855720" cy="6638925"/>
            <a:chOff x="12792949" y="2864193"/>
            <a:chExt cx="3855720" cy="6638925"/>
          </a:xfrm>
        </p:grpSpPr>
        <p:sp>
          <p:nvSpPr>
            <p:cNvPr id="29" name="object 29"/>
            <p:cNvSpPr/>
            <p:nvPr/>
          </p:nvSpPr>
          <p:spPr>
            <a:xfrm>
              <a:off x="12792949" y="2864193"/>
              <a:ext cx="3855720" cy="6638925"/>
            </a:xfrm>
            <a:custGeom>
              <a:avLst/>
              <a:gdLst/>
              <a:ahLst/>
              <a:cxnLst/>
              <a:rect l="l" t="t" r="r" b="b"/>
              <a:pathLst>
                <a:path w="3855719" h="6638925">
                  <a:moveTo>
                    <a:pt x="3855296" y="6638677"/>
                  </a:moveTo>
                  <a:lnTo>
                    <a:pt x="0" y="6638677"/>
                  </a:lnTo>
                  <a:lnTo>
                    <a:pt x="0" y="0"/>
                  </a:lnTo>
                  <a:lnTo>
                    <a:pt x="3855296" y="0"/>
                  </a:lnTo>
                  <a:lnTo>
                    <a:pt x="3855296" y="6638677"/>
                  </a:lnTo>
                  <a:close/>
                </a:path>
              </a:pathLst>
            </a:custGeom>
            <a:solidFill>
              <a:srgbClr val="0090AE"/>
            </a:solidFill>
          </p:spPr>
          <p:txBody>
            <a:bodyPr wrap="square" lIns="0" tIns="0" rIns="0" bIns="0" rtlCol="0"/>
            <a:lstStyle/>
            <a:p>
              <a:endParaRPr/>
            </a:p>
          </p:txBody>
        </p:sp>
        <p:sp>
          <p:nvSpPr>
            <p:cNvPr id="30" name="object 30"/>
            <p:cNvSpPr/>
            <p:nvPr/>
          </p:nvSpPr>
          <p:spPr>
            <a:xfrm>
              <a:off x="15422296" y="3342283"/>
              <a:ext cx="852805" cy="854075"/>
            </a:xfrm>
            <a:custGeom>
              <a:avLst/>
              <a:gdLst/>
              <a:ahLst/>
              <a:cxnLst/>
              <a:rect l="l" t="t" r="r" b="b"/>
              <a:pathLst>
                <a:path w="852805" h="854075">
                  <a:moveTo>
                    <a:pt x="544957" y="826884"/>
                  </a:moveTo>
                  <a:lnTo>
                    <a:pt x="533031" y="782066"/>
                  </a:lnTo>
                  <a:lnTo>
                    <a:pt x="505764" y="740321"/>
                  </a:lnTo>
                  <a:lnTo>
                    <a:pt x="468147" y="707542"/>
                  </a:lnTo>
                  <a:lnTo>
                    <a:pt x="425157" y="689559"/>
                  </a:lnTo>
                  <a:lnTo>
                    <a:pt x="416356" y="700074"/>
                  </a:lnTo>
                  <a:lnTo>
                    <a:pt x="407720" y="701433"/>
                  </a:lnTo>
                  <a:lnTo>
                    <a:pt x="399199" y="696683"/>
                  </a:lnTo>
                  <a:lnTo>
                    <a:pt x="390740" y="688886"/>
                  </a:lnTo>
                  <a:lnTo>
                    <a:pt x="350113" y="709104"/>
                  </a:lnTo>
                  <a:lnTo>
                    <a:pt x="316179" y="736079"/>
                  </a:lnTo>
                  <a:lnTo>
                    <a:pt x="290156" y="771258"/>
                  </a:lnTo>
                  <a:lnTo>
                    <a:pt x="273202" y="816076"/>
                  </a:lnTo>
                  <a:lnTo>
                    <a:pt x="258648" y="773722"/>
                  </a:lnTo>
                  <a:lnTo>
                    <a:pt x="235331" y="740168"/>
                  </a:lnTo>
                  <a:lnTo>
                    <a:pt x="204736" y="714057"/>
                  </a:lnTo>
                  <a:lnTo>
                    <a:pt x="168376" y="694055"/>
                  </a:lnTo>
                  <a:lnTo>
                    <a:pt x="155295" y="692226"/>
                  </a:lnTo>
                  <a:lnTo>
                    <a:pt x="140893" y="694372"/>
                  </a:lnTo>
                  <a:lnTo>
                    <a:pt x="126034" y="695566"/>
                  </a:lnTo>
                  <a:lnTo>
                    <a:pt x="73266" y="710590"/>
                  </a:lnTo>
                  <a:lnTo>
                    <a:pt x="39370" y="743077"/>
                  </a:lnTo>
                  <a:lnTo>
                    <a:pt x="14351" y="782904"/>
                  </a:lnTo>
                  <a:lnTo>
                    <a:pt x="2654" y="824585"/>
                  </a:lnTo>
                  <a:lnTo>
                    <a:pt x="2120" y="830783"/>
                  </a:lnTo>
                  <a:lnTo>
                    <a:pt x="0" y="840841"/>
                  </a:lnTo>
                  <a:lnTo>
                    <a:pt x="6502" y="841806"/>
                  </a:lnTo>
                  <a:lnTo>
                    <a:pt x="18122" y="843203"/>
                  </a:lnTo>
                  <a:lnTo>
                    <a:pt x="29908" y="843851"/>
                  </a:lnTo>
                  <a:lnTo>
                    <a:pt x="41643" y="843572"/>
                  </a:lnTo>
                  <a:lnTo>
                    <a:pt x="53136" y="842137"/>
                  </a:lnTo>
                  <a:lnTo>
                    <a:pt x="57086" y="839228"/>
                  </a:lnTo>
                  <a:lnTo>
                    <a:pt x="57746" y="833755"/>
                  </a:lnTo>
                  <a:lnTo>
                    <a:pt x="57175" y="827201"/>
                  </a:lnTo>
                  <a:lnTo>
                    <a:pt x="57442" y="821067"/>
                  </a:lnTo>
                  <a:lnTo>
                    <a:pt x="59105" y="814501"/>
                  </a:lnTo>
                  <a:lnTo>
                    <a:pt x="59397" y="807504"/>
                  </a:lnTo>
                  <a:lnTo>
                    <a:pt x="66865" y="800468"/>
                  </a:lnTo>
                  <a:lnTo>
                    <a:pt x="67132" y="820331"/>
                  </a:lnTo>
                  <a:lnTo>
                    <a:pt x="66687" y="826135"/>
                  </a:lnTo>
                  <a:lnTo>
                    <a:pt x="66827" y="835215"/>
                  </a:lnTo>
                  <a:lnTo>
                    <a:pt x="69989" y="840740"/>
                  </a:lnTo>
                  <a:lnTo>
                    <a:pt x="76060" y="843330"/>
                  </a:lnTo>
                  <a:lnTo>
                    <a:pt x="84924" y="843572"/>
                  </a:lnTo>
                  <a:lnTo>
                    <a:pt x="96964" y="843064"/>
                  </a:lnTo>
                  <a:lnTo>
                    <a:pt x="109181" y="843026"/>
                  </a:lnTo>
                  <a:lnTo>
                    <a:pt x="134658" y="843318"/>
                  </a:lnTo>
                  <a:lnTo>
                    <a:pt x="123748" y="813943"/>
                  </a:lnTo>
                  <a:lnTo>
                    <a:pt x="125552" y="785380"/>
                  </a:lnTo>
                  <a:lnTo>
                    <a:pt x="132638" y="757250"/>
                  </a:lnTo>
                  <a:lnTo>
                    <a:pt x="137566" y="729170"/>
                  </a:lnTo>
                  <a:lnTo>
                    <a:pt x="143560" y="756920"/>
                  </a:lnTo>
                  <a:lnTo>
                    <a:pt x="150698" y="784567"/>
                  </a:lnTo>
                  <a:lnTo>
                    <a:pt x="152704" y="812520"/>
                  </a:lnTo>
                  <a:lnTo>
                    <a:pt x="143319" y="841222"/>
                  </a:lnTo>
                  <a:lnTo>
                    <a:pt x="177914" y="845197"/>
                  </a:lnTo>
                  <a:lnTo>
                    <a:pt x="196811" y="842098"/>
                  </a:lnTo>
                  <a:lnTo>
                    <a:pt x="205867" y="828408"/>
                  </a:lnTo>
                  <a:lnTo>
                    <a:pt x="210921" y="800595"/>
                  </a:lnTo>
                  <a:lnTo>
                    <a:pt x="215112" y="808012"/>
                  </a:lnTo>
                  <a:lnTo>
                    <a:pt x="217906" y="815238"/>
                  </a:lnTo>
                  <a:lnTo>
                    <a:pt x="219329" y="822375"/>
                  </a:lnTo>
                  <a:lnTo>
                    <a:pt x="219367" y="829538"/>
                  </a:lnTo>
                  <a:lnTo>
                    <a:pt x="218325" y="841209"/>
                  </a:lnTo>
                  <a:lnTo>
                    <a:pt x="222846" y="843864"/>
                  </a:lnTo>
                  <a:lnTo>
                    <a:pt x="253542" y="843165"/>
                  </a:lnTo>
                  <a:lnTo>
                    <a:pt x="273316" y="843051"/>
                  </a:lnTo>
                  <a:lnTo>
                    <a:pt x="293077" y="843178"/>
                  </a:lnTo>
                  <a:lnTo>
                    <a:pt x="323062" y="843724"/>
                  </a:lnTo>
                  <a:lnTo>
                    <a:pt x="327850" y="842238"/>
                  </a:lnTo>
                  <a:lnTo>
                    <a:pt x="328129" y="822731"/>
                  </a:lnTo>
                  <a:lnTo>
                    <a:pt x="329018" y="815111"/>
                  </a:lnTo>
                  <a:lnTo>
                    <a:pt x="332105" y="807821"/>
                  </a:lnTo>
                  <a:lnTo>
                    <a:pt x="338810" y="801573"/>
                  </a:lnTo>
                  <a:lnTo>
                    <a:pt x="338823" y="843597"/>
                  </a:lnTo>
                  <a:lnTo>
                    <a:pt x="346202" y="843280"/>
                  </a:lnTo>
                  <a:lnTo>
                    <a:pt x="360756" y="843178"/>
                  </a:lnTo>
                  <a:lnTo>
                    <a:pt x="375259" y="843534"/>
                  </a:lnTo>
                  <a:lnTo>
                    <a:pt x="389585" y="843381"/>
                  </a:lnTo>
                  <a:lnTo>
                    <a:pt x="403593" y="841756"/>
                  </a:lnTo>
                  <a:lnTo>
                    <a:pt x="395236" y="809332"/>
                  </a:lnTo>
                  <a:lnTo>
                    <a:pt x="397675" y="778040"/>
                  </a:lnTo>
                  <a:lnTo>
                    <a:pt x="404393" y="747331"/>
                  </a:lnTo>
                  <a:lnTo>
                    <a:pt x="408851" y="716686"/>
                  </a:lnTo>
                  <a:lnTo>
                    <a:pt x="411340" y="723569"/>
                  </a:lnTo>
                  <a:lnTo>
                    <a:pt x="413359" y="730427"/>
                  </a:lnTo>
                  <a:lnTo>
                    <a:pt x="414731" y="737260"/>
                  </a:lnTo>
                  <a:lnTo>
                    <a:pt x="415213" y="744093"/>
                  </a:lnTo>
                  <a:lnTo>
                    <a:pt x="418414" y="768705"/>
                  </a:lnTo>
                  <a:lnTo>
                    <a:pt x="423468" y="793445"/>
                  </a:lnTo>
                  <a:lnTo>
                    <a:pt x="423367" y="818324"/>
                  </a:lnTo>
                  <a:lnTo>
                    <a:pt x="411111" y="843330"/>
                  </a:lnTo>
                  <a:lnTo>
                    <a:pt x="437121" y="843330"/>
                  </a:lnTo>
                  <a:lnTo>
                    <a:pt x="461505" y="842708"/>
                  </a:lnTo>
                  <a:lnTo>
                    <a:pt x="474268" y="838276"/>
                  </a:lnTo>
                  <a:lnTo>
                    <a:pt x="479577" y="826236"/>
                  </a:lnTo>
                  <a:lnTo>
                    <a:pt x="481634" y="802805"/>
                  </a:lnTo>
                  <a:lnTo>
                    <a:pt x="488124" y="807694"/>
                  </a:lnTo>
                  <a:lnTo>
                    <a:pt x="490232" y="814895"/>
                  </a:lnTo>
                  <a:lnTo>
                    <a:pt x="489140" y="821651"/>
                  </a:lnTo>
                  <a:lnTo>
                    <a:pt x="489140" y="834161"/>
                  </a:lnTo>
                  <a:lnTo>
                    <a:pt x="493763" y="841184"/>
                  </a:lnTo>
                  <a:lnTo>
                    <a:pt x="502145" y="843889"/>
                  </a:lnTo>
                  <a:lnTo>
                    <a:pt x="513461" y="843457"/>
                  </a:lnTo>
                  <a:lnTo>
                    <a:pt x="518363" y="842822"/>
                  </a:lnTo>
                  <a:lnTo>
                    <a:pt x="523494" y="842797"/>
                  </a:lnTo>
                  <a:lnTo>
                    <a:pt x="528396" y="843457"/>
                  </a:lnTo>
                  <a:lnTo>
                    <a:pt x="536651" y="843534"/>
                  </a:lnTo>
                  <a:lnTo>
                    <a:pt x="541909" y="840879"/>
                  </a:lnTo>
                  <a:lnTo>
                    <a:pt x="544550" y="835380"/>
                  </a:lnTo>
                  <a:lnTo>
                    <a:pt x="544957" y="826884"/>
                  </a:lnTo>
                  <a:close/>
                </a:path>
                <a:path w="852805" h="854075">
                  <a:moveTo>
                    <a:pt x="852373" y="380682"/>
                  </a:moveTo>
                  <a:lnTo>
                    <a:pt x="850366" y="341071"/>
                  </a:lnTo>
                  <a:lnTo>
                    <a:pt x="844600" y="323380"/>
                  </a:lnTo>
                  <a:lnTo>
                    <a:pt x="834123" y="291223"/>
                  </a:lnTo>
                  <a:lnTo>
                    <a:pt x="805954" y="251371"/>
                  </a:lnTo>
                  <a:lnTo>
                    <a:pt x="784580" y="232943"/>
                  </a:lnTo>
                  <a:lnTo>
                    <a:pt x="784580" y="369354"/>
                  </a:lnTo>
                  <a:lnTo>
                    <a:pt x="781202" y="390715"/>
                  </a:lnTo>
                  <a:lnTo>
                    <a:pt x="773328" y="411645"/>
                  </a:lnTo>
                  <a:lnTo>
                    <a:pt x="773328" y="379666"/>
                  </a:lnTo>
                  <a:lnTo>
                    <a:pt x="773328" y="323380"/>
                  </a:lnTo>
                  <a:lnTo>
                    <a:pt x="782332" y="347065"/>
                  </a:lnTo>
                  <a:lnTo>
                    <a:pt x="784580" y="369354"/>
                  </a:lnTo>
                  <a:lnTo>
                    <a:pt x="784580" y="232943"/>
                  </a:lnTo>
                  <a:lnTo>
                    <a:pt x="768642" y="219189"/>
                  </a:lnTo>
                  <a:lnTo>
                    <a:pt x="767397" y="218427"/>
                  </a:lnTo>
                  <a:lnTo>
                    <a:pt x="747344" y="206108"/>
                  </a:lnTo>
                  <a:lnTo>
                    <a:pt x="744435" y="204317"/>
                  </a:lnTo>
                  <a:lnTo>
                    <a:pt x="724992" y="192366"/>
                  </a:lnTo>
                  <a:lnTo>
                    <a:pt x="715975" y="188328"/>
                  </a:lnTo>
                  <a:lnTo>
                    <a:pt x="707504" y="187020"/>
                  </a:lnTo>
                  <a:lnTo>
                    <a:pt x="703338" y="188404"/>
                  </a:lnTo>
                  <a:lnTo>
                    <a:pt x="703338" y="344538"/>
                  </a:lnTo>
                  <a:lnTo>
                    <a:pt x="699871" y="357517"/>
                  </a:lnTo>
                  <a:lnTo>
                    <a:pt x="693000" y="369023"/>
                  </a:lnTo>
                  <a:lnTo>
                    <a:pt x="683628" y="379666"/>
                  </a:lnTo>
                  <a:lnTo>
                    <a:pt x="673036" y="368439"/>
                  </a:lnTo>
                  <a:lnTo>
                    <a:pt x="666191" y="356019"/>
                  </a:lnTo>
                  <a:lnTo>
                    <a:pt x="663346" y="341947"/>
                  </a:lnTo>
                  <a:lnTo>
                    <a:pt x="664768" y="325793"/>
                  </a:lnTo>
                  <a:lnTo>
                    <a:pt x="669772" y="299288"/>
                  </a:lnTo>
                  <a:lnTo>
                    <a:pt x="673938" y="272897"/>
                  </a:lnTo>
                  <a:lnTo>
                    <a:pt x="675360" y="263131"/>
                  </a:lnTo>
                  <a:lnTo>
                    <a:pt x="677799" y="246227"/>
                  </a:lnTo>
                  <a:lnTo>
                    <a:pt x="681799" y="219138"/>
                  </a:lnTo>
                  <a:lnTo>
                    <a:pt x="684822" y="218427"/>
                  </a:lnTo>
                  <a:lnTo>
                    <a:pt x="688975" y="245859"/>
                  </a:lnTo>
                  <a:lnTo>
                    <a:pt x="692937" y="272402"/>
                  </a:lnTo>
                  <a:lnTo>
                    <a:pt x="697585" y="301815"/>
                  </a:lnTo>
                  <a:lnTo>
                    <a:pt x="702564" y="329450"/>
                  </a:lnTo>
                  <a:lnTo>
                    <a:pt x="703338" y="344538"/>
                  </a:lnTo>
                  <a:lnTo>
                    <a:pt x="703338" y="188404"/>
                  </a:lnTo>
                  <a:lnTo>
                    <a:pt x="699630" y="189636"/>
                  </a:lnTo>
                  <a:lnTo>
                    <a:pt x="692416" y="197319"/>
                  </a:lnTo>
                  <a:lnTo>
                    <a:pt x="688289" y="202260"/>
                  </a:lnTo>
                  <a:lnTo>
                    <a:pt x="683933" y="204317"/>
                  </a:lnTo>
                  <a:lnTo>
                    <a:pt x="679437" y="203009"/>
                  </a:lnTo>
                  <a:lnTo>
                    <a:pt x="674890" y="197866"/>
                  </a:lnTo>
                  <a:lnTo>
                    <a:pt x="667435" y="189636"/>
                  </a:lnTo>
                  <a:lnTo>
                    <a:pt x="659206" y="186702"/>
                  </a:lnTo>
                  <a:lnTo>
                    <a:pt x="650290" y="188036"/>
                  </a:lnTo>
                  <a:lnTo>
                    <a:pt x="640753" y="192608"/>
                  </a:lnTo>
                  <a:lnTo>
                    <a:pt x="634072" y="196570"/>
                  </a:lnTo>
                  <a:lnTo>
                    <a:pt x="619493" y="202311"/>
                  </a:lnTo>
                  <a:lnTo>
                    <a:pt x="564261" y="196430"/>
                  </a:lnTo>
                  <a:lnTo>
                    <a:pt x="538162" y="148272"/>
                  </a:lnTo>
                  <a:lnTo>
                    <a:pt x="538010" y="129438"/>
                  </a:lnTo>
                  <a:lnTo>
                    <a:pt x="537921" y="120218"/>
                  </a:lnTo>
                  <a:lnTo>
                    <a:pt x="537794" y="85686"/>
                  </a:lnTo>
                  <a:lnTo>
                    <a:pt x="538454" y="65303"/>
                  </a:lnTo>
                  <a:lnTo>
                    <a:pt x="538353" y="62484"/>
                  </a:lnTo>
                  <a:lnTo>
                    <a:pt x="537425" y="43853"/>
                  </a:lnTo>
                  <a:lnTo>
                    <a:pt x="534060" y="33743"/>
                  </a:lnTo>
                  <a:lnTo>
                    <a:pt x="533946" y="33388"/>
                  </a:lnTo>
                  <a:lnTo>
                    <a:pt x="531469" y="25933"/>
                  </a:lnTo>
                  <a:lnTo>
                    <a:pt x="519938" y="11264"/>
                  </a:lnTo>
                  <a:lnTo>
                    <a:pt x="506514" y="2743"/>
                  </a:lnTo>
                  <a:lnTo>
                    <a:pt x="506514" y="256273"/>
                  </a:lnTo>
                  <a:lnTo>
                    <a:pt x="506272" y="291223"/>
                  </a:lnTo>
                  <a:lnTo>
                    <a:pt x="506196" y="433920"/>
                  </a:lnTo>
                  <a:lnTo>
                    <a:pt x="477494" y="462483"/>
                  </a:lnTo>
                  <a:lnTo>
                    <a:pt x="353047" y="462534"/>
                  </a:lnTo>
                  <a:lnTo>
                    <a:pt x="69303" y="462483"/>
                  </a:lnTo>
                  <a:lnTo>
                    <a:pt x="40855" y="433920"/>
                  </a:lnTo>
                  <a:lnTo>
                    <a:pt x="40805" y="171157"/>
                  </a:lnTo>
                  <a:lnTo>
                    <a:pt x="40678" y="101815"/>
                  </a:lnTo>
                  <a:lnTo>
                    <a:pt x="40551" y="61112"/>
                  </a:lnTo>
                  <a:lnTo>
                    <a:pt x="68046" y="33388"/>
                  </a:lnTo>
                  <a:lnTo>
                    <a:pt x="273202" y="33769"/>
                  </a:lnTo>
                  <a:lnTo>
                    <a:pt x="375780" y="33743"/>
                  </a:lnTo>
                  <a:lnTo>
                    <a:pt x="478358" y="33743"/>
                  </a:lnTo>
                  <a:lnTo>
                    <a:pt x="493382" y="34582"/>
                  </a:lnTo>
                  <a:lnTo>
                    <a:pt x="501738" y="38354"/>
                  </a:lnTo>
                  <a:lnTo>
                    <a:pt x="505383" y="47015"/>
                  </a:lnTo>
                  <a:lnTo>
                    <a:pt x="506145" y="61112"/>
                  </a:lnTo>
                  <a:lnTo>
                    <a:pt x="506247" y="128219"/>
                  </a:lnTo>
                  <a:lnTo>
                    <a:pt x="501700" y="129438"/>
                  </a:lnTo>
                  <a:lnTo>
                    <a:pt x="496506" y="120218"/>
                  </a:lnTo>
                  <a:lnTo>
                    <a:pt x="491337" y="110998"/>
                  </a:lnTo>
                  <a:lnTo>
                    <a:pt x="486105" y="101815"/>
                  </a:lnTo>
                  <a:lnTo>
                    <a:pt x="480695" y="92735"/>
                  </a:lnTo>
                  <a:lnTo>
                    <a:pt x="470903" y="81089"/>
                  </a:lnTo>
                  <a:lnTo>
                    <a:pt x="459333" y="74561"/>
                  </a:lnTo>
                  <a:lnTo>
                    <a:pt x="446620" y="73291"/>
                  </a:lnTo>
                  <a:lnTo>
                    <a:pt x="433412" y="77419"/>
                  </a:lnTo>
                  <a:lnTo>
                    <a:pt x="422986" y="85788"/>
                  </a:lnTo>
                  <a:lnTo>
                    <a:pt x="417182" y="97193"/>
                  </a:lnTo>
                  <a:lnTo>
                    <a:pt x="416445" y="110705"/>
                  </a:lnTo>
                  <a:lnTo>
                    <a:pt x="421182" y="125374"/>
                  </a:lnTo>
                  <a:lnTo>
                    <a:pt x="436143" y="152527"/>
                  </a:lnTo>
                  <a:lnTo>
                    <a:pt x="452970" y="178371"/>
                  </a:lnTo>
                  <a:lnTo>
                    <a:pt x="471995" y="202603"/>
                  </a:lnTo>
                  <a:lnTo>
                    <a:pt x="493522" y="224929"/>
                  </a:lnTo>
                  <a:lnTo>
                    <a:pt x="499681" y="231813"/>
                  </a:lnTo>
                  <a:lnTo>
                    <a:pt x="503732" y="239102"/>
                  </a:lnTo>
                  <a:lnTo>
                    <a:pt x="505917" y="247142"/>
                  </a:lnTo>
                  <a:lnTo>
                    <a:pt x="506514" y="256273"/>
                  </a:lnTo>
                  <a:lnTo>
                    <a:pt x="506514" y="2743"/>
                  </a:lnTo>
                  <a:lnTo>
                    <a:pt x="502208" y="0"/>
                  </a:lnTo>
                  <a:lnTo>
                    <a:pt x="44386" y="0"/>
                  </a:lnTo>
                  <a:lnTo>
                    <a:pt x="27266" y="11557"/>
                  </a:lnTo>
                  <a:lnTo>
                    <a:pt x="16268" y="26263"/>
                  </a:lnTo>
                  <a:lnTo>
                    <a:pt x="10477" y="44157"/>
                  </a:lnTo>
                  <a:lnTo>
                    <a:pt x="8966" y="64858"/>
                  </a:lnTo>
                  <a:lnTo>
                    <a:pt x="9080" y="81089"/>
                  </a:lnTo>
                  <a:lnTo>
                    <a:pt x="9385" y="114312"/>
                  </a:lnTo>
                  <a:lnTo>
                    <a:pt x="9588" y="152527"/>
                  </a:lnTo>
                  <a:lnTo>
                    <a:pt x="9715" y="189636"/>
                  </a:lnTo>
                  <a:lnTo>
                    <a:pt x="9550" y="435800"/>
                  </a:lnTo>
                  <a:lnTo>
                    <a:pt x="12623" y="462788"/>
                  </a:lnTo>
                  <a:lnTo>
                    <a:pt x="22555" y="480771"/>
                  </a:lnTo>
                  <a:lnTo>
                    <a:pt x="40436" y="490791"/>
                  </a:lnTo>
                  <a:lnTo>
                    <a:pt x="67360" y="493915"/>
                  </a:lnTo>
                  <a:lnTo>
                    <a:pt x="273735" y="494017"/>
                  </a:lnTo>
                  <a:lnTo>
                    <a:pt x="480110" y="493915"/>
                  </a:lnTo>
                  <a:lnTo>
                    <a:pt x="506704" y="490715"/>
                  </a:lnTo>
                  <a:lnTo>
                    <a:pt x="524598" y="480542"/>
                  </a:lnTo>
                  <a:lnTo>
                    <a:pt x="534657" y="462546"/>
                  </a:lnTo>
                  <a:lnTo>
                    <a:pt x="534733" y="462419"/>
                  </a:lnTo>
                  <a:lnTo>
                    <a:pt x="538073" y="435368"/>
                  </a:lnTo>
                  <a:lnTo>
                    <a:pt x="538149" y="418376"/>
                  </a:lnTo>
                  <a:lnTo>
                    <a:pt x="538226" y="299288"/>
                  </a:lnTo>
                  <a:lnTo>
                    <a:pt x="537654" y="290601"/>
                  </a:lnTo>
                  <a:lnTo>
                    <a:pt x="536778" y="280581"/>
                  </a:lnTo>
                  <a:lnTo>
                    <a:pt x="537400" y="271373"/>
                  </a:lnTo>
                  <a:lnTo>
                    <a:pt x="541223" y="263956"/>
                  </a:lnTo>
                  <a:lnTo>
                    <a:pt x="546404" y="263131"/>
                  </a:lnTo>
                  <a:lnTo>
                    <a:pt x="554812" y="265468"/>
                  </a:lnTo>
                  <a:lnTo>
                    <a:pt x="564629" y="269151"/>
                  </a:lnTo>
                  <a:lnTo>
                    <a:pt x="573989" y="272402"/>
                  </a:lnTo>
                  <a:lnTo>
                    <a:pt x="576021" y="272986"/>
                  </a:lnTo>
                  <a:lnTo>
                    <a:pt x="578167" y="274116"/>
                  </a:lnTo>
                  <a:lnTo>
                    <a:pt x="590511" y="272897"/>
                  </a:lnTo>
                  <a:lnTo>
                    <a:pt x="593217" y="277634"/>
                  </a:lnTo>
                  <a:lnTo>
                    <a:pt x="593344" y="287591"/>
                  </a:lnTo>
                  <a:lnTo>
                    <a:pt x="594398" y="392252"/>
                  </a:lnTo>
                  <a:lnTo>
                    <a:pt x="595287" y="444588"/>
                  </a:lnTo>
                  <a:lnTo>
                    <a:pt x="596404" y="480542"/>
                  </a:lnTo>
                  <a:lnTo>
                    <a:pt x="598398" y="548665"/>
                  </a:lnTo>
                  <a:lnTo>
                    <a:pt x="598970" y="600392"/>
                  </a:lnTo>
                  <a:lnTo>
                    <a:pt x="598919" y="652157"/>
                  </a:lnTo>
                  <a:lnTo>
                    <a:pt x="598182" y="755700"/>
                  </a:lnTo>
                  <a:lnTo>
                    <a:pt x="598131" y="807453"/>
                  </a:lnTo>
                  <a:lnTo>
                    <a:pt x="600595" y="826820"/>
                  </a:lnTo>
                  <a:lnTo>
                    <a:pt x="607682" y="840917"/>
                  </a:lnTo>
                  <a:lnTo>
                    <a:pt x="619163" y="849795"/>
                  </a:lnTo>
                  <a:lnTo>
                    <a:pt x="634796" y="853478"/>
                  </a:lnTo>
                  <a:lnTo>
                    <a:pt x="651421" y="851941"/>
                  </a:lnTo>
                  <a:lnTo>
                    <a:pt x="664133" y="844956"/>
                  </a:lnTo>
                  <a:lnTo>
                    <a:pt x="673061" y="832446"/>
                  </a:lnTo>
                  <a:lnTo>
                    <a:pt x="678243" y="814489"/>
                  </a:lnTo>
                  <a:lnTo>
                    <a:pt x="678332" y="533628"/>
                  </a:lnTo>
                  <a:lnTo>
                    <a:pt x="684745" y="533552"/>
                  </a:lnTo>
                  <a:lnTo>
                    <a:pt x="684745" y="814489"/>
                  </a:lnTo>
                  <a:lnTo>
                    <a:pt x="687628" y="828738"/>
                  </a:lnTo>
                  <a:lnTo>
                    <a:pt x="693801" y="840219"/>
                  </a:lnTo>
                  <a:lnTo>
                    <a:pt x="703643" y="848461"/>
                  </a:lnTo>
                  <a:lnTo>
                    <a:pt x="717550" y="852970"/>
                  </a:lnTo>
                  <a:lnTo>
                    <a:pt x="736879" y="852462"/>
                  </a:lnTo>
                  <a:lnTo>
                    <a:pt x="764082" y="809409"/>
                  </a:lnTo>
                  <a:lnTo>
                    <a:pt x="764184" y="760209"/>
                  </a:lnTo>
                  <a:lnTo>
                    <a:pt x="764286" y="533552"/>
                  </a:lnTo>
                  <a:lnTo>
                    <a:pt x="764336" y="508355"/>
                  </a:lnTo>
                  <a:lnTo>
                    <a:pt x="761936" y="501891"/>
                  </a:lnTo>
                  <a:lnTo>
                    <a:pt x="767029" y="495312"/>
                  </a:lnTo>
                  <a:lnTo>
                    <a:pt x="780300" y="500875"/>
                  </a:lnTo>
                  <a:lnTo>
                    <a:pt x="793305" y="502373"/>
                  </a:lnTo>
                  <a:lnTo>
                    <a:pt x="832688" y="454355"/>
                  </a:lnTo>
                  <a:lnTo>
                    <a:pt x="845908" y="418376"/>
                  </a:lnTo>
                  <a:lnTo>
                    <a:pt x="847051" y="411645"/>
                  </a:lnTo>
                  <a:lnTo>
                    <a:pt x="852373" y="380682"/>
                  </a:lnTo>
                  <a:close/>
                </a:path>
              </a:pathLst>
            </a:custGeom>
            <a:solidFill>
              <a:srgbClr val="FFFFFF"/>
            </a:solidFill>
          </p:spPr>
          <p:txBody>
            <a:bodyPr wrap="square" lIns="0" tIns="0" rIns="0" bIns="0" rtlCol="0"/>
            <a:lstStyle/>
            <a:p>
              <a:endParaRPr/>
            </a:p>
          </p:txBody>
        </p:sp>
        <p:pic>
          <p:nvPicPr>
            <p:cNvPr id="31" name="object 31"/>
            <p:cNvPicPr/>
            <p:nvPr/>
          </p:nvPicPr>
          <p:blipFill>
            <a:blip r:embed="rId6" cstate="print"/>
            <a:stretch>
              <a:fillRect/>
            </a:stretch>
          </p:blipFill>
          <p:spPr>
            <a:xfrm>
              <a:off x="16018409" y="3346352"/>
              <a:ext cx="175205" cy="175424"/>
            </a:xfrm>
            <a:prstGeom prst="rect">
              <a:avLst/>
            </a:prstGeom>
          </p:spPr>
        </p:pic>
        <p:pic>
          <p:nvPicPr>
            <p:cNvPr id="32" name="object 32"/>
            <p:cNvPicPr/>
            <p:nvPr/>
          </p:nvPicPr>
          <p:blipFill>
            <a:blip r:embed="rId7" cstate="print"/>
            <a:stretch>
              <a:fillRect/>
            </a:stretch>
          </p:blipFill>
          <p:spPr>
            <a:xfrm>
              <a:off x="15491776" y="3886721"/>
              <a:ext cx="137515" cy="138554"/>
            </a:xfrm>
            <a:prstGeom prst="rect">
              <a:avLst/>
            </a:prstGeom>
          </p:spPr>
        </p:pic>
        <p:pic>
          <p:nvPicPr>
            <p:cNvPr id="33" name="object 33"/>
            <p:cNvPicPr/>
            <p:nvPr/>
          </p:nvPicPr>
          <p:blipFill>
            <a:blip r:embed="rId8" cstate="print"/>
            <a:stretch>
              <a:fillRect/>
            </a:stretch>
          </p:blipFill>
          <p:spPr>
            <a:xfrm>
              <a:off x="15763349" y="3886652"/>
              <a:ext cx="136312" cy="157046"/>
            </a:xfrm>
            <a:prstGeom prst="rect">
              <a:avLst/>
            </a:prstGeom>
          </p:spPr>
        </p:pic>
        <p:sp>
          <p:nvSpPr>
            <p:cNvPr id="34" name="object 34"/>
            <p:cNvSpPr/>
            <p:nvPr/>
          </p:nvSpPr>
          <p:spPr>
            <a:xfrm>
              <a:off x="15566149" y="3460482"/>
              <a:ext cx="641350" cy="294005"/>
            </a:xfrm>
            <a:custGeom>
              <a:avLst/>
              <a:gdLst/>
              <a:ahLst/>
              <a:cxnLst/>
              <a:rect l="l" t="t" r="r" b="b"/>
              <a:pathLst>
                <a:path w="641350" h="294004">
                  <a:moveTo>
                    <a:pt x="258991" y="158115"/>
                  </a:moveTo>
                  <a:lnTo>
                    <a:pt x="255549" y="151117"/>
                  </a:lnTo>
                  <a:lnTo>
                    <a:pt x="247548" y="145059"/>
                  </a:lnTo>
                  <a:lnTo>
                    <a:pt x="237642" y="136309"/>
                  </a:lnTo>
                  <a:lnTo>
                    <a:pt x="233768" y="125209"/>
                  </a:lnTo>
                  <a:lnTo>
                    <a:pt x="236105" y="114007"/>
                  </a:lnTo>
                  <a:lnTo>
                    <a:pt x="244830" y="104952"/>
                  </a:lnTo>
                  <a:lnTo>
                    <a:pt x="253022" y="97790"/>
                  </a:lnTo>
                  <a:lnTo>
                    <a:pt x="255879" y="89954"/>
                  </a:lnTo>
                  <a:lnTo>
                    <a:pt x="254889" y="81419"/>
                  </a:lnTo>
                  <a:lnTo>
                    <a:pt x="251523" y="72136"/>
                  </a:lnTo>
                  <a:lnTo>
                    <a:pt x="246824" y="63677"/>
                  </a:lnTo>
                  <a:lnTo>
                    <a:pt x="245503" y="62496"/>
                  </a:lnTo>
                  <a:lnTo>
                    <a:pt x="240817" y="58267"/>
                  </a:lnTo>
                  <a:lnTo>
                    <a:pt x="239306" y="57848"/>
                  </a:lnTo>
                  <a:lnTo>
                    <a:pt x="233108" y="56121"/>
                  </a:lnTo>
                  <a:lnTo>
                    <a:pt x="223304" y="57454"/>
                  </a:lnTo>
                  <a:lnTo>
                    <a:pt x="210502" y="57848"/>
                  </a:lnTo>
                  <a:lnTo>
                    <a:pt x="200342" y="52273"/>
                  </a:lnTo>
                  <a:lnTo>
                    <a:pt x="195745" y="44500"/>
                  </a:lnTo>
                  <a:lnTo>
                    <a:pt x="195745" y="129730"/>
                  </a:lnTo>
                  <a:lnTo>
                    <a:pt x="190487" y="155524"/>
                  </a:lnTo>
                  <a:lnTo>
                    <a:pt x="176276" y="176212"/>
                  </a:lnTo>
                  <a:lnTo>
                    <a:pt x="155016" y="189928"/>
                  </a:lnTo>
                  <a:lnTo>
                    <a:pt x="128663" y="194830"/>
                  </a:lnTo>
                  <a:lnTo>
                    <a:pt x="103339" y="189623"/>
                  </a:lnTo>
                  <a:lnTo>
                    <a:pt x="82613" y="175653"/>
                  </a:lnTo>
                  <a:lnTo>
                    <a:pt x="68592" y="155016"/>
                  </a:lnTo>
                  <a:lnTo>
                    <a:pt x="63360" y="129819"/>
                  </a:lnTo>
                  <a:lnTo>
                    <a:pt x="68618" y="104165"/>
                  </a:lnTo>
                  <a:lnTo>
                    <a:pt x="83019" y="82791"/>
                  </a:lnTo>
                  <a:lnTo>
                    <a:pt x="104178" y="68097"/>
                  </a:lnTo>
                  <a:lnTo>
                    <a:pt x="118681" y="64922"/>
                  </a:lnTo>
                  <a:lnTo>
                    <a:pt x="129743" y="62496"/>
                  </a:lnTo>
                  <a:lnTo>
                    <a:pt x="155028" y="67779"/>
                  </a:lnTo>
                  <a:lnTo>
                    <a:pt x="176098" y="82423"/>
                  </a:lnTo>
                  <a:lnTo>
                    <a:pt x="190500" y="103911"/>
                  </a:lnTo>
                  <a:lnTo>
                    <a:pt x="195745" y="129730"/>
                  </a:lnTo>
                  <a:lnTo>
                    <a:pt x="195745" y="44500"/>
                  </a:lnTo>
                  <a:lnTo>
                    <a:pt x="194437" y="42278"/>
                  </a:lnTo>
                  <a:lnTo>
                    <a:pt x="194475" y="29438"/>
                  </a:lnTo>
                  <a:lnTo>
                    <a:pt x="194894" y="24460"/>
                  </a:lnTo>
                  <a:lnTo>
                    <a:pt x="195287" y="19837"/>
                  </a:lnTo>
                  <a:lnTo>
                    <a:pt x="192455" y="12890"/>
                  </a:lnTo>
                  <a:lnTo>
                    <a:pt x="186702" y="7874"/>
                  </a:lnTo>
                  <a:lnTo>
                    <a:pt x="178727" y="4064"/>
                  </a:lnTo>
                  <a:lnTo>
                    <a:pt x="169405" y="952"/>
                  </a:lnTo>
                  <a:lnTo>
                    <a:pt x="160591" y="0"/>
                  </a:lnTo>
                  <a:lnTo>
                    <a:pt x="152527" y="2768"/>
                  </a:lnTo>
                  <a:lnTo>
                    <a:pt x="145427" y="10795"/>
                  </a:lnTo>
                  <a:lnTo>
                    <a:pt x="136232" y="20828"/>
                  </a:lnTo>
                  <a:lnTo>
                    <a:pt x="125171" y="24460"/>
                  </a:lnTo>
                  <a:lnTo>
                    <a:pt x="113944" y="21539"/>
                  </a:lnTo>
                  <a:lnTo>
                    <a:pt x="104203" y="11912"/>
                  </a:lnTo>
                  <a:lnTo>
                    <a:pt x="97028" y="4343"/>
                  </a:lnTo>
                  <a:lnTo>
                    <a:pt x="89420" y="2082"/>
                  </a:lnTo>
                  <a:lnTo>
                    <a:pt x="56045" y="24244"/>
                  </a:lnTo>
                  <a:lnTo>
                    <a:pt x="57912" y="34683"/>
                  </a:lnTo>
                  <a:lnTo>
                    <a:pt x="58902" y="47472"/>
                  </a:lnTo>
                  <a:lnTo>
                    <a:pt x="53200" y="58102"/>
                  </a:lnTo>
                  <a:lnTo>
                    <a:pt x="42722" y="64592"/>
                  </a:lnTo>
                  <a:lnTo>
                    <a:pt x="29362" y="64922"/>
                  </a:lnTo>
                  <a:lnTo>
                    <a:pt x="18961" y="64376"/>
                  </a:lnTo>
                  <a:lnTo>
                    <a:pt x="11912" y="67970"/>
                  </a:lnTo>
                  <a:lnTo>
                    <a:pt x="7099" y="74523"/>
                  </a:lnTo>
                  <a:lnTo>
                    <a:pt x="3479" y="82791"/>
                  </a:lnTo>
                  <a:lnTo>
                    <a:pt x="546" y="91986"/>
                  </a:lnTo>
                  <a:lnTo>
                    <a:pt x="0" y="100444"/>
                  </a:lnTo>
                  <a:lnTo>
                    <a:pt x="3314" y="107619"/>
                  </a:lnTo>
                  <a:lnTo>
                    <a:pt x="12001" y="112839"/>
                  </a:lnTo>
                  <a:lnTo>
                    <a:pt x="18935" y="116179"/>
                  </a:lnTo>
                  <a:lnTo>
                    <a:pt x="23101" y="120688"/>
                  </a:lnTo>
                  <a:lnTo>
                    <a:pt x="24638" y="126631"/>
                  </a:lnTo>
                  <a:lnTo>
                    <a:pt x="23685" y="134289"/>
                  </a:lnTo>
                  <a:lnTo>
                    <a:pt x="24955" y="140944"/>
                  </a:lnTo>
                  <a:lnTo>
                    <a:pt x="23812" y="146583"/>
                  </a:lnTo>
                  <a:lnTo>
                    <a:pt x="20053" y="151282"/>
                  </a:lnTo>
                  <a:lnTo>
                    <a:pt x="13411" y="155117"/>
                  </a:lnTo>
                  <a:lnTo>
                    <a:pt x="5080" y="161112"/>
                  </a:lnTo>
                  <a:lnTo>
                    <a:pt x="2679" y="168617"/>
                  </a:lnTo>
                  <a:lnTo>
                    <a:pt x="4241" y="177025"/>
                  </a:lnTo>
                  <a:lnTo>
                    <a:pt x="7772" y="185724"/>
                  </a:lnTo>
                  <a:lnTo>
                    <a:pt x="12039" y="193954"/>
                  </a:lnTo>
                  <a:lnTo>
                    <a:pt x="17475" y="200101"/>
                  </a:lnTo>
                  <a:lnTo>
                    <a:pt x="24904" y="203047"/>
                  </a:lnTo>
                  <a:lnTo>
                    <a:pt x="35166" y="201663"/>
                  </a:lnTo>
                  <a:lnTo>
                    <a:pt x="48234" y="200964"/>
                  </a:lnTo>
                  <a:lnTo>
                    <a:pt x="59131" y="206425"/>
                  </a:lnTo>
                  <a:lnTo>
                    <a:pt x="65671" y="216242"/>
                  </a:lnTo>
                  <a:lnTo>
                    <a:pt x="65671" y="228574"/>
                  </a:lnTo>
                  <a:lnTo>
                    <a:pt x="64338" y="239014"/>
                  </a:lnTo>
                  <a:lnTo>
                    <a:pt x="67310" y="246100"/>
                  </a:lnTo>
                  <a:lnTo>
                    <a:pt x="73507" y="251015"/>
                  </a:lnTo>
                  <a:lnTo>
                    <a:pt x="81889" y="254914"/>
                  </a:lnTo>
                  <a:lnTo>
                    <a:pt x="91325" y="258127"/>
                  </a:lnTo>
                  <a:lnTo>
                    <a:pt x="99885" y="258749"/>
                  </a:lnTo>
                  <a:lnTo>
                    <a:pt x="107530" y="255460"/>
                  </a:lnTo>
                  <a:lnTo>
                    <a:pt x="114185" y="246951"/>
                  </a:lnTo>
                  <a:lnTo>
                    <a:pt x="122859" y="237020"/>
                  </a:lnTo>
                  <a:lnTo>
                    <a:pt x="133718" y="233629"/>
                  </a:lnTo>
                  <a:lnTo>
                    <a:pt x="145072" y="236778"/>
                  </a:lnTo>
                  <a:lnTo>
                    <a:pt x="163156" y="253974"/>
                  </a:lnTo>
                  <a:lnTo>
                    <a:pt x="171450" y="255854"/>
                  </a:lnTo>
                  <a:lnTo>
                    <a:pt x="203441" y="233629"/>
                  </a:lnTo>
                  <a:lnTo>
                    <a:pt x="203606" y="232968"/>
                  </a:lnTo>
                  <a:lnTo>
                    <a:pt x="201523" y="223393"/>
                  </a:lnTo>
                  <a:lnTo>
                    <a:pt x="200583" y="211315"/>
                  </a:lnTo>
                  <a:lnTo>
                    <a:pt x="206082" y="200964"/>
                  </a:lnTo>
                  <a:lnTo>
                    <a:pt x="215417" y="194830"/>
                  </a:lnTo>
                  <a:lnTo>
                    <a:pt x="216014" y="194437"/>
                  </a:lnTo>
                  <a:lnTo>
                    <a:pt x="228358" y="193878"/>
                  </a:lnTo>
                  <a:lnTo>
                    <a:pt x="239026" y="194602"/>
                  </a:lnTo>
                  <a:lnTo>
                    <a:pt x="240665" y="193878"/>
                  </a:lnTo>
                  <a:lnTo>
                    <a:pt x="246595" y="191236"/>
                  </a:lnTo>
                  <a:lnTo>
                    <a:pt x="251993" y="184556"/>
                  </a:lnTo>
                  <a:lnTo>
                    <a:pt x="256146" y="175348"/>
                  </a:lnTo>
                  <a:lnTo>
                    <a:pt x="258864" y="166154"/>
                  </a:lnTo>
                  <a:lnTo>
                    <a:pt x="258991" y="158115"/>
                  </a:lnTo>
                  <a:close/>
                </a:path>
                <a:path w="641350" h="294004">
                  <a:moveTo>
                    <a:pt x="640727" y="251155"/>
                  </a:moveTo>
                  <a:lnTo>
                    <a:pt x="638479" y="228866"/>
                  </a:lnTo>
                  <a:lnTo>
                    <a:pt x="629475" y="205181"/>
                  </a:lnTo>
                  <a:lnTo>
                    <a:pt x="629475" y="293446"/>
                  </a:lnTo>
                  <a:lnTo>
                    <a:pt x="637349" y="272516"/>
                  </a:lnTo>
                  <a:lnTo>
                    <a:pt x="640727" y="251155"/>
                  </a:lnTo>
                  <a:close/>
                </a:path>
              </a:pathLst>
            </a:custGeom>
            <a:solidFill>
              <a:srgbClr val="FFFFFF"/>
            </a:solidFill>
          </p:spPr>
          <p:txBody>
            <a:bodyPr wrap="square" lIns="0" tIns="0" rIns="0" bIns="0" rtlCol="0"/>
            <a:lstStyle/>
            <a:p>
              <a:endParaRPr/>
            </a:p>
          </p:txBody>
        </p:sp>
        <p:pic>
          <p:nvPicPr>
            <p:cNvPr id="35" name="object 35"/>
            <p:cNvPicPr/>
            <p:nvPr/>
          </p:nvPicPr>
          <p:blipFill>
            <a:blip r:embed="rId9" cstate="print"/>
            <a:stretch>
              <a:fillRect/>
            </a:stretch>
          </p:blipFill>
          <p:spPr>
            <a:xfrm>
              <a:off x="13399523" y="5645585"/>
              <a:ext cx="66675" cy="66674"/>
            </a:xfrm>
            <a:prstGeom prst="rect">
              <a:avLst/>
            </a:prstGeom>
          </p:spPr>
        </p:pic>
        <p:pic>
          <p:nvPicPr>
            <p:cNvPr id="36" name="object 36"/>
            <p:cNvPicPr/>
            <p:nvPr/>
          </p:nvPicPr>
          <p:blipFill>
            <a:blip r:embed="rId9" cstate="print"/>
            <a:stretch>
              <a:fillRect/>
            </a:stretch>
          </p:blipFill>
          <p:spPr>
            <a:xfrm>
              <a:off x="13399523" y="7360085"/>
              <a:ext cx="66675" cy="66674"/>
            </a:xfrm>
            <a:prstGeom prst="rect">
              <a:avLst/>
            </a:prstGeom>
          </p:spPr>
        </p:pic>
      </p:grpSp>
      <p:sp>
        <p:nvSpPr>
          <p:cNvPr id="37" name="object 37"/>
          <p:cNvSpPr txBox="1"/>
          <p:nvPr/>
        </p:nvSpPr>
        <p:spPr>
          <a:xfrm>
            <a:off x="12792949" y="2864193"/>
            <a:ext cx="3855720" cy="6638925"/>
          </a:xfrm>
          <a:prstGeom prst="rect">
            <a:avLst/>
          </a:prstGeom>
        </p:spPr>
        <p:txBody>
          <a:bodyPr vert="horz" wrap="square" lIns="0" tIns="1270" rIns="0" bIns="0" rtlCol="0">
            <a:spAutoFit/>
          </a:bodyPr>
          <a:lstStyle/>
          <a:p>
            <a:pPr>
              <a:lnSpc>
                <a:spcPct val="100000"/>
              </a:lnSpc>
              <a:spcBef>
                <a:spcPts val="10"/>
              </a:spcBef>
            </a:pPr>
            <a:endParaRPr sz="5250">
              <a:latin typeface="Times New Roman"/>
              <a:cs typeface="Times New Roman"/>
            </a:endParaRPr>
          </a:p>
          <a:p>
            <a:pPr marL="425450">
              <a:lnSpc>
                <a:spcPct val="100000"/>
              </a:lnSpc>
            </a:pPr>
            <a:r>
              <a:rPr sz="4600" b="1" spc="675" dirty="0">
                <a:solidFill>
                  <a:srgbClr val="F5A316"/>
                </a:solidFill>
                <a:latin typeface="Arial"/>
                <a:cs typeface="Arial"/>
              </a:rPr>
              <a:t>08</a:t>
            </a:r>
            <a:endParaRPr sz="4600">
              <a:latin typeface="Arial"/>
              <a:cs typeface="Arial"/>
            </a:endParaRPr>
          </a:p>
          <a:p>
            <a:pPr marL="425450" marR="918210">
              <a:lnSpc>
                <a:spcPts val="2850"/>
              </a:lnSpc>
              <a:spcBef>
                <a:spcPts val="175"/>
              </a:spcBef>
            </a:pPr>
            <a:r>
              <a:rPr sz="1850" b="1" spc="125" dirty="0">
                <a:solidFill>
                  <a:srgbClr val="FFFFFF"/>
                </a:solidFill>
                <a:latin typeface="Arial"/>
                <a:cs typeface="Arial"/>
              </a:rPr>
              <a:t>Trabajo</a:t>
            </a:r>
            <a:r>
              <a:rPr sz="1850" b="1" spc="-5" dirty="0">
                <a:solidFill>
                  <a:srgbClr val="FFFFFF"/>
                </a:solidFill>
                <a:latin typeface="Arial"/>
                <a:cs typeface="Arial"/>
              </a:rPr>
              <a:t> </a:t>
            </a:r>
            <a:r>
              <a:rPr sz="1850" b="1" spc="110" dirty="0">
                <a:solidFill>
                  <a:srgbClr val="FFFFFF"/>
                </a:solidFill>
                <a:latin typeface="Arial"/>
                <a:cs typeface="Arial"/>
              </a:rPr>
              <a:t>de</a:t>
            </a:r>
            <a:r>
              <a:rPr sz="1850" b="1" spc="-5" dirty="0">
                <a:solidFill>
                  <a:srgbClr val="FFFFFF"/>
                </a:solidFill>
                <a:latin typeface="Arial"/>
                <a:cs typeface="Arial"/>
              </a:rPr>
              <a:t> </a:t>
            </a:r>
            <a:r>
              <a:rPr sz="1850" b="1" spc="114" dirty="0">
                <a:solidFill>
                  <a:srgbClr val="FFFFFF"/>
                </a:solidFill>
                <a:latin typeface="Arial"/>
                <a:cs typeface="Arial"/>
              </a:rPr>
              <a:t>Sernatur </a:t>
            </a:r>
            <a:r>
              <a:rPr sz="1850" b="1" spc="-20" dirty="0">
                <a:solidFill>
                  <a:srgbClr val="FFFFFF"/>
                </a:solidFill>
                <a:latin typeface="Arial"/>
                <a:cs typeface="Arial"/>
              </a:rPr>
              <a:t>MICE</a:t>
            </a:r>
            <a:endParaRPr sz="1850">
              <a:latin typeface="Arial"/>
              <a:cs typeface="Arial"/>
            </a:endParaRPr>
          </a:p>
          <a:p>
            <a:pPr>
              <a:lnSpc>
                <a:spcPct val="100000"/>
              </a:lnSpc>
              <a:spcBef>
                <a:spcPts val="40"/>
              </a:spcBef>
            </a:pPr>
            <a:endParaRPr sz="2450">
              <a:latin typeface="Arial"/>
              <a:cs typeface="Arial"/>
            </a:endParaRPr>
          </a:p>
          <a:p>
            <a:pPr marL="805180" marR="442595">
              <a:lnSpc>
                <a:spcPct val="128600"/>
              </a:lnSpc>
            </a:pPr>
            <a:r>
              <a:rPr sz="1750" b="1" dirty="0">
                <a:solidFill>
                  <a:srgbClr val="FFFFFF"/>
                </a:solidFill>
                <a:latin typeface="Roboto"/>
                <a:cs typeface="Roboto"/>
              </a:rPr>
              <a:t>Excelente</a:t>
            </a:r>
            <a:r>
              <a:rPr sz="1750" b="1" spc="-10" dirty="0">
                <a:solidFill>
                  <a:srgbClr val="FFFFFF"/>
                </a:solidFill>
                <a:latin typeface="Roboto"/>
                <a:cs typeface="Roboto"/>
              </a:rPr>
              <a:t> relación </a:t>
            </a:r>
            <a:r>
              <a:rPr sz="1750" b="1" dirty="0">
                <a:solidFill>
                  <a:srgbClr val="FFFFFF"/>
                </a:solidFill>
                <a:latin typeface="Roboto"/>
                <a:cs typeface="Roboto"/>
              </a:rPr>
              <a:t>profesional</a:t>
            </a:r>
            <a:r>
              <a:rPr sz="1750" b="1" spc="-40" dirty="0">
                <a:solidFill>
                  <a:srgbClr val="FFFFFF"/>
                </a:solidFill>
                <a:latin typeface="Roboto"/>
                <a:cs typeface="Roboto"/>
              </a:rPr>
              <a:t> </a:t>
            </a:r>
            <a:r>
              <a:rPr sz="1750" dirty="0">
                <a:solidFill>
                  <a:srgbClr val="FFFFFF"/>
                </a:solidFill>
                <a:latin typeface="Roboto"/>
                <a:cs typeface="Roboto"/>
              </a:rPr>
              <a:t>del</a:t>
            </a:r>
            <a:r>
              <a:rPr sz="1750" spc="-35" dirty="0">
                <a:solidFill>
                  <a:srgbClr val="FFFFFF"/>
                </a:solidFill>
                <a:latin typeface="Roboto"/>
                <a:cs typeface="Roboto"/>
              </a:rPr>
              <a:t> </a:t>
            </a:r>
            <a:r>
              <a:rPr sz="1750" dirty="0">
                <a:solidFill>
                  <a:srgbClr val="FFFFFF"/>
                </a:solidFill>
                <a:latin typeface="Roboto"/>
                <a:cs typeface="Roboto"/>
              </a:rPr>
              <a:t>sector</a:t>
            </a:r>
            <a:r>
              <a:rPr sz="1750" spc="-30" dirty="0">
                <a:solidFill>
                  <a:srgbClr val="FFFFFF"/>
                </a:solidFill>
                <a:latin typeface="Roboto"/>
                <a:cs typeface="Roboto"/>
              </a:rPr>
              <a:t> </a:t>
            </a:r>
            <a:r>
              <a:rPr sz="1750" spc="-25" dirty="0">
                <a:solidFill>
                  <a:srgbClr val="FFFFFF"/>
                </a:solidFill>
                <a:latin typeface="Roboto"/>
                <a:cs typeface="Roboto"/>
              </a:rPr>
              <a:t>con </a:t>
            </a:r>
            <a:r>
              <a:rPr sz="1750" dirty="0">
                <a:solidFill>
                  <a:srgbClr val="FFFFFF"/>
                </a:solidFill>
                <a:latin typeface="Roboto"/>
                <a:cs typeface="Roboto"/>
              </a:rPr>
              <a:t>el</a:t>
            </a:r>
            <a:r>
              <a:rPr sz="1750" spc="-40" dirty="0">
                <a:solidFill>
                  <a:srgbClr val="FFFFFF"/>
                </a:solidFill>
                <a:latin typeface="Roboto"/>
                <a:cs typeface="Roboto"/>
              </a:rPr>
              <a:t> </a:t>
            </a:r>
            <a:r>
              <a:rPr sz="1750" spc="-10" dirty="0">
                <a:solidFill>
                  <a:srgbClr val="FFFFFF"/>
                </a:solidFill>
                <a:latin typeface="Roboto"/>
                <a:cs typeface="Roboto"/>
              </a:rPr>
              <a:t>departamento</a:t>
            </a:r>
            <a:r>
              <a:rPr sz="1750" spc="-35" dirty="0">
                <a:solidFill>
                  <a:srgbClr val="FFFFFF"/>
                </a:solidFill>
                <a:latin typeface="Roboto"/>
                <a:cs typeface="Roboto"/>
              </a:rPr>
              <a:t> </a:t>
            </a:r>
            <a:r>
              <a:rPr sz="1750" dirty="0">
                <a:solidFill>
                  <a:srgbClr val="FFFFFF"/>
                </a:solidFill>
                <a:latin typeface="Roboto"/>
                <a:cs typeface="Roboto"/>
              </a:rPr>
              <a:t>MICE</a:t>
            </a:r>
            <a:r>
              <a:rPr sz="1750" spc="-35" dirty="0">
                <a:solidFill>
                  <a:srgbClr val="FFFFFF"/>
                </a:solidFill>
                <a:latin typeface="Roboto"/>
                <a:cs typeface="Roboto"/>
              </a:rPr>
              <a:t> </a:t>
            </a:r>
            <a:r>
              <a:rPr sz="1750" spc="-25" dirty="0">
                <a:solidFill>
                  <a:srgbClr val="FFFFFF"/>
                </a:solidFill>
                <a:latin typeface="Roboto"/>
                <a:cs typeface="Roboto"/>
              </a:rPr>
              <a:t>de </a:t>
            </a:r>
            <a:r>
              <a:rPr sz="1750" spc="-10" dirty="0">
                <a:solidFill>
                  <a:srgbClr val="FFFFFF"/>
                </a:solidFill>
                <a:latin typeface="Roboto"/>
                <a:cs typeface="Roboto"/>
              </a:rPr>
              <a:t>SERNATUR.</a:t>
            </a:r>
            <a:endParaRPr sz="1750">
              <a:latin typeface="Roboto"/>
              <a:cs typeface="Roboto"/>
            </a:endParaRPr>
          </a:p>
          <a:p>
            <a:pPr>
              <a:lnSpc>
                <a:spcPct val="100000"/>
              </a:lnSpc>
              <a:spcBef>
                <a:spcPts val="60"/>
              </a:spcBef>
            </a:pPr>
            <a:endParaRPr sz="2000">
              <a:latin typeface="Roboto"/>
              <a:cs typeface="Roboto"/>
            </a:endParaRPr>
          </a:p>
          <a:p>
            <a:pPr marL="805180" marR="396240">
              <a:lnSpc>
                <a:spcPct val="128600"/>
              </a:lnSpc>
            </a:pPr>
            <a:r>
              <a:rPr sz="1750" dirty="0">
                <a:solidFill>
                  <a:srgbClr val="FFFFFF"/>
                </a:solidFill>
                <a:latin typeface="Roboto"/>
                <a:cs typeface="Roboto"/>
              </a:rPr>
              <a:t>Gran</a:t>
            </a:r>
            <a:r>
              <a:rPr sz="1750" spc="-50" dirty="0">
                <a:solidFill>
                  <a:srgbClr val="FFFFFF"/>
                </a:solidFill>
                <a:latin typeface="Roboto"/>
                <a:cs typeface="Roboto"/>
              </a:rPr>
              <a:t> </a:t>
            </a:r>
            <a:r>
              <a:rPr sz="1750" dirty="0">
                <a:solidFill>
                  <a:srgbClr val="FFFFFF"/>
                </a:solidFill>
                <a:latin typeface="Roboto"/>
                <a:cs typeface="Roboto"/>
              </a:rPr>
              <a:t>éxito</a:t>
            </a:r>
            <a:r>
              <a:rPr sz="1750" spc="-50" dirty="0">
                <a:solidFill>
                  <a:srgbClr val="FFFFFF"/>
                </a:solidFill>
                <a:latin typeface="Roboto"/>
                <a:cs typeface="Roboto"/>
              </a:rPr>
              <a:t> </a:t>
            </a:r>
            <a:r>
              <a:rPr sz="1750" dirty="0">
                <a:solidFill>
                  <a:srgbClr val="FFFFFF"/>
                </a:solidFill>
                <a:latin typeface="Roboto"/>
                <a:cs typeface="Roboto"/>
              </a:rPr>
              <a:t>en</a:t>
            </a:r>
            <a:r>
              <a:rPr sz="1750" spc="-50" dirty="0">
                <a:solidFill>
                  <a:srgbClr val="FFFFFF"/>
                </a:solidFill>
                <a:latin typeface="Roboto"/>
                <a:cs typeface="Roboto"/>
              </a:rPr>
              <a:t> </a:t>
            </a:r>
            <a:r>
              <a:rPr sz="1750" spc="-10" dirty="0">
                <a:solidFill>
                  <a:srgbClr val="FFFFFF"/>
                </a:solidFill>
                <a:latin typeface="Roboto"/>
                <a:cs typeface="Roboto"/>
              </a:rPr>
              <a:t>captación</a:t>
            </a:r>
            <a:r>
              <a:rPr sz="1750" spc="-50" dirty="0">
                <a:solidFill>
                  <a:srgbClr val="FFFFFF"/>
                </a:solidFill>
                <a:latin typeface="Roboto"/>
                <a:cs typeface="Roboto"/>
              </a:rPr>
              <a:t> </a:t>
            </a:r>
            <a:r>
              <a:rPr sz="1750" spc="-25" dirty="0">
                <a:solidFill>
                  <a:srgbClr val="FFFFFF"/>
                </a:solidFill>
                <a:latin typeface="Roboto"/>
                <a:cs typeface="Roboto"/>
              </a:rPr>
              <a:t>de </a:t>
            </a:r>
            <a:r>
              <a:rPr sz="1750" dirty="0">
                <a:solidFill>
                  <a:srgbClr val="FFFFFF"/>
                </a:solidFill>
                <a:latin typeface="Roboto"/>
                <a:cs typeface="Roboto"/>
              </a:rPr>
              <a:t>congresos</a:t>
            </a:r>
            <a:r>
              <a:rPr sz="1750" spc="-95" dirty="0">
                <a:solidFill>
                  <a:srgbClr val="FFFFFF"/>
                </a:solidFill>
                <a:latin typeface="Roboto"/>
                <a:cs typeface="Roboto"/>
              </a:rPr>
              <a:t> </a:t>
            </a:r>
            <a:r>
              <a:rPr sz="1750" spc="-10" dirty="0">
                <a:solidFill>
                  <a:srgbClr val="FFFFFF"/>
                </a:solidFill>
                <a:latin typeface="Roboto"/>
                <a:cs typeface="Roboto"/>
              </a:rPr>
              <a:t>internacionales </a:t>
            </a:r>
            <a:r>
              <a:rPr sz="1750" dirty="0">
                <a:solidFill>
                  <a:srgbClr val="FFFFFF"/>
                </a:solidFill>
                <a:latin typeface="Roboto"/>
                <a:cs typeface="Roboto"/>
              </a:rPr>
              <a:t>con</a:t>
            </a:r>
            <a:r>
              <a:rPr sz="1750" spc="-15" dirty="0">
                <a:solidFill>
                  <a:srgbClr val="FFFFFF"/>
                </a:solidFill>
                <a:latin typeface="Roboto"/>
                <a:cs typeface="Roboto"/>
              </a:rPr>
              <a:t> </a:t>
            </a:r>
            <a:r>
              <a:rPr sz="1750" b="1" dirty="0">
                <a:solidFill>
                  <a:srgbClr val="FFFFFF"/>
                </a:solidFill>
                <a:latin typeface="Roboto"/>
                <a:cs typeface="Roboto"/>
              </a:rPr>
              <a:t>Programa</a:t>
            </a:r>
            <a:r>
              <a:rPr sz="1750" b="1" spc="-10" dirty="0">
                <a:solidFill>
                  <a:srgbClr val="FFFFFF"/>
                </a:solidFill>
                <a:latin typeface="Roboto"/>
                <a:cs typeface="Roboto"/>
              </a:rPr>
              <a:t> </a:t>
            </a:r>
            <a:r>
              <a:rPr sz="1750" b="1" spc="-25" dirty="0">
                <a:solidFill>
                  <a:srgbClr val="FFFFFF"/>
                </a:solidFill>
                <a:latin typeface="Roboto"/>
                <a:cs typeface="Roboto"/>
              </a:rPr>
              <a:t>de </a:t>
            </a:r>
            <a:r>
              <a:rPr sz="1750" b="1" spc="-10" dirty="0">
                <a:solidFill>
                  <a:srgbClr val="FFFFFF"/>
                </a:solidFill>
                <a:latin typeface="Roboto"/>
                <a:cs typeface="Roboto"/>
              </a:rPr>
              <a:t>Embajadores.</a:t>
            </a:r>
            <a:endParaRPr sz="1750">
              <a:latin typeface="Roboto"/>
              <a:cs typeface="Roboto"/>
            </a:endParaRPr>
          </a:p>
        </p:txBody>
      </p:sp>
      <p:pic>
        <p:nvPicPr>
          <p:cNvPr id="38" name="object 38"/>
          <p:cNvPicPr/>
          <p:nvPr/>
        </p:nvPicPr>
        <p:blipFill>
          <a:blip r:embed="rId10" cstate="print"/>
          <a:stretch>
            <a:fillRect/>
          </a:stretch>
        </p:blipFill>
        <p:spPr>
          <a:xfrm>
            <a:off x="17316450" y="237491"/>
            <a:ext cx="742949" cy="819149"/>
          </a:xfrm>
          <a:prstGeom prst="rect">
            <a:avLst/>
          </a:prstGeom>
        </p:spPr>
      </p:pic>
      <p:sp>
        <p:nvSpPr>
          <p:cNvPr id="39" name="object 39"/>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40" name="object 40"/>
          <p:cNvSpPr txBox="1"/>
          <p:nvPr/>
        </p:nvSpPr>
        <p:spPr>
          <a:xfrm>
            <a:off x="17811802" y="9932972"/>
            <a:ext cx="218440"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2</a:t>
            </a:r>
            <a:endParaRPr sz="900">
              <a:latin typeface="Arial"/>
              <a:cs typeface="Aria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32"/>
            <a:ext cx="17954625" cy="9604375"/>
            <a:chOff x="166956" y="184832"/>
            <a:chExt cx="17954625" cy="9604375"/>
          </a:xfrm>
        </p:grpSpPr>
        <p:sp>
          <p:nvSpPr>
            <p:cNvPr id="3" name="object 3"/>
            <p:cNvSpPr/>
            <p:nvPr/>
          </p:nvSpPr>
          <p:spPr>
            <a:xfrm>
              <a:off x="166956" y="1113693"/>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sp>
          <p:nvSpPr>
            <p:cNvPr id="5" name="object 5"/>
            <p:cNvSpPr/>
            <p:nvPr/>
          </p:nvSpPr>
          <p:spPr>
            <a:xfrm>
              <a:off x="1240732" y="1996953"/>
              <a:ext cx="16757015" cy="2664460"/>
            </a:xfrm>
            <a:custGeom>
              <a:avLst/>
              <a:gdLst/>
              <a:ahLst/>
              <a:cxnLst/>
              <a:rect l="l" t="t" r="r" b="b"/>
              <a:pathLst>
                <a:path w="16757015" h="2664460">
                  <a:moveTo>
                    <a:pt x="16756753" y="2664441"/>
                  </a:moveTo>
                  <a:lnTo>
                    <a:pt x="0" y="2664441"/>
                  </a:lnTo>
                  <a:lnTo>
                    <a:pt x="8378376" y="0"/>
                  </a:lnTo>
                  <a:lnTo>
                    <a:pt x="16756753" y="2664441"/>
                  </a:lnTo>
                  <a:close/>
                </a:path>
              </a:pathLst>
            </a:custGeom>
            <a:solidFill>
              <a:srgbClr val="0090AE"/>
            </a:solidFill>
          </p:spPr>
          <p:txBody>
            <a:bodyPr wrap="square" lIns="0" tIns="0" rIns="0" bIns="0" rtlCol="0"/>
            <a:lstStyle/>
            <a:p>
              <a:endParaRPr/>
            </a:p>
          </p:txBody>
        </p:sp>
        <p:sp>
          <p:nvSpPr>
            <p:cNvPr id="6" name="object 6"/>
            <p:cNvSpPr/>
            <p:nvPr/>
          </p:nvSpPr>
          <p:spPr>
            <a:xfrm>
              <a:off x="4960817" y="1996953"/>
              <a:ext cx="9353550" cy="1488440"/>
            </a:xfrm>
            <a:custGeom>
              <a:avLst/>
              <a:gdLst/>
              <a:ahLst/>
              <a:cxnLst/>
              <a:rect l="l" t="t" r="r" b="b"/>
              <a:pathLst>
                <a:path w="9353550" h="1488439">
                  <a:moveTo>
                    <a:pt x="9353066" y="1488236"/>
                  </a:moveTo>
                  <a:lnTo>
                    <a:pt x="0" y="1488236"/>
                  </a:lnTo>
                  <a:lnTo>
                    <a:pt x="4676532" y="0"/>
                  </a:lnTo>
                  <a:lnTo>
                    <a:pt x="9353066" y="1488236"/>
                  </a:lnTo>
                  <a:close/>
                </a:path>
              </a:pathLst>
            </a:custGeom>
            <a:solidFill>
              <a:srgbClr val="21408B"/>
            </a:solidFill>
          </p:spPr>
          <p:txBody>
            <a:bodyPr wrap="square" lIns="0" tIns="0" rIns="0" bIns="0" rtlCol="0"/>
            <a:lstStyle/>
            <a:p>
              <a:endParaRPr/>
            </a:p>
          </p:txBody>
        </p:sp>
        <p:sp>
          <p:nvSpPr>
            <p:cNvPr id="7" name="object 7"/>
            <p:cNvSpPr/>
            <p:nvPr/>
          </p:nvSpPr>
          <p:spPr>
            <a:xfrm>
              <a:off x="1239900" y="4671433"/>
              <a:ext cx="16757015" cy="4830445"/>
            </a:xfrm>
            <a:custGeom>
              <a:avLst/>
              <a:gdLst/>
              <a:ahLst/>
              <a:cxnLst/>
              <a:rect l="l" t="t" r="r" b="b"/>
              <a:pathLst>
                <a:path w="16757015" h="4830445">
                  <a:moveTo>
                    <a:pt x="16756558" y="4830067"/>
                  </a:moveTo>
                  <a:lnTo>
                    <a:pt x="0" y="4830067"/>
                  </a:lnTo>
                  <a:lnTo>
                    <a:pt x="0" y="0"/>
                  </a:lnTo>
                  <a:lnTo>
                    <a:pt x="16756558" y="0"/>
                  </a:lnTo>
                  <a:lnTo>
                    <a:pt x="16756558" y="4830067"/>
                  </a:lnTo>
                  <a:close/>
                </a:path>
              </a:pathLst>
            </a:custGeom>
            <a:solidFill>
              <a:srgbClr val="FFFFFF"/>
            </a:solidFill>
          </p:spPr>
          <p:txBody>
            <a:bodyPr wrap="square" lIns="0" tIns="0" rIns="0" bIns="0" rtlCol="0"/>
            <a:lstStyle/>
            <a:p>
              <a:endParaRPr/>
            </a:p>
          </p:txBody>
        </p:sp>
        <p:sp>
          <p:nvSpPr>
            <p:cNvPr id="8" name="object 8"/>
            <p:cNvSpPr/>
            <p:nvPr/>
          </p:nvSpPr>
          <p:spPr>
            <a:xfrm>
              <a:off x="1935935" y="4119882"/>
              <a:ext cx="3247390" cy="1083945"/>
            </a:xfrm>
            <a:custGeom>
              <a:avLst/>
              <a:gdLst/>
              <a:ahLst/>
              <a:cxnLst/>
              <a:rect l="l" t="t" r="r" b="b"/>
              <a:pathLst>
                <a:path w="3247390" h="1083945">
                  <a:moveTo>
                    <a:pt x="2764917" y="1083556"/>
                  </a:moveTo>
                  <a:lnTo>
                    <a:pt x="485774" y="1083556"/>
                  </a:lnTo>
                  <a:lnTo>
                    <a:pt x="437762" y="1081179"/>
                  </a:lnTo>
                  <a:lnTo>
                    <a:pt x="390562" y="1074135"/>
                  </a:lnTo>
                  <a:lnTo>
                    <a:pt x="344494" y="1062558"/>
                  </a:lnTo>
                  <a:lnTo>
                    <a:pt x="299876" y="1046578"/>
                  </a:lnTo>
                  <a:lnTo>
                    <a:pt x="257028" y="1026328"/>
                  </a:lnTo>
                  <a:lnTo>
                    <a:pt x="216266" y="1001940"/>
                  </a:lnTo>
                  <a:lnTo>
                    <a:pt x="177911" y="973545"/>
                  </a:lnTo>
                  <a:lnTo>
                    <a:pt x="142280" y="941276"/>
                  </a:lnTo>
                  <a:lnTo>
                    <a:pt x="110010" y="905645"/>
                  </a:lnTo>
                  <a:lnTo>
                    <a:pt x="81615" y="867289"/>
                  </a:lnTo>
                  <a:lnTo>
                    <a:pt x="57227" y="826528"/>
                  </a:lnTo>
                  <a:lnTo>
                    <a:pt x="36977" y="783679"/>
                  </a:lnTo>
                  <a:lnTo>
                    <a:pt x="20997" y="739061"/>
                  </a:lnTo>
                  <a:lnTo>
                    <a:pt x="9420" y="692993"/>
                  </a:lnTo>
                  <a:lnTo>
                    <a:pt x="2377" y="645794"/>
                  </a:lnTo>
                  <a:lnTo>
                    <a:pt x="0" y="597781"/>
                  </a:lnTo>
                  <a:lnTo>
                    <a:pt x="0" y="485774"/>
                  </a:lnTo>
                  <a:lnTo>
                    <a:pt x="2377" y="437762"/>
                  </a:lnTo>
                  <a:lnTo>
                    <a:pt x="9420" y="390562"/>
                  </a:lnTo>
                  <a:lnTo>
                    <a:pt x="20997" y="344494"/>
                  </a:lnTo>
                  <a:lnTo>
                    <a:pt x="36977" y="299876"/>
                  </a:lnTo>
                  <a:lnTo>
                    <a:pt x="57227" y="257028"/>
                  </a:lnTo>
                  <a:lnTo>
                    <a:pt x="81615" y="216266"/>
                  </a:lnTo>
                  <a:lnTo>
                    <a:pt x="110010" y="177911"/>
                  </a:lnTo>
                  <a:lnTo>
                    <a:pt x="142280" y="142280"/>
                  </a:lnTo>
                  <a:lnTo>
                    <a:pt x="177911" y="110010"/>
                  </a:lnTo>
                  <a:lnTo>
                    <a:pt x="216266" y="81615"/>
                  </a:lnTo>
                  <a:lnTo>
                    <a:pt x="257028" y="57227"/>
                  </a:lnTo>
                  <a:lnTo>
                    <a:pt x="299876" y="36977"/>
                  </a:lnTo>
                  <a:lnTo>
                    <a:pt x="344494" y="20997"/>
                  </a:lnTo>
                  <a:lnTo>
                    <a:pt x="390562" y="9420"/>
                  </a:lnTo>
                  <a:lnTo>
                    <a:pt x="437762" y="2377"/>
                  </a:lnTo>
                  <a:lnTo>
                    <a:pt x="485774" y="0"/>
                  </a:lnTo>
                  <a:lnTo>
                    <a:pt x="2764917" y="0"/>
                  </a:lnTo>
                  <a:lnTo>
                    <a:pt x="2812930" y="2377"/>
                  </a:lnTo>
                  <a:lnTo>
                    <a:pt x="2860130" y="9420"/>
                  </a:lnTo>
                  <a:lnTo>
                    <a:pt x="2906198" y="20997"/>
                  </a:lnTo>
                  <a:lnTo>
                    <a:pt x="2950815" y="36977"/>
                  </a:lnTo>
                  <a:lnTo>
                    <a:pt x="2993664" y="57227"/>
                  </a:lnTo>
                  <a:lnTo>
                    <a:pt x="3034425" y="81615"/>
                  </a:lnTo>
                  <a:lnTo>
                    <a:pt x="3072781" y="110010"/>
                  </a:lnTo>
                  <a:lnTo>
                    <a:pt x="3108412" y="142280"/>
                  </a:lnTo>
                  <a:lnTo>
                    <a:pt x="3140681" y="177911"/>
                  </a:lnTo>
                  <a:lnTo>
                    <a:pt x="3169076" y="216266"/>
                  </a:lnTo>
                  <a:lnTo>
                    <a:pt x="3193465" y="257028"/>
                  </a:lnTo>
                  <a:lnTo>
                    <a:pt x="3213715" y="299876"/>
                  </a:lnTo>
                  <a:lnTo>
                    <a:pt x="3229695" y="344494"/>
                  </a:lnTo>
                  <a:lnTo>
                    <a:pt x="3241272" y="390562"/>
                  </a:lnTo>
                  <a:lnTo>
                    <a:pt x="3246834" y="427832"/>
                  </a:lnTo>
                  <a:lnTo>
                    <a:pt x="3246834" y="655723"/>
                  </a:lnTo>
                  <a:lnTo>
                    <a:pt x="3229695" y="739061"/>
                  </a:lnTo>
                  <a:lnTo>
                    <a:pt x="3213715" y="783679"/>
                  </a:lnTo>
                  <a:lnTo>
                    <a:pt x="3193465" y="826528"/>
                  </a:lnTo>
                  <a:lnTo>
                    <a:pt x="3169076" y="867289"/>
                  </a:lnTo>
                  <a:lnTo>
                    <a:pt x="3140681" y="905645"/>
                  </a:lnTo>
                  <a:lnTo>
                    <a:pt x="3108412" y="941276"/>
                  </a:lnTo>
                  <a:lnTo>
                    <a:pt x="3072781" y="973545"/>
                  </a:lnTo>
                  <a:lnTo>
                    <a:pt x="3034425" y="1001940"/>
                  </a:lnTo>
                  <a:lnTo>
                    <a:pt x="2993664" y="1026328"/>
                  </a:lnTo>
                  <a:lnTo>
                    <a:pt x="2950815" y="1046578"/>
                  </a:lnTo>
                  <a:lnTo>
                    <a:pt x="2906198" y="1062558"/>
                  </a:lnTo>
                  <a:lnTo>
                    <a:pt x="2860130" y="1074135"/>
                  </a:lnTo>
                  <a:lnTo>
                    <a:pt x="2812930" y="1081179"/>
                  </a:lnTo>
                  <a:lnTo>
                    <a:pt x="2764917" y="1083556"/>
                  </a:lnTo>
                  <a:close/>
                </a:path>
              </a:pathLst>
            </a:custGeom>
            <a:solidFill>
              <a:srgbClr val="21408B"/>
            </a:solidFill>
          </p:spPr>
          <p:txBody>
            <a:bodyPr wrap="square" lIns="0" tIns="0" rIns="0" bIns="0" rtlCol="0"/>
            <a:lstStyle/>
            <a:p>
              <a:endParaRPr/>
            </a:p>
          </p:txBody>
        </p:sp>
        <p:sp>
          <p:nvSpPr>
            <p:cNvPr id="9" name="object 9"/>
            <p:cNvSpPr/>
            <p:nvPr/>
          </p:nvSpPr>
          <p:spPr>
            <a:xfrm>
              <a:off x="3262904" y="3766222"/>
              <a:ext cx="539750" cy="539750"/>
            </a:xfrm>
            <a:custGeom>
              <a:avLst/>
              <a:gdLst/>
              <a:ahLst/>
              <a:cxnLst/>
              <a:rect l="l" t="t" r="r" b="b"/>
              <a:pathLst>
                <a:path w="539750" h="539750">
                  <a:moveTo>
                    <a:pt x="269803" y="539602"/>
                  </a:moveTo>
                  <a:lnTo>
                    <a:pt x="221304" y="535256"/>
                  </a:lnTo>
                  <a:lnTo>
                    <a:pt x="175659" y="522723"/>
                  </a:lnTo>
                  <a:lnTo>
                    <a:pt x="133627" y="502767"/>
                  </a:lnTo>
                  <a:lnTo>
                    <a:pt x="95971" y="476149"/>
                  </a:lnTo>
                  <a:lnTo>
                    <a:pt x="63454" y="443631"/>
                  </a:lnTo>
                  <a:lnTo>
                    <a:pt x="36835" y="405975"/>
                  </a:lnTo>
                  <a:lnTo>
                    <a:pt x="16879" y="363944"/>
                  </a:lnTo>
                  <a:lnTo>
                    <a:pt x="4346" y="318298"/>
                  </a:lnTo>
                  <a:lnTo>
                    <a:pt x="0" y="269801"/>
                  </a:lnTo>
                  <a:lnTo>
                    <a:pt x="4346" y="221304"/>
                  </a:lnTo>
                  <a:lnTo>
                    <a:pt x="16879" y="175659"/>
                  </a:lnTo>
                  <a:lnTo>
                    <a:pt x="36835" y="133627"/>
                  </a:lnTo>
                  <a:lnTo>
                    <a:pt x="63454" y="95971"/>
                  </a:lnTo>
                  <a:lnTo>
                    <a:pt x="95971" y="63454"/>
                  </a:lnTo>
                  <a:lnTo>
                    <a:pt x="133627" y="36835"/>
                  </a:lnTo>
                  <a:lnTo>
                    <a:pt x="175659" y="16879"/>
                  </a:lnTo>
                  <a:lnTo>
                    <a:pt x="221304" y="4346"/>
                  </a:lnTo>
                  <a:lnTo>
                    <a:pt x="269801" y="0"/>
                  </a:lnTo>
                  <a:lnTo>
                    <a:pt x="318298" y="4346"/>
                  </a:lnTo>
                  <a:lnTo>
                    <a:pt x="363944" y="16879"/>
                  </a:lnTo>
                  <a:lnTo>
                    <a:pt x="405975" y="36835"/>
                  </a:lnTo>
                  <a:lnTo>
                    <a:pt x="443631" y="63454"/>
                  </a:lnTo>
                  <a:lnTo>
                    <a:pt x="476149" y="95971"/>
                  </a:lnTo>
                  <a:lnTo>
                    <a:pt x="502767" y="133627"/>
                  </a:lnTo>
                  <a:lnTo>
                    <a:pt x="522723" y="175659"/>
                  </a:lnTo>
                  <a:lnTo>
                    <a:pt x="535256" y="221304"/>
                  </a:lnTo>
                  <a:lnTo>
                    <a:pt x="539603" y="269801"/>
                  </a:lnTo>
                  <a:lnTo>
                    <a:pt x="535256" y="318298"/>
                  </a:lnTo>
                  <a:lnTo>
                    <a:pt x="522723" y="363944"/>
                  </a:lnTo>
                  <a:lnTo>
                    <a:pt x="502767" y="405975"/>
                  </a:lnTo>
                  <a:lnTo>
                    <a:pt x="476149" y="443631"/>
                  </a:lnTo>
                  <a:lnTo>
                    <a:pt x="443631" y="476149"/>
                  </a:lnTo>
                  <a:lnTo>
                    <a:pt x="405975" y="502767"/>
                  </a:lnTo>
                  <a:lnTo>
                    <a:pt x="363944" y="522723"/>
                  </a:lnTo>
                  <a:lnTo>
                    <a:pt x="318298" y="535256"/>
                  </a:lnTo>
                  <a:lnTo>
                    <a:pt x="269803" y="539602"/>
                  </a:lnTo>
                  <a:close/>
                </a:path>
              </a:pathLst>
            </a:custGeom>
            <a:solidFill>
              <a:srgbClr val="FFFFFF"/>
            </a:solidFill>
          </p:spPr>
          <p:txBody>
            <a:bodyPr wrap="square" lIns="0" tIns="0" rIns="0" bIns="0" rtlCol="0"/>
            <a:lstStyle/>
            <a:p>
              <a:endParaRPr/>
            </a:p>
          </p:txBody>
        </p:sp>
        <p:sp>
          <p:nvSpPr>
            <p:cNvPr id="10" name="object 10"/>
            <p:cNvSpPr/>
            <p:nvPr/>
          </p:nvSpPr>
          <p:spPr>
            <a:xfrm>
              <a:off x="3364636" y="3845546"/>
              <a:ext cx="333375" cy="379730"/>
            </a:xfrm>
            <a:custGeom>
              <a:avLst/>
              <a:gdLst/>
              <a:ahLst/>
              <a:cxnLst/>
              <a:rect l="l" t="t" r="r" b="b"/>
              <a:pathLst>
                <a:path w="333375" h="379729">
                  <a:moveTo>
                    <a:pt x="4483" y="313651"/>
                  </a:moveTo>
                  <a:lnTo>
                    <a:pt x="4279" y="313867"/>
                  </a:lnTo>
                  <a:lnTo>
                    <a:pt x="3886" y="314325"/>
                  </a:lnTo>
                  <a:lnTo>
                    <a:pt x="4013" y="314566"/>
                  </a:lnTo>
                  <a:lnTo>
                    <a:pt x="4381" y="314566"/>
                  </a:lnTo>
                  <a:lnTo>
                    <a:pt x="4457" y="314134"/>
                  </a:lnTo>
                  <a:lnTo>
                    <a:pt x="4483" y="313651"/>
                  </a:lnTo>
                  <a:close/>
                </a:path>
                <a:path w="333375" h="379729">
                  <a:moveTo>
                    <a:pt x="9690" y="230314"/>
                  </a:moveTo>
                  <a:lnTo>
                    <a:pt x="9652" y="230124"/>
                  </a:lnTo>
                  <a:lnTo>
                    <a:pt x="9436" y="229920"/>
                  </a:lnTo>
                  <a:lnTo>
                    <a:pt x="9309" y="230009"/>
                  </a:lnTo>
                  <a:lnTo>
                    <a:pt x="9245" y="230187"/>
                  </a:lnTo>
                  <a:lnTo>
                    <a:pt x="9296" y="230327"/>
                  </a:lnTo>
                  <a:lnTo>
                    <a:pt x="9321" y="230492"/>
                  </a:lnTo>
                  <a:lnTo>
                    <a:pt x="9550" y="230733"/>
                  </a:lnTo>
                  <a:lnTo>
                    <a:pt x="9690" y="230670"/>
                  </a:lnTo>
                  <a:lnTo>
                    <a:pt x="9690" y="230454"/>
                  </a:lnTo>
                  <a:lnTo>
                    <a:pt x="9690" y="230314"/>
                  </a:lnTo>
                  <a:close/>
                </a:path>
                <a:path w="333375" h="379729">
                  <a:moveTo>
                    <a:pt x="23914" y="371017"/>
                  </a:moveTo>
                  <a:lnTo>
                    <a:pt x="23812" y="370611"/>
                  </a:lnTo>
                  <a:lnTo>
                    <a:pt x="23685" y="370700"/>
                  </a:lnTo>
                  <a:lnTo>
                    <a:pt x="23774" y="371094"/>
                  </a:lnTo>
                  <a:lnTo>
                    <a:pt x="23914" y="371017"/>
                  </a:lnTo>
                  <a:close/>
                </a:path>
                <a:path w="333375" h="379729">
                  <a:moveTo>
                    <a:pt x="38735" y="223278"/>
                  </a:moveTo>
                  <a:lnTo>
                    <a:pt x="38696" y="222948"/>
                  </a:lnTo>
                  <a:lnTo>
                    <a:pt x="38544" y="222885"/>
                  </a:lnTo>
                  <a:lnTo>
                    <a:pt x="38328" y="223062"/>
                  </a:lnTo>
                  <a:lnTo>
                    <a:pt x="38227" y="223266"/>
                  </a:lnTo>
                  <a:lnTo>
                    <a:pt x="38150" y="223685"/>
                  </a:lnTo>
                  <a:lnTo>
                    <a:pt x="38290" y="223951"/>
                  </a:lnTo>
                  <a:lnTo>
                    <a:pt x="38557" y="223761"/>
                  </a:lnTo>
                  <a:lnTo>
                    <a:pt x="38646" y="223469"/>
                  </a:lnTo>
                  <a:lnTo>
                    <a:pt x="38735" y="223278"/>
                  </a:lnTo>
                  <a:close/>
                </a:path>
                <a:path w="333375" h="379729">
                  <a:moveTo>
                    <a:pt x="41998" y="222084"/>
                  </a:moveTo>
                  <a:lnTo>
                    <a:pt x="41884" y="221488"/>
                  </a:lnTo>
                  <a:lnTo>
                    <a:pt x="41795" y="221297"/>
                  </a:lnTo>
                  <a:lnTo>
                    <a:pt x="41567" y="220941"/>
                  </a:lnTo>
                  <a:lnTo>
                    <a:pt x="41427" y="220980"/>
                  </a:lnTo>
                  <a:lnTo>
                    <a:pt x="41122" y="222224"/>
                  </a:lnTo>
                  <a:lnTo>
                    <a:pt x="40805" y="223139"/>
                  </a:lnTo>
                  <a:lnTo>
                    <a:pt x="40322" y="224180"/>
                  </a:lnTo>
                  <a:lnTo>
                    <a:pt x="40297" y="224370"/>
                  </a:lnTo>
                  <a:lnTo>
                    <a:pt x="40500" y="224434"/>
                  </a:lnTo>
                  <a:lnTo>
                    <a:pt x="40741" y="224447"/>
                  </a:lnTo>
                  <a:lnTo>
                    <a:pt x="41998" y="222084"/>
                  </a:lnTo>
                  <a:close/>
                </a:path>
                <a:path w="333375" h="379729">
                  <a:moveTo>
                    <a:pt x="44716" y="229870"/>
                  </a:moveTo>
                  <a:lnTo>
                    <a:pt x="43840" y="228600"/>
                  </a:lnTo>
                  <a:lnTo>
                    <a:pt x="42506" y="227330"/>
                  </a:lnTo>
                  <a:lnTo>
                    <a:pt x="41275" y="228600"/>
                  </a:lnTo>
                  <a:lnTo>
                    <a:pt x="40982" y="228600"/>
                  </a:lnTo>
                  <a:lnTo>
                    <a:pt x="40716" y="229870"/>
                  </a:lnTo>
                  <a:lnTo>
                    <a:pt x="40551" y="228600"/>
                  </a:lnTo>
                  <a:lnTo>
                    <a:pt x="40170" y="228600"/>
                  </a:lnTo>
                  <a:lnTo>
                    <a:pt x="40640" y="227330"/>
                  </a:lnTo>
                  <a:lnTo>
                    <a:pt x="40957" y="227330"/>
                  </a:lnTo>
                  <a:lnTo>
                    <a:pt x="40932" y="226060"/>
                  </a:lnTo>
                  <a:lnTo>
                    <a:pt x="41021" y="224790"/>
                  </a:lnTo>
                  <a:lnTo>
                    <a:pt x="39814" y="226060"/>
                  </a:lnTo>
                  <a:lnTo>
                    <a:pt x="39814" y="231140"/>
                  </a:lnTo>
                  <a:lnTo>
                    <a:pt x="39420" y="231140"/>
                  </a:lnTo>
                  <a:lnTo>
                    <a:pt x="39293" y="229870"/>
                  </a:lnTo>
                  <a:lnTo>
                    <a:pt x="39585"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80" y="220980"/>
                  </a:lnTo>
                  <a:lnTo>
                    <a:pt x="37325" y="219710"/>
                  </a:lnTo>
                  <a:lnTo>
                    <a:pt x="37592" y="219710"/>
                  </a:lnTo>
                  <a:lnTo>
                    <a:pt x="38163" y="220980"/>
                  </a:lnTo>
                  <a:lnTo>
                    <a:pt x="38849" y="220980"/>
                  </a:lnTo>
                  <a:lnTo>
                    <a:pt x="39776" y="222250"/>
                  </a:lnTo>
                  <a:lnTo>
                    <a:pt x="40271" y="222250"/>
                  </a:lnTo>
                  <a:lnTo>
                    <a:pt x="40944" y="220980"/>
                  </a:lnTo>
                  <a:lnTo>
                    <a:pt x="40220" y="220980"/>
                  </a:lnTo>
                  <a:lnTo>
                    <a:pt x="39700" y="219710"/>
                  </a:lnTo>
                  <a:lnTo>
                    <a:pt x="38176" y="219710"/>
                  </a:lnTo>
                  <a:lnTo>
                    <a:pt x="38265" y="218440"/>
                  </a:lnTo>
                  <a:lnTo>
                    <a:pt x="38633" y="217170"/>
                  </a:lnTo>
                  <a:lnTo>
                    <a:pt x="39001" y="215900"/>
                  </a:lnTo>
                  <a:lnTo>
                    <a:pt x="38735" y="214630"/>
                  </a:lnTo>
                  <a:lnTo>
                    <a:pt x="37223" y="214630"/>
                  </a:lnTo>
                  <a:lnTo>
                    <a:pt x="36715" y="213360"/>
                  </a:lnTo>
                  <a:lnTo>
                    <a:pt x="36309" y="212090"/>
                  </a:lnTo>
                  <a:lnTo>
                    <a:pt x="35471" y="213360"/>
                  </a:lnTo>
                  <a:lnTo>
                    <a:pt x="35242" y="213360"/>
                  </a:lnTo>
                  <a:lnTo>
                    <a:pt x="35407"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63" y="213360"/>
                  </a:lnTo>
                  <a:lnTo>
                    <a:pt x="33832" y="213360"/>
                  </a:lnTo>
                  <a:lnTo>
                    <a:pt x="33832" y="226060"/>
                  </a:lnTo>
                  <a:lnTo>
                    <a:pt x="33388" y="226060"/>
                  </a:lnTo>
                  <a:lnTo>
                    <a:pt x="33172" y="224790"/>
                  </a:lnTo>
                  <a:lnTo>
                    <a:pt x="31496" y="224790"/>
                  </a:lnTo>
                  <a:lnTo>
                    <a:pt x="31229" y="223520"/>
                  </a:lnTo>
                  <a:lnTo>
                    <a:pt x="32118" y="223520"/>
                  </a:lnTo>
                  <a:lnTo>
                    <a:pt x="32550" y="222250"/>
                  </a:lnTo>
                  <a:lnTo>
                    <a:pt x="32981" y="223520"/>
                  </a:lnTo>
                  <a:lnTo>
                    <a:pt x="33464" y="223520"/>
                  </a:lnTo>
                  <a:lnTo>
                    <a:pt x="33604" y="224790"/>
                  </a:lnTo>
                  <a:lnTo>
                    <a:pt x="33832" y="226060"/>
                  </a:lnTo>
                  <a:lnTo>
                    <a:pt x="33832" y="213360"/>
                  </a:lnTo>
                  <a:lnTo>
                    <a:pt x="32778" y="213360"/>
                  </a:lnTo>
                  <a:lnTo>
                    <a:pt x="32054" y="214630"/>
                  </a:lnTo>
                  <a:lnTo>
                    <a:pt x="30010" y="214630"/>
                  </a:lnTo>
                  <a:lnTo>
                    <a:pt x="29794" y="213360"/>
                  </a:lnTo>
                  <a:lnTo>
                    <a:pt x="29222" y="213360"/>
                  </a:lnTo>
                  <a:lnTo>
                    <a:pt x="28613" y="212090"/>
                  </a:lnTo>
                  <a:lnTo>
                    <a:pt x="27355" y="213360"/>
                  </a:lnTo>
                  <a:lnTo>
                    <a:pt x="27038" y="213360"/>
                  </a:lnTo>
                  <a:lnTo>
                    <a:pt x="27292" y="214630"/>
                  </a:lnTo>
                  <a:lnTo>
                    <a:pt x="27762" y="215900"/>
                  </a:lnTo>
                  <a:lnTo>
                    <a:pt x="27152" y="215900"/>
                  </a:lnTo>
                  <a:lnTo>
                    <a:pt x="27038" y="217170"/>
                  </a:lnTo>
                  <a:lnTo>
                    <a:pt x="26263" y="217170"/>
                  </a:lnTo>
                  <a:lnTo>
                    <a:pt x="26327" y="215900"/>
                  </a:lnTo>
                  <a:lnTo>
                    <a:pt x="26314" y="214630"/>
                  </a:lnTo>
                  <a:lnTo>
                    <a:pt x="25412" y="213360"/>
                  </a:lnTo>
                  <a:lnTo>
                    <a:pt x="24650" y="213360"/>
                  </a:lnTo>
                  <a:lnTo>
                    <a:pt x="24650" y="224790"/>
                  </a:lnTo>
                  <a:lnTo>
                    <a:pt x="24384" y="224790"/>
                  </a:lnTo>
                  <a:lnTo>
                    <a:pt x="24638" y="226060"/>
                  </a:lnTo>
                  <a:lnTo>
                    <a:pt x="23977" y="226060"/>
                  </a:lnTo>
                  <a:lnTo>
                    <a:pt x="24066" y="224790"/>
                  </a:lnTo>
                  <a:lnTo>
                    <a:pt x="22796" y="224790"/>
                  </a:lnTo>
                  <a:lnTo>
                    <a:pt x="22593" y="226060"/>
                  </a:lnTo>
                  <a:lnTo>
                    <a:pt x="21234" y="226060"/>
                  </a:lnTo>
                  <a:lnTo>
                    <a:pt x="20891" y="224790"/>
                  </a:lnTo>
                  <a:lnTo>
                    <a:pt x="20447" y="224790"/>
                  </a:lnTo>
                  <a:lnTo>
                    <a:pt x="20993" y="223520"/>
                  </a:lnTo>
                  <a:lnTo>
                    <a:pt x="22415" y="223520"/>
                  </a:lnTo>
                  <a:lnTo>
                    <a:pt x="23075" y="222250"/>
                  </a:lnTo>
                  <a:lnTo>
                    <a:pt x="23723" y="223520"/>
                  </a:lnTo>
                  <a:lnTo>
                    <a:pt x="24434" y="223520"/>
                  </a:lnTo>
                  <a:lnTo>
                    <a:pt x="24650" y="224790"/>
                  </a:lnTo>
                  <a:lnTo>
                    <a:pt x="24650" y="213360"/>
                  </a:lnTo>
                  <a:lnTo>
                    <a:pt x="23329" y="213360"/>
                  </a:lnTo>
                  <a:lnTo>
                    <a:pt x="21869" y="214630"/>
                  </a:lnTo>
                  <a:lnTo>
                    <a:pt x="20955" y="215900"/>
                  </a:lnTo>
                  <a:lnTo>
                    <a:pt x="19748" y="217170"/>
                  </a:lnTo>
                  <a:lnTo>
                    <a:pt x="19545" y="217170"/>
                  </a:lnTo>
                  <a:lnTo>
                    <a:pt x="17907" y="214630"/>
                  </a:lnTo>
                  <a:lnTo>
                    <a:pt x="16802" y="215900"/>
                  </a:lnTo>
                  <a:lnTo>
                    <a:pt x="16471" y="218440"/>
                  </a:lnTo>
                  <a:lnTo>
                    <a:pt x="16408"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63" y="232410"/>
                  </a:lnTo>
                  <a:lnTo>
                    <a:pt x="9144" y="233680"/>
                  </a:lnTo>
                  <a:lnTo>
                    <a:pt x="7480" y="234950"/>
                  </a:lnTo>
                  <a:lnTo>
                    <a:pt x="7696" y="236220"/>
                  </a:lnTo>
                  <a:lnTo>
                    <a:pt x="6769" y="237490"/>
                  </a:lnTo>
                  <a:lnTo>
                    <a:pt x="5207" y="237490"/>
                  </a:lnTo>
                  <a:lnTo>
                    <a:pt x="4686" y="238760"/>
                  </a:lnTo>
                  <a:lnTo>
                    <a:pt x="3937" y="241300"/>
                  </a:lnTo>
                  <a:lnTo>
                    <a:pt x="1701" y="243840"/>
                  </a:lnTo>
                  <a:lnTo>
                    <a:pt x="800" y="243840"/>
                  </a:lnTo>
                  <a:lnTo>
                    <a:pt x="1193" y="245110"/>
                  </a:lnTo>
                  <a:lnTo>
                    <a:pt x="4064" y="245110"/>
                  </a:lnTo>
                  <a:lnTo>
                    <a:pt x="44500" y="245110"/>
                  </a:lnTo>
                  <a:lnTo>
                    <a:pt x="44500" y="243840"/>
                  </a:lnTo>
                  <a:lnTo>
                    <a:pt x="43903" y="241300"/>
                  </a:lnTo>
                  <a:lnTo>
                    <a:pt x="43726" y="240030"/>
                  </a:lnTo>
                  <a:lnTo>
                    <a:pt x="42646" y="240030"/>
                  </a:lnTo>
                  <a:lnTo>
                    <a:pt x="43167" y="238760"/>
                  </a:lnTo>
                  <a:lnTo>
                    <a:pt x="43662" y="238760"/>
                  </a:lnTo>
                  <a:lnTo>
                    <a:pt x="44030" y="236220"/>
                  </a:lnTo>
                  <a:lnTo>
                    <a:pt x="44018" y="234950"/>
                  </a:lnTo>
                  <a:lnTo>
                    <a:pt x="44132" y="233680"/>
                  </a:lnTo>
                  <a:lnTo>
                    <a:pt x="44259" y="232410"/>
                  </a:lnTo>
                  <a:lnTo>
                    <a:pt x="43624" y="232410"/>
                  </a:lnTo>
                  <a:lnTo>
                    <a:pt x="41135" y="232410"/>
                  </a:lnTo>
                  <a:lnTo>
                    <a:pt x="41135" y="234950"/>
                  </a:lnTo>
                  <a:lnTo>
                    <a:pt x="40525" y="234950"/>
                  </a:lnTo>
                  <a:lnTo>
                    <a:pt x="40551" y="233680"/>
                  </a:lnTo>
                  <a:lnTo>
                    <a:pt x="41071" y="233680"/>
                  </a:lnTo>
                  <a:lnTo>
                    <a:pt x="41135" y="234950"/>
                  </a:lnTo>
                  <a:lnTo>
                    <a:pt x="41135" y="232410"/>
                  </a:lnTo>
                  <a:lnTo>
                    <a:pt x="40640" y="232410"/>
                  </a:lnTo>
                  <a:lnTo>
                    <a:pt x="40894" y="231140"/>
                  </a:lnTo>
                  <a:lnTo>
                    <a:pt x="41363" y="231140"/>
                  </a:lnTo>
                  <a:lnTo>
                    <a:pt x="42506" y="229870"/>
                  </a:lnTo>
                  <a:lnTo>
                    <a:pt x="43167" y="229870"/>
                  </a:lnTo>
                  <a:lnTo>
                    <a:pt x="43853" y="231140"/>
                  </a:lnTo>
                  <a:lnTo>
                    <a:pt x="43624" y="232410"/>
                  </a:lnTo>
                  <a:lnTo>
                    <a:pt x="44704" y="231140"/>
                  </a:lnTo>
                  <a:lnTo>
                    <a:pt x="44716" y="229870"/>
                  </a:lnTo>
                  <a:close/>
                </a:path>
                <a:path w="333375" h="379729">
                  <a:moveTo>
                    <a:pt x="50495" y="279133"/>
                  </a:moveTo>
                  <a:lnTo>
                    <a:pt x="50355" y="278917"/>
                  </a:lnTo>
                  <a:lnTo>
                    <a:pt x="50152" y="278828"/>
                  </a:lnTo>
                  <a:lnTo>
                    <a:pt x="50139" y="279184"/>
                  </a:lnTo>
                  <a:lnTo>
                    <a:pt x="50266" y="279222"/>
                  </a:lnTo>
                  <a:lnTo>
                    <a:pt x="50482" y="279247"/>
                  </a:lnTo>
                  <a:close/>
                </a:path>
                <a:path w="333375" h="379729">
                  <a:moveTo>
                    <a:pt x="52070" y="294398"/>
                  </a:moveTo>
                  <a:lnTo>
                    <a:pt x="51904" y="294487"/>
                  </a:lnTo>
                  <a:lnTo>
                    <a:pt x="51739" y="294614"/>
                  </a:lnTo>
                  <a:lnTo>
                    <a:pt x="51879" y="294538"/>
                  </a:lnTo>
                  <a:lnTo>
                    <a:pt x="52070" y="294398"/>
                  </a:lnTo>
                  <a:close/>
                </a:path>
                <a:path w="333375" h="379729">
                  <a:moveTo>
                    <a:pt x="52717" y="294309"/>
                  </a:moveTo>
                  <a:close/>
                </a:path>
                <a:path w="333375" h="379729">
                  <a:moveTo>
                    <a:pt x="52755" y="294233"/>
                  </a:moveTo>
                  <a:close/>
                </a:path>
                <a:path w="333375" h="379729">
                  <a:moveTo>
                    <a:pt x="52870" y="294017"/>
                  </a:moveTo>
                  <a:lnTo>
                    <a:pt x="52781" y="294182"/>
                  </a:lnTo>
                  <a:lnTo>
                    <a:pt x="52870" y="294017"/>
                  </a:lnTo>
                  <a:close/>
                </a:path>
                <a:path w="333375" h="379729">
                  <a:moveTo>
                    <a:pt x="52895" y="295744"/>
                  </a:moveTo>
                  <a:lnTo>
                    <a:pt x="52844" y="296506"/>
                  </a:lnTo>
                  <a:lnTo>
                    <a:pt x="52844" y="296748"/>
                  </a:lnTo>
                  <a:lnTo>
                    <a:pt x="52870" y="296456"/>
                  </a:lnTo>
                  <a:lnTo>
                    <a:pt x="52895" y="295935"/>
                  </a:lnTo>
                  <a:lnTo>
                    <a:pt x="52895" y="295744"/>
                  </a:lnTo>
                  <a:close/>
                </a:path>
                <a:path w="333375" h="379729">
                  <a:moveTo>
                    <a:pt x="53060" y="294640"/>
                  </a:moveTo>
                  <a:lnTo>
                    <a:pt x="53035" y="295363"/>
                  </a:lnTo>
                  <a:lnTo>
                    <a:pt x="53060" y="294640"/>
                  </a:lnTo>
                  <a:close/>
                </a:path>
                <a:path w="333375" h="379729">
                  <a:moveTo>
                    <a:pt x="53213" y="297446"/>
                  </a:moveTo>
                  <a:lnTo>
                    <a:pt x="53200" y="297180"/>
                  </a:lnTo>
                  <a:lnTo>
                    <a:pt x="53213" y="297446"/>
                  </a:lnTo>
                  <a:close/>
                </a:path>
                <a:path w="333375" h="379729">
                  <a:moveTo>
                    <a:pt x="53263" y="296799"/>
                  </a:moveTo>
                  <a:lnTo>
                    <a:pt x="53200" y="295998"/>
                  </a:lnTo>
                  <a:lnTo>
                    <a:pt x="53174" y="295681"/>
                  </a:lnTo>
                  <a:lnTo>
                    <a:pt x="53136" y="295198"/>
                  </a:lnTo>
                  <a:lnTo>
                    <a:pt x="53174" y="295922"/>
                  </a:lnTo>
                  <a:lnTo>
                    <a:pt x="53200" y="296354"/>
                  </a:lnTo>
                  <a:lnTo>
                    <a:pt x="53225" y="296633"/>
                  </a:lnTo>
                  <a:lnTo>
                    <a:pt x="53263" y="296799"/>
                  </a:lnTo>
                  <a:close/>
                </a:path>
                <a:path w="333375" h="379729">
                  <a:moveTo>
                    <a:pt x="53530" y="297688"/>
                  </a:moveTo>
                  <a:lnTo>
                    <a:pt x="53517" y="297180"/>
                  </a:lnTo>
                  <a:lnTo>
                    <a:pt x="53530" y="297688"/>
                  </a:lnTo>
                  <a:close/>
                </a:path>
                <a:path w="333375" h="379729">
                  <a:moveTo>
                    <a:pt x="53619" y="295478"/>
                  </a:moveTo>
                  <a:lnTo>
                    <a:pt x="53581" y="295338"/>
                  </a:lnTo>
                  <a:lnTo>
                    <a:pt x="53467" y="295033"/>
                  </a:lnTo>
                  <a:lnTo>
                    <a:pt x="53555" y="295313"/>
                  </a:lnTo>
                  <a:lnTo>
                    <a:pt x="53619" y="295478"/>
                  </a:lnTo>
                  <a:close/>
                </a:path>
                <a:path w="333375" h="379729">
                  <a:moveTo>
                    <a:pt x="53682" y="372084"/>
                  </a:moveTo>
                  <a:close/>
                </a:path>
                <a:path w="333375" h="379729">
                  <a:moveTo>
                    <a:pt x="54051" y="294690"/>
                  </a:moveTo>
                  <a:close/>
                </a:path>
                <a:path w="333375" h="379729">
                  <a:moveTo>
                    <a:pt x="54838" y="294868"/>
                  </a:moveTo>
                  <a:lnTo>
                    <a:pt x="54775" y="294640"/>
                  </a:lnTo>
                  <a:lnTo>
                    <a:pt x="54838" y="294868"/>
                  </a:lnTo>
                  <a:close/>
                </a:path>
                <a:path w="333375" h="379729">
                  <a:moveTo>
                    <a:pt x="54965" y="294157"/>
                  </a:moveTo>
                  <a:lnTo>
                    <a:pt x="54825" y="294017"/>
                  </a:lnTo>
                  <a:lnTo>
                    <a:pt x="54914" y="294208"/>
                  </a:lnTo>
                  <a:close/>
                </a:path>
                <a:path w="333375" h="379729">
                  <a:moveTo>
                    <a:pt x="55295" y="295440"/>
                  </a:moveTo>
                  <a:close/>
                </a:path>
                <a:path w="333375" h="379729">
                  <a:moveTo>
                    <a:pt x="55308" y="295452"/>
                  </a:moveTo>
                  <a:close/>
                </a:path>
                <a:path w="333375" h="379729">
                  <a:moveTo>
                    <a:pt x="55880" y="292874"/>
                  </a:moveTo>
                  <a:lnTo>
                    <a:pt x="55346" y="292100"/>
                  </a:lnTo>
                  <a:lnTo>
                    <a:pt x="55880" y="292874"/>
                  </a:lnTo>
                  <a:close/>
                </a:path>
                <a:path w="333375" h="379729">
                  <a:moveTo>
                    <a:pt x="56261" y="293370"/>
                  </a:moveTo>
                  <a:lnTo>
                    <a:pt x="55880" y="292874"/>
                  </a:lnTo>
                  <a:lnTo>
                    <a:pt x="56222" y="293370"/>
                  </a:lnTo>
                  <a:close/>
                </a:path>
                <a:path w="333375" h="379729">
                  <a:moveTo>
                    <a:pt x="61607" y="280873"/>
                  </a:moveTo>
                  <a:lnTo>
                    <a:pt x="61252" y="280847"/>
                  </a:lnTo>
                  <a:lnTo>
                    <a:pt x="61226" y="280974"/>
                  </a:lnTo>
                  <a:lnTo>
                    <a:pt x="61163" y="281127"/>
                  </a:lnTo>
                  <a:lnTo>
                    <a:pt x="61239" y="281419"/>
                  </a:lnTo>
                  <a:lnTo>
                    <a:pt x="61391" y="281432"/>
                  </a:lnTo>
                  <a:lnTo>
                    <a:pt x="61493" y="281254"/>
                  </a:lnTo>
                  <a:lnTo>
                    <a:pt x="61569" y="281000"/>
                  </a:lnTo>
                  <a:lnTo>
                    <a:pt x="61607" y="280873"/>
                  </a:lnTo>
                  <a:close/>
                </a:path>
                <a:path w="333375" h="379729">
                  <a:moveTo>
                    <a:pt x="70370" y="266611"/>
                  </a:moveTo>
                  <a:lnTo>
                    <a:pt x="70281" y="266458"/>
                  </a:lnTo>
                  <a:lnTo>
                    <a:pt x="70142" y="266344"/>
                  </a:lnTo>
                  <a:lnTo>
                    <a:pt x="69964" y="266306"/>
                  </a:lnTo>
                  <a:lnTo>
                    <a:pt x="69850" y="266471"/>
                  </a:lnTo>
                  <a:lnTo>
                    <a:pt x="69799" y="266687"/>
                  </a:lnTo>
                  <a:lnTo>
                    <a:pt x="70002" y="266979"/>
                  </a:lnTo>
                  <a:lnTo>
                    <a:pt x="70205" y="266890"/>
                  </a:lnTo>
                  <a:lnTo>
                    <a:pt x="70332" y="266687"/>
                  </a:lnTo>
                  <a:close/>
                </a:path>
                <a:path w="333375" h="379729">
                  <a:moveTo>
                    <a:pt x="75057" y="260680"/>
                  </a:moveTo>
                  <a:lnTo>
                    <a:pt x="74942" y="260527"/>
                  </a:lnTo>
                  <a:lnTo>
                    <a:pt x="74752" y="260540"/>
                  </a:lnTo>
                  <a:lnTo>
                    <a:pt x="74625" y="260515"/>
                  </a:lnTo>
                  <a:lnTo>
                    <a:pt x="74599" y="260654"/>
                  </a:lnTo>
                  <a:lnTo>
                    <a:pt x="74536" y="260832"/>
                  </a:lnTo>
                  <a:lnTo>
                    <a:pt x="74625" y="261010"/>
                  </a:lnTo>
                  <a:lnTo>
                    <a:pt x="74828" y="260985"/>
                  </a:lnTo>
                  <a:lnTo>
                    <a:pt x="74955" y="260997"/>
                  </a:lnTo>
                  <a:lnTo>
                    <a:pt x="74968" y="260870"/>
                  </a:lnTo>
                  <a:lnTo>
                    <a:pt x="75057" y="260680"/>
                  </a:lnTo>
                  <a:close/>
                </a:path>
                <a:path w="333375" h="379729">
                  <a:moveTo>
                    <a:pt x="87096" y="240080"/>
                  </a:moveTo>
                  <a:lnTo>
                    <a:pt x="87007" y="239941"/>
                  </a:lnTo>
                  <a:lnTo>
                    <a:pt x="86702" y="239966"/>
                  </a:lnTo>
                  <a:lnTo>
                    <a:pt x="86588" y="240093"/>
                  </a:lnTo>
                  <a:lnTo>
                    <a:pt x="86461" y="240169"/>
                  </a:lnTo>
                  <a:lnTo>
                    <a:pt x="86601" y="240423"/>
                  </a:lnTo>
                  <a:lnTo>
                    <a:pt x="86868" y="240550"/>
                  </a:lnTo>
                  <a:lnTo>
                    <a:pt x="87020" y="240449"/>
                  </a:lnTo>
                  <a:lnTo>
                    <a:pt x="87096" y="240080"/>
                  </a:lnTo>
                  <a:close/>
                </a:path>
                <a:path w="333375" h="379729">
                  <a:moveTo>
                    <a:pt x="93243" y="229997"/>
                  </a:moveTo>
                  <a:lnTo>
                    <a:pt x="92976" y="229870"/>
                  </a:lnTo>
                  <a:lnTo>
                    <a:pt x="93218" y="230124"/>
                  </a:lnTo>
                  <a:lnTo>
                    <a:pt x="93243" y="229997"/>
                  </a:lnTo>
                  <a:close/>
                </a:path>
                <a:path w="333375" h="379729">
                  <a:moveTo>
                    <a:pt x="102323" y="215861"/>
                  </a:moveTo>
                  <a:lnTo>
                    <a:pt x="102184" y="215620"/>
                  </a:lnTo>
                  <a:lnTo>
                    <a:pt x="101930" y="215468"/>
                  </a:lnTo>
                  <a:lnTo>
                    <a:pt x="101803" y="215734"/>
                  </a:lnTo>
                  <a:lnTo>
                    <a:pt x="101917" y="216001"/>
                  </a:lnTo>
                  <a:lnTo>
                    <a:pt x="102082" y="216052"/>
                  </a:lnTo>
                  <a:lnTo>
                    <a:pt x="102209" y="215925"/>
                  </a:lnTo>
                  <a:close/>
                </a:path>
                <a:path w="333375" h="379729">
                  <a:moveTo>
                    <a:pt x="137248" y="255346"/>
                  </a:moveTo>
                  <a:lnTo>
                    <a:pt x="137198" y="254977"/>
                  </a:lnTo>
                  <a:lnTo>
                    <a:pt x="136969" y="254838"/>
                  </a:lnTo>
                  <a:lnTo>
                    <a:pt x="136779" y="254927"/>
                  </a:lnTo>
                  <a:lnTo>
                    <a:pt x="136652" y="255117"/>
                  </a:lnTo>
                  <a:lnTo>
                    <a:pt x="136550" y="255257"/>
                  </a:lnTo>
                  <a:lnTo>
                    <a:pt x="136652" y="255397"/>
                  </a:lnTo>
                  <a:lnTo>
                    <a:pt x="136969" y="255397"/>
                  </a:lnTo>
                  <a:lnTo>
                    <a:pt x="137109" y="255358"/>
                  </a:lnTo>
                  <a:lnTo>
                    <a:pt x="137248" y="255346"/>
                  </a:lnTo>
                  <a:close/>
                </a:path>
                <a:path w="333375" h="379729">
                  <a:moveTo>
                    <a:pt x="139903" y="250431"/>
                  </a:moveTo>
                  <a:lnTo>
                    <a:pt x="139750" y="250329"/>
                  </a:lnTo>
                  <a:lnTo>
                    <a:pt x="139598" y="250444"/>
                  </a:lnTo>
                  <a:lnTo>
                    <a:pt x="139471" y="250634"/>
                  </a:lnTo>
                  <a:lnTo>
                    <a:pt x="139369" y="250774"/>
                  </a:lnTo>
                  <a:lnTo>
                    <a:pt x="139661" y="250837"/>
                  </a:lnTo>
                  <a:lnTo>
                    <a:pt x="139890" y="250748"/>
                  </a:lnTo>
                  <a:lnTo>
                    <a:pt x="139903" y="250431"/>
                  </a:lnTo>
                  <a:close/>
                </a:path>
                <a:path w="333375" h="379729">
                  <a:moveTo>
                    <a:pt x="181317" y="109689"/>
                  </a:moveTo>
                  <a:lnTo>
                    <a:pt x="181254" y="109512"/>
                  </a:lnTo>
                  <a:lnTo>
                    <a:pt x="181076" y="109499"/>
                  </a:lnTo>
                  <a:lnTo>
                    <a:pt x="180936" y="109588"/>
                  </a:lnTo>
                  <a:lnTo>
                    <a:pt x="180898" y="109715"/>
                  </a:lnTo>
                  <a:lnTo>
                    <a:pt x="180898" y="110045"/>
                  </a:lnTo>
                  <a:lnTo>
                    <a:pt x="181165" y="109956"/>
                  </a:lnTo>
                  <a:lnTo>
                    <a:pt x="181317" y="109689"/>
                  </a:lnTo>
                  <a:close/>
                </a:path>
                <a:path w="333375" h="379729">
                  <a:moveTo>
                    <a:pt x="222999" y="128524"/>
                  </a:moveTo>
                  <a:close/>
                </a:path>
                <a:path w="333375" h="379729">
                  <a:moveTo>
                    <a:pt x="223659" y="128206"/>
                  </a:moveTo>
                  <a:lnTo>
                    <a:pt x="223469" y="128409"/>
                  </a:lnTo>
                  <a:lnTo>
                    <a:pt x="223227" y="128447"/>
                  </a:lnTo>
                  <a:lnTo>
                    <a:pt x="223012" y="128549"/>
                  </a:lnTo>
                  <a:lnTo>
                    <a:pt x="223342" y="129184"/>
                  </a:lnTo>
                  <a:lnTo>
                    <a:pt x="223481" y="128587"/>
                  </a:lnTo>
                  <a:lnTo>
                    <a:pt x="223659" y="128206"/>
                  </a:lnTo>
                  <a:close/>
                </a:path>
                <a:path w="333375" h="379729">
                  <a:moveTo>
                    <a:pt x="223812" y="127990"/>
                  </a:moveTo>
                  <a:lnTo>
                    <a:pt x="223697" y="128117"/>
                  </a:lnTo>
                  <a:lnTo>
                    <a:pt x="223812" y="127990"/>
                  </a:lnTo>
                  <a:close/>
                </a:path>
                <a:path w="333375" h="379729">
                  <a:moveTo>
                    <a:pt x="317665" y="1676"/>
                  </a:moveTo>
                  <a:lnTo>
                    <a:pt x="317588" y="1447"/>
                  </a:lnTo>
                  <a:lnTo>
                    <a:pt x="317449" y="1371"/>
                  </a:lnTo>
                  <a:lnTo>
                    <a:pt x="317284" y="1549"/>
                  </a:lnTo>
                  <a:lnTo>
                    <a:pt x="317360" y="1765"/>
                  </a:lnTo>
                  <a:lnTo>
                    <a:pt x="317500" y="1854"/>
                  </a:lnTo>
                  <a:lnTo>
                    <a:pt x="317665" y="1676"/>
                  </a:lnTo>
                  <a:close/>
                </a:path>
                <a:path w="333375" h="379729">
                  <a:moveTo>
                    <a:pt x="328155" y="3263"/>
                  </a:moveTo>
                  <a:lnTo>
                    <a:pt x="328104" y="3111"/>
                  </a:lnTo>
                  <a:lnTo>
                    <a:pt x="327901" y="3009"/>
                  </a:lnTo>
                  <a:lnTo>
                    <a:pt x="327799" y="3213"/>
                  </a:lnTo>
                  <a:lnTo>
                    <a:pt x="327863" y="3365"/>
                  </a:lnTo>
                  <a:lnTo>
                    <a:pt x="328053" y="3467"/>
                  </a:lnTo>
                  <a:lnTo>
                    <a:pt x="328155" y="3263"/>
                  </a:lnTo>
                  <a:close/>
                </a:path>
                <a:path w="333375" h="379729">
                  <a:moveTo>
                    <a:pt x="333375" y="9918"/>
                  </a:moveTo>
                  <a:lnTo>
                    <a:pt x="333336" y="9321"/>
                  </a:lnTo>
                  <a:lnTo>
                    <a:pt x="333133" y="9182"/>
                  </a:lnTo>
                  <a:lnTo>
                    <a:pt x="332828" y="9232"/>
                  </a:lnTo>
                  <a:lnTo>
                    <a:pt x="332308" y="9321"/>
                  </a:lnTo>
                  <a:lnTo>
                    <a:pt x="331724" y="9588"/>
                  </a:lnTo>
                  <a:lnTo>
                    <a:pt x="331812" y="10452"/>
                  </a:lnTo>
                  <a:lnTo>
                    <a:pt x="331558" y="10629"/>
                  </a:lnTo>
                  <a:lnTo>
                    <a:pt x="330161" y="10896"/>
                  </a:lnTo>
                  <a:lnTo>
                    <a:pt x="329793" y="11163"/>
                  </a:lnTo>
                  <a:lnTo>
                    <a:pt x="329704" y="11430"/>
                  </a:lnTo>
                  <a:lnTo>
                    <a:pt x="328396" y="11430"/>
                  </a:lnTo>
                  <a:lnTo>
                    <a:pt x="328955" y="10160"/>
                  </a:lnTo>
                  <a:lnTo>
                    <a:pt x="326402" y="10160"/>
                  </a:lnTo>
                  <a:lnTo>
                    <a:pt x="327418" y="8890"/>
                  </a:lnTo>
                  <a:lnTo>
                    <a:pt x="328993" y="7708"/>
                  </a:lnTo>
                  <a:lnTo>
                    <a:pt x="329247" y="8039"/>
                  </a:lnTo>
                  <a:lnTo>
                    <a:pt x="329349" y="8318"/>
                  </a:lnTo>
                  <a:lnTo>
                    <a:pt x="330060" y="7823"/>
                  </a:lnTo>
                  <a:lnTo>
                    <a:pt x="329971" y="7620"/>
                  </a:lnTo>
                  <a:lnTo>
                    <a:pt x="329704" y="7327"/>
                  </a:lnTo>
                  <a:lnTo>
                    <a:pt x="329501" y="7239"/>
                  </a:lnTo>
                  <a:lnTo>
                    <a:pt x="329171" y="7340"/>
                  </a:lnTo>
                  <a:lnTo>
                    <a:pt x="328968" y="7493"/>
                  </a:lnTo>
                  <a:lnTo>
                    <a:pt x="327774" y="6350"/>
                  </a:lnTo>
                  <a:lnTo>
                    <a:pt x="328993" y="6350"/>
                  </a:lnTo>
                  <a:lnTo>
                    <a:pt x="328536" y="5080"/>
                  </a:lnTo>
                  <a:lnTo>
                    <a:pt x="329044" y="3810"/>
                  </a:lnTo>
                  <a:lnTo>
                    <a:pt x="330758" y="3810"/>
                  </a:lnTo>
                  <a:lnTo>
                    <a:pt x="330454" y="2540"/>
                  </a:lnTo>
                  <a:lnTo>
                    <a:pt x="328726" y="3810"/>
                  </a:lnTo>
                  <a:lnTo>
                    <a:pt x="325678" y="3810"/>
                  </a:lnTo>
                  <a:lnTo>
                    <a:pt x="325005" y="2540"/>
                  </a:lnTo>
                  <a:lnTo>
                    <a:pt x="324726" y="2540"/>
                  </a:lnTo>
                  <a:lnTo>
                    <a:pt x="324726" y="15240"/>
                  </a:lnTo>
                  <a:lnTo>
                    <a:pt x="322986" y="15240"/>
                  </a:lnTo>
                  <a:lnTo>
                    <a:pt x="322897" y="16510"/>
                  </a:lnTo>
                  <a:lnTo>
                    <a:pt x="322491" y="16510"/>
                  </a:lnTo>
                  <a:lnTo>
                    <a:pt x="322643" y="15240"/>
                  </a:lnTo>
                  <a:lnTo>
                    <a:pt x="323329" y="13970"/>
                  </a:lnTo>
                  <a:lnTo>
                    <a:pt x="324205" y="13970"/>
                  </a:lnTo>
                  <a:lnTo>
                    <a:pt x="324726" y="15240"/>
                  </a:lnTo>
                  <a:lnTo>
                    <a:pt x="324726" y="2540"/>
                  </a:lnTo>
                  <a:lnTo>
                    <a:pt x="323303" y="2540"/>
                  </a:lnTo>
                  <a:lnTo>
                    <a:pt x="323303" y="5080"/>
                  </a:lnTo>
                  <a:lnTo>
                    <a:pt x="322872" y="5080"/>
                  </a:lnTo>
                  <a:lnTo>
                    <a:pt x="323011" y="3810"/>
                  </a:lnTo>
                  <a:lnTo>
                    <a:pt x="323253"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78" y="3810"/>
                  </a:lnTo>
                  <a:lnTo>
                    <a:pt x="296887" y="3810"/>
                  </a:lnTo>
                  <a:lnTo>
                    <a:pt x="294233" y="5080"/>
                  </a:lnTo>
                  <a:lnTo>
                    <a:pt x="292887" y="6350"/>
                  </a:lnTo>
                  <a:lnTo>
                    <a:pt x="291528"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75" y="29210"/>
                  </a:lnTo>
                  <a:lnTo>
                    <a:pt x="258876" y="31750"/>
                  </a:lnTo>
                  <a:lnTo>
                    <a:pt x="256552" y="31750"/>
                  </a:lnTo>
                  <a:lnTo>
                    <a:pt x="256120" y="34290"/>
                  </a:lnTo>
                  <a:lnTo>
                    <a:pt x="254292" y="35560"/>
                  </a:lnTo>
                  <a:lnTo>
                    <a:pt x="250215" y="39370"/>
                  </a:lnTo>
                  <a:lnTo>
                    <a:pt x="248462" y="39370"/>
                  </a:lnTo>
                  <a:lnTo>
                    <a:pt x="246354" y="43180"/>
                  </a:lnTo>
                  <a:lnTo>
                    <a:pt x="244881" y="44450"/>
                  </a:lnTo>
                  <a:lnTo>
                    <a:pt x="242341" y="45720"/>
                  </a:lnTo>
                  <a:lnTo>
                    <a:pt x="241503" y="45720"/>
                  </a:lnTo>
                  <a:lnTo>
                    <a:pt x="241922" y="48260"/>
                  </a:lnTo>
                  <a:lnTo>
                    <a:pt x="238975" y="48260"/>
                  </a:lnTo>
                  <a:lnTo>
                    <a:pt x="237312" y="52070"/>
                  </a:lnTo>
                  <a:lnTo>
                    <a:pt x="234772" y="53340"/>
                  </a:lnTo>
                  <a:lnTo>
                    <a:pt x="232397" y="55880"/>
                  </a:lnTo>
                  <a:lnTo>
                    <a:pt x="231381" y="57150"/>
                  </a:lnTo>
                  <a:lnTo>
                    <a:pt x="227761" y="58420"/>
                  </a:lnTo>
                  <a:lnTo>
                    <a:pt x="227533" y="60960"/>
                  </a:lnTo>
                  <a:lnTo>
                    <a:pt x="225412" y="62230"/>
                  </a:lnTo>
                  <a:lnTo>
                    <a:pt x="225425" y="63500"/>
                  </a:lnTo>
                  <a:lnTo>
                    <a:pt x="223367" y="63500"/>
                  </a:lnTo>
                  <a:lnTo>
                    <a:pt x="222910" y="64770"/>
                  </a:lnTo>
                  <a:lnTo>
                    <a:pt x="222681" y="66040"/>
                  </a:lnTo>
                  <a:lnTo>
                    <a:pt x="221957" y="67310"/>
                  </a:lnTo>
                  <a:lnTo>
                    <a:pt x="219989" y="68580"/>
                  </a:lnTo>
                  <a:lnTo>
                    <a:pt x="218490" y="68580"/>
                  </a:lnTo>
                  <a:lnTo>
                    <a:pt x="216928" y="71120"/>
                  </a:lnTo>
                  <a:lnTo>
                    <a:pt x="215734" y="72390"/>
                  </a:lnTo>
                  <a:lnTo>
                    <a:pt x="214960" y="74930"/>
                  </a:lnTo>
                  <a:lnTo>
                    <a:pt x="214058" y="74930"/>
                  </a:lnTo>
                  <a:lnTo>
                    <a:pt x="212229" y="76200"/>
                  </a:lnTo>
                  <a:lnTo>
                    <a:pt x="210172" y="78740"/>
                  </a:lnTo>
                  <a:lnTo>
                    <a:pt x="208470" y="80010"/>
                  </a:lnTo>
                  <a:lnTo>
                    <a:pt x="207327" y="81280"/>
                  </a:lnTo>
                  <a:lnTo>
                    <a:pt x="205409" y="83820"/>
                  </a:lnTo>
                  <a:lnTo>
                    <a:pt x="204876" y="85090"/>
                  </a:lnTo>
                  <a:lnTo>
                    <a:pt x="203962" y="86360"/>
                  </a:lnTo>
                  <a:lnTo>
                    <a:pt x="201498" y="87630"/>
                  </a:lnTo>
                  <a:lnTo>
                    <a:pt x="200304" y="88900"/>
                  </a:lnTo>
                  <a:lnTo>
                    <a:pt x="199796" y="90170"/>
                  </a:lnTo>
                  <a:lnTo>
                    <a:pt x="197345" y="90170"/>
                  </a:lnTo>
                  <a:lnTo>
                    <a:pt x="197993" y="91440"/>
                  </a:lnTo>
                  <a:lnTo>
                    <a:pt x="197904" y="93980"/>
                  </a:lnTo>
                  <a:lnTo>
                    <a:pt x="195478"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84"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28" y="133350"/>
                  </a:lnTo>
                  <a:lnTo>
                    <a:pt x="163144" y="134620"/>
                  </a:lnTo>
                  <a:lnTo>
                    <a:pt x="162712" y="135890"/>
                  </a:lnTo>
                  <a:lnTo>
                    <a:pt x="162864" y="137160"/>
                  </a:lnTo>
                  <a:lnTo>
                    <a:pt x="159270" y="137160"/>
                  </a:lnTo>
                  <a:lnTo>
                    <a:pt x="159270" y="148590"/>
                  </a:lnTo>
                  <a:lnTo>
                    <a:pt x="159194" y="149860"/>
                  </a:lnTo>
                  <a:lnTo>
                    <a:pt x="158229" y="149860"/>
                  </a:lnTo>
                  <a:lnTo>
                    <a:pt x="158394" y="148590"/>
                  </a:lnTo>
                  <a:lnTo>
                    <a:pt x="159270" y="148590"/>
                  </a:lnTo>
                  <a:lnTo>
                    <a:pt x="159270" y="137160"/>
                  </a:lnTo>
                  <a:lnTo>
                    <a:pt x="158851" y="137160"/>
                  </a:lnTo>
                  <a:lnTo>
                    <a:pt x="159092" y="140970"/>
                  </a:lnTo>
                  <a:lnTo>
                    <a:pt x="156210" y="140970"/>
                  </a:lnTo>
                  <a:lnTo>
                    <a:pt x="156032" y="144780"/>
                  </a:lnTo>
                  <a:lnTo>
                    <a:pt x="154787" y="146050"/>
                  </a:lnTo>
                  <a:lnTo>
                    <a:pt x="152057"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42"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56"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66" y="170180"/>
                  </a:lnTo>
                  <a:lnTo>
                    <a:pt x="134264" y="171450"/>
                  </a:lnTo>
                  <a:lnTo>
                    <a:pt x="133248" y="171450"/>
                  </a:lnTo>
                  <a:lnTo>
                    <a:pt x="134239" y="173990"/>
                  </a:lnTo>
                  <a:lnTo>
                    <a:pt x="133273" y="175260"/>
                  </a:lnTo>
                  <a:lnTo>
                    <a:pt x="130822" y="176530"/>
                  </a:lnTo>
                  <a:lnTo>
                    <a:pt x="129857" y="179070"/>
                  </a:lnTo>
                  <a:lnTo>
                    <a:pt x="127177" y="180340"/>
                  </a:lnTo>
                  <a:lnTo>
                    <a:pt x="126936" y="180340"/>
                  </a:lnTo>
                  <a:lnTo>
                    <a:pt x="126873" y="182880"/>
                  </a:lnTo>
                  <a:lnTo>
                    <a:pt x="125831" y="185420"/>
                  </a:lnTo>
                  <a:lnTo>
                    <a:pt x="126009" y="187960"/>
                  </a:lnTo>
                  <a:lnTo>
                    <a:pt x="124574" y="187960"/>
                  </a:lnTo>
                  <a:lnTo>
                    <a:pt x="124002" y="189230"/>
                  </a:lnTo>
                  <a:lnTo>
                    <a:pt x="123228" y="187960"/>
                  </a:lnTo>
                  <a:lnTo>
                    <a:pt x="123037" y="189865"/>
                  </a:lnTo>
                  <a:lnTo>
                    <a:pt x="123037" y="269240"/>
                  </a:lnTo>
                  <a:lnTo>
                    <a:pt x="122656" y="269240"/>
                  </a:lnTo>
                  <a:lnTo>
                    <a:pt x="122872" y="267970"/>
                  </a:lnTo>
                  <a:lnTo>
                    <a:pt x="123037" y="269240"/>
                  </a:lnTo>
                  <a:lnTo>
                    <a:pt x="123037" y="189865"/>
                  </a:lnTo>
                  <a:lnTo>
                    <a:pt x="122974" y="190500"/>
                  </a:lnTo>
                  <a:lnTo>
                    <a:pt x="121780" y="190500"/>
                  </a:lnTo>
                  <a:lnTo>
                    <a:pt x="120357" y="191770"/>
                  </a:lnTo>
                  <a:lnTo>
                    <a:pt x="119684" y="191770"/>
                  </a:lnTo>
                  <a:lnTo>
                    <a:pt x="118198" y="193040"/>
                  </a:lnTo>
                  <a:lnTo>
                    <a:pt x="119761" y="193040"/>
                  </a:lnTo>
                  <a:lnTo>
                    <a:pt x="119176" y="194310"/>
                  </a:lnTo>
                  <a:lnTo>
                    <a:pt x="118033" y="195580"/>
                  </a:lnTo>
                  <a:lnTo>
                    <a:pt x="117906" y="198120"/>
                  </a:lnTo>
                  <a:lnTo>
                    <a:pt x="115493" y="198120"/>
                  </a:lnTo>
                  <a:lnTo>
                    <a:pt x="116395" y="200660"/>
                  </a:lnTo>
                  <a:lnTo>
                    <a:pt x="115404" y="200660"/>
                  </a:lnTo>
                  <a:lnTo>
                    <a:pt x="113461" y="201930"/>
                  </a:lnTo>
                  <a:lnTo>
                    <a:pt x="113017" y="203200"/>
                  </a:lnTo>
                  <a:lnTo>
                    <a:pt x="111658" y="204470"/>
                  </a:lnTo>
                  <a:lnTo>
                    <a:pt x="110871" y="205740"/>
                  </a:lnTo>
                  <a:lnTo>
                    <a:pt x="110629" y="207010"/>
                  </a:lnTo>
                  <a:lnTo>
                    <a:pt x="108140" y="207010"/>
                  </a:lnTo>
                  <a:lnTo>
                    <a:pt x="108800" y="208280"/>
                  </a:lnTo>
                  <a:lnTo>
                    <a:pt x="107721" y="210820"/>
                  </a:lnTo>
                  <a:lnTo>
                    <a:pt x="107391" y="212090"/>
                  </a:lnTo>
                  <a:lnTo>
                    <a:pt x="105460" y="212090"/>
                  </a:lnTo>
                  <a:lnTo>
                    <a:pt x="105956" y="214630"/>
                  </a:lnTo>
                  <a:lnTo>
                    <a:pt x="104559" y="215900"/>
                  </a:lnTo>
                  <a:lnTo>
                    <a:pt x="104787" y="217170"/>
                  </a:lnTo>
                  <a:lnTo>
                    <a:pt x="100672" y="217170"/>
                  </a:lnTo>
                  <a:lnTo>
                    <a:pt x="100291" y="218440"/>
                  </a:lnTo>
                  <a:lnTo>
                    <a:pt x="101041" y="222250"/>
                  </a:lnTo>
                  <a:lnTo>
                    <a:pt x="99339" y="222250"/>
                  </a:lnTo>
                  <a:lnTo>
                    <a:pt x="99415" y="226060"/>
                  </a:lnTo>
                  <a:lnTo>
                    <a:pt x="94805" y="226060"/>
                  </a:lnTo>
                  <a:lnTo>
                    <a:pt x="96177" y="228600"/>
                  </a:lnTo>
                  <a:lnTo>
                    <a:pt x="96139" y="229870"/>
                  </a:lnTo>
                  <a:lnTo>
                    <a:pt x="95402" y="229870"/>
                  </a:lnTo>
                  <a:lnTo>
                    <a:pt x="95694" y="231140"/>
                  </a:lnTo>
                  <a:lnTo>
                    <a:pt x="93281" y="230009"/>
                  </a:lnTo>
                  <a:lnTo>
                    <a:pt x="93294" y="230212"/>
                  </a:lnTo>
                  <a:lnTo>
                    <a:pt x="94170" y="231140"/>
                  </a:lnTo>
                  <a:lnTo>
                    <a:pt x="93535" y="233680"/>
                  </a:lnTo>
                  <a:lnTo>
                    <a:pt x="93294" y="230212"/>
                  </a:lnTo>
                  <a:lnTo>
                    <a:pt x="92697" y="232410"/>
                  </a:lnTo>
                  <a:lnTo>
                    <a:pt x="92824" y="232410"/>
                  </a:lnTo>
                  <a:lnTo>
                    <a:pt x="93472"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92" y="248920"/>
                  </a:lnTo>
                  <a:lnTo>
                    <a:pt x="82804" y="251460"/>
                  </a:lnTo>
                  <a:lnTo>
                    <a:pt x="81267" y="251460"/>
                  </a:lnTo>
                  <a:lnTo>
                    <a:pt x="81241" y="251193"/>
                  </a:lnTo>
                  <a:lnTo>
                    <a:pt x="80848" y="251028"/>
                  </a:lnTo>
                  <a:lnTo>
                    <a:pt x="80835" y="251155"/>
                  </a:lnTo>
                  <a:lnTo>
                    <a:pt x="80797" y="251307"/>
                  </a:lnTo>
                  <a:lnTo>
                    <a:pt x="80962" y="251637"/>
                  </a:lnTo>
                  <a:lnTo>
                    <a:pt x="81153" y="251637"/>
                  </a:lnTo>
                  <a:lnTo>
                    <a:pt x="80645" y="254000"/>
                  </a:lnTo>
                  <a:lnTo>
                    <a:pt x="79502" y="252730"/>
                  </a:lnTo>
                  <a:lnTo>
                    <a:pt x="79489" y="254000"/>
                  </a:lnTo>
                  <a:lnTo>
                    <a:pt x="77330" y="255270"/>
                  </a:lnTo>
                  <a:lnTo>
                    <a:pt x="79019" y="256540"/>
                  </a:lnTo>
                  <a:lnTo>
                    <a:pt x="78879" y="256540"/>
                  </a:lnTo>
                  <a:lnTo>
                    <a:pt x="77470" y="257810"/>
                  </a:lnTo>
                  <a:lnTo>
                    <a:pt x="76771" y="259080"/>
                  </a:lnTo>
                  <a:lnTo>
                    <a:pt x="76288" y="261620"/>
                  </a:lnTo>
                  <a:lnTo>
                    <a:pt x="74790" y="261620"/>
                  </a:lnTo>
                  <a:lnTo>
                    <a:pt x="74523" y="262890"/>
                  </a:lnTo>
                  <a:lnTo>
                    <a:pt x="72936" y="265430"/>
                  </a:lnTo>
                  <a:lnTo>
                    <a:pt x="72453" y="266700"/>
                  </a:lnTo>
                  <a:lnTo>
                    <a:pt x="69494" y="269240"/>
                  </a:lnTo>
                  <a:lnTo>
                    <a:pt x="69532" y="271780"/>
                  </a:lnTo>
                  <a:lnTo>
                    <a:pt x="69151" y="270510"/>
                  </a:lnTo>
                  <a:lnTo>
                    <a:pt x="67894" y="273050"/>
                  </a:lnTo>
                  <a:lnTo>
                    <a:pt x="67398"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303" y="276860"/>
                  </a:lnTo>
                  <a:lnTo>
                    <a:pt x="65443" y="278130"/>
                  </a:lnTo>
                  <a:lnTo>
                    <a:pt x="64033" y="279400"/>
                  </a:lnTo>
                  <a:lnTo>
                    <a:pt x="64617" y="281940"/>
                  </a:lnTo>
                  <a:lnTo>
                    <a:pt x="64312" y="281940"/>
                  </a:lnTo>
                  <a:lnTo>
                    <a:pt x="62115" y="280670"/>
                  </a:lnTo>
                  <a:lnTo>
                    <a:pt x="60325" y="283210"/>
                  </a:lnTo>
                  <a:lnTo>
                    <a:pt x="61810" y="285750"/>
                  </a:lnTo>
                  <a:lnTo>
                    <a:pt x="60210" y="287020"/>
                  </a:lnTo>
                  <a:lnTo>
                    <a:pt x="60223" y="288290"/>
                  </a:lnTo>
                  <a:lnTo>
                    <a:pt x="59550" y="288290"/>
                  </a:lnTo>
                  <a:lnTo>
                    <a:pt x="58166" y="289560"/>
                  </a:lnTo>
                  <a:lnTo>
                    <a:pt x="57950" y="289560"/>
                  </a:lnTo>
                  <a:lnTo>
                    <a:pt x="58229" y="290830"/>
                  </a:lnTo>
                  <a:lnTo>
                    <a:pt x="58635" y="292100"/>
                  </a:lnTo>
                  <a:lnTo>
                    <a:pt x="56972" y="292100"/>
                  </a:lnTo>
                  <a:lnTo>
                    <a:pt x="56845" y="292544"/>
                  </a:lnTo>
                  <a:lnTo>
                    <a:pt x="56845" y="370840"/>
                  </a:lnTo>
                  <a:lnTo>
                    <a:pt x="56781" y="372110"/>
                  </a:lnTo>
                  <a:lnTo>
                    <a:pt x="55638" y="372110"/>
                  </a:lnTo>
                  <a:lnTo>
                    <a:pt x="54889" y="373380"/>
                  </a:lnTo>
                  <a:lnTo>
                    <a:pt x="53924" y="374650"/>
                  </a:lnTo>
                  <a:lnTo>
                    <a:pt x="52730" y="374650"/>
                  </a:lnTo>
                  <a:lnTo>
                    <a:pt x="52400" y="375920"/>
                  </a:lnTo>
                  <a:lnTo>
                    <a:pt x="51269" y="375920"/>
                  </a:lnTo>
                  <a:lnTo>
                    <a:pt x="51523" y="374650"/>
                  </a:lnTo>
                  <a:lnTo>
                    <a:pt x="50723" y="374650"/>
                  </a:lnTo>
                  <a:lnTo>
                    <a:pt x="51358" y="373380"/>
                  </a:lnTo>
                  <a:lnTo>
                    <a:pt x="51790" y="372110"/>
                  </a:lnTo>
                  <a:lnTo>
                    <a:pt x="52070" y="373380"/>
                  </a:lnTo>
                  <a:lnTo>
                    <a:pt x="53251" y="373380"/>
                  </a:lnTo>
                  <a:lnTo>
                    <a:pt x="53543" y="372110"/>
                  </a:lnTo>
                  <a:lnTo>
                    <a:pt x="53403" y="372110"/>
                  </a:lnTo>
                  <a:lnTo>
                    <a:pt x="53454" y="370840"/>
                  </a:lnTo>
                  <a:lnTo>
                    <a:pt x="53644" y="370840"/>
                  </a:lnTo>
                  <a:lnTo>
                    <a:pt x="53682" y="372084"/>
                  </a:lnTo>
                  <a:lnTo>
                    <a:pt x="54851" y="370840"/>
                  </a:lnTo>
                  <a:lnTo>
                    <a:pt x="56845" y="370840"/>
                  </a:lnTo>
                  <a:lnTo>
                    <a:pt x="56845" y="292544"/>
                  </a:lnTo>
                  <a:lnTo>
                    <a:pt x="56603" y="293370"/>
                  </a:lnTo>
                  <a:lnTo>
                    <a:pt x="56807" y="294640"/>
                  </a:lnTo>
                  <a:lnTo>
                    <a:pt x="55499" y="294640"/>
                  </a:lnTo>
                  <a:lnTo>
                    <a:pt x="55600" y="295440"/>
                  </a:lnTo>
                  <a:lnTo>
                    <a:pt x="55791" y="295910"/>
                  </a:lnTo>
                  <a:lnTo>
                    <a:pt x="55651" y="295910"/>
                  </a:lnTo>
                  <a:lnTo>
                    <a:pt x="55562" y="295363"/>
                  </a:lnTo>
                  <a:lnTo>
                    <a:pt x="55257" y="294640"/>
                  </a:lnTo>
                  <a:lnTo>
                    <a:pt x="55587" y="295910"/>
                  </a:lnTo>
                  <a:lnTo>
                    <a:pt x="55232" y="295440"/>
                  </a:lnTo>
                  <a:lnTo>
                    <a:pt x="55118" y="295211"/>
                  </a:lnTo>
                  <a:lnTo>
                    <a:pt x="54940" y="294982"/>
                  </a:lnTo>
                  <a:lnTo>
                    <a:pt x="55143" y="295910"/>
                  </a:lnTo>
                  <a:lnTo>
                    <a:pt x="55587" y="298450"/>
                  </a:lnTo>
                  <a:lnTo>
                    <a:pt x="54051" y="294690"/>
                  </a:lnTo>
                  <a:lnTo>
                    <a:pt x="54140" y="295262"/>
                  </a:lnTo>
                  <a:lnTo>
                    <a:pt x="54076" y="295097"/>
                  </a:lnTo>
                  <a:lnTo>
                    <a:pt x="53886" y="294767"/>
                  </a:lnTo>
                  <a:lnTo>
                    <a:pt x="53975" y="295033"/>
                  </a:lnTo>
                  <a:lnTo>
                    <a:pt x="54076" y="295211"/>
                  </a:lnTo>
                  <a:lnTo>
                    <a:pt x="54152" y="295338"/>
                  </a:lnTo>
                  <a:lnTo>
                    <a:pt x="54457" y="297180"/>
                  </a:lnTo>
                  <a:lnTo>
                    <a:pt x="53911" y="295910"/>
                  </a:lnTo>
                  <a:lnTo>
                    <a:pt x="54025" y="297180"/>
                  </a:lnTo>
                  <a:lnTo>
                    <a:pt x="53530" y="295910"/>
                  </a:lnTo>
                  <a:lnTo>
                    <a:pt x="53860" y="297180"/>
                  </a:lnTo>
                  <a:lnTo>
                    <a:pt x="53594" y="297180"/>
                  </a:lnTo>
                  <a:lnTo>
                    <a:pt x="53886" y="298450"/>
                  </a:lnTo>
                  <a:lnTo>
                    <a:pt x="53873" y="299720"/>
                  </a:lnTo>
                  <a:lnTo>
                    <a:pt x="53530" y="297688"/>
                  </a:lnTo>
                  <a:lnTo>
                    <a:pt x="53606" y="300990"/>
                  </a:lnTo>
                  <a:lnTo>
                    <a:pt x="53467" y="299720"/>
                  </a:lnTo>
                  <a:lnTo>
                    <a:pt x="53213" y="297446"/>
                  </a:lnTo>
                  <a:lnTo>
                    <a:pt x="53238" y="299720"/>
                  </a:lnTo>
                  <a:lnTo>
                    <a:pt x="53035" y="295363"/>
                  </a:lnTo>
                  <a:lnTo>
                    <a:pt x="52844" y="299720"/>
                  </a:lnTo>
                  <a:lnTo>
                    <a:pt x="52844" y="297180"/>
                  </a:lnTo>
                  <a:lnTo>
                    <a:pt x="52793" y="298450"/>
                  </a:lnTo>
                  <a:lnTo>
                    <a:pt x="52692" y="299720"/>
                  </a:lnTo>
                  <a:lnTo>
                    <a:pt x="52539" y="299720"/>
                  </a:lnTo>
                  <a:lnTo>
                    <a:pt x="52679" y="297180"/>
                  </a:lnTo>
                  <a:lnTo>
                    <a:pt x="52336" y="299720"/>
                  </a:lnTo>
                  <a:lnTo>
                    <a:pt x="52006" y="298450"/>
                  </a:lnTo>
                  <a:lnTo>
                    <a:pt x="51638" y="298450"/>
                  </a:lnTo>
                  <a:lnTo>
                    <a:pt x="51422" y="297180"/>
                  </a:lnTo>
                  <a:lnTo>
                    <a:pt x="51714" y="297180"/>
                  </a:lnTo>
                  <a:lnTo>
                    <a:pt x="52717" y="295910"/>
                  </a:lnTo>
                  <a:lnTo>
                    <a:pt x="52514" y="295910"/>
                  </a:lnTo>
                  <a:lnTo>
                    <a:pt x="51879" y="294640"/>
                  </a:lnTo>
                  <a:lnTo>
                    <a:pt x="51460" y="294640"/>
                  </a:lnTo>
                  <a:lnTo>
                    <a:pt x="50990"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46"/>
                  </a:lnTo>
                  <a:lnTo>
                    <a:pt x="50393" y="299720"/>
                  </a:lnTo>
                  <a:lnTo>
                    <a:pt x="50038" y="299720"/>
                  </a:lnTo>
                  <a:lnTo>
                    <a:pt x="50279" y="298450"/>
                  </a:lnTo>
                  <a:lnTo>
                    <a:pt x="50393" y="299720"/>
                  </a:lnTo>
                  <a:lnTo>
                    <a:pt x="50393" y="291846"/>
                  </a:lnTo>
                  <a:lnTo>
                    <a:pt x="50101" y="290830"/>
                  </a:lnTo>
                  <a:lnTo>
                    <a:pt x="51015" y="289560"/>
                  </a:lnTo>
                  <a:lnTo>
                    <a:pt x="50063" y="287020"/>
                  </a:lnTo>
                  <a:lnTo>
                    <a:pt x="51320" y="287020"/>
                  </a:lnTo>
                  <a:lnTo>
                    <a:pt x="51155" y="285750"/>
                  </a:lnTo>
                  <a:lnTo>
                    <a:pt x="51422" y="285750"/>
                  </a:lnTo>
                  <a:lnTo>
                    <a:pt x="50444" y="284480"/>
                  </a:lnTo>
                  <a:lnTo>
                    <a:pt x="49784" y="283210"/>
                  </a:lnTo>
                  <a:lnTo>
                    <a:pt x="49288" y="283210"/>
                  </a:lnTo>
                  <a:lnTo>
                    <a:pt x="50342" y="281940"/>
                  </a:lnTo>
                  <a:lnTo>
                    <a:pt x="50203" y="280670"/>
                  </a:lnTo>
                  <a:lnTo>
                    <a:pt x="48869" y="279400"/>
                  </a:lnTo>
                  <a:lnTo>
                    <a:pt x="48590" y="278130"/>
                  </a:lnTo>
                  <a:lnTo>
                    <a:pt x="49885" y="276860"/>
                  </a:lnTo>
                  <a:lnTo>
                    <a:pt x="49085" y="275590"/>
                  </a:lnTo>
                  <a:lnTo>
                    <a:pt x="48856" y="273050"/>
                  </a:lnTo>
                  <a:lnTo>
                    <a:pt x="48552" y="273050"/>
                  </a:lnTo>
                  <a:lnTo>
                    <a:pt x="47307" y="270510"/>
                  </a:lnTo>
                  <a:lnTo>
                    <a:pt x="47231" y="269240"/>
                  </a:lnTo>
                  <a:lnTo>
                    <a:pt x="49047" y="269240"/>
                  </a:lnTo>
                  <a:lnTo>
                    <a:pt x="48653" y="267970"/>
                  </a:lnTo>
                  <a:lnTo>
                    <a:pt x="47929" y="265430"/>
                  </a:lnTo>
                  <a:lnTo>
                    <a:pt x="45885" y="264160"/>
                  </a:lnTo>
                  <a:lnTo>
                    <a:pt x="47752" y="264160"/>
                  </a:lnTo>
                  <a:lnTo>
                    <a:pt x="48044" y="262890"/>
                  </a:lnTo>
                  <a:lnTo>
                    <a:pt x="48348" y="261620"/>
                  </a:lnTo>
                  <a:lnTo>
                    <a:pt x="47028" y="261620"/>
                  </a:lnTo>
                  <a:lnTo>
                    <a:pt x="47891" y="260350"/>
                  </a:lnTo>
                  <a:lnTo>
                    <a:pt x="46634" y="257810"/>
                  </a:lnTo>
                  <a:lnTo>
                    <a:pt x="45656" y="256654"/>
                  </a:lnTo>
                  <a:lnTo>
                    <a:pt x="45656" y="264160"/>
                  </a:lnTo>
                  <a:lnTo>
                    <a:pt x="45059" y="264160"/>
                  </a:lnTo>
                  <a:lnTo>
                    <a:pt x="44627" y="262991"/>
                  </a:lnTo>
                  <a:lnTo>
                    <a:pt x="44615" y="265430"/>
                  </a:lnTo>
                  <a:lnTo>
                    <a:pt x="44157" y="265430"/>
                  </a:lnTo>
                  <a:lnTo>
                    <a:pt x="43662" y="264160"/>
                  </a:lnTo>
                  <a:lnTo>
                    <a:pt x="43116" y="264160"/>
                  </a:lnTo>
                  <a:lnTo>
                    <a:pt x="44589" y="263029"/>
                  </a:lnTo>
                  <a:lnTo>
                    <a:pt x="44589" y="262890"/>
                  </a:lnTo>
                  <a:lnTo>
                    <a:pt x="44754" y="262890"/>
                  </a:lnTo>
                  <a:lnTo>
                    <a:pt x="45529" y="262890"/>
                  </a:lnTo>
                  <a:lnTo>
                    <a:pt x="45656" y="264160"/>
                  </a:lnTo>
                  <a:lnTo>
                    <a:pt x="45656" y="256654"/>
                  </a:lnTo>
                  <a:lnTo>
                    <a:pt x="46761" y="255270"/>
                  </a:lnTo>
                  <a:lnTo>
                    <a:pt x="46520" y="254000"/>
                  </a:lnTo>
                  <a:lnTo>
                    <a:pt x="46926" y="254000"/>
                  </a:lnTo>
                  <a:lnTo>
                    <a:pt x="46050" y="251460"/>
                  </a:lnTo>
                  <a:lnTo>
                    <a:pt x="44970" y="250190"/>
                  </a:lnTo>
                  <a:lnTo>
                    <a:pt x="44970" y="248920"/>
                  </a:lnTo>
                  <a:lnTo>
                    <a:pt x="46037" y="248920"/>
                  </a:lnTo>
                  <a:lnTo>
                    <a:pt x="46596"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43" y="351790"/>
                  </a:lnTo>
                  <a:lnTo>
                    <a:pt x="13512" y="353060"/>
                  </a:lnTo>
                  <a:lnTo>
                    <a:pt x="13436"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40" y="246380"/>
                  </a:lnTo>
                  <a:lnTo>
                    <a:pt x="5740" y="247650"/>
                  </a:lnTo>
                  <a:lnTo>
                    <a:pt x="5664" y="248348"/>
                  </a:lnTo>
                  <a:lnTo>
                    <a:pt x="5664" y="283210"/>
                  </a:lnTo>
                  <a:lnTo>
                    <a:pt x="5499" y="284480"/>
                  </a:lnTo>
                  <a:lnTo>
                    <a:pt x="5207" y="284480"/>
                  </a:lnTo>
                  <a:lnTo>
                    <a:pt x="5118" y="283210"/>
                  </a:lnTo>
                  <a:lnTo>
                    <a:pt x="5664" y="283210"/>
                  </a:lnTo>
                  <a:lnTo>
                    <a:pt x="5664" y="248348"/>
                  </a:lnTo>
                  <a:lnTo>
                    <a:pt x="5600" y="248920"/>
                  </a:lnTo>
                  <a:lnTo>
                    <a:pt x="4203" y="248920"/>
                  </a:lnTo>
                  <a:lnTo>
                    <a:pt x="4114" y="247650"/>
                  </a:lnTo>
                  <a:lnTo>
                    <a:pt x="5740" y="247650"/>
                  </a:lnTo>
                  <a:lnTo>
                    <a:pt x="5740" y="246380"/>
                  </a:lnTo>
                  <a:lnTo>
                    <a:pt x="3048" y="246380"/>
                  </a:lnTo>
                  <a:lnTo>
                    <a:pt x="3225" y="247650"/>
                  </a:lnTo>
                  <a:lnTo>
                    <a:pt x="2755" y="247650"/>
                  </a:lnTo>
                  <a:lnTo>
                    <a:pt x="2273" y="247650"/>
                  </a:lnTo>
                  <a:lnTo>
                    <a:pt x="1333" y="248920"/>
                  </a:lnTo>
                  <a:lnTo>
                    <a:pt x="2743" y="252730"/>
                  </a:lnTo>
                  <a:lnTo>
                    <a:pt x="2019" y="254000"/>
                  </a:lnTo>
                  <a:lnTo>
                    <a:pt x="2578" y="256540"/>
                  </a:lnTo>
                  <a:lnTo>
                    <a:pt x="1549" y="256540"/>
                  </a:lnTo>
                  <a:lnTo>
                    <a:pt x="2362" y="257810"/>
                  </a:lnTo>
                  <a:lnTo>
                    <a:pt x="3263" y="257810"/>
                  </a:lnTo>
                  <a:lnTo>
                    <a:pt x="3365" y="259080"/>
                  </a:lnTo>
                  <a:lnTo>
                    <a:pt x="2438" y="259080"/>
                  </a:lnTo>
                  <a:lnTo>
                    <a:pt x="2997" y="262890"/>
                  </a:lnTo>
                  <a:lnTo>
                    <a:pt x="0" y="264160"/>
                  </a:lnTo>
                  <a:lnTo>
                    <a:pt x="101" y="265430"/>
                  </a:lnTo>
                  <a:lnTo>
                    <a:pt x="1028" y="265430"/>
                  </a:lnTo>
                  <a:lnTo>
                    <a:pt x="1587" y="266700"/>
                  </a:lnTo>
                  <a:lnTo>
                    <a:pt x="2565" y="265430"/>
                  </a:lnTo>
                  <a:lnTo>
                    <a:pt x="2870" y="265430"/>
                  </a:lnTo>
                  <a:lnTo>
                    <a:pt x="3225" y="266700"/>
                  </a:lnTo>
                  <a:lnTo>
                    <a:pt x="1587" y="266700"/>
                  </a:lnTo>
                  <a:lnTo>
                    <a:pt x="1295" y="266700"/>
                  </a:lnTo>
                  <a:lnTo>
                    <a:pt x="2667" y="269240"/>
                  </a:lnTo>
                  <a:lnTo>
                    <a:pt x="2019"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54" y="283210"/>
                  </a:lnTo>
                  <a:lnTo>
                    <a:pt x="1168" y="287020"/>
                  </a:lnTo>
                  <a:lnTo>
                    <a:pt x="1638" y="288290"/>
                  </a:lnTo>
                  <a:lnTo>
                    <a:pt x="3263" y="289560"/>
                  </a:lnTo>
                  <a:lnTo>
                    <a:pt x="3505" y="290830"/>
                  </a:lnTo>
                  <a:lnTo>
                    <a:pt x="2095" y="292100"/>
                  </a:lnTo>
                  <a:lnTo>
                    <a:pt x="3175" y="293370"/>
                  </a:lnTo>
                  <a:lnTo>
                    <a:pt x="2095" y="295910"/>
                  </a:lnTo>
                  <a:lnTo>
                    <a:pt x="2222" y="297180"/>
                  </a:lnTo>
                  <a:lnTo>
                    <a:pt x="3327" y="300990"/>
                  </a:lnTo>
                  <a:lnTo>
                    <a:pt x="4165" y="306070"/>
                  </a:lnTo>
                  <a:lnTo>
                    <a:pt x="3987" y="309880"/>
                  </a:lnTo>
                  <a:lnTo>
                    <a:pt x="4559" y="312420"/>
                  </a:lnTo>
                  <a:lnTo>
                    <a:pt x="5245" y="314960"/>
                  </a:lnTo>
                  <a:lnTo>
                    <a:pt x="5130" y="318770"/>
                  </a:lnTo>
                  <a:lnTo>
                    <a:pt x="6629" y="321310"/>
                  </a:lnTo>
                  <a:lnTo>
                    <a:pt x="6667" y="322580"/>
                  </a:lnTo>
                  <a:lnTo>
                    <a:pt x="6540" y="325120"/>
                  </a:lnTo>
                  <a:lnTo>
                    <a:pt x="6477" y="328930"/>
                  </a:lnTo>
                  <a:lnTo>
                    <a:pt x="7239" y="330200"/>
                  </a:lnTo>
                  <a:lnTo>
                    <a:pt x="6794" y="331470"/>
                  </a:lnTo>
                  <a:lnTo>
                    <a:pt x="7010" y="332740"/>
                  </a:lnTo>
                  <a:lnTo>
                    <a:pt x="7823" y="334010"/>
                  </a:lnTo>
                  <a:lnTo>
                    <a:pt x="10147" y="339090"/>
                  </a:lnTo>
                  <a:lnTo>
                    <a:pt x="10337" y="340360"/>
                  </a:lnTo>
                  <a:lnTo>
                    <a:pt x="9398" y="344170"/>
                  </a:lnTo>
                  <a:lnTo>
                    <a:pt x="9144" y="345440"/>
                  </a:lnTo>
                  <a:lnTo>
                    <a:pt x="8851" y="345440"/>
                  </a:lnTo>
                  <a:lnTo>
                    <a:pt x="8801" y="346710"/>
                  </a:lnTo>
                  <a:lnTo>
                    <a:pt x="9563" y="347980"/>
                  </a:lnTo>
                  <a:lnTo>
                    <a:pt x="10248" y="347980"/>
                  </a:lnTo>
                  <a:lnTo>
                    <a:pt x="11747" y="346710"/>
                  </a:lnTo>
                  <a:lnTo>
                    <a:pt x="11747" y="347980"/>
                  </a:lnTo>
                  <a:lnTo>
                    <a:pt x="11404" y="350520"/>
                  </a:lnTo>
                  <a:lnTo>
                    <a:pt x="10960" y="351790"/>
                  </a:lnTo>
                  <a:lnTo>
                    <a:pt x="12712" y="354330"/>
                  </a:lnTo>
                  <a:lnTo>
                    <a:pt x="12954" y="355600"/>
                  </a:lnTo>
                  <a:lnTo>
                    <a:pt x="13449" y="356870"/>
                  </a:lnTo>
                  <a:lnTo>
                    <a:pt x="13639" y="358140"/>
                  </a:lnTo>
                  <a:lnTo>
                    <a:pt x="14986" y="358140"/>
                  </a:lnTo>
                  <a:lnTo>
                    <a:pt x="14986" y="359410"/>
                  </a:lnTo>
                  <a:lnTo>
                    <a:pt x="15760" y="360680"/>
                  </a:lnTo>
                  <a:lnTo>
                    <a:pt x="16802" y="361950"/>
                  </a:lnTo>
                  <a:lnTo>
                    <a:pt x="18415"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58" y="373380"/>
                  </a:lnTo>
                  <a:lnTo>
                    <a:pt x="25260" y="374650"/>
                  </a:lnTo>
                  <a:lnTo>
                    <a:pt x="27178" y="374650"/>
                  </a:lnTo>
                  <a:lnTo>
                    <a:pt x="28409" y="375920"/>
                  </a:lnTo>
                  <a:lnTo>
                    <a:pt x="29603" y="373380"/>
                  </a:lnTo>
                  <a:lnTo>
                    <a:pt x="29921" y="373380"/>
                  </a:lnTo>
                  <a:lnTo>
                    <a:pt x="30594" y="374650"/>
                  </a:lnTo>
                  <a:lnTo>
                    <a:pt x="30149" y="375920"/>
                  </a:lnTo>
                  <a:lnTo>
                    <a:pt x="31013" y="377190"/>
                  </a:lnTo>
                  <a:lnTo>
                    <a:pt x="33909" y="377190"/>
                  </a:lnTo>
                  <a:lnTo>
                    <a:pt x="34937" y="378460"/>
                  </a:lnTo>
                  <a:lnTo>
                    <a:pt x="35560" y="378460"/>
                  </a:lnTo>
                  <a:lnTo>
                    <a:pt x="36360" y="379730"/>
                  </a:lnTo>
                  <a:lnTo>
                    <a:pt x="40640" y="379730"/>
                  </a:lnTo>
                  <a:lnTo>
                    <a:pt x="40474" y="378460"/>
                  </a:lnTo>
                  <a:lnTo>
                    <a:pt x="41211" y="377266"/>
                  </a:lnTo>
                  <a:lnTo>
                    <a:pt x="42468"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29" y="370840"/>
                  </a:lnTo>
                  <a:lnTo>
                    <a:pt x="62268" y="369570"/>
                  </a:lnTo>
                  <a:lnTo>
                    <a:pt x="62750"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92" y="356870"/>
                  </a:lnTo>
                  <a:lnTo>
                    <a:pt x="76212" y="355600"/>
                  </a:lnTo>
                  <a:lnTo>
                    <a:pt x="76492" y="355600"/>
                  </a:lnTo>
                  <a:lnTo>
                    <a:pt x="76987" y="354330"/>
                  </a:lnTo>
                  <a:lnTo>
                    <a:pt x="77647" y="353060"/>
                  </a:lnTo>
                  <a:lnTo>
                    <a:pt x="78955" y="350520"/>
                  </a:lnTo>
                  <a:lnTo>
                    <a:pt x="79908" y="349250"/>
                  </a:lnTo>
                  <a:lnTo>
                    <a:pt x="80302" y="346710"/>
                  </a:lnTo>
                  <a:lnTo>
                    <a:pt x="81165" y="346710"/>
                  </a:lnTo>
                  <a:lnTo>
                    <a:pt x="81457" y="347980"/>
                  </a:lnTo>
                  <a:lnTo>
                    <a:pt x="81991" y="346710"/>
                  </a:lnTo>
                  <a:lnTo>
                    <a:pt x="82511" y="345440"/>
                  </a:lnTo>
                  <a:lnTo>
                    <a:pt x="82791" y="344170"/>
                  </a:lnTo>
                  <a:lnTo>
                    <a:pt x="84340" y="345440"/>
                  </a:lnTo>
                  <a:lnTo>
                    <a:pt x="84391" y="344170"/>
                  </a:lnTo>
                  <a:lnTo>
                    <a:pt x="84467" y="341630"/>
                  </a:lnTo>
                  <a:lnTo>
                    <a:pt x="85026" y="339090"/>
                  </a:lnTo>
                  <a:lnTo>
                    <a:pt x="87172" y="339090"/>
                  </a:lnTo>
                  <a:lnTo>
                    <a:pt x="88506" y="335280"/>
                  </a:lnTo>
                  <a:lnTo>
                    <a:pt x="90208" y="335280"/>
                  </a:lnTo>
                  <a:lnTo>
                    <a:pt x="90208" y="332740"/>
                  </a:lnTo>
                  <a:lnTo>
                    <a:pt x="90881" y="331470"/>
                  </a:lnTo>
                  <a:lnTo>
                    <a:pt x="92760" y="328930"/>
                  </a:lnTo>
                  <a:lnTo>
                    <a:pt x="93395" y="327660"/>
                  </a:lnTo>
                  <a:lnTo>
                    <a:pt x="93624" y="327660"/>
                  </a:lnTo>
                  <a:lnTo>
                    <a:pt x="93675" y="326390"/>
                  </a:lnTo>
                  <a:lnTo>
                    <a:pt x="94259" y="326390"/>
                  </a:lnTo>
                  <a:lnTo>
                    <a:pt x="94818" y="325120"/>
                  </a:lnTo>
                  <a:lnTo>
                    <a:pt x="95351" y="323850"/>
                  </a:lnTo>
                  <a:lnTo>
                    <a:pt x="96253" y="322580"/>
                  </a:lnTo>
                  <a:lnTo>
                    <a:pt x="97015" y="322580"/>
                  </a:lnTo>
                  <a:lnTo>
                    <a:pt x="96761" y="321310"/>
                  </a:lnTo>
                  <a:lnTo>
                    <a:pt x="97116" y="320040"/>
                  </a:lnTo>
                  <a:lnTo>
                    <a:pt x="99250" y="317500"/>
                  </a:lnTo>
                  <a:lnTo>
                    <a:pt x="99796" y="316230"/>
                  </a:lnTo>
                  <a:lnTo>
                    <a:pt x="100342" y="314960"/>
                  </a:lnTo>
                  <a:lnTo>
                    <a:pt x="100888"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91" y="304800"/>
                  </a:lnTo>
                  <a:lnTo>
                    <a:pt x="107137" y="303530"/>
                  </a:lnTo>
                  <a:lnTo>
                    <a:pt x="107022" y="302260"/>
                  </a:lnTo>
                  <a:lnTo>
                    <a:pt x="107454"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64" y="294640"/>
                  </a:lnTo>
                  <a:lnTo>
                    <a:pt x="113004" y="294640"/>
                  </a:lnTo>
                  <a:lnTo>
                    <a:pt x="112864" y="293370"/>
                  </a:lnTo>
                  <a:lnTo>
                    <a:pt x="113169" y="293370"/>
                  </a:lnTo>
                  <a:lnTo>
                    <a:pt x="113093" y="292874"/>
                  </a:lnTo>
                  <a:lnTo>
                    <a:pt x="113042" y="290830"/>
                  </a:lnTo>
                  <a:lnTo>
                    <a:pt x="114160" y="290830"/>
                  </a:lnTo>
                  <a:lnTo>
                    <a:pt x="115874" y="289560"/>
                  </a:lnTo>
                  <a:lnTo>
                    <a:pt x="115404" y="289560"/>
                  </a:lnTo>
                  <a:lnTo>
                    <a:pt x="115062" y="288290"/>
                  </a:lnTo>
                  <a:lnTo>
                    <a:pt x="115023" y="287020"/>
                  </a:lnTo>
                  <a:lnTo>
                    <a:pt x="115201" y="287020"/>
                  </a:lnTo>
                  <a:lnTo>
                    <a:pt x="115379" y="288290"/>
                  </a:lnTo>
                  <a:lnTo>
                    <a:pt x="116370" y="288290"/>
                  </a:lnTo>
                  <a:lnTo>
                    <a:pt x="116217" y="287020"/>
                  </a:lnTo>
                  <a:lnTo>
                    <a:pt x="116916" y="287020"/>
                  </a:lnTo>
                  <a:lnTo>
                    <a:pt x="116547" y="285750"/>
                  </a:lnTo>
                  <a:lnTo>
                    <a:pt x="117906" y="285750"/>
                  </a:lnTo>
                  <a:lnTo>
                    <a:pt x="118694" y="284480"/>
                  </a:lnTo>
                  <a:lnTo>
                    <a:pt x="118211" y="284480"/>
                  </a:lnTo>
                  <a:lnTo>
                    <a:pt x="118148" y="284314"/>
                  </a:lnTo>
                  <a:lnTo>
                    <a:pt x="117754" y="283210"/>
                  </a:lnTo>
                  <a:lnTo>
                    <a:pt x="118313" y="283210"/>
                  </a:lnTo>
                  <a:lnTo>
                    <a:pt x="118148" y="284314"/>
                  </a:lnTo>
                  <a:lnTo>
                    <a:pt x="118948" y="283210"/>
                  </a:lnTo>
                  <a:lnTo>
                    <a:pt x="119113" y="283210"/>
                  </a:lnTo>
                  <a:lnTo>
                    <a:pt x="119075" y="281940"/>
                  </a:lnTo>
                  <a:lnTo>
                    <a:pt x="120611" y="281940"/>
                  </a:lnTo>
                  <a:lnTo>
                    <a:pt x="120980" y="280670"/>
                  </a:lnTo>
                  <a:lnTo>
                    <a:pt x="122174" y="280670"/>
                  </a:lnTo>
                  <a:lnTo>
                    <a:pt x="122034" y="279400"/>
                  </a:lnTo>
                  <a:lnTo>
                    <a:pt x="121488" y="278130"/>
                  </a:lnTo>
                  <a:lnTo>
                    <a:pt x="121843"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92" y="269240"/>
                  </a:lnTo>
                  <a:lnTo>
                    <a:pt x="126606" y="267970"/>
                  </a:lnTo>
                  <a:lnTo>
                    <a:pt x="126568" y="269240"/>
                  </a:lnTo>
                  <a:lnTo>
                    <a:pt x="127050" y="269240"/>
                  </a:lnTo>
                  <a:lnTo>
                    <a:pt x="126873" y="270510"/>
                  </a:lnTo>
                  <a:lnTo>
                    <a:pt x="127228" y="270510"/>
                  </a:lnTo>
                  <a:lnTo>
                    <a:pt x="127342" y="269240"/>
                  </a:lnTo>
                  <a:lnTo>
                    <a:pt x="127393" y="267970"/>
                  </a:lnTo>
                  <a:lnTo>
                    <a:pt x="128231" y="267970"/>
                  </a:lnTo>
                  <a:lnTo>
                    <a:pt x="128790"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73"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71" y="241300"/>
                  </a:lnTo>
                  <a:lnTo>
                    <a:pt x="144932" y="241300"/>
                  </a:lnTo>
                  <a:lnTo>
                    <a:pt x="145288" y="240030"/>
                  </a:lnTo>
                  <a:lnTo>
                    <a:pt x="146659" y="240030"/>
                  </a:lnTo>
                  <a:lnTo>
                    <a:pt x="146850" y="238760"/>
                  </a:lnTo>
                  <a:lnTo>
                    <a:pt x="146240" y="238760"/>
                  </a:lnTo>
                  <a:lnTo>
                    <a:pt x="146469" y="237490"/>
                  </a:lnTo>
                  <a:lnTo>
                    <a:pt x="146824" y="236220"/>
                  </a:lnTo>
                  <a:lnTo>
                    <a:pt x="147421" y="234950"/>
                  </a:lnTo>
                  <a:lnTo>
                    <a:pt x="149606" y="234950"/>
                  </a:lnTo>
                  <a:lnTo>
                    <a:pt x="149072" y="233680"/>
                  </a:lnTo>
                  <a:lnTo>
                    <a:pt x="149136" y="232410"/>
                  </a:lnTo>
                  <a:lnTo>
                    <a:pt x="150215" y="232410"/>
                  </a:lnTo>
                  <a:lnTo>
                    <a:pt x="152006" y="231140"/>
                  </a:lnTo>
                  <a:lnTo>
                    <a:pt x="152196" y="231140"/>
                  </a:lnTo>
                  <a:lnTo>
                    <a:pt x="151663" y="229870"/>
                  </a:lnTo>
                  <a:lnTo>
                    <a:pt x="151498" y="228600"/>
                  </a:lnTo>
                  <a:lnTo>
                    <a:pt x="152514" y="228600"/>
                  </a:lnTo>
                  <a:lnTo>
                    <a:pt x="153009" y="227330"/>
                  </a:lnTo>
                  <a:lnTo>
                    <a:pt x="154724" y="227330"/>
                  </a:lnTo>
                  <a:lnTo>
                    <a:pt x="154914" y="226060"/>
                  </a:lnTo>
                  <a:lnTo>
                    <a:pt x="154813" y="224790"/>
                  </a:lnTo>
                  <a:lnTo>
                    <a:pt x="155244" y="224790"/>
                  </a:lnTo>
                  <a:lnTo>
                    <a:pt x="155651" y="223520"/>
                  </a:lnTo>
                  <a:lnTo>
                    <a:pt x="156629" y="223520"/>
                  </a:lnTo>
                  <a:lnTo>
                    <a:pt x="156933" y="222250"/>
                  </a:lnTo>
                  <a:lnTo>
                    <a:pt x="157518" y="220980"/>
                  </a:lnTo>
                  <a:lnTo>
                    <a:pt x="158051" y="219710"/>
                  </a:lnTo>
                  <a:lnTo>
                    <a:pt x="158940" y="219710"/>
                  </a:lnTo>
                  <a:lnTo>
                    <a:pt x="160007" y="217170"/>
                  </a:lnTo>
                  <a:lnTo>
                    <a:pt x="160502" y="215900"/>
                  </a:lnTo>
                  <a:lnTo>
                    <a:pt x="161785" y="215900"/>
                  </a:lnTo>
                  <a:lnTo>
                    <a:pt x="162941" y="212090"/>
                  </a:lnTo>
                  <a:lnTo>
                    <a:pt x="164287" y="210820"/>
                  </a:lnTo>
                  <a:lnTo>
                    <a:pt x="165328" y="208280"/>
                  </a:lnTo>
                  <a:lnTo>
                    <a:pt x="167271" y="207010"/>
                  </a:lnTo>
                  <a:lnTo>
                    <a:pt x="166852" y="205740"/>
                  </a:lnTo>
                  <a:lnTo>
                    <a:pt x="167132" y="205740"/>
                  </a:lnTo>
                  <a:lnTo>
                    <a:pt x="167601" y="204470"/>
                  </a:lnTo>
                  <a:lnTo>
                    <a:pt x="169684" y="203200"/>
                  </a:lnTo>
                  <a:lnTo>
                    <a:pt x="170738" y="200660"/>
                  </a:lnTo>
                  <a:lnTo>
                    <a:pt x="171970" y="198120"/>
                  </a:lnTo>
                  <a:lnTo>
                    <a:pt x="172593" y="198120"/>
                  </a:lnTo>
                  <a:lnTo>
                    <a:pt x="173050" y="196850"/>
                  </a:lnTo>
                  <a:lnTo>
                    <a:pt x="172923" y="194310"/>
                  </a:lnTo>
                  <a:lnTo>
                    <a:pt x="173977" y="195580"/>
                  </a:lnTo>
                  <a:lnTo>
                    <a:pt x="175323" y="194310"/>
                  </a:lnTo>
                  <a:lnTo>
                    <a:pt x="176022" y="194310"/>
                  </a:lnTo>
                  <a:lnTo>
                    <a:pt x="175742" y="193040"/>
                  </a:lnTo>
                  <a:lnTo>
                    <a:pt x="177101"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26" y="182880"/>
                  </a:lnTo>
                  <a:lnTo>
                    <a:pt x="183400" y="181610"/>
                  </a:lnTo>
                  <a:lnTo>
                    <a:pt x="184861" y="181610"/>
                  </a:lnTo>
                  <a:lnTo>
                    <a:pt x="184899" y="180340"/>
                  </a:lnTo>
                  <a:lnTo>
                    <a:pt x="185140" y="179070"/>
                  </a:lnTo>
                  <a:lnTo>
                    <a:pt x="186855" y="179070"/>
                  </a:lnTo>
                  <a:lnTo>
                    <a:pt x="186905"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08" y="167640"/>
                  </a:lnTo>
                  <a:lnTo>
                    <a:pt x="194716" y="166370"/>
                  </a:lnTo>
                  <a:lnTo>
                    <a:pt x="193916" y="166370"/>
                  </a:lnTo>
                  <a:lnTo>
                    <a:pt x="194652" y="165100"/>
                  </a:lnTo>
                  <a:lnTo>
                    <a:pt x="194741" y="166370"/>
                  </a:lnTo>
                  <a:lnTo>
                    <a:pt x="195211" y="166370"/>
                  </a:lnTo>
                  <a:lnTo>
                    <a:pt x="196062" y="165100"/>
                  </a:lnTo>
                  <a:lnTo>
                    <a:pt x="195846" y="165100"/>
                  </a:lnTo>
                  <a:lnTo>
                    <a:pt x="196049" y="163830"/>
                  </a:lnTo>
                  <a:lnTo>
                    <a:pt x="196430" y="163830"/>
                  </a:lnTo>
                  <a:lnTo>
                    <a:pt x="196811" y="162560"/>
                  </a:lnTo>
                  <a:lnTo>
                    <a:pt x="197154" y="162560"/>
                  </a:lnTo>
                  <a:lnTo>
                    <a:pt x="197396" y="161290"/>
                  </a:lnTo>
                  <a:lnTo>
                    <a:pt x="198678" y="160020"/>
                  </a:lnTo>
                  <a:lnTo>
                    <a:pt x="199694" y="160020"/>
                  </a:lnTo>
                  <a:lnTo>
                    <a:pt x="199910" y="158750"/>
                  </a:lnTo>
                  <a:lnTo>
                    <a:pt x="200596" y="157480"/>
                  </a:lnTo>
                  <a:lnTo>
                    <a:pt x="201269" y="157480"/>
                  </a:lnTo>
                  <a:lnTo>
                    <a:pt x="201739" y="154940"/>
                  </a:lnTo>
                  <a:lnTo>
                    <a:pt x="203530" y="154940"/>
                  </a:lnTo>
                  <a:lnTo>
                    <a:pt x="203466" y="153670"/>
                  </a:lnTo>
                  <a:lnTo>
                    <a:pt x="204139" y="153670"/>
                  </a:lnTo>
                  <a:lnTo>
                    <a:pt x="204203" y="152400"/>
                  </a:lnTo>
                  <a:lnTo>
                    <a:pt x="205486" y="152400"/>
                  </a:lnTo>
                  <a:lnTo>
                    <a:pt x="205003"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82" y="139700"/>
                  </a:lnTo>
                  <a:lnTo>
                    <a:pt x="213271" y="139700"/>
                  </a:lnTo>
                  <a:lnTo>
                    <a:pt x="213779" y="138430"/>
                  </a:lnTo>
                  <a:lnTo>
                    <a:pt x="215798" y="138430"/>
                  </a:lnTo>
                  <a:lnTo>
                    <a:pt x="216166" y="137160"/>
                  </a:lnTo>
                  <a:lnTo>
                    <a:pt x="216662" y="135890"/>
                  </a:lnTo>
                  <a:lnTo>
                    <a:pt x="217093" y="134620"/>
                  </a:lnTo>
                  <a:lnTo>
                    <a:pt x="217678" y="133350"/>
                  </a:lnTo>
                  <a:lnTo>
                    <a:pt x="219760" y="133350"/>
                  </a:lnTo>
                  <a:lnTo>
                    <a:pt x="220319" y="132080"/>
                  </a:lnTo>
                  <a:lnTo>
                    <a:pt x="221767" y="129540"/>
                  </a:lnTo>
                  <a:lnTo>
                    <a:pt x="222148" y="128270"/>
                  </a:lnTo>
                  <a:lnTo>
                    <a:pt x="222885" y="128270"/>
                  </a:lnTo>
                  <a:lnTo>
                    <a:pt x="222885" y="127000"/>
                  </a:lnTo>
                  <a:lnTo>
                    <a:pt x="224688" y="127000"/>
                  </a:lnTo>
                  <a:lnTo>
                    <a:pt x="224828" y="125730"/>
                  </a:lnTo>
                  <a:lnTo>
                    <a:pt x="225056" y="125730"/>
                  </a:lnTo>
                  <a:lnTo>
                    <a:pt x="225348" y="124460"/>
                  </a:lnTo>
                  <a:lnTo>
                    <a:pt x="225590" y="124460"/>
                  </a:lnTo>
                  <a:lnTo>
                    <a:pt x="226504" y="123190"/>
                  </a:lnTo>
                  <a:lnTo>
                    <a:pt x="227863" y="121920"/>
                  </a:lnTo>
                  <a:lnTo>
                    <a:pt x="228422" y="120650"/>
                  </a:lnTo>
                  <a:lnTo>
                    <a:pt x="229590" y="120650"/>
                  </a:lnTo>
                  <a:lnTo>
                    <a:pt x="229793" y="119380"/>
                  </a:lnTo>
                  <a:lnTo>
                    <a:pt x="230174" y="118110"/>
                  </a:lnTo>
                  <a:lnTo>
                    <a:pt x="230809" y="118110"/>
                  </a:lnTo>
                  <a:lnTo>
                    <a:pt x="231063" y="116840"/>
                  </a:lnTo>
                  <a:lnTo>
                    <a:pt x="231597"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20" y="91440"/>
                  </a:lnTo>
                  <a:lnTo>
                    <a:pt x="253098" y="90170"/>
                  </a:lnTo>
                  <a:lnTo>
                    <a:pt x="254063" y="88900"/>
                  </a:lnTo>
                  <a:lnTo>
                    <a:pt x="254901" y="87630"/>
                  </a:lnTo>
                  <a:lnTo>
                    <a:pt x="255524" y="88900"/>
                  </a:lnTo>
                  <a:lnTo>
                    <a:pt x="255638" y="87630"/>
                  </a:lnTo>
                  <a:lnTo>
                    <a:pt x="255854" y="86360"/>
                  </a:lnTo>
                  <a:lnTo>
                    <a:pt x="256616" y="86360"/>
                  </a:lnTo>
                  <a:lnTo>
                    <a:pt x="257670" y="85090"/>
                  </a:lnTo>
                  <a:lnTo>
                    <a:pt x="258343" y="85090"/>
                  </a:lnTo>
                  <a:lnTo>
                    <a:pt x="258445" y="83820"/>
                  </a:lnTo>
                  <a:lnTo>
                    <a:pt x="260108" y="83820"/>
                  </a:lnTo>
                  <a:lnTo>
                    <a:pt x="260286" y="82550"/>
                  </a:lnTo>
                  <a:lnTo>
                    <a:pt x="261264" y="81280"/>
                  </a:lnTo>
                  <a:lnTo>
                    <a:pt x="261327" y="80010"/>
                  </a:lnTo>
                  <a:lnTo>
                    <a:pt x="263588" y="78740"/>
                  </a:lnTo>
                  <a:lnTo>
                    <a:pt x="263829" y="78740"/>
                  </a:lnTo>
                  <a:lnTo>
                    <a:pt x="263664" y="77470"/>
                  </a:lnTo>
                  <a:lnTo>
                    <a:pt x="264985" y="77470"/>
                  </a:lnTo>
                  <a:lnTo>
                    <a:pt x="265353" y="76200"/>
                  </a:lnTo>
                  <a:lnTo>
                    <a:pt x="265480" y="76200"/>
                  </a:lnTo>
                  <a:lnTo>
                    <a:pt x="266014" y="74930"/>
                  </a:lnTo>
                  <a:lnTo>
                    <a:pt x="268185" y="74930"/>
                  </a:lnTo>
                  <a:lnTo>
                    <a:pt x="267639" y="73660"/>
                  </a:lnTo>
                  <a:lnTo>
                    <a:pt x="268173" y="72390"/>
                  </a:lnTo>
                  <a:lnTo>
                    <a:pt x="270167" y="72390"/>
                  </a:lnTo>
                  <a:lnTo>
                    <a:pt x="271335" y="69850"/>
                  </a:lnTo>
                  <a:lnTo>
                    <a:pt x="273329" y="68580"/>
                  </a:lnTo>
                  <a:lnTo>
                    <a:pt x="274980" y="66040"/>
                  </a:lnTo>
                  <a:lnTo>
                    <a:pt x="275475" y="66040"/>
                  </a:lnTo>
                  <a:lnTo>
                    <a:pt x="276263" y="64770"/>
                  </a:lnTo>
                  <a:lnTo>
                    <a:pt x="276529" y="64770"/>
                  </a:lnTo>
                  <a:lnTo>
                    <a:pt x="276402"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388" y="52070"/>
                  </a:lnTo>
                  <a:lnTo>
                    <a:pt x="287794" y="50800"/>
                  </a:lnTo>
                  <a:lnTo>
                    <a:pt x="288607" y="50800"/>
                  </a:lnTo>
                  <a:lnTo>
                    <a:pt x="289826" y="49530"/>
                  </a:lnTo>
                  <a:lnTo>
                    <a:pt x="288912" y="52070"/>
                  </a:lnTo>
                  <a:lnTo>
                    <a:pt x="290220" y="49530"/>
                  </a:lnTo>
                  <a:lnTo>
                    <a:pt x="292862" y="45720"/>
                  </a:lnTo>
                  <a:lnTo>
                    <a:pt x="293446" y="44450"/>
                  </a:lnTo>
                  <a:lnTo>
                    <a:pt x="293649" y="45720"/>
                  </a:lnTo>
                  <a:lnTo>
                    <a:pt x="294462" y="45720"/>
                  </a:lnTo>
                  <a:lnTo>
                    <a:pt x="294462" y="44450"/>
                  </a:lnTo>
                  <a:lnTo>
                    <a:pt x="294741" y="44450"/>
                  </a:lnTo>
                  <a:lnTo>
                    <a:pt x="295871" y="43180"/>
                  </a:lnTo>
                  <a:lnTo>
                    <a:pt x="296062" y="43180"/>
                  </a:lnTo>
                  <a:lnTo>
                    <a:pt x="295059" y="41910"/>
                  </a:lnTo>
                  <a:lnTo>
                    <a:pt x="297916" y="41910"/>
                  </a:lnTo>
                  <a:lnTo>
                    <a:pt x="297484" y="40640"/>
                  </a:lnTo>
                  <a:lnTo>
                    <a:pt x="296494" y="40640"/>
                  </a:lnTo>
                  <a:lnTo>
                    <a:pt x="297307" y="39370"/>
                  </a:lnTo>
                  <a:lnTo>
                    <a:pt x="297434"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21" y="27940"/>
                  </a:lnTo>
                  <a:lnTo>
                    <a:pt x="317385" y="22860"/>
                  </a:lnTo>
                  <a:lnTo>
                    <a:pt x="318757" y="22860"/>
                  </a:lnTo>
                  <a:lnTo>
                    <a:pt x="317474" y="21590"/>
                  </a:lnTo>
                  <a:lnTo>
                    <a:pt x="318731" y="21590"/>
                  </a:lnTo>
                  <a:lnTo>
                    <a:pt x="319176" y="22860"/>
                  </a:lnTo>
                  <a:lnTo>
                    <a:pt x="319671" y="21590"/>
                  </a:lnTo>
                  <a:lnTo>
                    <a:pt x="320179" y="20320"/>
                  </a:lnTo>
                  <a:lnTo>
                    <a:pt x="321970" y="19050"/>
                  </a:lnTo>
                  <a:lnTo>
                    <a:pt x="324878" y="17780"/>
                  </a:lnTo>
                  <a:lnTo>
                    <a:pt x="325742" y="17780"/>
                  </a:lnTo>
                  <a:lnTo>
                    <a:pt x="326644" y="16510"/>
                  </a:lnTo>
                  <a:lnTo>
                    <a:pt x="327545" y="15240"/>
                  </a:lnTo>
                  <a:lnTo>
                    <a:pt x="328434" y="15240"/>
                  </a:lnTo>
                  <a:lnTo>
                    <a:pt x="329704" y="13970"/>
                  </a:lnTo>
                  <a:lnTo>
                    <a:pt x="328244" y="13970"/>
                  </a:lnTo>
                  <a:lnTo>
                    <a:pt x="327850" y="14020"/>
                  </a:lnTo>
                  <a:lnTo>
                    <a:pt x="327507" y="14173"/>
                  </a:lnTo>
                  <a:lnTo>
                    <a:pt x="327660" y="14274"/>
                  </a:lnTo>
                  <a:lnTo>
                    <a:pt x="326110" y="15240"/>
                  </a:lnTo>
                  <a:lnTo>
                    <a:pt x="326326" y="13970"/>
                  </a:lnTo>
                  <a:lnTo>
                    <a:pt x="327469" y="13970"/>
                  </a:lnTo>
                  <a:lnTo>
                    <a:pt x="327977" y="12700"/>
                  </a:lnTo>
                  <a:lnTo>
                    <a:pt x="329996" y="12700"/>
                  </a:lnTo>
                  <a:lnTo>
                    <a:pt x="330377" y="13970"/>
                  </a:lnTo>
                  <a:lnTo>
                    <a:pt x="331533" y="12700"/>
                  </a:lnTo>
                  <a:lnTo>
                    <a:pt x="330441" y="12700"/>
                  </a:lnTo>
                  <a:lnTo>
                    <a:pt x="330352" y="12306"/>
                  </a:lnTo>
                  <a:lnTo>
                    <a:pt x="332041" y="11785"/>
                  </a:lnTo>
                  <a:lnTo>
                    <a:pt x="332587" y="9982"/>
                  </a:lnTo>
                  <a:lnTo>
                    <a:pt x="332994" y="9690"/>
                  </a:lnTo>
                  <a:lnTo>
                    <a:pt x="333375" y="9918"/>
                  </a:lnTo>
                  <a:close/>
                </a:path>
              </a:pathLst>
            </a:custGeom>
            <a:solidFill>
              <a:srgbClr val="D02929"/>
            </a:solidFill>
          </p:spPr>
          <p:txBody>
            <a:bodyPr wrap="square" lIns="0" tIns="0" rIns="0" bIns="0" rtlCol="0"/>
            <a:lstStyle/>
            <a:p>
              <a:endParaRPr/>
            </a:p>
          </p:txBody>
        </p:sp>
      </p:grpSp>
      <p:sp>
        <p:nvSpPr>
          <p:cNvPr id="11" name="object 11"/>
          <p:cNvSpPr txBox="1"/>
          <p:nvPr/>
        </p:nvSpPr>
        <p:spPr>
          <a:xfrm>
            <a:off x="2605041" y="4485664"/>
            <a:ext cx="1912620" cy="330835"/>
          </a:xfrm>
          <a:prstGeom prst="rect">
            <a:avLst/>
          </a:prstGeom>
        </p:spPr>
        <p:txBody>
          <a:bodyPr vert="horz" wrap="square" lIns="0" tIns="12700" rIns="0" bIns="0" rtlCol="0">
            <a:spAutoFit/>
          </a:bodyPr>
          <a:lstStyle/>
          <a:p>
            <a:pPr marL="12700">
              <a:lnSpc>
                <a:spcPct val="100000"/>
              </a:lnSpc>
              <a:spcBef>
                <a:spcPts val="100"/>
              </a:spcBef>
            </a:pPr>
            <a:r>
              <a:rPr sz="2000" b="1" spc="-10" dirty="0">
                <a:solidFill>
                  <a:srgbClr val="FFFFFF"/>
                </a:solidFill>
                <a:latin typeface="Roboto"/>
                <a:cs typeface="Roboto"/>
              </a:rPr>
              <a:t>CONOCIMIENTO</a:t>
            </a:r>
            <a:endParaRPr sz="2000">
              <a:latin typeface="Roboto"/>
              <a:cs typeface="Roboto"/>
            </a:endParaRPr>
          </a:p>
        </p:txBody>
      </p:sp>
      <p:grpSp>
        <p:nvGrpSpPr>
          <p:cNvPr id="12" name="object 12"/>
          <p:cNvGrpSpPr/>
          <p:nvPr/>
        </p:nvGrpSpPr>
        <p:grpSpPr>
          <a:xfrm>
            <a:off x="7147104" y="3766222"/>
            <a:ext cx="3247390" cy="1437640"/>
            <a:chOff x="7147104" y="3766222"/>
            <a:chExt cx="3247390" cy="1437640"/>
          </a:xfrm>
        </p:grpSpPr>
        <p:sp>
          <p:nvSpPr>
            <p:cNvPr id="13" name="object 13"/>
            <p:cNvSpPr/>
            <p:nvPr/>
          </p:nvSpPr>
          <p:spPr>
            <a:xfrm>
              <a:off x="7147104" y="4119882"/>
              <a:ext cx="3247390" cy="1083945"/>
            </a:xfrm>
            <a:custGeom>
              <a:avLst/>
              <a:gdLst/>
              <a:ahLst/>
              <a:cxnLst/>
              <a:rect l="l" t="t" r="r" b="b"/>
              <a:pathLst>
                <a:path w="3247390" h="1083945">
                  <a:moveTo>
                    <a:pt x="2764917" y="1083556"/>
                  </a:moveTo>
                  <a:lnTo>
                    <a:pt x="485774" y="1083556"/>
                  </a:lnTo>
                  <a:lnTo>
                    <a:pt x="437762" y="1081179"/>
                  </a:lnTo>
                  <a:lnTo>
                    <a:pt x="390562" y="1074135"/>
                  </a:lnTo>
                  <a:lnTo>
                    <a:pt x="344494" y="1062558"/>
                  </a:lnTo>
                  <a:lnTo>
                    <a:pt x="299877" y="1046578"/>
                  </a:lnTo>
                  <a:lnTo>
                    <a:pt x="257028" y="1026328"/>
                  </a:lnTo>
                  <a:lnTo>
                    <a:pt x="216266" y="1001940"/>
                  </a:lnTo>
                  <a:lnTo>
                    <a:pt x="177911" y="973545"/>
                  </a:lnTo>
                  <a:lnTo>
                    <a:pt x="142280" y="941276"/>
                  </a:lnTo>
                  <a:lnTo>
                    <a:pt x="110011" y="905645"/>
                  </a:lnTo>
                  <a:lnTo>
                    <a:pt x="81616" y="867289"/>
                  </a:lnTo>
                  <a:lnTo>
                    <a:pt x="57227" y="826528"/>
                  </a:lnTo>
                  <a:lnTo>
                    <a:pt x="36977" y="783679"/>
                  </a:lnTo>
                  <a:lnTo>
                    <a:pt x="20997" y="739061"/>
                  </a:lnTo>
                  <a:lnTo>
                    <a:pt x="9420" y="692993"/>
                  </a:lnTo>
                  <a:lnTo>
                    <a:pt x="2377" y="645794"/>
                  </a:lnTo>
                  <a:lnTo>
                    <a:pt x="0" y="597781"/>
                  </a:lnTo>
                  <a:lnTo>
                    <a:pt x="0" y="485774"/>
                  </a:lnTo>
                  <a:lnTo>
                    <a:pt x="2377" y="437762"/>
                  </a:lnTo>
                  <a:lnTo>
                    <a:pt x="9420" y="390562"/>
                  </a:lnTo>
                  <a:lnTo>
                    <a:pt x="20997" y="344494"/>
                  </a:lnTo>
                  <a:lnTo>
                    <a:pt x="36977" y="299876"/>
                  </a:lnTo>
                  <a:lnTo>
                    <a:pt x="57227" y="257028"/>
                  </a:lnTo>
                  <a:lnTo>
                    <a:pt x="81616" y="216266"/>
                  </a:lnTo>
                  <a:lnTo>
                    <a:pt x="110011" y="177911"/>
                  </a:lnTo>
                  <a:lnTo>
                    <a:pt x="142280" y="142280"/>
                  </a:lnTo>
                  <a:lnTo>
                    <a:pt x="177911" y="110010"/>
                  </a:lnTo>
                  <a:lnTo>
                    <a:pt x="216266" y="81615"/>
                  </a:lnTo>
                  <a:lnTo>
                    <a:pt x="257028" y="57227"/>
                  </a:lnTo>
                  <a:lnTo>
                    <a:pt x="299877" y="36977"/>
                  </a:lnTo>
                  <a:lnTo>
                    <a:pt x="344494" y="20997"/>
                  </a:lnTo>
                  <a:lnTo>
                    <a:pt x="390562" y="9420"/>
                  </a:lnTo>
                  <a:lnTo>
                    <a:pt x="437762" y="2377"/>
                  </a:lnTo>
                  <a:lnTo>
                    <a:pt x="485774" y="0"/>
                  </a:lnTo>
                  <a:lnTo>
                    <a:pt x="2764917" y="0"/>
                  </a:lnTo>
                  <a:lnTo>
                    <a:pt x="2812930" y="2377"/>
                  </a:lnTo>
                  <a:lnTo>
                    <a:pt x="2860130" y="9420"/>
                  </a:lnTo>
                  <a:lnTo>
                    <a:pt x="2906198" y="20997"/>
                  </a:lnTo>
                  <a:lnTo>
                    <a:pt x="2950815" y="36977"/>
                  </a:lnTo>
                  <a:lnTo>
                    <a:pt x="2993664" y="57227"/>
                  </a:lnTo>
                  <a:lnTo>
                    <a:pt x="3034425" y="81615"/>
                  </a:lnTo>
                  <a:lnTo>
                    <a:pt x="3072781" y="110010"/>
                  </a:lnTo>
                  <a:lnTo>
                    <a:pt x="3108412" y="142280"/>
                  </a:lnTo>
                  <a:lnTo>
                    <a:pt x="3140681" y="177911"/>
                  </a:lnTo>
                  <a:lnTo>
                    <a:pt x="3169076" y="216266"/>
                  </a:lnTo>
                  <a:lnTo>
                    <a:pt x="3193465" y="257028"/>
                  </a:lnTo>
                  <a:lnTo>
                    <a:pt x="3213715" y="299876"/>
                  </a:lnTo>
                  <a:lnTo>
                    <a:pt x="3229695" y="344494"/>
                  </a:lnTo>
                  <a:lnTo>
                    <a:pt x="3241272" y="390562"/>
                  </a:lnTo>
                  <a:lnTo>
                    <a:pt x="3246834" y="427831"/>
                  </a:lnTo>
                  <a:lnTo>
                    <a:pt x="3246834" y="655724"/>
                  </a:lnTo>
                  <a:lnTo>
                    <a:pt x="3229695" y="739061"/>
                  </a:lnTo>
                  <a:lnTo>
                    <a:pt x="3213715" y="783679"/>
                  </a:lnTo>
                  <a:lnTo>
                    <a:pt x="3193465" y="826528"/>
                  </a:lnTo>
                  <a:lnTo>
                    <a:pt x="3169076" y="867289"/>
                  </a:lnTo>
                  <a:lnTo>
                    <a:pt x="3140681" y="905645"/>
                  </a:lnTo>
                  <a:lnTo>
                    <a:pt x="3108412" y="941276"/>
                  </a:lnTo>
                  <a:lnTo>
                    <a:pt x="3072781" y="973545"/>
                  </a:lnTo>
                  <a:lnTo>
                    <a:pt x="3034425" y="1001940"/>
                  </a:lnTo>
                  <a:lnTo>
                    <a:pt x="2993664" y="1026328"/>
                  </a:lnTo>
                  <a:lnTo>
                    <a:pt x="2950815" y="1046578"/>
                  </a:lnTo>
                  <a:lnTo>
                    <a:pt x="2906198" y="1062558"/>
                  </a:lnTo>
                  <a:lnTo>
                    <a:pt x="2860130" y="1074135"/>
                  </a:lnTo>
                  <a:lnTo>
                    <a:pt x="2812930" y="1081179"/>
                  </a:lnTo>
                  <a:lnTo>
                    <a:pt x="2764917" y="1083556"/>
                  </a:lnTo>
                  <a:close/>
                </a:path>
              </a:pathLst>
            </a:custGeom>
            <a:solidFill>
              <a:srgbClr val="21408B"/>
            </a:solidFill>
          </p:spPr>
          <p:txBody>
            <a:bodyPr wrap="square" lIns="0" tIns="0" rIns="0" bIns="0" rtlCol="0"/>
            <a:lstStyle/>
            <a:p>
              <a:endParaRPr/>
            </a:p>
          </p:txBody>
        </p:sp>
        <p:sp>
          <p:nvSpPr>
            <p:cNvPr id="14" name="object 14"/>
            <p:cNvSpPr/>
            <p:nvPr/>
          </p:nvSpPr>
          <p:spPr>
            <a:xfrm>
              <a:off x="8474073" y="3766222"/>
              <a:ext cx="539750" cy="539750"/>
            </a:xfrm>
            <a:custGeom>
              <a:avLst/>
              <a:gdLst/>
              <a:ahLst/>
              <a:cxnLst/>
              <a:rect l="l" t="t" r="r" b="b"/>
              <a:pathLst>
                <a:path w="539750" h="539750">
                  <a:moveTo>
                    <a:pt x="269803" y="539602"/>
                  </a:moveTo>
                  <a:lnTo>
                    <a:pt x="221304" y="535256"/>
                  </a:lnTo>
                  <a:lnTo>
                    <a:pt x="175658" y="522723"/>
                  </a:lnTo>
                  <a:lnTo>
                    <a:pt x="133627" y="502767"/>
                  </a:lnTo>
                  <a:lnTo>
                    <a:pt x="95971" y="476149"/>
                  </a:lnTo>
                  <a:lnTo>
                    <a:pt x="63453" y="443631"/>
                  </a:lnTo>
                  <a:lnTo>
                    <a:pt x="36835" y="405975"/>
                  </a:lnTo>
                  <a:lnTo>
                    <a:pt x="16879" y="363944"/>
                  </a:lnTo>
                  <a:lnTo>
                    <a:pt x="4346" y="318298"/>
                  </a:lnTo>
                  <a:lnTo>
                    <a:pt x="0" y="269801"/>
                  </a:lnTo>
                  <a:lnTo>
                    <a:pt x="4346" y="221304"/>
                  </a:lnTo>
                  <a:lnTo>
                    <a:pt x="16879" y="175659"/>
                  </a:lnTo>
                  <a:lnTo>
                    <a:pt x="36835" y="133627"/>
                  </a:lnTo>
                  <a:lnTo>
                    <a:pt x="63453" y="95971"/>
                  </a:lnTo>
                  <a:lnTo>
                    <a:pt x="95971" y="63454"/>
                  </a:lnTo>
                  <a:lnTo>
                    <a:pt x="133627" y="36835"/>
                  </a:lnTo>
                  <a:lnTo>
                    <a:pt x="175658" y="16879"/>
                  </a:lnTo>
                  <a:lnTo>
                    <a:pt x="221304" y="4346"/>
                  </a:lnTo>
                  <a:lnTo>
                    <a:pt x="269801" y="0"/>
                  </a:lnTo>
                  <a:lnTo>
                    <a:pt x="318298" y="4346"/>
                  </a:lnTo>
                  <a:lnTo>
                    <a:pt x="363943" y="16879"/>
                  </a:lnTo>
                  <a:lnTo>
                    <a:pt x="405975" y="36835"/>
                  </a:lnTo>
                  <a:lnTo>
                    <a:pt x="443631" y="63454"/>
                  </a:lnTo>
                  <a:lnTo>
                    <a:pt x="476149" y="95971"/>
                  </a:lnTo>
                  <a:lnTo>
                    <a:pt x="502767" y="133627"/>
                  </a:lnTo>
                  <a:lnTo>
                    <a:pt x="522723" y="175659"/>
                  </a:lnTo>
                  <a:lnTo>
                    <a:pt x="535256" y="221304"/>
                  </a:lnTo>
                  <a:lnTo>
                    <a:pt x="539602" y="269801"/>
                  </a:lnTo>
                  <a:lnTo>
                    <a:pt x="535256" y="318298"/>
                  </a:lnTo>
                  <a:lnTo>
                    <a:pt x="522723" y="363944"/>
                  </a:lnTo>
                  <a:lnTo>
                    <a:pt x="502767" y="405975"/>
                  </a:lnTo>
                  <a:lnTo>
                    <a:pt x="476149" y="443631"/>
                  </a:lnTo>
                  <a:lnTo>
                    <a:pt x="443631" y="476149"/>
                  </a:lnTo>
                  <a:lnTo>
                    <a:pt x="405975" y="502767"/>
                  </a:lnTo>
                  <a:lnTo>
                    <a:pt x="363943" y="522723"/>
                  </a:lnTo>
                  <a:lnTo>
                    <a:pt x="318298" y="535256"/>
                  </a:lnTo>
                  <a:lnTo>
                    <a:pt x="269803" y="539602"/>
                  </a:lnTo>
                  <a:close/>
                </a:path>
              </a:pathLst>
            </a:custGeom>
            <a:solidFill>
              <a:srgbClr val="FFFFFF"/>
            </a:solidFill>
          </p:spPr>
          <p:txBody>
            <a:bodyPr wrap="square" lIns="0" tIns="0" rIns="0" bIns="0" rtlCol="0"/>
            <a:lstStyle/>
            <a:p>
              <a:endParaRPr/>
            </a:p>
          </p:txBody>
        </p:sp>
        <p:sp>
          <p:nvSpPr>
            <p:cNvPr id="15" name="object 15"/>
            <p:cNvSpPr/>
            <p:nvPr/>
          </p:nvSpPr>
          <p:spPr>
            <a:xfrm>
              <a:off x="8575802" y="3845546"/>
              <a:ext cx="333375" cy="379730"/>
            </a:xfrm>
            <a:custGeom>
              <a:avLst/>
              <a:gdLst/>
              <a:ahLst/>
              <a:cxnLst/>
              <a:rect l="l" t="t" r="r" b="b"/>
              <a:pathLst>
                <a:path w="333375" h="379729">
                  <a:moveTo>
                    <a:pt x="4495" y="313651"/>
                  </a:moveTo>
                  <a:lnTo>
                    <a:pt x="4279" y="313867"/>
                  </a:lnTo>
                  <a:lnTo>
                    <a:pt x="3886" y="314325"/>
                  </a:lnTo>
                  <a:lnTo>
                    <a:pt x="4013" y="314566"/>
                  </a:lnTo>
                  <a:lnTo>
                    <a:pt x="4381" y="314566"/>
                  </a:lnTo>
                  <a:lnTo>
                    <a:pt x="4457" y="314134"/>
                  </a:lnTo>
                  <a:lnTo>
                    <a:pt x="4495" y="313651"/>
                  </a:lnTo>
                  <a:close/>
                </a:path>
                <a:path w="333375" h="379729">
                  <a:moveTo>
                    <a:pt x="9702" y="230670"/>
                  </a:moveTo>
                  <a:lnTo>
                    <a:pt x="9690" y="230454"/>
                  </a:lnTo>
                  <a:lnTo>
                    <a:pt x="9690" y="230314"/>
                  </a:lnTo>
                  <a:lnTo>
                    <a:pt x="9652" y="230124"/>
                  </a:lnTo>
                  <a:lnTo>
                    <a:pt x="9436" y="229920"/>
                  </a:lnTo>
                  <a:lnTo>
                    <a:pt x="9309" y="230009"/>
                  </a:lnTo>
                  <a:lnTo>
                    <a:pt x="9245" y="230187"/>
                  </a:lnTo>
                  <a:lnTo>
                    <a:pt x="9296" y="230327"/>
                  </a:lnTo>
                  <a:lnTo>
                    <a:pt x="9321" y="230492"/>
                  </a:lnTo>
                  <a:lnTo>
                    <a:pt x="9563" y="230733"/>
                  </a:lnTo>
                  <a:lnTo>
                    <a:pt x="9702" y="230670"/>
                  </a:lnTo>
                  <a:close/>
                </a:path>
                <a:path w="333375" h="379729">
                  <a:moveTo>
                    <a:pt x="23914" y="371017"/>
                  </a:moveTo>
                  <a:lnTo>
                    <a:pt x="23812" y="370611"/>
                  </a:lnTo>
                  <a:lnTo>
                    <a:pt x="23685" y="370700"/>
                  </a:lnTo>
                  <a:lnTo>
                    <a:pt x="23774" y="371094"/>
                  </a:lnTo>
                  <a:lnTo>
                    <a:pt x="23914" y="371017"/>
                  </a:lnTo>
                  <a:close/>
                </a:path>
                <a:path w="333375" h="379729">
                  <a:moveTo>
                    <a:pt x="38735" y="223278"/>
                  </a:moveTo>
                  <a:lnTo>
                    <a:pt x="38696" y="222948"/>
                  </a:lnTo>
                  <a:lnTo>
                    <a:pt x="38557" y="222885"/>
                  </a:lnTo>
                  <a:lnTo>
                    <a:pt x="38328" y="223062"/>
                  </a:lnTo>
                  <a:lnTo>
                    <a:pt x="38227" y="223266"/>
                  </a:lnTo>
                  <a:lnTo>
                    <a:pt x="38150" y="223685"/>
                  </a:lnTo>
                  <a:lnTo>
                    <a:pt x="38303" y="223951"/>
                  </a:lnTo>
                  <a:lnTo>
                    <a:pt x="38557" y="223761"/>
                  </a:lnTo>
                  <a:lnTo>
                    <a:pt x="38646" y="223469"/>
                  </a:lnTo>
                  <a:lnTo>
                    <a:pt x="38735" y="223278"/>
                  </a:lnTo>
                  <a:close/>
                </a:path>
                <a:path w="333375" h="379729">
                  <a:moveTo>
                    <a:pt x="41998" y="222084"/>
                  </a:moveTo>
                  <a:lnTo>
                    <a:pt x="41884" y="221488"/>
                  </a:lnTo>
                  <a:lnTo>
                    <a:pt x="41795" y="221297"/>
                  </a:lnTo>
                  <a:lnTo>
                    <a:pt x="41579" y="220941"/>
                  </a:lnTo>
                  <a:lnTo>
                    <a:pt x="41427" y="220980"/>
                  </a:lnTo>
                  <a:lnTo>
                    <a:pt x="41122" y="222224"/>
                  </a:lnTo>
                  <a:lnTo>
                    <a:pt x="40817" y="223139"/>
                  </a:lnTo>
                  <a:lnTo>
                    <a:pt x="40322" y="224180"/>
                  </a:lnTo>
                  <a:lnTo>
                    <a:pt x="40309" y="224370"/>
                  </a:lnTo>
                  <a:lnTo>
                    <a:pt x="40500" y="224434"/>
                  </a:lnTo>
                  <a:lnTo>
                    <a:pt x="40741" y="224447"/>
                  </a:lnTo>
                  <a:lnTo>
                    <a:pt x="41998" y="222084"/>
                  </a:lnTo>
                  <a:close/>
                </a:path>
                <a:path w="333375" h="379729">
                  <a:moveTo>
                    <a:pt x="44716" y="229870"/>
                  </a:moveTo>
                  <a:lnTo>
                    <a:pt x="43853" y="228600"/>
                  </a:lnTo>
                  <a:lnTo>
                    <a:pt x="42506" y="227330"/>
                  </a:lnTo>
                  <a:lnTo>
                    <a:pt x="41287" y="228600"/>
                  </a:lnTo>
                  <a:lnTo>
                    <a:pt x="40982" y="228600"/>
                  </a:lnTo>
                  <a:lnTo>
                    <a:pt x="40716" y="229870"/>
                  </a:lnTo>
                  <a:lnTo>
                    <a:pt x="40551" y="228600"/>
                  </a:lnTo>
                  <a:lnTo>
                    <a:pt x="40170" y="228600"/>
                  </a:lnTo>
                  <a:lnTo>
                    <a:pt x="40640" y="227330"/>
                  </a:lnTo>
                  <a:lnTo>
                    <a:pt x="40957" y="227330"/>
                  </a:lnTo>
                  <a:lnTo>
                    <a:pt x="40932" y="226060"/>
                  </a:lnTo>
                  <a:lnTo>
                    <a:pt x="41021" y="224790"/>
                  </a:lnTo>
                  <a:lnTo>
                    <a:pt x="39814" y="226060"/>
                  </a:lnTo>
                  <a:lnTo>
                    <a:pt x="39814" y="231140"/>
                  </a:lnTo>
                  <a:lnTo>
                    <a:pt x="39433" y="231140"/>
                  </a:lnTo>
                  <a:lnTo>
                    <a:pt x="39293" y="229870"/>
                  </a:lnTo>
                  <a:lnTo>
                    <a:pt x="39598" y="229870"/>
                  </a:lnTo>
                  <a:lnTo>
                    <a:pt x="39814" y="231140"/>
                  </a:lnTo>
                  <a:lnTo>
                    <a:pt x="39814" y="226060"/>
                  </a:lnTo>
                  <a:lnTo>
                    <a:pt x="39281" y="226060"/>
                  </a:lnTo>
                  <a:lnTo>
                    <a:pt x="38328" y="224523"/>
                  </a:lnTo>
                  <a:lnTo>
                    <a:pt x="38328" y="231140"/>
                  </a:lnTo>
                  <a:lnTo>
                    <a:pt x="38188" y="232410"/>
                  </a:lnTo>
                  <a:lnTo>
                    <a:pt x="37985" y="232410"/>
                  </a:lnTo>
                  <a:lnTo>
                    <a:pt x="37985" y="231140"/>
                  </a:lnTo>
                  <a:lnTo>
                    <a:pt x="38328" y="231140"/>
                  </a:lnTo>
                  <a:lnTo>
                    <a:pt x="38328" y="224523"/>
                  </a:lnTo>
                  <a:lnTo>
                    <a:pt x="37719" y="223520"/>
                  </a:lnTo>
                  <a:lnTo>
                    <a:pt x="37592" y="222250"/>
                  </a:lnTo>
                  <a:lnTo>
                    <a:pt x="37058" y="220980"/>
                  </a:lnTo>
                  <a:lnTo>
                    <a:pt x="36893" y="220980"/>
                  </a:lnTo>
                  <a:lnTo>
                    <a:pt x="37325" y="219710"/>
                  </a:lnTo>
                  <a:lnTo>
                    <a:pt x="37592" y="219710"/>
                  </a:lnTo>
                  <a:lnTo>
                    <a:pt x="38163" y="220980"/>
                  </a:lnTo>
                  <a:lnTo>
                    <a:pt x="38862" y="220980"/>
                  </a:lnTo>
                  <a:lnTo>
                    <a:pt x="39776" y="222250"/>
                  </a:lnTo>
                  <a:lnTo>
                    <a:pt x="40271" y="222250"/>
                  </a:lnTo>
                  <a:lnTo>
                    <a:pt x="40944" y="220980"/>
                  </a:lnTo>
                  <a:lnTo>
                    <a:pt x="40220" y="220980"/>
                  </a:lnTo>
                  <a:lnTo>
                    <a:pt x="39700" y="219710"/>
                  </a:lnTo>
                  <a:lnTo>
                    <a:pt x="38176" y="219710"/>
                  </a:lnTo>
                  <a:lnTo>
                    <a:pt x="38265" y="218440"/>
                  </a:lnTo>
                  <a:lnTo>
                    <a:pt x="38633" y="217170"/>
                  </a:lnTo>
                  <a:lnTo>
                    <a:pt x="39001" y="215900"/>
                  </a:lnTo>
                  <a:lnTo>
                    <a:pt x="38735" y="214630"/>
                  </a:lnTo>
                  <a:lnTo>
                    <a:pt x="37236" y="214630"/>
                  </a:lnTo>
                  <a:lnTo>
                    <a:pt x="36715" y="213360"/>
                  </a:lnTo>
                  <a:lnTo>
                    <a:pt x="36309" y="212090"/>
                  </a:lnTo>
                  <a:lnTo>
                    <a:pt x="35471" y="213360"/>
                  </a:lnTo>
                  <a:lnTo>
                    <a:pt x="35255" y="213360"/>
                  </a:lnTo>
                  <a:lnTo>
                    <a:pt x="35407" y="214630"/>
                  </a:lnTo>
                  <a:lnTo>
                    <a:pt x="35725" y="215900"/>
                  </a:lnTo>
                  <a:lnTo>
                    <a:pt x="35712" y="224790"/>
                  </a:lnTo>
                  <a:lnTo>
                    <a:pt x="35712" y="226060"/>
                  </a:lnTo>
                  <a:lnTo>
                    <a:pt x="35661" y="224790"/>
                  </a:lnTo>
                  <a:lnTo>
                    <a:pt x="35712" y="215900"/>
                  </a:lnTo>
                  <a:lnTo>
                    <a:pt x="35306" y="215900"/>
                  </a:lnTo>
                  <a:lnTo>
                    <a:pt x="35229" y="217170"/>
                  </a:lnTo>
                  <a:lnTo>
                    <a:pt x="34709" y="217170"/>
                  </a:lnTo>
                  <a:lnTo>
                    <a:pt x="34759" y="215900"/>
                  </a:lnTo>
                  <a:lnTo>
                    <a:pt x="34772" y="214630"/>
                  </a:lnTo>
                  <a:lnTo>
                    <a:pt x="34163" y="213360"/>
                  </a:lnTo>
                  <a:lnTo>
                    <a:pt x="33832" y="213360"/>
                  </a:lnTo>
                  <a:lnTo>
                    <a:pt x="33832" y="226060"/>
                  </a:lnTo>
                  <a:lnTo>
                    <a:pt x="33388" y="226060"/>
                  </a:lnTo>
                  <a:lnTo>
                    <a:pt x="33172" y="224790"/>
                  </a:lnTo>
                  <a:lnTo>
                    <a:pt x="31496" y="224790"/>
                  </a:lnTo>
                  <a:lnTo>
                    <a:pt x="31242" y="223520"/>
                  </a:lnTo>
                  <a:lnTo>
                    <a:pt x="32118" y="223520"/>
                  </a:lnTo>
                  <a:lnTo>
                    <a:pt x="32550" y="222250"/>
                  </a:lnTo>
                  <a:lnTo>
                    <a:pt x="32994" y="223520"/>
                  </a:lnTo>
                  <a:lnTo>
                    <a:pt x="33464" y="223520"/>
                  </a:lnTo>
                  <a:lnTo>
                    <a:pt x="33604" y="224790"/>
                  </a:lnTo>
                  <a:lnTo>
                    <a:pt x="33832" y="226060"/>
                  </a:lnTo>
                  <a:lnTo>
                    <a:pt x="33832" y="213360"/>
                  </a:lnTo>
                  <a:lnTo>
                    <a:pt x="32778" y="213360"/>
                  </a:lnTo>
                  <a:lnTo>
                    <a:pt x="32054" y="214630"/>
                  </a:lnTo>
                  <a:lnTo>
                    <a:pt x="30010" y="214630"/>
                  </a:lnTo>
                  <a:lnTo>
                    <a:pt x="29806" y="213360"/>
                  </a:lnTo>
                  <a:lnTo>
                    <a:pt x="29222" y="213360"/>
                  </a:lnTo>
                  <a:lnTo>
                    <a:pt x="28613" y="212090"/>
                  </a:lnTo>
                  <a:lnTo>
                    <a:pt x="27355" y="213360"/>
                  </a:lnTo>
                  <a:lnTo>
                    <a:pt x="27038" y="213360"/>
                  </a:lnTo>
                  <a:lnTo>
                    <a:pt x="27292" y="214630"/>
                  </a:lnTo>
                  <a:lnTo>
                    <a:pt x="27762" y="215900"/>
                  </a:lnTo>
                  <a:lnTo>
                    <a:pt x="27165" y="215900"/>
                  </a:lnTo>
                  <a:lnTo>
                    <a:pt x="27051" y="217170"/>
                  </a:lnTo>
                  <a:lnTo>
                    <a:pt x="26263" y="217170"/>
                  </a:lnTo>
                  <a:lnTo>
                    <a:pt x="26327" y="215900"/>
                  </a:lnTo>
                  <a:lnTo>
                    <a:pt x="26314" y="214630"/>
                  </a:lnTo>
                  <a:lnTo>
                    <a:pt x="25412" y="213360"/>
                  </a:lnTo>
                  <a:lnTo>
                    <a:pt x="24650" y="213360"/>
                  </a:lnTo>
                  <a:lnTo>
                    <a:pt x="24650" y="224790"/>
                  </a:lnTo>
                  <a:lnTo>
                    <a:pt x="24384" y="224790"/>
                  </a:lnTo>
                  <a:lnTo>
                    <a:pt x="24638" y="226060"/>
                  </a:lnTo>
                  <a:lnTo>
                    <a:pt x="23990" y="226060"/>
                  </a:lnTo>
                  <a:lnTo>
                    <a:pt x="24066" y="224790"/>
                  </a:lnTo>
                  <a:lnTo>
                    <a:pt x="22796" y="224790"/>
                  </a:lnTo>
                  <a:lnTo>
                    <a:pt x="22606" y="226060"/>
                  </a:lnTo>
                  <a:lnTo>
                    <a:pt x="21234" y="226060"/>
                  </a:lnTo>
                  <a:lnTo>
                    <a:pt x="20891" y="224790"/>
                  </a:lnTo>
                  <a:lnTo>
                    <a:pt x="20447" y="224790"/>
                  </a:lnTo>
                  <a:lnTo>
                    <a:pt x="20993" y="223520"/>
                  </a:lnTo>
                  <a:lnTo>
                    <a:pt x="22415" y="223520"/>
                  </a:lnTo>
                  <a:lnTo>
                    <a:pt x="23075" y="222250"/>
                  </a:lnTo>
                  <a:lnTo>
                    <a:pt x="23723" y="223520"/>
                  </a:lnTo>
                  <a:lnTo>
                    <a:pt x="24447" y="223520"/>
                  </a:lnTo>
                  <a:lnTo>
                    <a:pt x="24650" y="224790"/>
                  </a:lnTo>
                  <a:lnTo>
                    <a:pt x="24650" y="213360"/>
                  </a:lnTo>
                  <a:lnTo>
                    <a:pt x="23329" y="213360"/>
                  </a:lnTo>
                  <a:lnTo>
                    <a:pt x="21869" y="214630"/>
                  </a:lnTo>
                  <a:lnTo>
                    <a:pt x="20967" y="215900"/>
                  </a:lnTo>
                  <a:lnTo>
                    <a:pt x="19748" y="217170"/>
                  </a:lnTo>
                  <a:lnTo>
                    <a:pt x="19545" y="217170"/>
                  </a:lnTo>
                  <a:lnTo>
                    <a:pt x="17907" y="214630"/>
                  </a:lnTo>
                  <a:lnTo>
                    <a:pt x="16802" y="215900"/>
                  </a:lnTo>
                  <a:lnTo>
                    <a:pt x="16471" y="218440"/>
                  </a:lnTo>
                  <a:lnTo>
                    <a:pt x="16408"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30" y="224790"/>
                  </a:lnTo>
                  <a:lnTo>
                    <a:pt x="10706" y="224790"/>
                  </a:lnTo>
                  <a:lnTo>
                    <a:pt x="11620" y="227330"/>
                  </a:lnTo>
                  <a:lnTo>
                    <a:pt x="11595" y="228600"/>
                  </a:lnTo>
                  <a:lnTo>
                    <a:pt x="11163" y="232410"/>
                  </a:lnTo>
                  <a:lnTo>
                    <a:pt x="9156" y="233680"/>
                  </a:lnTo>
                  <a:lnTo>
                    <a:pt x="7480" y="234950"/>
                  </a:lnTo>
                  <a:lnTo>
                    <a:pt x="7696" y="236220"/>
                  </a:lnTo>
                  <a:lnTo>
                    <a:pt x="6769" y="237490"/>
                  </a:lnTo>
                  <a:lnTo>
                    <a:pt x="5207" y="237490"/>
                  </a:lnTo>
                  <a:lnTo>
                    <a:pt x="4686" y="238760"/>
                  </a:lnTo>
                  <a:lnTo>
                    <a:pt x="3937" y="241300"/>
                  </a:lnTo>
                  <a:lnTo>
                    <a:pt x="1714" y="243840"/>
                  </a:lnTo>
                  <a:lnTo>
                    <a:pt x="800" y="243840"/>
                  </a:lnTo>
                  <a:lnTo>
                    <a:pt x="1193" y="245110"/>
                  </a:lnTo>
                  <a:lnTo>
                    <a:pt x="4064" y="245110"/>
                  </a:lnTo>
                  <a:lnTo>
                    <a:pt x="44500" y="245110"/>
                  </a:lnTo>
                  <a:lnTo>
                    <a:pt x="44500" y="243840"/>
                  </a:lnTo>
                  <a:lnTo>
                    <a:pt x="43903" y="241300"/>
                  </a:lnTo>
                  <a:lnTo>
                    <a:pt x="43738" y="240030"/>
                  </a:lnTo>
                  <a:lnTo>
                    <a:pt x="42659" y="240030"/>
                  </a:lnTo>
                  <a:lnTo>
                    <a:pt x="43180" y="238760"/>
                  </a:lnTo>
                  <a:lnTo>
                    <a:pt x="43662" y="238760"/>
                  </a:lnTo>
                  <a:lnTo>
                    <a:pt x="44030" y="236220"/>
                  </a:lnTo>
                  <a:lnTo>
                    <a:pt x="44018" y="234950"/>
                  </a:lnTo>
                  <a:lnTo>
                    <a:pt x="44145" y="233680"/>
                  </a:lnTo>
                  <a:lnTo>
                    <a:pt x="44259" y="232410"/>
                  </a:lnTo>
                  <a:lnTo>
                    <a:pt x="43624" y="232410"/>
                  </a:lnTo>
                  <a:lnTo>
                    <a:pt x="41135" y="232410"/>
                  </a:lnTo>
                  <a:lnTo>
                    <a:pt x="41135" y="234950"/>
                  </a:lnTo>
                  <a:lnTo>
                    <a:pt x="40538" y="234950"/>
                  </a:lnTo>
                  <a:lnTo>
                    <a:pt x="40551" y="233680"/>
                  </a:lnTo>
                  <a:lnTo>
                    <a:pt x="41071" y="233680"/>
                  </a:lnTo>
                  <a:lnTo>
                    <a:pt x="41135" y="234950"/>
                  </a:lnTo>
                  <a:lnTo>
                    <a:pt x="41135" y="232410"/>
                  </a:lnTo>
                  <a:lnTo>
                    <a:pt x="40640" y="232410"/>
                  </a:lnTo>
                  <a:lnTo>
                    <a:pt x="40894" y="231140"/>
                  </a:lnTo>
                  <a:lnTo>
                    <a:pt x="41363" y="231140"/>
                  </a:lnTo>
                  <a:lnTo>
                    <a:pt x="42506" y="229870"/>
                  </a:lnTo>
                  <a:lnTo>
                    <a:pt x="43180" y="229870"/>
                  </a:lnTo>
                  <a:lnTo>
                    <a:pt x="43865" y="231140"/>
                  </a:lnTo>
                  <a:lnTo>
                    <a:pt x="43624" y="232410"/>
                  </a:lnTo>
                  <a:lnTo>
                    <a:pt x="44716" y="231140"/>
                  </a:lnTo>
                  <a:lnTo>
                    <a:pt x="44716" y="229870"/>
                  </a:lnTo>
                  <a:close/>
                </a:path>
                <a:path w="333375" h="379729">
                  <a:moveTo>
                    <a:pt x="50507" y="279133"/>
                  </a:moveTo>
                  <a:lnTo>
                    <a:pt x="50355" y="278917"/>
                  </a:lnTo>
                  <a:lnTo>
                    <a:pt x="50152" y="278828"/>
                  </a:lnTo>
                  <a:lnTo>
                    <a:pt x="50139" y="279184"/>
                  </a:lnTo>
                  <a:lnTo>
                    <a:pt x="50266" y="279222"/>
                  </a:lnTo>
                  <a:lnTo>
                    <a:pt x="50482" y="279247"/>
                  </a:lnTo>
                  <a:close/>
                </a:path>
                <a:path w="333375" h="379729">
                  <a:moveTo>
                    <a:pt x="52184" y="294322"/>
                  </a:moveTo>
                  <a:lnTo>
                    <a:pt x="52019" y="294424"/>
                  </a:lnTo>
                  <a:lnTo>
                    <a:pt x="51790" y="294563"/>
                  </a:lnTo>
                  <a:lnTo>
                    <a:pt x="52082" y="294398"/>
                  </a:lnTo>
                  <a:close/>
                </a:path>
                <a:path w="333375" h="379729">
                  <a:moveTo>
                    <a:pt x="52895" y="295744"/>
                  </a:moveTo>
                  <a:lnTo>
                    <a:pt x="52857" y="296506"/>
                  </a:lnTo>
                  <a:lnTo>
                    <a:pt x="52895" y="295935"/>
                  </a:lnTo>
                  <a:lnTo>
                    <a:pt x="52895" y="295744"/>
                  </a:lnTo>
                  <a:close/>
                </a:path>
                <a:path w="333375" h="379729">
                  <a:moveTo>
                    <a:pt x="53073" y="294640"/>
                  </a:moveTo>
                  <a:lnTo>
                    <a:pt x="53035" y="295363"/>
                  </a:lnTo>
                  <a:lnTo>
                    <a:pt x="53073" y="294640"/>
                  </a:lnTo>
                  <a:close/>
                </a:path>
                <a:path w="333375" h="379729">
                  <a:moveTo>
                    <a:pt x="53213" y="297446"/>
                  </a:moveTo>
                  <a:lnTo>
                    <a:pt x="53200" y="297180"/>
                  </a:lnTo>
                  <a:lnTo>
                    <a:pt x="53213" y="297446"/>
                  </a:lnTo>
                  <a:close/>
                </a:path>
                <a:path w="333375" h="379729">
                  <a:moveTo>
                    <a:pt x="53263" y="296799"/>
                  </a:moveTo>
                  <a:lnTo>
                    <a:pt x="53200" y="295998"/>
                  </a:lnTo>
                  <a:lnTo>
                    <a:pt x="53174" y="295681"/>
                  </a:lnTo>
                  <a:lnTo>
                    <a:pt x="53136" y="295198"/>
                  </a:lnTo>
                  <a:lnTo>
                    <a:pt x="53174" y="295922"/>
                  </a:lnTo>
                  <a:lnTo>
                    <a:pt x="53213" y="296354"/>
                  </a:lnTo>
                  <a:lnTo>
                    <a:pt x="53225" y="296633"/>
                  </a:lnTo>
                  <a:lnTo>
                    <a:pt x="53263" y="296799"/>
                  </a:lnTo>
                  <a:close/>
                </a:path>
                <a:path w="333375" h="379729">
                  <a:moveTo>
                    <a:pt x="53530" y="297688"/>
                  </a:moveTo>
                  <a:lnTo>
                    <a:pt x="53517" y="297180"/>
                  </a:lnTo>
                  <a:lnTo>
                    <a:pt x="53530" y="297688"/>
                  </a:lnTo>
                  <a:close/>
                </a:path>
                <a:path w="333375" h="379729">
                  <a:moveTo>
                    <a:pt x="53619" y="295478"/>
                  </a:moveTo>
                  <a:lnTo>
                    <a:pt x="53581" y="295338"/>
                  </a:lnTo>
                  <a:lnTo>
                    <a:pt x="53403" y="294792"/>
                  </a:lnTo>
                  <a:lnTo>
                    <a:pt x="53467" y="295033"/>
                  </a:lnTo>
                  <a:lnTo>
                    <a:pt x="53555" y="295313"/>
                  </a:lnTo>
                  <a:lnTo>
                    <a:pt x="53619" y="295478"/>
                  </a:lnTo>
                  <a:close/>
                </a:path>
                <a:path w="333375" h="379729">
                  <a:moveTo>
                    <a:pt x="53682" y="372084"/>
                  </a:moveTo>
                  <a:close/>
                </a:path>
                <a:path w="333375" h="379729">
                  <a:moveTo>
                    <a:pt x="54051" y="294640"/>
                  </a:moveTo>
                  <a:close/>
                </a:path>
                <a:path w="333375" h="379729">
                  <a:moveTo>
                    <a:pt x="54838" y="294868"/>
                  </a:moveTo>
                  <a:lnTo>
                    <a:pt x="54775" y="294640"/>
                  </a:lnTo>
                  <a:lnTo>
                    <a:pt x="54838" y="294868"/>
                  </a:lnTo>
                  <a:close/>
                </a:path>
                <a:path w="333375" h="379729">
                  <a:moveTo>
                    <a:pt x="54965" y="294157"/>
                  </a:moveTo>
                  <a:lnTo>
                    <a:pt x="54825" y="294017"/>
                  </a:lnTo>
                  <a:lnTo>
                    <a:pt x="54914" y="294208"/>
                  </a:lnTo>
                  <a:close/>
                </a:path>
                <a:path w="333375" h="379729">
                  <a:moveTo>
                    <a:pt x="55283" y="295414"/>
                  </a:moveTo>
                  <a:close/>
                </a:path>
                <a:path w="333375" h="379729">
                  <a:moveTo>
                    <a:pt x="55308" y="295452"/>
                  </a:moveTo>
                  <a:close/>
                </a:path>
                <a:path w="333375" h="379729">
                  <a:moveTo>
                    <a:pt x="55892" y="292874"/>
                  </a:moveTo>
                  <a:lnTo>
                    <a:pt x="55346" y="292100"/>
                  </a:lnTo>
                  <a:lnTo>
                    <a:pt x="55892" y="292874"/>
                  </a:lnTo>
                  <a:close/>
                </a:path>
                <a:path w="333375" h="379729">
                  <a:moveTo>
                    <a:pt x="56273" y="293370"/>
                  </a:moveTo>
                  <a:lnTo>
                    <a:pt x="55892" y="292874"/>
                  </a:lnTo>
                  <a:lnTo>
                    <a:pt x="56222" y="293370"/>
                  </a:lnTo>
                  <a:close/>
                </a:path>
                <a:path w="333375" h="379729">
                  <a:moveTo>
                    <a:pt x="61607" y="280873"/>
                  </a:moveTo>
                  <a:lnTo>
                    <a:pt x="61252" y="280847"/>
                  </a:lnTo>
                  <a:lnTo>
                    <a:pt x="61226" y="280974"/>
                  </a:lnTo>
                  <a:lnTo>
                    <a:pt x="61163" y="281127"/>
                  </a:lnTo>
                  <a:lnTo>
                    <a:pt x="61239" y="281419"/>
                  </a:lnTo>
                  <a:lnTo>
                    <a:pt x="61391" y="281432"/>
                  </a:lnTo>
                  <a:lnTo>
                    <a:pt x="61493" y="281254"/>
                  </a:lnTo>
                  <a:lnTo>
                    <a:pt x="61569" y="281000"/>
                  </a:lnTo>
                  <a:lnTo>
                    <a:pt x="61607" y="280873"/>
                  </a:lnTo>
                  <a:close/>
                </a:path>
                <a:path w="333375" h="379729">
                  <a:moveTo>
                    <a:pt x="70383" y="266611"/>
                  </a:moveTo>
                  <a:lnTo>
                    <a:pt x="70281" y="266458"/>
                  </a:lnTo>
                  <a:lnTo>
                    <a:pt x="70142" y="266344"/>
                  </a:lnTo>
                  <a:lnTo>
                    <a:pt x="69964" y="266306"/>
                  </a:lnTo>
                  <a:lnTo>
                    <a:pt x="69850" y="266471"/>
                  </a:lnTo>
                  <a:lnTo>
                    <a:pt x="69799" y="266687"/>
                  </a:lnTo>
                  <a:lnTo>
                    <a:pt x="70002" y="266979"/>
                  </a:lnTo>
                  <a:lnTo>
                    <a:pt x="70218" y="266890"/>
                  </a:lnTo>
                  <a:lnTo>
                    <a:pt x="70332" y="266687"/>
                  </a:lnTo>
                  <a:close/>
                </a:path>
                <a:path w="333375" h="379729">
                  <a:moveTo>
                    <a:pt x="75057" y="260680"/>
                  </a:moveTo>
                  <a:lnTo>
                    <a:pt x="74942" y="260527"/>
                  </a:lnTo>
                  <a:lnTo>
                    <a:pt x="74752" y="260540"/>
                  </a:lnTo>
                  <a:lnTo>
                    <a:pt x="74625" y="260515"/>
                  </a:lnTo>
                  <a:lnTo>
                    <a:pt x="74612" y="260654"/>
                  </a:lnTo>
                  <a:lnTo>
                    <a:pt x="74536" y="260832"/>
                  </a:lnTo>
                  <a:lnTo>
                    <a:pt x="74637" y="261010"/>
                  </a:lnTo>
                  <a:lnTo>
                    <a:pt x="74828" y="260985"/>
                  </a:lnTo>
                  <a:lnTo>
                    <a:pt x="74955" y="260997"/>
                  </a:lnTo>
                  <a:lnTo>
                    <a:pt x="74968" y="260870"/>
                  </a:lnTo>
                  <a:lnTo>
                    <a:pt x="75057" y="260680"/>
                  </a:lnTo>
                  <a:close/>
                </a:path>
                <a:path w="333375" h="379729">
                  <a:moveTo>
                    <a:pt x="87096" y="240080"/>
                  </a:moveTo>
                  <a:lnTo>
                    <a:pt x="87007" y="239941"/>
                  </a:lnTo>
                  <a:lnTo>
                    <a:pt x="86715" y="239966"/>
                  </a:lnTo>
                  <a:lnTo>
                    <a:pt x="86588" y="240093"/>
                  </a:lnTo>
                  <a:lnTo>
                    <a:pt x="86461" y="240169"/>
                  </a:lnTo>
                  <a:lnTo>
                    <a:pt x="86614" y="240423"/>
                  </a:lnTo>
                  <a:lnTo>
                    <a:pt x="86880" y="240550"/>
                  </a:lnTo>
                  <a:lnTo>
                    <a:pt x="87020" y="240449"/>
                  </a:lnTo>
                  <a:lnTo>
                    <a:pt x="87096" y="240080"/>
                  </a:lnTo>
                  <a:close/>
                </a:path>
                <a:path w="333375" h="379729">
                  <a:moveTo>
                    <a:pt x="93243" y="229997"/>
                  </a:moveTo>
                  <a:lnTo>
                    <a:pt x="92976" y="229870"/>
                  </a:lnTo>
                  <a:lnTo>
                    <a:pt x="93218" y="230124"/>
                  </a:lnTo>
                  <a:lnTo>
                    <a:pt x="93243" y="229997"/>
                  </a:lnTo>
                  <a:close/>
                </a:path>
                <a:path w="333375" h="379729">
                  <a:moveTo>
                    <a:pt x="102323" y="215861"/>
                  </a:moveTo>
                  <a:lnTo>
                    <a:pt x="102184" y="215620"/>
                  </a:lnTo>
                  <a:lnTo>
                    <a:pt x="101930" y="215468"/>
                  </a:lnTo>
                  <a:lnTo>
                    <a:pt x="101803" y="215734"/>
                  </a:lnTo>
                  <a:lnTo>
                    <a:pt x="101917" y="216001"/>
                  </a:lnTo>
                  <a:lnTo>
                    <a:pt x="102082" y="216052"/>
                  </a:lnTo>
                  <a:lnTo>
                    <a:pt x="102209" y="215925"/>
                  </a:lnTo>
                  <a:close/>
                </a:path>
                <a:path w="333375" h="379729">
                  <a:moveTo>
                    <a:pt x="137248" y="255346"/>
                  </a:moveTo>
                  <a:lnTo>
                    <a:pt x="137198" y="254977"/>
                  </a:lnTo>
                  <a:lnTo>
                    <a:pt x="136982" y="254838"/>
                  </a:lnTo>
                  <a:lnTo>
                    <a:pt x="136779" y="254927"/>
                  </a:lnTo>
                  <a:lnTo>
                    <a:pt x="136652" y="255117"/>
                  </a:lnTo>
                  <a:lnTo>
                    <a:pt x="136563" y="255257"/>
                  </a:lnTo>
                  <a:lnTo>
                    <a:pt x="136652" y="255397"/>
                  </a:lnTo>
                  <a:lnTo>
                    <a:pt x="136969" y="255397"/>
                  </a:lnTo>
                  <a:lnTo>
                    <a:pt x="137109" y="255358"/>
                  </a:lnTo>
                  <a:lnTo>
                    <a:pt x="137248" y="255346"/>
                  </a:lnTo>
                  <a:close/>
                </a:path>
                <a:path w="333375" h="379729">
                  <a:moveTo>
                    <a:pt x="139903" y="250431"/>
                  </a:moveTo>
                  <a:lnTo>
                    <a:pt x="139763" y="250329"/>
                  </a:lnTo>
                  <a:lnTo>
                    <a:pt x="139598" y="250444"/>
                  </a:lnTo>
                  <a:lnTo>
                    <a:pt x="139471" y="250634"/>
                  </a:lnTo>
                  <a:lnTo>
                    <a:pt x="139369" y="250774"/>
                  </a:lnTo>
                  <a:lnTo>
                    <a:pt x="139661" y="250837"/>
                  </a:lnTo>
                  <a:lnTo>
                    <a:pt x="139890" y="250748"/>
                  </a:lnTo>
                  <a:lnTo>
                    <a:pt x="139903" y="250431"/>
                  </a:lnTo>
                  <a:close/>
                </a:path>
                <a:path w="333375" h="379729">
                  <a:moveTo>
                    <a:pt x="181317" y="109689"/>
                  </a:moveTo>
                  <a:lnTo>
                    <a:pt x="181254" y="109512"/>
                  </a:lnTo>
                  <a:lnTo>
                    <a:pt x="181076" y="109499"/>
                  </a:lnTo>
                  <a:lnTo>
                    <a:pt x="180936" y="109588"/>
                  </a:lnTo>
                  <a:lnTo>
                    <a:pt x="180898" y="109715"/>
                  </a:lnTo>
                  <a:lnTo>
                    <a:pt x="180898" y="110045"/>
                  </a:lnTo>
                  <a:lnTo>
                    <a:pt x="181025" y="110109"/>
                  </a:lnTo>
                  <a:lnTo>
                    <a:pt x="181165" y="109956"/>
                  </a:lnTo>
                  <a:lnTo>
                    <a:pt x="181317" y="109689"/>
                  </a:lnTo>
                  <a:close/>
                </a:path>
                <a:path w="333375" h="379729">
                  <a:moveTo>
                    <a:pt x="222999" y="128524"/>
                  </a:moveTo>
                  <a:close/>
                </a:path>
                <a:path w="333375" h="379729">
                  <a:moveTo>
                    <a:pt x="223659" y="128206"/>
                  </a:moveTo>
                  <a:lnTo>
                    <a:pt x="223469" y="128409"/>
                  </a:lnTo>
                  <a:lnTo>
                    <a:pt x="223227" y="128447"/>
                  </a:lnTo>
                  <a:lnTo>
                    <a:pt x="223012" y="128549"/>
                  </a:lnTo>
                  <a:lnTo>
                    <a:pt x="223342" y="129184"/>
                  </a:lnTo>
                  <a:lnTo>
                    <a:pt x="223481" y="128587"/>
                  </a:lnTo>
                  <a:lnTo>
                    <a:pt x="223659" y="128206"/>
                  </a:lnTo>
                  <a:close/>
                </a:path>
                <a:path w="333375" h="379729">
                  <a:moveTo>
                    <a:pt x="223812" y="127990"/>
                  </a:moveTo>
                  <a:lnTo>
                    <a:pt x="223697" y="128117"/>
                  </a:lnTo>
                  <a:lnTo>
                    <a:pt x="223812" y="127990"/>
                  </a:lnTo>
                  <a:close/>
                </a:path>
                <a:path w="333375" h="379729">
                  <a:moveTo>
                    <a:pt x="317665" y="1676"/>
                  </a:moveTo>
                  <a:lnTo>
                    <a:pt x="317588" y="1447"/>
                  </a:lnTo>
                  <a:lnTo>
                    <a:pt x="317461" y="1371"/>
                  </a:lnTo>
                  <a:lnTo>
                    <a:pt x="317284" y="1549"/>
                  </a:lnTo>
                  <a:lnTo>
                    <a:pt x="317373" y="1765"/>
                  </a:lnTo>
                  <a:lnTo>
                    <a:pt x="317500" y="1854"/>
                  </a:lnTo>
                  <a:lnTo>
                    <a:pt x="317665" y="1676"/>
                  </a:lnTo>
                  <a:close/>
                </a:path>
                <a:path w="333375" h="379729">
                  <a:moveTo>
                    <a:pt x="328155" y="3263"/>
                  </a:moveTo>
                  <a:lnTo>
                    <a:pt x="328104" y="3111"/>
                  </a:lnTo>
                  <a:lnTo>
                    <a:pt x="327914" y="3009"/>
                  </a:lnTo>
                  <a:lnTo>
                    <a:pt x="327812" y="3213"/>
                  </a:lnTo>
                  <a:lnTo>
                    <a:pt x="327863" y="3365"/>
                  </a:lnTo>
                  <a:lnTo>
                    <a:pt x="328053" y="3467"/>
                  </a:lnTo>
                  <a:lnTo>
                    <a:pt x="328155" y="3263"/>
                  </a:lnTo>
                  <a:close/>
                </a:path>
                <a:path w="333375" h="379729">
                  <a:moveTo>
                    <a:pt x="333375" y="9918"/>
                  </a:moveTo>
                  <a:lnTo>
                    <a:pt x="333336" y="9321"/>
                  </a:lnTo>
                  <a:lnTo>
                    <a:pt x="333133" y="9182"/>
                  </a:lnTo>
                  <a:lnTo>
                    <a:pt x="332828" y="9232"/>
                  </a:lnTo>
                  <a:lnTo>
                    <a:pt x="332308" y="9321"/>
                  </a:lnTo>
                  <a:lnTo>
                    <a:pt x="331724" y="9588"/>
                  </a:lnTo>
                  <a:lnTo>
                    <a:pt x="331812" y="10452"/>
                  </a:lnTo>
                  <a:lnTo>
                    <a:pt x="331558" y="10629"/>
                  </a:lnTo>
                  <a:lnTo>
                    <a:pt x="330174" y="10896"/>
                  </a:lnTo>
                  <a:lnTo>
                    <a:pt x="329793" y="11163"/>
                  </a:lnTo>
                  <a:lnTo>
                    <a:pt x="329704" y="11430"/>
                  </a:lnTo>
                  <a:lnTo>
                    <a:pt x="328396" y="11430"/>
                  </a:lnTo>
                  <a:lnTo>
                    <a:pt x="328968" y="10160"/>
                  </a:lnTo>
                  <a:lnTo>
                    <a:pt x="326415" y="10160"/>
                  </a:lnTo>
                  <a:lnTo>
                    <a:pt x="327418" y="8890"/>
                  </a:lnTo>
                  <a:lnTo>
                    <a:pt x="328993" y="7708"/>
                  </a:lnTo>
                  <a:lnTo>
                    <a:pt x="329247" y="8039"/>
                  </a:lnTo>
                  <a:lnTo>
                    <a:pt x="329349" y="8318"/>
                  </a:lnTo>
                  <a:lnTo>
                    <a:pt x="330060" y="7823"/>
                  </a:lnTo>
                  <a:lnTo>
                    <a:pt x="329971" y="7620"/>
                  </a:lnTo>
                  <a:lnTo>
                    <a:pt x="329704" y="7327"/>
                  </a:lnTo>
                  <a:lnTo>
                    <a:pt x="329501" y="7239"/>
                  </a:lnTo>
                  <a:lnTo>
                    <a:pt x="329184" y="7340"/>
                  </a:lnTo>
                  <a:lnTo>
                    <a:pt x="328980" y="7493"/>
                  </a:lnTo>
                  <a:lnTo>
                    <a:pt x="327787" y="6350"/>
                  </a:lnTo>
                  <a:lnTo>
                    <a:pt x="329006" y="6350"/>
                  </a:lnTo>
                  <a:lnTo>
                    <a:pt x="328536" y="5080"/>
                  </a:lnTo>
                  <a:lnTo>
                    <a:pt x="329044" y="3810"/>
                  </a:lnTo>
                  <a:lnTo>
                    <a:pt x="330771" y="3810"/>
                  </a:lnTo>
                  <a:lnTo>
                    <a:pt x="330454" y="2540"/>
                  </a:lnTo>
                  <a:lnTo>
                    <a:pt x="328739" y="3810"/>
                  </a:lnTo>
                  <a:lnTo>
                    <a:pt x="325678" y="3810"/>
                  </a:lnTo>
                  <a:lnTo>
                    <a:pt x="325018" y="2540"/>
                  </a:lnTo>
                  <a:lnTo>
                    <a:pt x="324726" y="2540"/>
                  </a:lnTo>
                  <a:lnTo>
                    <a:pt x="324726" y="15240"/>
                  </a:lnTo>
                  <a:lnTo>
                    <a:pt x="322986" y="15240"/>
                  </a:lnTo>
                  <a:lnTo>
                    <a:pt x="322897" y="16510"/>
                  </a:lnTo>
                  <a:lnTo>
                    <a:pt x="322491" y="16510"/>
                  </a:lnTo>
                  <a:lnTo>
                    <a:pt x="322643" y="15240"/>
                  </a:lnTo>
                  <a:lnTo>
                    <a:pt x="323329" y="13970"/>
                  </a:lnTo>
                  <a:lnTo>
                    <a:pt x="324218" y="13970"/>
                  </a:lnTo>
                  <a:lnTo>
                    <a:pt x="324726" y="15240"/>
                  </a:lnTo>
                  <a:lnTo>
                    <a:pt x="324726" y="2540"/>
                  </a:lnTo>
                  <a:lnTo>
                    <a:pt x="323303" y="2540"/>
                  </a:lnTo>
                  <a:lnTo>
                    <a:pt x="323303" y="5080"/>
                  </a:lnTo>
                  <a:lnTo>
                    <a:pt x="322884" y="5080"/>
                  </a:lnTo>
                  <a:lnTo>
                    <a:pt x="323011" y="3810"/>
                  </a:lnTo>
                  <a:lnTo>
                    <a:pt x="323265"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47" y="0"/>
                  </a:lnTo>
                  <a:lnTo>
                    <a:pt x="304952" y="1270"/>
                  </a:lnTo>
                  <a:lnTo>
                    <a:pt x="303847" y="2540"/>
                  </a:lnTo>
                  <a:lnTo>
                    <a:pt x="302374" y="1270"/>
                  </a:lnTo>
                  <a:lnTo>
                    <a:pt x="301955" y="1270"/>
                  </a:lnTo>
                  <a:lnTo>
                    <a:pt x="300659" y="2540"/>
                  </a:lnTo>
                  <a:lnTo>
                    <a:pt x="297878" y="3810"/>
                  </a:lnTo>
                  <a:lnTo>
                    <a:pt x="296900" y="3810"/>
                  </a:lnTo>
                  <a:lnTo>
                    <a:pt x="294246" y="5080"/>
                  </a:lnTo>
                  <a:lnTo>
                    <a:pt x="292887" y="6350"/>
                  </a:lnTo>
                  <a:lnTo>
                    <a:pt x="291541"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88" y="29210"/>
                  </a:lnTo>
                  <a:lnTo>
                    <a:pt x="258889" y="31750"/>
                  </a:lnTo>
                  <a:lnTo>
                    <a:pt x="256552" y="31750"/>
                  </a:lnTo>
                  <a:lnTo>
                    <a:pt x="256120" y="34290"/>
                  </a:lnTo>
                  <a:lnTo>
                    <a:pt x="254304" y="35560"/>
                  </a:lnTo>
                  <a:lnTo>
                    <a:pt x="250215" y="39370"/>
                  </a:lnTo>
                  <a:lnTo>
                    <a:pt x="248462" y="39370"/>
                  </a:lnTo>
                  <a:lnTo>
                    <a:pt x="246354" y="43180"/>
                  </a:lnTo>
                  <a:lnTo>
                    <a:pt x="244881" y="44450"/>
                  </a:lnTo>
                  <a:lnTo>
                    <a:pt x="242354" y="45720"/>
                  </a:lnTo>
                  <a:lnTo>
                    <a:pt x="241503" y="45720"/>
                  </a:lnTo>
                  <a:lnTo>
                    <a:pt x="241922" y="48260"/>
                  </a:lnTo>
                  <a:lnTo>
                    <a:pt x="238975" y="48260"/>
                  </a:lnTo>
                  <a:lnTo>
                    <a:pt x="237324" y="52070"/>
                  </a:lnTo>
                  <a:lnTo>
                    <a:pt x="234772" y="53340"/>
                  </a:lnTo>
                  <a:lnTo>
                    <a:pt x="232410" y="55880"/>
                  </a:lnTo>
                  <a:lnTo>
                    <a:pt x="231381" y="57150"/>
                  </a:lnTo>
                  <a:lnTo>
                    <a:pt x="227774" y="58420"/>
                  </a:lnTo>
                  <a:lnTo>
                    <a:pt x="227545" y="60960"/>
                  </a:lnTo>
                  <a:lnTo>
                    <a:pt x="225425" y="62230"/>
                  </a:lnTo>
                  <a:lnTo>
                    <a:pt x="225425" y="63500"/>
                  </a:lnTo>
                  <a:lnTo>
                    <a:pt x="223367" y="63500"/>
                  </a:lnTo>
                  <a:lnTo>
                    <a:pt x="222910" y="64770"/>
                  </a:lnTo>
                  <a:lnTo>
                    <a:pt x="222681" y="66040"/>
                  </a:lnTo>
                  <a:lnTo>
                    <a:pt x="221957" y="67310"/>
                  </a:lnTo>
                  <a:lnTo>
                    <a:pt x="219989" y="68580"/>
                  </a:lnTo>
                  <a:lnTo>
                    <a:pt x="218490" y="68580"/>
                  </a:lnTo>
                  <a:lnTo>
                    <a:pt x="216941" y="71120"/>
                  </a:lnTo>
                  <a:lnTo>
                    <a:pt x="215734" y="72390"/>
                  </a:lnTo>
                  <a:lnTo>
                    <a:pt x="214972" y="74930"/>
                  </a:lnTo>
                  <a:lnTo>
                    <a:pt x="214071" y="74930"/>
                  </a:lnTo>
                  <a:lnTo>
                    <a:pt x="212229" y="76200"/>
                  </a:lnTo>
                  <a:lnTo>
                    <a:pt x="210172" y="78740"/>
                  </a:lnTo>
                  <a:lnTo>
                    <a:pt x="208470" y="80010"/>
                  </a:lnTo>
                  <a:lnTo>
                    <a:pt x="207340" y="81280"/>
                  </a:lnTo>
                  <a:lnTo>
                    <a:pt x="205422" y="83820"/>
                  </a:lnTo>
                  <a:lnTo>
                    <a:pt x="204876" y="85090"/>
                  </a:lnTo>
                  <a:lnTo>
                    <a:pt x="203962" y="86360"/>
                  </a:lnTo>
                  <a:lnTo>
                    <a:pt x="201498" y="87630"/>
                  </a:lnTo>
                  <a:lnTo>
                    <a:pt x="200304" y="88900"/>
                  </a:lnTo>
                  <a:lnTo>
                    <a:pt x="199796" y="90170"/>
                  </a:lnTo>
                  <a:lnTo>
                    <a:pt x="197358" y="90170"/>
                  </a:lnTo>
                  <a:lnTo>
                    <a:pt x="197993" y="91440"/>
                  </a:lnTo>
                  <a:lnTo>
                    <a:pt x="197904" y="93980"/>
                  </a:lnTo>
                  <a:lnTo>
                    <a:pt x="195478" y="93980"/>
                  </a:lnTo>
                  <a:lnTo>
                    <a:pt x="195262" y="95250"/>
                  </a:lnTo>
                  <a:lnTo>
                    <a:pt x="193408" y="96520"/>
                  </a:lnTo>
                  <a:lnTo>
                    <a:pt x="192760" y="97790"/>
                  </a:lnTo>
                  <a:lnTo>
                    <a:pt x="192354" y="99060"/>
                  </a:lnTo>
                  <a:lnTo>
                    <a:pt x="190068" y="100330"/>
                  </a:lnTo>
                  <a:lnTo>
                    <a:pt x="188785" y="100330"/>
                  </a:lnTo>
                  <a:lnTo>
                    <a:pt x="189623" y="101600"/>
                  </a:lnTo>
                  <a:lnTo>
                    <a:pt x="189496" y="102870"/>
                  </a:lnTo>
                  <a:lnTo>
                    <a:pt x="187439" y="104140"/>
                  </a:lnTo>
                  <a:lnTo>
                    <a:pt x="186524" y="106680"/>
                  </a:lnTo>
                  <a:lnTo>
                    <a:pt x="182727" y="107950"/>
                  </a:lnTo>
                  <a:lnTo>
                    <a:pt x="181724" y="109220"/>
                  </a:lnTo>
                  <a:lnTo>
                    <a:pt x="182283" y="110490"/>
                  </a:lnTo>
                  <a:lnTo>
                    <a:pt x="180530" y="110490"/>
                  </a:lnTo>
                  <a:lnTo>
                    <a:pt x="179400" y="111760"/>
                  </a:lnTo>
                  <a:lnTo>
                    <a:pt x="180505" y="113030"/>
                  </a:lnTo>
                  <a:lnTo>
                    <a:pt x="180022" y="113030"/>
                  </a:lnTo>
                  <a:lnTo>
                    <a:pt x="176796"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34" y="137160"/>
                  </a:lnTo>
                  <a:lnTo>
                    <a:pt x="170053" y="138430"/>
                  </a:lnTo>
                  <a:lnTo>
                    <a:pt x="169786" y="138430"/>
                  </a:lnTo>
                  <a:lnTo>
                    <a:pt x="169786" y="144780"/>
                  </a:lnTo>
                  <a:lnTo>
                    <a:pt x="169252" y="146050"/>
                  </a:lnTo>
                  <a:lnTo>
                    <a:pt x="169024" y="146050"/>
                  </a:lnTo>
                  <a:lnTo>
                    <a:pt x="168744"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41" y="133350"/>
                  </a:lnTo>
                  <a:lnTo>
                    <a:pt x="163144" y="134620"/>
                  </a:lnTo>
                  <a:lnTo>
                    <a:pt x="162725" y="135890"/>
                  </a:lnTo>
                  <a:lnTo>
                    <a:pt x="162864" y="137160"/>
                  </a:lnTo>
                  <a:lnTo>
                    <a:pt x="159270" y="137160"/>
                  </a:lnTo>
                  <a:lnTo>
                    <a:pt x="159270" y="148590"/>
                  </a:lnTo>
                  <a:lnTo>
                    <a:pt x="159194" y="149860"/>
                  </a:lnTo>
                  <a:lnTo>
                    <a:pt x="158229" y="149860"/>
                  </a:lnTo>
                  <a:lnTo>
                    <a:pt x="158394" y="148590"/>
                  </a:lnTo>
                  <a:lnTo>
                    <a:pt x="159270" y="148590"/>
                  </a:lnTo>
                  <a:lnTo>
                    <a:pt x="159270" y="137160"/>
                  </a:lnTo>
                  <a:lnTo>
                    <a:pt x="158851" y="137160"/>
                  </a:lnTo>
                  <a:lnTo>
                    <a:pt x="159105" y="140970"/>
                  </a:lnTo>
                  <a:lnTo>
                    <a:pt x="156210" y="140970"/>
                  </a:lnTo>
                  <a:lnTo>
                    <a:pt x="156032" y="144780"/>
                  </a:lnTo>
                  <a:lnTo>
                    <a:pt x="154787" y="146050"/>
                  </a:lnTo>
                  <a:lnTo>
                    <a:pt x="152069"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55"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69"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78" y="170180"/>
                  </a:lnTo>
                  <a:lnTo>
                    <a:pt x="134277" y="171450"/>
                  </a:lnTo>
                  <a:lnTo>
                    <a:pt x="133248" y="171450"/>
                  </a:lnTo>
                  <a:lnTo>
                    <a:pt x="134239" y="173990"/>
                  </a:lnTo>
                  <a:lnTo>
                    <a:pt x="133273" y="175260"/>
                  </a:lnTo>
                  <a:lnTo>
                    <a:pt x="130822" y="176530"/>
                  </a:lnTo>
                  <a:lnTo>
                    <a:pt x="129857" y="179070"/>
                  </a:lnTo>
                  <a:lnTo>
                    <a:pt x="127190" y="180340"/>
                  </a:lnTo>
                  <a:lnTo>
                    <a:pt x="126936" y="180340"/>
                  </a:lnTo>
                  <a:lnTo>
                    <a:pt x="126873" y="182880"/>
                  </a:lnTo>
                  <a:lnTo>
                    <a:pt x="125831" y="185420"/>
                  </a:lnTo>
                  <a:lnTo>
                    <a:pt x="126009" y="187960"/>
                  </a:lnTo>
                  <a:lnTo>
                    <a:pt x="124587" y="187960"/>
                  </a:lnTo>
                  <a:lnTo>
                    <a:pt x="124015" y="189230"/>
                  </a:lnTo>
                  <a:lnTo>
                    <a:pt x="123228" y="187960"/>
                  </a:lnTo>
                  <a:lnTo>
                    <a:pt x="123037" y="189865"/>
                  </a:lnTo>
                  <a:lnTo>
                    <a:pt x="123037" y="269240"/>
                  </a:lnTo>
                  <a:lnTo>
                    <a:pt x="122669" y="269240"/>
                  </a:lnTo>
                  <a:lnTo>
                    <a:pt x="122885" y="267970"/>
                  </a:lnTo>
                  <a:lnTo>
                    <a:pt x="123037" y="269240"/>
                  </a:lnTo>
                  <a:lnTo>
                    <a:pt x="123037" y="189865"/>
                  </a:lnTo>
                  <a:lnTo>
                    <a:pt x="122974" y="190500"/>
                  </a:lnTo>
                  <a:lnTo>
                    <a:pt x="121793" y="190500"/>
                  </a:lnTo>
                  <a:lnTo>
                    <a:pt x="120370" y="191770"/>
                  </a:lnTo>
                  <a:lnTo>
                    <a:pt x="119684" y="191770"/>
                  </a:lnTo>
                  <a:lnTo>
                    <a:pt x="118211" y="193040"/>
                  </a:lnTo>
                  <a:lnTo>
                    <a:pt x="119773" y="193040"/>
                  </a:lnTo>
                  <a:lnTo>
                    <a:pt x="119176" y="194310"/>
                  </a:lnTo>
                  <a:lnTo>
                    <a:pt x="118033" y="195580"/>
                  </a:lnTo>
                  <a:lnTo>
                    <a:pt x="117919" y="198120"/>
                  </a:lnTo>
                  <a:lnTo>
                    <a:pt x="115493" y="198120"/>
                  </a:lnTo>
                  <a:lnTo>
                    <a:pt x="116395" y="200660"/>
                  </a:lnTo>
                  <a:lnTo>
                    <a:pt x="115404" y="200660"/>
                  </a:lnTo>
                  <a:lnTo>
                    <a:pt x="113461" y="201930"/>
                  </a:lnTo>
                  <a:lnTo>
                    <a:pt x="113017" y="203200"/>
                  </a:lnTo>
                  <a:lnTo>
                    <a:pt x="111671" y="204470"/>
                  </a:lnTo>
                  <a:lnTo>
                    <a:pt x="110871" y="205740"/>
                  </a:lnTo>
                  <a:lnTo>
                    <a:pt x="110642" y="207010"/>
                  </a:lnTo>
                  <a:lnTo>
                    <a:pt x="108140" y="207010"/>
                  </a:lnTo>
                  <a:lnTo>
                    <a:pt x="108813" y="208280"/>
                  </a:lnTo>
                  <a:lnTo>
                    <a:pt x="107721" y="210820"/>
                  </a:lnTo>
                  <a:lnTo>
                    <a:pt x="107391" y="212090"/>
                  </a:lnTo>
                  <a:lnTo>
                    <a:pt x="105460" y="212090"/>
                  </a:lnTo>
                  <a:lnTo>
                    <a:pt x="105956" y="214630"/>
                  </a:lnTo>
                  <a:lnTo>
                    <a:pt x="104571" y="215900"/>
                  </a:lnTo>
                  <a:lnTo>
                    <a:pt x="104787" y="217170"/>
                  </a:lnTo>
                  <a:lnTo>
                    <a:pt x="100672" y="217170"/>
                  </a:lnTo>
                  <a:lnTo>
                    <a:pt x="100304" y="218440"/>
                  </a:lnTo>
                  <a:lnTo>
                    <a:pt x="101041" y="222250"/>
                  </a:lnTo>
                  <a:lnTo>
                    <a:pt x="99352" y="222250"/>
                  </a:lnTo>
                  <a:lnTo>
                    <a:pt x="99415" y="226060"/>
                  </a:lnTo>
                  <a:lnTo>
                    <a:pt x="94805" y="226060"/>
                  </a:lnTo>
                  <a:lnTo>
                    <a:pt x="96177" y="228600"/>
                  </a:lnTo>
                  <a:lnTo>
                    <a:pt x="96151" y="229870"/>
                  </a:lnTo>
                  <a:lnTo>
                    <a:pt x="95402" y="229870"/>
                  </a:lnTo>
                  <a:lnTo>
                    <a:pt x="95694" y="231140"/>
                  </a:lnTo>
                  <a:lnTo>
                    <a:pt x="93281" y="230009"/>
                  </a:lnTo>
                  <a:lnTo>
                    <a:pt x="93294" y="230212"/>
                  </a:lnTo>
                  <a:lnTo>
                    <a:pt x="94170" y="231140"/>
                  </a:lnTo>
                  <a:lnTo>
                    <a:pt x="93535" y="233680"/>
                  </a:lnTo>
                  <a:lnTo>
                    <a:pt x="93294" y="230212"/>
                  </a:lnTo>
                  <a:lnTo>
                    <a:pt x="92697" y="232410"/>
                  </a:lnTo>
                  <a:lnTo>
                    <a:pt x="92824" y="232410"/>
                  </a:lnTo>
                  <a:lnTo>
                    <a:pt x="93472" y="234950"/>
                  </a:lnTo>
                  <a:lnTo>
                    <a:pt x="93510" y="236220"/>
                  </a:lnTo>
                  <a:lnTo>
                    <a:pt x="89954" y="237490"/>
                  </a:lnTo>
                  <a:lnTo>
                    <a:pt x="89496" y="237490"/>
                  </a:lnTo>
                  <a:lnTo>
                    <a:pt x="89052" y="242570"/>
                  </a:lnTo>
                  <a:lnTo>
                    <a:pt x="86563" y="241300"/>
                  </a:lnTo>
                  <a:lnTo>
                    <a:pt x="85801" y="242570"/>
                  </a:lnTo>
                  <a:lnTo>
                    <a:pt x="86004" y="243840"/>
                  </a:lnTo>
                  <a:lnTo>
                    <a:pt x="85318" y="245110"/>
                  </a:lnTo>
                  <a:lnTo>
                    <a:pt x="85191" y="247650"/>
                  </a:lnTo>
                  <a:lnTo>
                    <a:pt x="84251" y="248920"/>
                  </a:lnTo>
                  <a:lnTo>
                    <a:pt x="82092" y="248920"/>
                  </a:lnTo>
                  <a:lnTo>
                    <a:pt x="82804" y="251460"/>
                  </a:lnTo>
                  <a:lnTo>
                    <a:pt x="81280" y="251460"/>
                  </a:lnTo>
                  <a:lnTo>
                    <a:pt x="81254" y="251193"/>
                  </a:lnTo>
                  <a:lnTo>
                    <a:pt x="80848" y="251028"/>
                  </a:lnTo>
                  <a:lnTo>
                    <a:pt x="80848" y="251155"/>
                  </a:lnTo>
                  <a:lnTo>
                    <a:pt x="80797" y="251307"/>
                  </a:lnTo>
                  <a:lnTo>
                    <a:pt x="80962" y="251637"/>
                  </a:lnTo>
                  <a:lnTo>
                    <a:pt x="81165" y="251637"/>
                  </a:lnTo>
                  <a:lnTo>
                    <a:pt x="80645" y="254000"/>
                  </a:lnTo>
                  <a:lnTo>
                    <a:pt x="79502" y="252730"/>
                  </a:lnTo>
                  <a:lnTo>
                    <a:pt x="79502" y="254000"/>
                  </a:lnTo>
                  <a:lnTo>
                    <a:pt x="77330" y="255270"/>
                  </a:lnTo>
                  <a:lnTo>
                    <a:pt x="79019" y="256540"/>
                  </a:lnTo>
                  <a:lnTo>
                    <a:pt x="78879" y="256540"/>
                  </a:lnTo>
                  <a:lnTo>
                    <a:pt x="77482" y="257810"/>
                  </a:lnTo>
                  <a:lnTo>
                    <a:pt x="76771" y="259080"/>
                  </a:lnTo>
                  <a:lnTo>
                    <a:pt x="76288" y="261620"/>
                  </a:lnTo>
                  <a:lnTo>
                    <a:pt x="74803" y="261620"/>
                  </a:lnTo>
                  <a:lnTo>
                    <a:pt x="74523" y="262890"/>
                  </a:lnTo>
                  <a:lnTo>
                    <a:pt x="72936" y="265430"/>
                  </a:lnTo>
                  <a:lnTo>
                    <a:pt x="72453" y="266700"/>
                  </a:lnTo>
                  <a:lnTo>
                    <a:pt x="69494" y="269240"/>
                  </a:lnTo>
                  <a:lnTo>
                    <a:pt x="69532" y="271780"/>
                  </a:lnTo>
                  <a:lnTo>
                    <a:pt x="69151" y="270510"/>
                  </a:lnTo>
                  <a:lnTo>
                    <a:pt x="67894" y="273050"/>
                  </a:lnTo>
                  <a:lnTo>
                    <a:pt x="67398" y="274320"/>
                  </a:lnTo>
                  <a:lnTo>
                    <a:pt x="66319" y="274320"/>
                  </a:lnTo>
                  <a:lnTo>
                    <a:pt x="68237" y="275590"/>
                  </a:lnTo>
                  <a:lnTo>
                    <a:pt x="66446" y="275590"/>
                  </a:lnTo>
                  <a:lnTo>
                    <a:pt x="66446" y="364490"/>
                  </a:lnTo>
                  <a:lnTo>
                    <a:pt x="65697" y="365760"/>
                  </a:lnTo>
                  <a:lnTo>
                    <a:pt x="65049" y="365760"/>
                  </a:lnTo>
                  <a:lnTo>
                    <a:pt x="65786" y="364490"/>
                  </a:lnTo>
                  <a:lnTo>
                    <a:pt x="66446" y="364490"/>
                  </a:lnTo>
                  <a:lnTo>
                    <a:pt x="66446" y="275590"/>
                  </a:lnTo>
                  <a:lnTo>
                    <a:pt x="65836" y="275590"/>
                  </a:lnTo>
                  <a:lnTo>
                    <a:pt x="65303" y="276860"/>
                  </a:lnTo>
                  <a:lnTo>
                    <a:pt x="65455" y="278130"/>
                  </a:lnTo>
                  <a:lnTo>
                    <a:pt x="64033" y="279400"/>
                  </a:lnTo>
                  <a:lnTo>
                    <a:pt x="64630" y="281940"/>
                  </a:lnTo>
                  <a:lnTo>
                    <a:pt x="64325" y="281940"/>
                  </a:lnTo>
                  <a:lnTo>
                    <a:pt x="62128" y="280670"/>
                  </a:lnTo>
                  <a:lnTo>
                    <a:pt x="60325" y="283210"/>
                  </a:lnTo>
                  <a:lnTo>
                    <a:pt x="61810" y="285750"/>
                  </a:lnTo>
                  <a:lnTo>
                    <a:pt x="60210" y="287020"/>
                  </a:lnTo>
                  <a:lnTo>
                    <a:pt x="60236" y="288290"/>
                  </a:lnTo>
                  <a:lnTo>
                    <a:pt x="59563" y="288290"/>
                  </a:lnTo>
                  <a:lnTo>
                    <a:pt x="58166" y="289560"/>
                  </a:lnTo>
                  <a:lnTo>
                    <a:pt x="57950" y="289560"/>
                  </a:lnTo>
                  <a:lnTo>
                    <a:pt x="58229" y="290830"/>
                  </a:lnTo>
                  <a:lnTo>
                    <a:pt x="58648" y="292100"/>
                  </a:lnTo>
                  <a:lnTo>
                    <a:pt x="56972" y="292100"/>
                  </a:lnTo>
                  <a:lnTo>
                    <a:pt x="56845" y="292544"/>
                  </a:lnTo>
                  <a:lnTo>
                    <a:pt x="56845" y="370840"/>
                  </a:lnTo>
                  <a:lnTo>
                    <a:pt x="56781" y="372110"/>
                  </a:lnTo>
                  <a:lnTo>
                    <a:pt x="55638" y="372110"/>
                  </a:lnTo>
                  <a:lnTo>
                    <a:pt x="54889" y="373380"/>
                  </a:lnTo>
                  <a:lnTo>
                    <a:pt x="53924" y="374650"/>
                  </a:lnTo>
                  <a:lnTo>
                    <a:pt x="52743" y="374650"/>
                  </a:lnTo>
                  <a:lnTo>
                    <a:pt x="52400" y="375920"/>
                  </a:lnTo>
                  <a:lnTo>
                    <a:pt x="51282" y="375920"/>
                  </a:lnTo>
                  <a:lnTo>
                    <a:pt x="51523" y="374650"/>
                  </a:lnTo>
                  <a:lnTo>
                    <a:pt x="50736" y="374650"/>
                  </a:lnTo>
                  <a:lnTo>
                    <a:pt x="51358" y="373380"/>
                  </a:lnTo>
                  <a:lnTo>
                    <a:pt x="51803" y="372110"/>
                  </a:lnTo>
                  <a:lnTo>
                    <a:pt x="52070" y="373380"/>
                  </a:lnTo>
                  <a:lnTo>
                    <a:pt x="53251" y="373380"/>
                  </a:lnTo>
                  <a:lnTo>
                    <a:pt x="53543" y="372110"/>
                  </a:lnTo>
                  <a:lnTo>
                    <a:pt x="53403" y="372110"/>
                  </a:lnTo>
                  <a:lnTo>
                    <a:pt x="53454" y="370840"/>
                  </a:lnTo>
                  <a:lnTo>
                    <a:pt x="53644" y="370840"/>
                  </a:lnTo>
                  <a:lnTo>
                    <a:pt x="53682" y="372084"/>
                  </a:lnTo>
                  <a:lnTo>
                    <a:pt x="54864" y="370840"/>
                  </a:lnTo>
                  <a:lnTo>
                    <a:pt x="56845" y="370840"/>
                  </a:lnTo>
                  <a:lnTo>
                    <a:pt x="56845" y="292544"/>
                  </a:lnTo>
                  <a:lnTo>
                    <a:pt x="56603" y="293370"/>
                  </a:lnTo>
                  <a:lnTo>
                    <a:pt x="56819" y="294640"/>
                  </a:lnTo>
                  <a:lnTo>
                    <a:pt x="55499" y="294640"/>
                  </a:lnTo>
                  <a:lnTo>
                    <a:pt x="55600" y="295440"/>
                  </a:lnTo>
                  <a:lnTo>
                    <a:pt x="55791" y="295910"/>
                  </a:lnTo>
                  <a:lnTo>
                    <a:pt x="55651" y="295910"/>
                  </a:lnTo>
                  <a:lnTo>
                    <a:pt x="55562" y="295363"/>
                  </a:lnTo>
                  <a:lnTo>
                    <a:pt x="55257" y="294640"/>
                  </a:lnTo>
                  <a:lnTo>
                    <a:pt x="55587" y="295910"/>
                  </a:lnTo>
                  <a:lnTo>
                    <a:pt x="55232" y="295440"/>
                  </a:lnTo>
                  <a:lnTo>
                    <a:pt x="55118" y="295211"/>
                  </a:lnTo>
                  <a:lnTo>
                    <a:pt x="54940" y="294982"/>
                  </a:lnTo>
                  <a:lnTo>
                    <a:pt x="55143" y="295910"/>
                  </a:lnTo>
                  <a:lnTo>
                    <a:pt x="55587" y="298450"/>
                  </a:lnTo>
                  <a:lnTo>
                    <a:pt x="54051" y="294690"/>
                  </a:lnTo>
                  <a:lnTo>
                    <a:pt x="54127" y="295236"/>
                  </a:lnTo>
                  <a:lnTo>
                    <a:pt x="54076" y="295097"/>
                  </a:lnTo>
                  <a:lnTo>
                    <a:pt x="53886" y="294767"/>
                  </a:lnTo>
                  <a:lnTo>
                    <a:pt x="53987" y="295033"/>
                  </a:lnTo>
                  <a:lnTo>
                    <a:pt x="54076" y="295211"/>
                  </a:lnTo>
                  <a:lnTo>
                    <a:pt x="54152" y="295338"/>
                  </a:lnTo>
                  <a:lnTo>
                    <a:pt x="54457" y="297180"/>
                  </a:lnTo>
                  <a:lnTo>
                    <a:pt x="53911" y="295910"/>
                  </a:lnTo>
                  <a:lnTo>
                    <a:pt x="54038" y="297180"/>
                  </a:lnTo>
                  <a:lnTo>
                    <a:pt x="53543" y="295910"/>
                  </a:lnTo>
                  <a:lnTo>
                    <a:pt x="53860" y="297180"/>
                  </a:lnTo>
                  <a:lnTo>
                    <a:pt x="53594" y="297180"/>
                  </a:lnTo>
                  <a:lnTo>
                    <a:pt x="53886" y="298450"/>
                  </a:lnTo>
                  <a:lnTo>
                    <a:pt x="53873" y="299720"/>
                  </a:lnTo>
                  <a:lnTo>
                    <a:pt x="53530" y="297688"/>
                  </a:lnTo>
                  <a:lnTo>
                    <a:pt x="53606" y="300990"/>
                  </a:lnTo>
                  <a:lnTo>
                    <a:pt x="53479" y="299720"/>
                  </a:lnTo>
                  <a:lnTo>
                    <a:pt x="53213" y="297446"/>
                  </a:lnTo>
                  <a:lnTo>
                    <a:pt x="53251" y="299720"/>
                  </a:lnTo>
                  <a:lnTo>
                    <a:pt x="53035" y="295363"/>
                  </a:lnTo>
                  <a:lnTo>
                    <a:pt x="52844" y="299720"/>
                  </a:lnTo>
                  <a:lnTo>
                    <a:pt x="52844" y="297180"/>
                  </a:lnTo>
                  <a:lnTo>
                    <a:pt x="52793" y="298450"/>
                  </a:lnTo>
                  <a:lnTo>
                    <a:pt x="52692" y="299720"/>
                  </a:lnTo>
                  <a:lnTo>
                    <a:pt x="52539" y="299720"/>
                  </a:lnTo>
                  <a:lnTo>
                    <a:pt x="52692" y="297180"/>
                  </a:lnTo>
                  <a:lnTo>
                    <a:pt x="52349" y="299720"/>
                  </a:lnTo>
                  <a:lnTo>
                    <a:pt x="52006" y="298450"/>
                  </a:lnTo>
                  <a:lnTo>
                    <a:pt x="51638" y="298450"/>
                  </a:lnTo>
                  <a:lnTo>
                    <a:pt x="51422" y="297180"/>
                  </a:lnTo>
                  <a:lnTo>
                    <a:pt x="51727" y="297180"/>
                  </a:lnTo>
                  <a:lnTo>
                    <a:pt x="52717" y="295910"/>
                  </a:lnTo>
                  <a:lnTo>
                    <a:pt x="52514" y="295910"/>
                  </a:lnTo>
                  <a:lnTo>
                    <a:pt x="51879" y="294640"/>
                  </a:lnTo>
                  <a:lnTo>
                    <a:pt x="51460" y="294640"/>
                  </a:lnTo>
                  <a:lnTo>
                    <a:pt x="50990" y="293370"/>
                  </a:lnTo>
                  <a:lnTo>
                    <a:pt x="51181" y="292100"/>
                  </a:lnTo>
                  <a:lnTo>
                    <a:pt x="51358" y="290830"/>
                  </a:lnTo>
                  <a:lnTo>
                    <a:pt x="50622" y="290830"/>
                  </a:lnTo>
                  <a:lnTo>
                    <a:pt x="50558" y="292100"/>
                  </a:lnTo>
                  <a:lnTo>
                    <a:pt x="50520" y="377190"/>
                  </a:lnTo>
                  <a:lnTo>
                    <a:pt x="50380" y="377190"/>
                  </a:lnTo>
                  <a:lnTo>
                    <a:pt x="50406" y="375920"/>
                  </a:lnTo>
                  <a:lnTo>
                    <a:pt x="50520" y="377190"/>
                  </a:lnTo>
                  <a:lnTo>
                    <a:pt x="50520" y="292100"/>
                  </a:lnTo>
                  <a:lnTo>
                    <a:pt x="50406" y="291884"/>
                  </a:lnTo>
                  <a:lnTo>
                    <a:pt x="50406" y="299720"/>
                  </a:lnTo>
                  <a:lnTo>
                    <a:pt x="50038" y="299720"/>
                  </a:lnTo>
                  <a:lnTo>
                    <a:pt x="50279" y="298450"/>
                  </a:lnTo>
                  <a:lnTo>
                    <a:pt x="50406" y="299720"/>
                  </a:lnTo>
                  <a:lnTo>
                    <a:pt x="50406" y="291884"/>
                  </a:lnTo>
                  <a:lnTo>
                    <a:pt x="50114" y="290830"/>
                  </a:lnTo>
                  <a:lnTo>
                    <a:pt x="51015" y="289560"/>
                  </a:lnTo>
                  <a:lnTo>
                    <a:pt x="50076" y="287020"/>
                  </a:lnTo>
                  <a:lnTo>
                    <a:pt x="51320" y="287020"/>
                  </a:lnTo>
                  <a:lnTo>
                    <a:pt x="51155" y="285750"/>
                  </a:lnTo>
                  <a:lnTo>
                    <a:pt x="51422" y="285750"/>
                  </a:lnTo>
                  <a:lnTo>
                    <a:pt x="50444" y="284480"/>
                  </a:lnTo>
                  <a:lnTo>
                    <a:pt x="49784" y="283210"/>
                  </a:lnTo>
                  <a:lnTo>
                    <a:pt x="49301" y="283210"/>
                  </a:lnTo>
                  <a:lnTo>
                    <a:pt x="50342" y="281940"/>
                  </a:lnTo>
                  <a:lnTo>
                    <a:pt x="50203" y="280670"/>
                  </a:lnTo>
                  <a:lnTo>
                    <a:pt x="48869" y="279400"/>
                  </a:lnTo>
                  <a:lnTo>
                    <a:pt x="48590" y="278130"/>
                  </a:lnTo>
                  <a:lnTo>
                    <a:pt x="49885" y="276860"/>
                  </a:lnTo>
                  <a:lnTo>
                    <a:pt x="49085" y="275590"/>
                  </a:lnTo>
                  <a:lnTo>
                    <a:pt x="48856" y="273050"/>
                  </a:lnTo>
                  <a:lnTo>
                    <a:pt x="48552" y="273050"/>
                  </a:lnTo>
                  <a:lnTo>
                    <a:pt x="47307" y="270510"/>
                  </a:lnTo>
                  <a:lnTo>
                    <a:pt x="47231" y="269240"/>
                  </a:lnTo>
                  <a:lnTo>
                    <a:pt x="49047" y="269240"/>
                  </a:lnTo>
                  <a:lnTo>
                    <a:pt x="48666" y="267970"/>
                  </a:lnTo>
                  <a:lnTo>
                    <a:pt x="47942" y="265430"/>
                  </a:lnTo>
                  <a:lnTo>
                    <a:pt x="45897" y="264160"/>
                  </a:lnTo>
                  <a:lnTo>
                    <a:pt x="47752" y="264160"/>
                  </a:lnTo>
                  <a:lnTo>
                    <a:pt x="48056" y="262890"/>
                  </a:lnTo>
                  <a:lnTo>
                    <a:pt x="48348" y="261620"/>
                  </a:lnTo>
                  <a:lnTo>
                    <a:pt x="47028" y="261620"/>
                  </a:lnTo>
                  <a:lnTo>
                    <a:pt x="47891" y="260350"/>
                  </a:lnTo>
                  <a:lnTo>
                    <a:pt x="46634" y="257810"/>
                  </a:lnTo>
                  <a:lnTo>
                    <a:pt x="45656" y="256654"/>
                  </a:lnTo>
                  <a:lnTo>
                    <a:pt x="45656" y="264160"/>
                  </a:lnTo>
                  <a:lnTo>
                    <a:pt x="45072" y="264160"/>
                  </a:lnTo>
                  <a:lnTo>
                    <a:pt x="44627" y="262991"/>
                  </a:lnTo>
                  <a:lnTo>
                    <a:pt x="44615" y="265430"/>
                  </a:lnTo>
                  <a:lnTo>
                    <a:pt x="44157" y="265430"/>
                  </a:lnTo>
                  <a:lnTo>
                    <a:pt x="43662" y="264160"/>
                  </a:lnTo>
                  <a:lnTo>
                    <a:pt x="43116" y="264160"/>
                  </a:lnTo>
                  <a:lnTo>
                    <a:pt x="44589" y="263029"/>
                  </a:lnTo>
                  <a:lnTo>
                    <a:pt x="44589" y="262890"/>
                  </a:lnTo>
                  <a:lnTo>
                    <a:pt x="44767" y="262890"/>
                  </a:lnTo>
                  <a:lnTo>
                    <a:pt x="45542" y="262890"/>
                  </a:lnTo>
                  <a:lnTo>
                    <a:pt x="45656" y="264160"/>
                  </a:lnTo>
                  <a:lnTo>
                    <a:pt x="45656" y="256654"/>
                  </a:lnTo>
                  <a:lnTo>
                    <a:pt x="46774" y="255270"/>
                  </a:lnTo>
                  <a:lnTo>
                    <a:pt x="46532" y="254000"/>
                  </a:lnTo>
                  <a:lnTo>
                    <a:pt x="46926" y="254000"/>
                  </a:lnTo>
                  <a:lnTo>
                    <a:pt x="46050" y="251460"/>
                  </a:lnTo>
                  <a:lnTo>
                    <a:pt x="44970" y="250190"/>
                  </a:lnTo>
                  <a:lnTo>
                    <a:pt x="44970" y="248920"/>
                  </a:lnTo>
                  <a:lnTo>
                    <a:pt x="46037" y="248920"/>
                  </a:lnTo>
                  <a:lnTo>
                    <a:pt x="46609" y="247650"/>
                  </a:lnTo>
                  <a:lnTo>
                    <a:pt x="44488" y="246380"/>
                  </a:lnTo>
                  <a:lnTo>
                    <a:pt x="18935" y="246380"/>
                  </a:lnTo>
                  <a:lnTo>
                    <a:pt x="18935" y="355600"/>
                  </a:lnTo>
                  <a:lnTo>
                    <a:pt x="18732" y="356870"/>
                  </a:lnTo>
                  <a:lnTo>
                    <a:pt x="17894" y="356870"/>
                  </a:lnTo>
                  <a:lnTo>
                    <a:pt x="18275" y="355600"/>
                  </a:lnTo>
                  <a:lnTo>
                    <a:pt x="18935" y="355600"/>
                  </a:lnTo>
                  <a:lnTo>
                    <a:pt x="18935" y="246380"/>
                  </a:lnTo>
                  <a:lnTo>
                    <a:pt x="14033" y="246380"/>
                  </a:lnTo>
                  <a:lnTo>
                    <a:pt x="14033" y="351790"/>
                  </a:lnTo>
                  <a:lnTo>
                    <a:pt x="13843" y="351790"/>
                  </a:lnTo>
                  <a:lnTo>
                    <a:pt x="13512" y="353060"/>
                  </a:lnTo>
                  <a:lnTo>
                    <a:pt x="13436" y="351790"/>
                  </a:lnTo>
                  <a:lnTo>
                    <a:pt x="12954" y="350520"/>
                  </a:lnTo>
                  <a:lnTo>
                    <a:pt x="13550" y="349250"/>
                  </a:lnTo>
                  <a:lnTo>
                    <a:pt x="13766" y="350520"/>
                  </a:lnTo>
                  <a:lnTo>
                    <a:pt x="14020" y="350520"/>
                  </a:lnTo>
                  <a:lnTo>
                    <a:pt x="14033" y="351790"/>
                  </a:lnTo>
                  <a:lnTo>
                    <a:pt x="14033" y="246380"/>
                  </a:lnTo>
                  <a:lnTo>
                    <a:pt x="7721" y="246380"/>
                  </a:lnTo>
                  <a:lnTo>
                    <a:pt x="7721" y="316230"/>
                  </a:lnTo>
                  <a:lnTo>
                    <a:pt x="7200" y="316230"/>
                  </a:lnTo>
                  <a:lnTo>
                    <a:pt x="7048" y="314960"/>
                  </a:lnTo>
                  <a:lnTo>
                    <a:pt x="7708" y="314960"/>
                  </a:lnTo>
                  <a:lnTo>
                    <a:pt x="7721" y="316230"/>
                  </a:lnTo>
                  <a:lnTo>
                    <a:pt x="7721" y="246380"/>
                  </a:lnTo>
                  <a:lnTo>
                    <a:pt x="5740" y="246380"/>
                  </a:lnTo>
                  <a:lnTo>
                    <a:pt x="5740" y="247650"/>
                  </a:lnTo>
                  <a:lnTo>
                    <a:pt x="5664" y="248348"/>
                  </a:lnTo>
                  <a:lnTo>
                    <a:pt x="5664" y="283210"/>
                  </a:lnTo>
                  <a:lnTo>
                    <a:pt x="5511" y="284480"/>
                  </a:lnTo>
                  <a:lnTo>
                    <a:pt x="5207" y="284480"/>
                  </a:lnTo>
                  <a:lnTo>
                    <a:pt x="5130" y="283210"/>
                  </a:lnTo>
                  <a:lnTo>
                    <a:pt x="5664" y="283210"/>
                  </a:lnTo>
                  <a:lnTo>
                    <a:pt x="5664" y="248348"/>
                  </a:lnTo>
                  <a:lnTo>
                    <a:pt x="5600" y="248920"/>
                  </a:lnTo>
                  <a:lnTo>
                    <a:pt x="4216" y="248920"/>
                  </a:lnTo>
                  <a:lnTo>
                    <a:pt x="4114" y="247650"/>
                  </a:lnTo>
                  <a:lnTo>
                    <a:pt x="5740" y="247650"/>
                  </a:lnTo>
                  <a:lnTo>
                    <a:pt x="5740" y="246380"/>
                  </a:lnTo>
                  <a:lnTo>
                    <a:pt x="3048" y="246380"/>
                  </a:lnTo>
                  <a:lnTo>
                    <a:pt x="3225" y="247650"/>
                  </a:lnTo>
                  <a:lnTo>
                    <a:pt x="2755" y="247650"/>
                  </a:lnTo>
                  <a:lnTo>
                    <a:pt x="2273" y="247650"/>
                  </a:lnTo>
                  <a:lnTo>
                    <a:pt x="1346" y="248920"/>
                  </a:lnTo>
                  <a:lnTo>
                    <a:pt x="2743" y="252730"/>
                  </a:lnTo>
                  <a:lnTo>
                    <a:pt x="2019" y="254000"/>
                  </a:lnTo>
                  <a:lnTo>
                    <a:pt x="2590" y="256540"/>
                  </a:lnTo>
                  <a:lnTo>
                    <a:pt x="1549" y="256540"/>
                  </a:lnTo>
                  <a:lnTo>
                    <a:pt x="2374" y="257810"/>
                  </a:lnTo>
                  <a:lnTo>
                    <a:pt x="3263" y="257810"/>
                  </a:lnTo>
                  <a:lnTo>
                    <a:pt x="3378" y="259080"/>
                  </a:lnTo>
                  <a:lnTo>
                    <a:pt x="2438" y="259080"/>
                  </a:lnTo>
                  <a:lnTo>
                    <a:pt x="2997" y="262890"/>
                  </a:lnTo>
                  <a:lnTo>
                    <a:pt x="0" y="264160"/>
                  </a:lnTo>
                  <a:lnTo>
                    <a:pt x="101" y="265430"/>
                  </a:lnTo>
                  <a:lnTo>
                    <a:pt x="1028" y="265430"/>
                  </a:lnTo>
                  <a:lnTo>
                    <a:pt x="1587" y="266700"/>
                  </a:lnTo>
                  <a:lnTo>
                    <a:pt x="2565" y="265430"/>
                  </a:lnTo>
                  <a:lnTo>
                    <a:pt x="2882" y="265430"/>
                  </a:lnTo>
                  <a:lnTo>
                    <a:pt x="3225" y="266700"/>
                  </a:lnTo>
                  <a:lnTo>
                    <a:pt x="1587" y="266700"/>
                  </a:lnTo>
                  <a:lnTo>
                    <a:pt x="1295" y="266700"/>
                  </a:lnTo>
                  <a:lnTo>
                    <a:pt x="2667" y="269240"/>
                  </a:lnTo>
                  <a:lnTo>
                    <a:pt x="2019" y="269240"/>
                  </a:lnTo>
                  <a:lnTo>
                    <a:pt x="1054" y="271780"/>
                  </a:lnTo>
                  <a:lnTo>
                    <a:pt x="749" y="273050"/>
                  </a:lnTo>
                  <a:lnTo>
                    <a:pt x="2730" y="274320"/>
                  </a:lnTo>
                  <a:lnTo>
                    <a:pt x="1460" y="274320"/>
                  </a:lnTo>
                  <a:lnTo>
                    <a:pt x="1435" y="276860"/>
                  </a:lnTo>
                  <a:lnTo>
                    <a:pt x="1600" y="278130"/>
                  </a:lnTo>
                  <a:lnTo>
                    <a:pt x="25" y="278130"/>
                  </a:lnTo>
                  <a:lnTo>
                    <a:pt x="520" y="279400"/>
                  </a:lnTo>
                  <a:lnTo>
                    <a:pt x="1574" y="279400"/>
                  </a:lnTo>
                  <a:lnTo>
                    <a:pt x="2603" y="281940"/>
                  </a:lnTo>
                  <a:lnTo>
                    <a:pt x="393" y="281940"/>
                  </a:lnTo>
                  <a:lnTo>
                    <a:pt x="1016" y="283210"/>
                  </a:lnTo>
                  <a:lnTo>
                    <a:pt x="2667" y="283210"/>
                  </a:lnTo>
                  <a:lnTo>
                    <a:pt x="1168" y="287020"/>
                  </a:lnTo>
                  <a:lnTo>
                    <a:pt x="1638" y="288290"/>
                  </a:lnTo>
                  <a:lnTo>
                    <a:pt x="3276" y="289560"/>
                  </a:lnTo>
                  <a:lnTo>
                    <a:pt x="3505" y="290830"/>
                  </a:lnTo>
                  <a:lnTo>
                    <a:pt x="2095" y="292100"/>
                  </a:lnTo>
                  <a:lnTo>
                    <a:pt x="3187" y="293370"/>
                  </a:lnTo>
                  <a:lnTo>
                    <a:pt x="2095" y="295910"/>
                  </a:lnTo>
                  <a:lnTo>
                    <a:pt x="2222" y="297180"/>
                  </a:lnTo>
                  <a:lnTo>
                    <a:pt x="3340" y="300990"/>
                  </a:lnTo>
                  <a:lnTo>
                    <a:pt x="4165" y="306070"/>
                  </a:lnTo>
                  <a:lnTo>
                    <a:pt x="3987" y="309880"/>
                  </a:lnTo>
                  <a:lnTo>
                    <a:pt x="4572" y="312420"/>
                  </a:lnTo>
                  <a:lnTo>
                    <a:pt x="5245" y="314960"/>
                  </a:lnTo>
                  <a:lnTo>
                    <a:pt x="5130" y="318770"/>
                  </a:lnTo>
                  <a:lnTo>
                    <a:pt x="6629" y="321310"/>
                  </a:lnTo>
                  <a:lnTo>
                    <a:pt x="6667" y="322580"/>
                  </a:lnTo>
                  <a:lnTo>
                    <a:pt x="6553" y="325120"/>
                  </a:lnTo>
                  <a:lnTo>
                    <a:pt x="6477" y="328930"/>
                  </a:lnTo>
                  <a:lnTo>
                    <a:pt x="7251" y="330200"/>
                  </a:lnTo>
                  <a:lnTo>
                    <a:pt x="6794" y="331470"/>
                  </a:lnTo>
                  <a:lnTo>
                    <a:pt x="7010" y="332740"/>
                  </a:lnTo>
                  <a:lnTo>
                    <a:pt x="7823" y="334010"/>
                  </a:lnTo>
                  <a:lnTo>
                    <a:pt x="10160" y="339090"/>
                  </a:lnTo>
                  <a:lnTo>
                    <a:pt x="10337" y="340360"/>
                  </a:lnTo>
                  <a:lnTo>
                    <a:pt x="9410" y="344170"/>
                  </a:lnTo>
                  <a:lnTo>
                    <a:pt x="9156" y="345440"/>
                  </a:lnTo>
                  <a:lnTo>
                    <a:pt x="8851" y="345440"/>
                  </a:lnTo>
                  <a:lnTo>
                    <a:pt x="8801" y="346710"/>
                  </a:lnTo>
                  <a:lnTo>
                    <a:pt x="9563" y="347980"/>
                  </a:lnTo>
                  <a:lnTo>
                    <a:pt x="10248" y="347980"/>
                  </a:lnTo>
                  <a:lnTo>
                    <a:pt x="11760" y="346710"/>
                  </a:lnTo>
                  <a:lnTo>
                    <a:pt x="11747" y="347980"/>
                  </a:lnTo>
                  <a:lnTo>
                    <a:pt x="11404" y="350520"/>
                  </a:lnTo>
                  <a:lnTo>
                    <a:pt x="10960" y="351790"/>
                  </a:lnTo>
                  <a:lnTo>
                    <a:pt x="12712" y="354330"/>
                  </a:lnTo>
                  <a:lnTo>
                    <a:pt x="12954" y="355600"/>
                  </a:lnTo>
                  <a:lnTo>
                    <a:pt x="13449" y="356870"/>
                  </a:lnTo>
                  <a:lnTo>
                    <a:pt x="13639" y="358140"/>
                  </a:lnTo>
                  <a:lnTo>
                    <a:pt x="14986" y="358140"/>
                  </a:lnTo>
                  <a:lnTo>
                    <a:pt x="14986" y="359410"/>
                  </a:lnTo>
                  <a:lnTo>
                    <a:pt x="15760" y="360680"/>
                  </a:lnTo>
                  <a:lnTo>
                    <a:pt x="16802" y="361950"/>
                  </a:lnTo>
                  <a:lnTo>
                    <a:pt x="18427"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68" y="370840"/>
                  </a:lnTo>
                  <a:lnTo>
                    <a:pt x="25158" y="373380"/>
                  </a:lnTo>
                  <a:lnTo>
                    <a:pt x="25260" y="374650"/>
                  </a:lnTo>
                  <a:lnTo>
                    <a:pt x="27190" y="374650"/>
                  </a:lnTo>
                  <a:lnTo>
                    <a:pt x="28409" y="375920"/>
                  </a:lnTo>
                  <a:lnTo>
                    <a:pt x="29616" y="373380"/>
                  </a:lnTo>
                  <a:lnTo>
                    <a:pt x="29921" y="373380"/>
                  </a:lnTo>
                  <a:lnTo>
                    <a:pt x="30607" y="374650"/>
                  </a:lnTo>
                  <a:lnTo>
                    <a:pt x="30149" y="375920"/>
                  </a:lnTo>
                  <a:lnTo>
                    <a:pt x="31013" y="377190"/>
                  </a:lnTo>
                  <a:lnTo>
                    <a:pt x="33909" y="377190"/>
                  </a:lnTo>
                  <a:lnTo>
                    <a:pt x="34937" y="378460"/>
                  </a:lnTo>
                  <a:lnTo>
                    <a:pt x="35560" y="378460"/>
                  </a:lnTo>
                  <a:lnTo>
                    <a:pt x="36360" y="379730"/>
                  </a:lnTo>
                  <a:lnTo>
                    <a:pt x="40652" y="379730"/>
                  </a:lnTo>
                  <a:lnTo>
                    <a:pt x="40474" y="378460"/>
                  </a:lnTo>
                  <a:lnTo>
                    <a:pt x="41211" y="377266"/>
                  </a:lnTo>
                  <a:lnTo>
                    <a:pt x="42481"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42" y="370840"/>
                  </a:lnTo>
                  <a:lnTo>
                    <a:pt x="62268" y="369570"/>
                  </a:lnTo>
                  <a:lnTo>
                    <a:pt x="62750" y="369570"/>
                  </a:lnTo>
                  <a:lnTo>
                    <a:pt x="63233" y="368300"/>
                  </a:lnTo>
                  <a:lnTo>
                    <a:pt x="65024" y="367030"/>
                  </a:lnTo>
                  <a:lnTo>
                    <a:pt x="66611" y="365760"/>
                  </a:lnTo>
                  <a:lnTo>
                    <a:pt x="68491" y="365760"/>
                  </a:lnTo>
                  <a:lnTo>
                    <a:pt x="69481" y="363220"/>
                  </a:lnTo>
                  <a:lnTo>
                    <a:pt x="70015" y="363220"/>
                  </a:lnTo>
                  <a:lnTo>
                    <a:pt x="69659" y="361950"/>
                  </a:lnTo>
                  <a:lnTo>
                    <a:pt x="70154" y="360680"/>
                  </a:lnTo>
                  <a:lnTo>
                    <a:pt x="71234" y="359410"/>
                  </a:lnTo>
                  <a:lnTo>
                    <a:pt x="72199" y="358140"/>
                  </a:lnTo>
                  <a:lnTo>
                    <a:pt x="75082" y="358140"/>
                  </a:lnTo>
                  <a:lnTo>
                    <a:pt x="75514" y="356870"/>
                  </a:lnTo>
                  <a:lnTo>
                    <a:pt x="75692" y="356870"/>
                  </a:lnTo>
                  <a:lnTo>
                    <a:pt x="76212" y="355600"/>
                  </a:lnTo>
                  <a:lnTo>
                    <a:pt x="76492" y="355600"/>
                  </a:lnTo>
                  <a:lnTo>
                    <a:pt x="76987" y="354330"/>
                  </a:lnTo>
                  <a:lnTo>
                    <a:pt x="77647" y="353060"/>
                  </a:lnTo>
                  <a:lnTo>
                    <a:pt x="78955" y="350520"/>
                  </a:lnTo>
                  <a:lnTo>
                    <a:pt x="79908" y="349250"/>
                  </a:lnTo>
                  <a:lnTo>
                    <a:pt x="80314" y="346710"/>
                  </a:lnTo>
                  <a:lnTo>
                    <a:pt x="81165" y="346710"/>
                  </a:lnTo>
                  <a:lnTo>
                    <a:pt x="81457" y="347980"/>
                  </a:lnTo>
                  <a:lnTo>
                    <a:pt x="81991" y="346710"/>
                  </a:lnTo>
                  <a:lnTo>
                    <a:pt x="82511" y="345440"/>
                  </a:lnTo>
                  <a:lnTo>
                    <a:pt x="82791" y="344170"/>
                  </a:lnTo>
                  <a:lnTo>
                    <a:pt x="84353" y="345440"/>
                  </a:lnTo>
                  <a:lnTo>
                    <a:pt x="84391" y="344170"/>
                  </a:lnTo>
                  <a:lnTo>
                    <a:pt x="84467" y="341630"/>
                  </a:lnTo>
                  <a:lnTo>
                    <a:pt x="85026" y="339090"/>
                  </a:lnTo>
                  <a:lnTo>
                    <a:pt x="87172" y="339090"/>
                  </a:lnTo>
                  <a:lnTo>
                    <a:pt x="88506" y="335280"/>
                  </a:lnTo>
                  <a:lnTo>
                    <a:pt x="90208" y="335280"/>
                  </a:lnTo>
                  <a:lnTo>
                    <a:pt x="90220" y="332740"/>
                  </a:lnTo>
                  <a:lnTo>
                    <a:pt x="90881" y="331470"/>
                  </a:lnTo>
                  <a:lnTo>
                    <a:pt x="92760" y="328930"/>
                  </a:lnTo>
                  <a:lnTo>
                    <a:pt x="93395" y="327660"/>
                  </a:lnTo>
                  <a:lnTo>
                    <a:pt x="93624" y="327660"/>
                  </a:lnTo>
                  <a:lnTo>
                    <a:pt x="93675" y="326390"/>
                  </a:lnTo>
                  <a:lnTo>
                    <a:pt x="94272" y="326390"/>
                  </a:lnTo>
                  <a:lnTo>
                    <a:pt x="94818" y="325120"/>
                  </a:lnTo>
                  <a:lnTo>
                    <a:pt x="95351" y="323850"/>
                  </a:lnTo>
                  <a:lnTo>
                    <a:pt x="96253" y="322580"/>
                  </a:lnTo>
                  <a:lnTo>
                    <a:pt x="97015" y="322580"/>
                  </a:lnTo>
                  <a:lnTo>
                    <a:pt x="96761" y="321310"/>
                  </a:lnTo>
                  <a:lnTo>
                    <a:pt x="97116" y="320040"/>
                  </a:lnTo>
                  <a:lnTo>
                    <a:pt x="99263" y="317500"/>
                  </a:lnTo>
                  <a:lnTo>
                    <a:pt x="99796" y="316230"/>
                  </a:lnTo>
                  <a:lnTo>
                    <a:pt x="100342" y="314960"/>
                  </a:lnTo>
                  <a:lnTo>
                    <a:pt x="100888" y="313690"/>
                  </a:lnTo>
                  <a:lnTo>
                    <a:pt x="101460" y="312420"/>
                  </a:lnTo>
                  <a:lnTo>
                    <a:pt x="102362" y="311150"/>
                  </a:lnTo>
                  <a:lnTo>
                    <a:pt x="101879" y="309880"/>
                  </a:lnTo>
                  <a:lnTo>
                    <a:pt x="103822" y="309880"/>
                  </a:lnTo>
                  <a:lnTo>
                    <a:pt x="103543" y="307340"/>
                  </a:lnTo>
                  <a:lnTo>
                    <a:pt x="104063" y="307340"/>
                  </a:lnTo>
                  <a:lnTo>
                    <a:pt x="105105" y="306070"/>
                  </a:lnTo>
                  <a:lnTo>
                    <a:pt x="105537" y="306070"/>
                  </a:lnTo>
                  <a:lnTo>
                    <a:pt x="105778" y="304800"/>
                  </a:lnTo>
                  <a:lnTo>
                    <a:pt x="107391" y="304800"/>
                  </a:lnTo>
                  <a:lnTo>
                    <a:pt x="107137" y="303530"/>
                  </a:lnTo>
                  <a:lnTo>
                    <a:pt x="107035" y="302260"/>
                  </a:lnTo>
                  <a:lnTo>
                    <a:pt x="107454" y="302260"/>
                  </a:lnTo>
                  <a:lnTo>
                    <a:pt x="107911" y="300990"/>
                  </a:lnTo>
                  <a:lnTo>
                    <a:pt x="109334" y="300990"/>
                  </a:lnTo>
                  <a:lnTo>
                    <a:pt x="109423" y="299720"/>
                  </a:lnTo>
                  <a:lnTo>
                    <a:pt x="109791" y="299720"/>
                  </a:lnTo>
                  <a:lnTo>
                    <a:pt x="109804" y="298450"/>
                  </a:lnTo>
                  <a:lnTo>
                    <a:pt x="109931" y="297180"/>
                  </a:lnTo>
                  <a:lnTo>
                    <a:pt x="110236" y="297180"/>
                  </a:lnTo>
                  <a:lnTo>
                    <a:pt x="110439" y="295910"/>
                  </a:lnTo>
                  <a:lnTo>
                    <a:pt x="112052" y="295910"/>
                  </a:lnTo>
                  <a:lnTo>
                    <a:pt x="112064" y="294640"/>
                  </a:lnTo>
                  <a:lnTo>
                    <a:pt x="113004" y="294640"/>
                  </a:lnTo>
                  <a:lnTo>
                    <a:pt x="112864" y="293370"/>
                  </a:lnTo>
                  <a:lnTo>
                    <a:pt x="113182" y="293370"/>
                  </a:lnTo>
                  <a:lnTo>
                    <a:pt x="113093" y="292874"/>
                  </a:lnTo>
                  <a:lnTo>
                    <a:pt x="113042" y="290830"/>
                  </a:lnTo>
                  <a:lnTo>
                    <a:pt x="114173" y="290830"/>
                  </a:lnTo>
                  <a:lnTo>
                    <a:pt x="115887" y="289560"/>
                  </a:lnTo>
                  <a:lnTo>
                    <a:pt x="115404" y="289560"/>
                  </a:lnTo>
                  <a:lnTo>
                    <a:pt x="115074" y="288290"/>
                  </a:lnTo>
                  <a:lnTo>
                    <a:pt x="115023" y="287020"/>
                  </a:lnTo>
                  <a:lnTo>
                    <a:pt x="115201" y="287020"/>
                  </a:lnTo>
                  <a:lnTo>
                    <a:pt x="115392" y="288290"/>
                  </a:lnTo>
                  <a:lnTo>
                    <a:pt x="116370" y="288290"/>
                  </a:lnTo>
                  <a:lnTo>
                    <a:pt x="116217" y="287020"/>
                  </a:lnTo>
                  <a:lnTo>
                    <a:pt x="116928" y="287020"/>
                  </a:lnTo>
                  <a:lnTo>
                    <a:pt x="116547" y="285750"/>
                  </a:lnTo>
                  <a:lnTo>
                    <a:pt x="117906" y="285750"/>
                  </a:lnTo>
                  <a:lnTo>
                    <a:pt x="118694" y="284480"/>
                  </a:lnTo>
                  <a:lnTo>
                    <a:pt x="118211" y="284480"/>
                  </a:lnTo>
                  <a:lnTo>
                    <a:pt x="118148" y="284314"/>
                  </a:lnTo>
                  <a:lnTo>
                    <a:pt x="117754" y="283210"/>
                  </a:lnTo>
                  <a:lnTo>
                    <a:pt x="118325" y="283210"/>
                  </a:lnTo>
                  <a:lnTo>
                    <a:pt x="118148" y="284314"/>
                  </a:lnTo>
                  <a:lnTo>
                    <a:pt x="118948" y="283210"/>
                  </a:lnTo>
                  <a:lnTo>
                    <a:pt x="119113" y="283210"/>
                  </a:lnTo>
                  <a:lnTo>
                    <a:pt x="119087" y="281940"/>
                  </a:lnTo>
                  <a:lnTo>
                    <a:pt x="120624" y="281940"/>
                  </a:lnTo>
                  <a:lnTo>
                    <a:pt x="120992" y="280670"/>
                  </a:lnTo>
                  <a:lnTo>
                    <a:pt x="122174" y="280670"/>
                  </a:lnTo>
                  <a:lnTo>
                    <a:pt x="122034" y="279400"/>
                  </a:lnTo>
                  <a:lnTo>
                    <a:pt x="121488" y="278130"/>
                  </a:lnTo>
                  <a:lnTo>
                    <a:pt x="121843" y="278130"/>
                  </a:lnTo>
                  <a:lnTo>
                    <a:pt x="122453" y="276860"/>
                  </a:lnTo>
                  <a:lnTo>
                    <a:pt x="123266" y="276860"/>
                  </a:lnTo>
                  <a:lnTo>
                    <a:pt x="124548" y="275590"/>
                  </a:lnTo>
                  <a:lnTo>
                    <a:pt x="124333" y="274320"/>
                  </a:lnTo>
                  <a:lnTo>
                    <a:pt x="124269" y="273050"/>
                  </a:lnTo>
                  <a:lnTo>
                    <a:pt x="125984" y="273050"/>
                  </a:lnTo>
                  <a:lnTo>
                    <a:pt x="125641" y="271780"/>
                  </a:lnTo>
                  <a:lnTo>
                    <a:pt x="125831" y="271780"/>
                  </a:lnTo>
                  <a:lnTo>
                    <a:pt x="126847" y="270510"/>
                  </a:lnTo>
                  <a:lnTo>
                    <a:pt x="126492" y="269240"/>
                  </a:lnTo>
                  <a:lnTo>
                    <a:pt x="126606" y="267970"/>
                  </a:lnTo>
                  <a:lnTo>
                    <a:pt x="126580" y="269240"/>
                  </a:lnTo>
                  <a:lnTo>
                    <a:pt x="127050" y="269240"/>
                  </a:lnTo>
                  <a:lnTo>
                    <a:pt x="126873" y="270510"/>
                  </a:lnTo>
                  <a:lnTo>
                    <a:pt x="127241" y="270510"/>
                  </a:lnTo>
                  <a:lnTo>
                    <a:pt x="127342" y="269240"/>
                  </a:lnTo>
                  <a:lnTo>
                    <a:pt x="127393" y="267970"/>
                  </a:lnTo>
                  <a:lnTo>
                    <a:pt x="128231" y="267970"/>
                  </a:lnTo>
                  <a:lnTo>
                    <a:pt x="128790" y="266700"/>
                  </a:lnTo>
                  <a:lnTo>
                    <a:pt x="130200" y="266700"/>
                  </a:lnTo>
                  <a:lnTo>
                    <a:pt x="130594" y="265430"/>
                  </a:lnTo>
                  <a:lnTo>
                    <a:pt x="130289" y="264160"/>
                  </a:lnTo>
                  <a:lnTo>
                    <a:pt x="130517" y="262890"/>
                  </a:lnTo>
                  <a:lnTo>
                    <a:pt x="130898" y="262890"/>
                  </a:lnTo>
                  <a:lnTo>
                    <a:pt x="132981" y="261620"/>
                  </a:lnTo>
                  <a:lnTo>
                    <a:pt x="133477" y="260350"/>
                  </a:lnTo>
                  <a:lnTo>
                    <a:pt x="132956" y="259080"/>
                  </a:lnTo>
                  <a:lnTo>
                    <a:pt x="133273" y="259080"/>
                  </a:lnTo>
                  <a:lnTo>
                    <a:pt x="133159" y="257810"/>
                  </a:lnTo>
                  <a:lnTo>
                    <a:pt x="133350" y="257810"/>
                  </a:lnTo>
                  <a:lnTo>
                    <a:pt x="134912" y="256540"/>
                  </a:lnTo>
                  <a:lnTo>
                    <a:pt x="135432" y="255270"/>
                  </a:lnTo>
                  <a:lnTo>
                    <a:pt x="136309" y="254000"/>
                  </a:lnTo>
                  <a:lnTo>
                    <a:pt x="135496" y="254000"/>
                  </a:lnTo>
                  <a:lnTo>
                    <a:pt x="135839" y="252730"/>
                  </a:lnTo>
                  <a:lnTo>
                    <a:pt x="136982" y="252730"/>
                  </a:lnTo>
                  <a:lnTo>
                    <a:pt x="137502" y="251460"/>
                  </a:lnTo>
                  <a:lnTo>
                    <a:pt x="137922" y="251460"/>
                  </a:lnTo>
                  <a:lnTo>
                    <a:pt x="139522" y="250190"/>
                  </a:lnTo>
                  <a:lnTo>
                    <a:pt x="140881" y="248920"/>
                  </a:lnTo>
                  <a:lnTo>
                    <a:pt x="140296" y="247650"/>
                  </a:lnTo>
                  <a:lnTo>
                    <a:pt x="140728" y="246380"/>
                  </a:lnTo>
                  <a:lnTo>
                    <a:pt x="142443" y="245110"/>
                  </a:lnTo>
                  <a:lnTo>
                    <a:pt x="143738" y="243840"/>
                  </a:lnTo>
                  <a:lnTo>
                    <a:pt x="143256" y="242570"/>
                  </a:lnTo>
                  <a:lnTo>
                    <a:pt x="143383" y="242570"/>
                  </a:lnTo>
                  <a:lnTo>
                    <a:pt x="143471" y="241300"/>
                  </a:lnTo>
                  <a:lnTo>
                    <a:pt x="144932" y="241300"/>
                  </a:lnTo>
                  <a:lnTo>
                    <a:pt x="145300" y="240030"/>
                  </a:lnTo>
                  <a:lnTo>
                    <a:pt x="146672" y="240030"/>
                  </a:lnTo>
                  <a:lnTo>
                    <a:pt x="146850" y="238760"/>
                  </a:lnTo>
                  <a:lnTo>
                    <a:pt x="146240" y="238760"/>
                  </a:lnTo>
                  <a:lnTo>
                    <a:pt x="146469" y="237490"/>
                  </a:lnTo>
                  <a:lnTo>
                    <a:pt x="146824" y="236220"/>
                  </a:lnTo>
                  <a:lnTo>
                    <a:pt x="147434" y="234950"/>
                  </a:lnTo>
                  <a:lnTo>
                    <a:pt x="149606" y="234950"/>
                  </a:lnTo>
                  <a:lnTo>
                    <a:pt x="149072" y="233680"/>
                  </a:lnTo>
                  <a:lnTo>
                    <a:pt x="149136" y="232410"/>
                  </a:lnTo>
                  <a:lnTo>
                    <a:pt x="150215" y="232410"/>
                  </a:lnTo>
                  <a:lnTo>
                    <a:pt x="152006" y="231140"/>
                  </a:lnTo>
                  <a:lnTo>
                    <a:pt x="152196" y="231140"/>
                  </a:lnTo>
                  <a:lnTo>
                    <a:pt x="151663" y="229870"/>
                  </a:lnTo>
                  <a:lnTo>
                    <a:pt x="151498" y="228600"/>
                  </a:lnTo>
                  <a:lnTo>
                    <a:pt x="152514" y="228600"/>
                  </a:lnTo>
                  <a:lnTo>
                    <a:pt x="153009" y="227330"/>
                  </a:lnTo>
                  <a:lnTo>
                    <a:pt x="154724" y="227330"/>
                  </a:lnTo>
                  <a:lnTo>
                    <a:pt x="154914" y="226060"/>
                  </a:lnTo>
                  <a:lnTo>
                    <a:pt x="154813" y="224790"/>
                  </a:lnTo>
                  <a:lnTo>
                    <a:pt x="155244" y="224790"/>
                  </a:lnTo>
                  <a:lnTo>
                    <a:pt x="155651" y="223520"/>
                  </a:lnTo>
                  <a:lnTo>
                    <a:pt x="156629" y="223520"/>
                  </a:lnTo>
                  <a:lnTo>
                    <a:pt x="156933" y="222250"/>
                  </a:lnTo>
                  <a:lnTo>
                    <a:pt x="157530" y="220980"/>
                  </a:lnTo>
                  <a:lnTo>
                    <a:pt x="158051" y="219710"/>
                  </a:lnTo>
                  <a:lnTo>
                    <a:pt x="158940" y="219710"/>
                  </a:lnTo>
                  <a:lnTo>
                    <a:pt x="160007" y="217170"/>
                  </a:lnTo>
                  <a:lnTo>
                    <a:pt x="160502" y="215900"/>
                  </a:lnTo>
                  <a:lnTo>
                    <a:pt x="161785" y="215900"/>
                  </a:lnTo>
                  <a:lnTo>
                    <a:pt x="162941" y="212090"/>
                  </a:lnTo>
                  <a:lnTo>
                    <a:pt x="164299" y="210820"/>
                  </a:lnTo>
                  <a:lnTo>
                    <a:pt x="165328" y="208280"/>
                  </a:lnTo>
                  <a:lnTo>
                    <a:pt x="167284" y="207010"/>
                  </a:lnTo>
                  <a:lnTo>
                    <a:pt x="166865" y="205740"/>
                  </a:lnTo>
                  <a:lnTo>
                    <a:pt x="167132" y="205740"/>
                  </a:lnTo>
                  <a:lnTo>
                    <a:pt x="167601" y="204470"/>
                  </a:lnTo>
                  <a:lnTo>
                    <a:pt x="169684" y="203200"/>
                  </a:lnTo>
                  <a:lnTo>
                    <a:pt x="170738" y="200660"/>
                  </a:lnTo>
                  <a:lnTo>
                    <a:pt x="171970" y="198120"/>
                  </a:lnTo>
                  <a:lnTo>
                    <a:pt x="172593" y="198120"/>
                  </a:lnTo>
                  <a:lnTo>
                    <a:pt x="173062" y="196850"/>
                  </a:lnTo>
                  <a:lnTo>
                    <a:pt x="172923" y="194310"/>
                  </a:lnTo>
                  <a:lnTo>
                    <a:pt x="173977" y="195580"/>
                  </a:lnTo>
                  <a:lnTo>
                    <a:pt x="175323" y="194310"/>
                  </a:lnTo>
                  <a:lnTo>
                    <a:pt x="176022" y="194310"/>
                  </a:lnTo>
                  <a:lnTo>
                    <a:pt x="175755" y="193040"/>
                  </a:lnTo>
                  <a:lnTo>
                    <a:pt x="177114"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38" y="182880"/>
                  </a:lnTo>
                  <a:lnTo>
                    <a:pt x="183400" y="181610"/>
                  </a:lnTo>
                  <a:lnTo>
                    <a:pt x="184861" y="181610"/>
                  </a:lnTo>
                  <a:lnTo>
                    <a:pt x="184899" y="180340"/>
                  </a:lnTo>
                  <a:lnTo>
                    <a:pt x="185140" y="179070"/>
                  </a:lnTo>
                  <a:lnTo>
                    <a:pt x="186867" y="179070"/>
                  </a:lnTo>
                  <a:lnTo>
                    <a:pt x="186918"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21" y="167640"/>
                  </a:lnTo>
                  <a:lnTo>
                    <a:pt x="194716" y="166370"/>
                  </a:lnTo>
                  <a:lnTo>
                    <a:pt x="193916" y="166370"/>
                  </a:lnTo>
                  <a:lnTo>
                    <a:pt x="194652" y="165100"/>
                  </a:lnTo>
                  <a:lnTo>
                    <a:pt x="194741" y="166370"/>
                  </a:lnTo>
                  <a:lnTo>
                    <a:pt x="195211" y="166370"/>
                  </a:lnTo>
                  <a:lnTo>
                    <a:pt x="196062" y="165100"/>
                  </a:lnTo>
                  <a:lnTo>
                    <a:pt x="195859" y="165100"/>
                  </a:lnTo>
                  <a:lnTo>
                    <a:pt x="196049" y="163830"/>
                  </a:lnTo>
                  <a:lnTo>
                    <a:pt x="196430" y="163830"/>
                  </a:lnTo>
                  <a:lnTo>
                    <a:pt x="196811" y="162560"/>
                  </a:lnTo>
                  <a:lnTo>
                    <a:pt x="197154" y="162560"/>
                  </a:lnTo>
                  <a:lnTo>
                    <a:pt x="197408" y="161290"/>
                  </a:lnTo>
                  <a:lnTo>
                    <a:pt x="198691" y="160020"/>
                  </a:lnTo>
                  <a:lnTo>
                    <a:pt x="199694" y="160020"/>
                  </a:lnTo>
                  <a:lnTo>
                    <a:pt x="199923" y="158750"/>
                  </a:lnTo>
                  <a:lnTo>
                    <a:pt x="200596" y="157480"/>
                  </a:lnTo>
                  <a:lnTo>
                    <a:pt x="201269" y="157480"/>
                  </a:lnTo>
                  <a:lnTo>
                    <a:pt x="201739" y="154940"/>
                  </a:lnTo>
                  <a:lnTo>
                    <a:pt x="203530" y="154940"/>
                  </a:lnTo>
                  <a:lnTo>
                    <a:pt x="203466" y="153670"/>
                  </a:lnTo>
                  <a:lnTo>
                    <a:pt x="204139" y="153670"/>
                  </a:lnTo>
                  <a:lnTo>
                    <a:pt x="204203" y="152400"/>
                  </a:lnTo>
                  <a:lnTo>
                    <a:pt x="205498" y="152400"/>
                  </a:lnTo>
                  <a:lnTo>
                    <a:pt x="205003" y="151130"/>
                  </a:lnTo>
                  <a:lnTo>
                    <a:pt x="205092" y="149860"/>
                  </a:lnTo>
                  <a:lnTo>
                    <a:pt x="206527" y="149860"/>
                  </a:lnTo>
                  <a:lnTo>
                    <a:pt x="206971" y="148590"/>
                  </a:lnTo>
                  <a:lnTo>
                    <a:pt x="207848" y="148590"/>
                  </a:lnTo>
                  <a:lnTo>
                    <a:pt x="208026" y="147320"/>
                  </a:lnTo>
                  <a:lnTo>
                    <a:pt x="209067" y="147320"/>
                  </a:lnTo>
                  <a:lnTo>
                    <a:pt x="208876" y="146050"/>
                  </a:lnTo>
                  <a:lnTo>
                    <a:pt x="210146" y="146050"/>
                  </a:lnTo>
                  <a:lnTo>
                    <a:pt x="210134" y="144780"/>
                  </a:lnTo>
                  <a:lnTo>
                    <a:pt x="209677" y="144780"/>
                  </a:lnTo>
                  <a:lnTo>
                    <a:pt x="209956" y="143510"/>
                  </a:lnTo>
                  <a:lnTo>
                    <a:pt x="211937" y="143510"/>
                  </a:lnTo>
                  <a:lnTo>
                    <a:pt x="212255" y="142240"/>
                  </a:lnTo>
                  <a:lnTo>
                    <a:pt x="212445" y="142240"/>
                  </a:lnTo>
                  <a:lnTo>
                    <a:pt x="212826" y="140970"/>
                  </a:lnTo>
                  <a:lnTo>
                    <a:pt x="213880" y="140970"/>
                  </a:lnTo>
                  <a:lnTo>
                    <a:pt x="213982" y="139700"/>
                  </a:lnTo>
                  <a:lnTo>
                    <a:pt x="213271" y="139700"/>
                  </a:lnTo>
                  <a:lnTo>
                    <a:pt x="213779" y="138430"/>
                  </a:lnTo>
                  <a:lnTo>
                    <a:pt x="215798" y="138430"/>
                  </a:lnTo>
                  <a:lnTo>
                    <a:pt x="216166" y="137160"/>
                  </a:lnTo>
                  <a:lnTo>
                    <a:pt x="216662" y="135890"/>
                  </a:lnTo>
                  <a:lnTo>
                    <a:pt x="217093" y="134620"/>
                  </a:lnTo>
                  <a:lnTo>
                    <a:pt x="217678" y="133350"/>
                  </a:lnTo>
                  <a:lnTo>
                    <a:pt x="219773" y="133350"/>
                  </a:lnTo>
                  <a:lnTo>
                    <a:pt x="220332" y="132080"/>
                  </a:lnTo>
                  <a:lnTo>
                    <a:pt x="221767" y="129540"/>
                  </a:lnTo>
                  <a:lnTo>
                    <a:pt x="222148" y="128270"/>
                  </a:lnTo>
                  <a:lnTo>
                    <a:pt x="222885" y="128270"/>
                  </a:lnTo>
                  <a:lnTo>
                    <a:pt x="222885" y="127000"/>
                  </a:lnTo>
                  <a:lnTo>
                    <a:pt x="224688" y="127000"/>
                  </a:lnTo>
                  <a:lnTo>
                    <a:pt x="224828" y="125730"/>
                  </a:lnTo>
                  <a:lnTo>
                    <a:pt x="225056" y="125730"/>
                  </a:lnTo>
                  <a:lnTo>
                    <a:pt x="225361" y="124460"/>
                  </a:lnTo>
                  <a:lnTo>
                    <a:pt x="225602" y="124460"/>
                  </a:lnTo>
                  <a:lnTo>
                    <a:pt x="226504" y="123190"/>
                  </a:lnTo>
                  <a:lnTo>
                    <a:pt x="227863" y="121920"/>
                  </a:lnTo>
                  <a:lnTo>
                    <a:pt x="228422" y="120650"/>
                  </a:lnTo>
                  <a:lnTo>
                    <a:pt x="229590" y="120650"/>
                  </a:lnTo>
                  <a:lnTo>
                    <a:pt x="229793" y="119380"/>
                  </a:lnTo>
                  <a:lnTo>
                    <a:pt x="230174" y="118110"/>
                  </a:lnTo>
                  <a:lnTo>
                    <a:pt x="230822" y="118110"/>
                  </a:lnTo>
                  <a:lnTo>
                    <a:pt x="231076" y="116840"/>
                  </a:lnTo>
                  <a:lnTo>
                    <a:pt x="231597" y="116840"/>
                  </a:lnTo>
                  <a:lnTo>
                    <a:pt x="231470" y="115570"/>
                  </a:lnTo>
                  <a:lnTo>
                    <a:pt x="233311" y="115570"/>
                  </a:lnTo>
                  <a:lnTo>
                    <a:pt x="233489" y="114300"/>
                  </a:lnTo>
                  <a:lnTo>
                    <a:pt x="234315" y="111760"/>
                  </a:lnTo>
                  <a:lnTo>
                    <a:pt x="236143" y="111760"/>
                  </a:lnTo>
                  <a:lnTo>
                    <a:pt x="235496" y="110490"/>
                  </a:lnTo>
                  <a:lnTo>
                    <a:pt x="235648" y="109220"/>
                  </a:lnTo>
                  <a:lnTo>
                    <a:pt x="236880"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84" y="96520"/>
                  </a:lnTo>
                  <a:lnTo>
                    <a:pt x="247294" y="95250"/>
                  </a:lnTo>
                  <a:lnTo>
                    <a:pt x="248399" y="95250"/>
                  </a:lnTo>
                  <a:lnTo>
                    <a:pt x="248881" y="93980"/>
                  </a:lnTo>
                  <a:lnTo>
                    <a:pt x="249529" y="93980"/>
                  </a:lnTo>
                  <a:lnTo>
                    <a:pt x="249885" y="95250"/>
                  </a:lnTo>
                  <a:lnTo>
                    <a:pt x="250393" y="93980"/>
                  </a:lnTo>
                  <a:lnTo>
                    <a:pt x="250926" y="92710"/>
                  </a:lnTo>
                  <a:lnTo>
                    <a:pt x="250736" y="92710"/>
                  </a:lnTo>
                  <a:lnTo>
                    <a:pt x="251091" y="91440"/>
                  </a:lnTo>
                  <a:lnTo>
                    <a:pt x="251320" y="91440"/>
                  </a:lnTo>
                  <a:lnTo>
                    <a:pt x="253098" y="90170"/>
                  </a:lnTo>
                  <a:lnTo>
                    <a:pt x="254063" y="88900"/>
                  </a:lnTo>
                  <a:lnTo>
                    <a:pt x="254901" y="87630"/>
                  </a:lnTo>
                  <a:lnTo>
                    <a:pt x="255524" y="88900"/>
                  </a:lnTo>
                  <a:lnTo>
                    <a:pt x="255638" y="87630"/>
                  </a:lnTo>
                  <a:lnTo>
                    <a:pt x="255854" y="86360"/>
                  </a:lnTo>
                  <a:lnTo>
                    <a:pt x="256616" y="86360"/>
                  </a:lnTo>
                  <a:lnTo>
                    <a:pt x="257670" y="85090"/>
                  </a:lnTo>
                  <a:lnTo>
                    <a:pt x="258356" y="85090"/>
                  </a:lnTo>
                  <a:lnTo>
                    <a:pt x="258445" y="83820"/>
                  </a:lnTo>
                  <a:lnTo>
                    <a:pt x="260108" y="83820"/>
                  </a:lnTo>
                  <a:lnTo>
                    <a:pt x="260299" y="82550"/>
                  </a:lnTo>
                  <a:lnTo>
                    <a:pt x="261264" y="81280"/>
                  </a:lnTo>
                  <a:lnTo>
                    <a:pt x="261327" y="80010"/>
                  </a:lnTo>
                  <a:lnTo>
                    <a:pt x="263601" y="78740"/>
                  </a:lnTo>
                  <a:lnTo>
                    <a:pt x="263829" y="78740"/>
                  </a:lnTo>
                  <a:lnTo>
                    <a:pt x="263664" y="77470"/>
                  </a:lnTo>
                  <a:lnTo>
                    <a:pt x="264985" y="77470"/>
                  </a:lnTo>
                  <a:lnTo>
                    <a:pt x="265353" y="76200"/>
                  </a:lnTo>
                  <a:lnTo>
                    <a:pt x="265480" y="76200"/>
                  </a:lnTo>
                  <a:lnTo>
                    <a:pt x="266014" y="74930"/>
                  </a:lnTo>
                  <a:lnTo>
                    <a:pt x="268185" y="74930"/>
                  </a:lnTo>
                  <a:lnTo>
                    <a:pt x="267639" y="73660"/>
                  </a:lnTo>
                  <a:lnTo>
                    <a:pt x="268173" y="72390"/>
                  </a:lnTo>
                  <a:lnTo>
                    <a:pt x="270167" y="72390"/>
                  </a:lnTo>
                  <a:lnTo>
                    <a:pt x="271335" y="69850"/>
                  </a:lnTo>
                  <a:lnTo>
                    <a:pt x="273329" y="68580"/>
                  </a:lnTo>
                  <a:lnTo>
                    <a:pt x="274980" y="66040"/>
                  </a:lnTo>
                  <a:lnTo>
                    <a:pt x="275488" y="66040"/>
                  </a:lnTo>
                  <a:lnTo>
                    <a:pt x="276263" y="64770"/>
                  </a:lnTo>
                  <a:lnTo>
                    <a:pt x="276529" y="64770"/>
                  </a:lnTo>
                  <a:lnTo>
                    <a:pt x="276415"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401" y="52070"/>
                  </a:lnTo>
                  <a:lnTo>
                    <a:pt x="287794" y="50800"/>
                  </a:lnTo>
                  <a:lnTo>
                    <a:pt x="288607" y="50800"/>
                  </a:lnTo>
                  <a:lnTo>
                    <a:pt x="289826" y="49530"/>
                  </a:lnTo>
                  <a:lnTo>
                    <a:pt x="288912" y="52070"/>
                  </a:lnTo>
                  <a:lnTo>
                    <a:pt x="290220" y="49530"/>
                  </a:lnTo>
                  <a:lnTo>
                    <a:pt x="292874" y="45720"/>
                  </a:lnTo>
                  <a:lnTo>
                    <a:pt x="293458" y="44450"/>
                  </a:lnTo>
                  <a:lnTo>
                    <a:pt x="293649" y="45720"/>
                  </a:lnTo>
                  <a:lnTo>
                    <a:pt x="294474" y="45720"/>
                  </a:lnTo>
                  <a:lnTo>
                    <a:pt x="294462" y="44450"/>
                  </a:lnTo>
                  <a:lnTo>
                    <a:pt x="294741" y="44450"/>
                  </a:lnTo>
                  <a:lnTo>
                    <a:pt x="295871" y="43180"/>
                  </a:lnTo>
                  <a:lnTo>
                    <a:pt x="296062" y="43180"/>
                  </a:lnTo>
                  <a:lnTo>
                    <a:pt x="295059" y="41910"/>
                  </a:lnTo>
                  <a:lnTo>
                    <a:pt x="297916" y="41910"/>
                  </a:lnTo>
                  <a:lnTo>
                    <a:pt x="297484" y="40640"/>
                  </a:lnTo>
                  <a:lnTo>
                    <a:pt x="296494" y="40640"/>
                  </a:lnTo>
                  <a:lnTo>
                    <a:pt x="297319" y="39370"/>
                  </a:lnTo>
                  <a:lnTo>
                    <a:pt x="297510" y="40640"/>
                  </a:lnTo>
                  <a:lnTo>
                    <a:pt x="297675" y="40640"/>
                  </a:lnTo>
                  <a:lnTo>
                    <a:pt x="297802" y="39370"/>
                  </a:lnTo>
                  <a:lnTo>
                    <a:pt x="298208" y="39370"/>
                  </a:lnTo>
                  <a:lnTo>
                    <a:pt x="298310" y="40640"/>
                  </a:lnTo>
                  <a:lnTo>
                    <a:pt x="300037" y="39370"/>
                  </a:lnTo>
                  <a:lnTo>
                    <a:pt x="301434" y="38100"/>
                  </a:lnTo>
                  <a:lnTo>
                    <a:pt x="303885" y="35560"/>
                  </a:lnTo>
                  <a:lnTo>
                    <a:pt x="305269" y="34290"/>
                  </a:lnTo>
                  <a:lnTo>
                    <a:pt x="307924" y="30480"/>
                  </a:lnTo>
                  <a:lnTo>
                    <a:pt x="308775" y="30480"/>
                  </a:lnTo>
                  <a:lnTo>
                    <a:pt x="311734" y="27940"/>
                  </a:lnTo>
                  <a:lnTo>
                    <a:pt x="317385" y="22860"/>
                  </a:lnTo>
                  <a:lnTo>
                    <a:pt x="318757" y="22860"/>
                  </a:lnTo>
                  <a:lnTo>
                    <a:pt x="317474" y="21590"/>
                  </a:lnTo>
                  <a:lnTo>
                    <a:pt x="318744" y="21590"/>
                  </a:lnTo>
                  <a:lnTo>
                    <a:pt x="319176" y="22860"/>
                  </a:lnTo>
                  <a:lnTo>
                    <a:pt x="319671" y="21590"/>
                  </a:lnTo>
                  <a:lnTo>
                    <a:pt x="320179" y="20320"/>
                  </a:lnTo>
                  <a:lnTo>
                    <a:pt x="321970" y="19050"/>
                  </a:lnTo>
                  <a:lnTo>
                    <a:pt x="324878" y="17780"/>
                  </a:lnTo>
                  <a:lnTo>
                    <a:pt x="325755" y="17780"/>
                  </a:lnTo>
                  <a:lnTo>
                    <a:pt x="326644" y="16510"/>
                  </a:lnTo>
                  <a:lnTo>
                    <a:pt x="327545" y="15240"/>
                  </a:lnTo>
                  <a:lnTo>
                    <a:pt x="328434" y="15240"/>
                  </a:lnTo>
                  <a:lnTo>
                    <a:pt x="329717" y="13970"/>
                  </a:lnTo>
                  <a:lnTo>
                    <a:pt x="328244" y="13970"/>
                  </a:lnTo>
                  <a:lnTo>
                    <a:pt x="327863" y="14020"/>
                  </a:lnTo>
                  <a:lnTo>
                    <a:pt x="327507" y="14173"/>
                  </a:lnTo>
                  <a:lnTo>
                    <a:pt x="327660" y="14274"/>
                  </a:lnTo>
                  <a:lnTo>
                    <a:pt x="326110" y="15240"/>
                  </a:lnTo>
                  <a:lnTo>
                    <a:pt x="326326" y="13970"/>
                  </a:lnTo>
                  <a:lnTo>
                    <a:pt x="327469" y="13970"/>
                  </a:lnTo>
                  <a:lnTo>
                    <a:pt x="327977" y="12700"/>
                  </a:lnTo>
                  <a:lnTo>
                    <a:pt x="329996" y="12700"/>
                  </a:lnTo>
                  <a:lnTo>
                    <a:pt x="330377" y="13970"/>
                  </a:lnTo>
                  <a:lnTo>
                    <a:pt x="331533" y="12700"/>
                  </a:lnTo>
                  <a:lnTo>
                    <a:pt x="330441" y="12700"/>
                  </a:lnTo>
                  <a:lnTo>
                    <a:pt x="330352" y="12306"/>
                  </a:lnTo>
                  <a:lnTo>
                    <a:pt x="332041" y="11785"/>
                  </a:lnTo>
                  <a:lnTo>
                    <a:pt x="332587" y="9982"/>
                  </a:lnTo>
                  <a:lnTo>
                    <a:pt x="332994" y="9690"/>
                  </a:lnTo>
                  <a:lnTo>
                    <a:pt x="333375" y="9918"/>
                  </a:lnTo>
                  <a:close/>
                </a:path>
              </a:pathLst>
            </a:custGeom>
            <a:solidFill>
              <a:srgbClr val="D02929"/>
            </a:solidFill>
          </p:spPr>
          <p:txBody>
            <a:bodyPr wrap="square" lIns="0" tIns="0" rIns="0" bIns="0" rtlCol="0"/>
            <a:lstStyle/>
            <a:p>
              <a:endParaRPr/>
            </a:p>
          </p:txBody>
        </p:sp>
      </p:grpSp>
      <p:sp>
        <p:nvSpPr>
          <p:cNvPr id="16" name="object 16"/>
          <p:cNvSpPr txBox="1"/>
          <p:nvPr/>
        </p:nvSpPr>
        <p:spPr>
          <a:xfrm>
            <a:off x="7759572" y="4485664"/>
            <a:ext cx="2099310" cy="330835"/>
          </a:xfrm>
          <a:prstGeom prst="rect">
            <a:avLst/>
          </a:prstGeom>
        </p:spPr>
        <p:txBody>
          <a:bodyPr vert="horz" wrap="square" lIns="0" tIns="12700" rIns="0" bIns="0" rtlCol="0">
            <a:spAutoFit/>
          </a:bodyPr>
          <a:lstStyle/>
          <a:p>
            <a:pPr marL="12700">
              <a:lnSpc>
                <a:spcPct val="100000"/>
              </a:lnSpc>
              <a:spcBef>
                <a:spcPts val="100"/>
              </a:spcBef>
            </a:pPr>
            <a:r>
              <a:rPr sz="2000" b="1" spc="-10" dirty="0">
                <a:solidFill>
                  <a:srgbClr val="FFFFFF"/>
                </a:solidFill>
                <a:latin typeface="Roboto"/>
                <a:cs typeface="Roboto"/>
              </a:rPr>
              <a:t>COMPETITIVIDAD</a:t>
            </a:r>
            <a:endParaRPr sz="2000">
              <a:latin typeface="Roboto"/>
              <a:cs typeface="Roboto"/>
            </a:endParaRPr>
          </a:p>
        </p:txBody>
      </p:sp>
      <p:grpSp>
        <p:nvGrpSpPr>
          <p:cNvPr id="17" name="object 17"/>
          <p:cNvGrpSpPr/>
          <p:nvPr/>
        </p:nvGrpSpPr>
        <p:grpSpPr>
          <a:xfrm>
            <a:off x="12915277" y="3766222"/>
            <a:ext cx="3850004" cy="1437640"/>
            <a:chOff x="12915277" y="3766222"/>
            <a:chExt cx="3850004" cy="1437640"/>
          </a:xfrm>
        </p:grpSpPr>
        <p:sp>
          <p:nvSpPr>
            <p:cNvPr id="18" name="object 18"/>
            <p:cNvSpPr/>
            <p:nvPr/>
          </p:nvSpPr>
          <p:spPr>
            <a:xfrm>
              <a:off x="12915277" y="4119882"/>
              <a:ext cx="3850004" cy="1083945"/>
            </a:xfrm>
            <a:custGeom>
              <a:avLst/>
              <a:gdLst/>
              <a:ahLst/>
              <a:cxnLst/>
              <a:rect l="l" t="t" r="r" b="b"/>
              <a:pathLst>
                <a:path w="3850005" h="1083945">
                  <a:moveTo>
                    <a:pt x="3366003" y="1083556"/>
                  </a:moveTo>
                  <a:lnTo>
                    <a:pt x="485774" y="1083556"/>
                  </a:lnTo>
                  <a:lnTo>
                    <a:pt x="437761" y="1081179"/>
                  </a:lnTo>
                  <a:lnTo>
                    <a:pt x="390562" y="1074135"/>
                  </a:lnTo>
                  <a:lnTo>
                    <a:pt x="344494" y="1062558"/>
                  </a:lnTo>
                  <a:lnTo>
                    <a:pt x="299876" y="1046578"/>
                  </a:lnTo>
                  <a:lnTo>
                    <a:pt x="257027" y="1026328"/>
                  </a:lnTo>
                  <a:lnTo>
                    <a:pt x="216266" y="1001940"/>
                  </a:lnTo>
                  <a:lnTo>
                    <a:pt x="177910" y="973545"/>
                  </a:lnTo>
                  <a:lnTo>
                    <a:pt x="142279" y="941276"/>
                  </a:lnTo>
                  <a:lnTo>
                    <a:pt x="110010" y="905645"/>
                  </a:lnTo>
                  <a:lnTo>
                    <a:pt x="81615" y="867289"/>
                  </a:lnTo>
                  <a:lnTo>
                    <a:pt x="57226" y="826528"/>
                  </a:lnTo>
                  <a:lnTo>
                    <a:pt x="36977" y="783679"/>
                  </a:lnTo>
                  <a:lnTo>
                    <a:pt x="20997" y="739061"/>
                  </a:lnTo>
                  <a:lnTo>
                    <a:pt x="9420" y="692993"/>
                  </a:lnTo>
                  <a:lnTo>
                    <a:pt x="2376" y="645794"/>
                  </a:lnTo>
                  <a:lnTo>
                    <a:pt x="0" y="597781"/>
                  </a:lnTo>
                  <a:lnTo>
                    <a:pt x="0" y="485774"/>
                  </a:lnTo>
                  <a:lnTo>
                    <a:pt x="2376" y="437762"/>
                  </a:lnTo>
                  <a:lnTo>
                    <a:pt x="9420" y="390562"/>
                  </a:lnTo>
                  <a:lnTo>
                    <a:pt x="20997" y="344494"/>
                  </a:lnTo>
                  <a:lnTo>
                    <a:pt x="36977" y="299876"/>
                  </a:lnTo>
                  <a:lnTo>
                    <a:pt x="57226" y="257028"/>
                  </a:lnTo>
                  <a:lnTo>
                    <a:pt x="81615" y="216266"/>
                  </a:lnTo>
                  <a:lnTo>
                    <a:pt x="110010" y="177911"/>
                  </a:lnTo>
                  <a:lnTo>
                    <a:pt x="142279" y="142280"/>
                  </a:lnTo>
                  <a:lnTo>
                    <a:pt x="177910" y="110010"/>
                  </a:lnTo>
                  <a:lnTo>
                    <a:pt x="216266" y="81615"/>
                  </a:lnTo>
                  <a:lnTo>
                    <a:pt x="257027" y="57227"/>
                  </a:lnTo>
                  <a:lnTo>
                    <a:pt x="299876" y="36977"/>
                  </a:lnTo>
                  <a:lnTo>
                    <a:pt x="344494" y="20997"/>
                  </a:lnTo>
                  <a:lnTo>
                    <a:pt x="390562" y="9420"/>
                  </a:lnTo>
                  <a:lnTo>
                    <a:pt x="437761" y="2377"/>
                  </a:lnTo>
                  <a:lnTo>
                    <a:pt x="485774" y="0"/>
                  </a:lnTo>
                  <a:lnTo>
                    <a:pt x="3366003" y="0"/>
                  </a:lnTo>
                  <a:lnTo>
                    <a:pt x="3414016" y="2377"/>
                  </a:lnTo>
                  <a:lnTo>
                    <a:pt x="3461216" y="9420"/>
                  </a:lnTo>
                  <a:lnTo>
                    <a:pt x="3507284" y="20997"/>
                  </a:lnTo>
                  <a:lnTo>
                    <a:pt x="3551902" y="36977"/>
                  </a:lnTo>
                  <a:lnTo>
                    <a:pt x="3594751" y="57227"/>
                  </a:lnTo>
                  <a:lnTo>
                    <a:pt x="3635512" y="81615"/>
                  </a:lnTo>
                  <a:lnTo>
                    <a:pt x="3673868" y="110010"/>
                  </a:lnTo>
                  <a:lnTo>
                    <a:pt x="3709499" y="142280"/>
                  </a:lnTo>
                  <a:lnTo>
                    <a:pt x="3741768" y="177911"/>
                  </a:lnTo>
                  <a:lnTo>
                    <a:pt x="3770163" y="216266"/>
                  </a:lnTo>
                  <a:lnTo>
                    <a:pt x="3794551" y="257028"/>
                  </a:lnTo>
                  <a:lnTo>
                    <a:pt x="3814801" y="299876"/>
                  </a:lnTo>
                  <a:lnTo>
                    <a:pt x="3830781" y="344494"/>
                  </a:lnTo>
                  <a:lnTo>
                    <a:pt x="3842358" y="390562"/>
                  </a:lnTo>
                  <a:lnTo>
                    <a:pt x="3849401" y="437762"/>
                  </a:lnTo>
                  <a:lnTo>
                    <a:pt x="3849588" y="441528"/>
                  </a:lnTo>
                  <a:lnTo>
                    <a:pt x="3849588" y="642027"/>
                  </a:lnTo>
                  <a:lnTo>
                    <a:pt x="3842358" y="692993"/>
                  </a:lnTo>
                  <a:lnTo>
                    <a:pt x="3830781" y="739061"/>
                  </a:lnTo>
                  <a:lnTo>
                    <a:pt x="3814801" y="783679"/>
                  </a:lnTo>
                  <a:lnTo>
                    <a:pt x="3794551" y="826528"/>
                  </a:lnTo>
                  <a:lnTo>
                    <a:pt x="3770163" y="867289"/>
                  </a:lnTo>
                  <a:lnTo>
                    <a:pt x="3741768" y="905645"/>
                  </a:lnTo>
                  <a:lnTo>
                    <a:pt x="3709499" y="941276"/>
                  </a:lnTo>
                  <a:lnTo>
                    <a:pt x="3673868" y="973545"/>
                  </a:lnTo>
                  <a:lnTo>
                    <a:pt x="3635512" y="1001940"/>
                  </a:lnTo>
                  <a:lnTo>
                    <a:pt x="3594751" y="1026328"/>
                  </a:lnTo>
                  <a:lnTo>
                    <a:pt x="3551902" y="1046578"/>
                  </a:lnTo>
                  <a:lnTo>
                    <a:pt x="3507284" y="1062558"/>
                  </a:lnTo>
                  <a:lnTo>
                    <a:pt x="3461216" y="1074135"/>
                  </a:lnTo>
                  <a:lnTo>
                    <a:pt x="3414016" y="1081179"/>
                  </a:lnTo>
                  <a:lnTo>
                    <a:pt x="3366003" y="1083556"/>
                  </a:lnTo>
                  <a:close/>
                </a:path>
              </a:pathLst>
            </a:custGeom>
            <a:solidFill>
              <a:srgbClr val="21408B"/>
            </a:solidFill>
          </p:spPr>
          <p:txBody>
            <a:bodyPr wrap="square" lIns="0" tIns="0" rIns="0" bIns="0" rtlCol="0"/>
            <a:lstStyle/>
            <a:p>
              <a:endParaRPr/>
            </a:p>
          </p:txBody>
        </p:sp>
        <p:sp>
          <p:nvSpPr>
            <p:cNvPr id="19" name="object 19"/>
            <p:cNvSpPr/>
            <p:nvPr/>
          </p:nvSpPr>
          <p:spPr>
            <a:xfrm>
              <a:off x="14555298" y="3766222"/>
              <a:ext cx="539750" cy="539750"/>
            </a:xfrm>
            <a:custGeom>
              <a:avLst/>
              <a:gdLst/>
              <a:ahLst/>
              <a:cxnLst/>
              <a:rect l="l" t="t" r="r" b="b"/>
              <a:pathLst>
                <a:path w="539750" h="539750">
                  <a:moveTo>
                    <a:pt x="269803" y="539602"/>
                  </a:moveTo>
                  <a:lnTo>
                    <a:pt x="221304" y="535256"/>
                  </a:lnTo>
                  <a:lnTo>
                    <a:pt x="175659" y="522723"/>
                  </a:lnTo>
                  <a:lnTo>
                    <a:pt x="133627" y="502767"/>
                  </a:lnTo>
                  <a:lnTo>
                    <a:pt x="95971" y="476149"/>
                  </a:lnTo>
                  <a:lnTo>
                    <a:pt x="63453" y="443631"/>
                  </a:lnTo>
                  <a:lnTo>
                    <a:pt x="36835" y="405975"/>
                  </a:lnTo>
                  <a:lnTo>
                    <a:pt x="16879" y="363944"/>
                  </a:lnTo>
                  <a:lnTo>
                    <a:pt x="4346" y="318298"/>
                  </a:lnTo>
                  <a:lnTo>
                    <a:pt x="0" y="269800"/>
                  </a:lnTo>
                  <a:lnTo>
                    <a:pt x="4346" y="221304"/>
                  </a:lnTo>
                  <a:lnTo>
                    <a:pt x="16879" y="175659"/>
                  </a:lnTo>
                  <a:lnTo>
                    <a:pt x="36835" y="133627"/>
                  </a:lnTo>
                  <a:lnTo>
                    <a:pt x="63453" y="95971"/>
                  </a:lnTo>
                  <a:lnTo>
                    <a:pt x="95971" y="63454"/>
                  </a:lnTo>
                  <a:lnTo>
                    <a:pt x="133627" y="36835"/>
                  </a:lnTo>
                  <a:lnTo>
                    <a:pt x="175659" y="16879"/>
                  </a:lnTo>
                  <a:lnTo>
                    <a:pt x="221304" y="4346"/>
                  </a:lnTo>
                  <a:lnTo>
                    <a:pt x="269801" y="0"/>
                  </a:lnTo>
                  <a:lnTo>
                    <a:pt x="318298" y="4346"/>
                  </a:lnTo>
                  <a:lnTo>
                    <a:pt x="363943" y="16879"/>
                  </a:lnTo>
                  <a:lnTo>
                    <a:pt x="405975" y="36835"/>
                  </a:lnTo>
                  <a:lnTo>
                    <a:pt x="443630" y="63454"/>
                  </a:lnTo>
                  <a:lnTo>
                    <a:pt x="476148" y="95971"/>
                  </a:lnTo>
                  <a:lnTo>
                    <a:pt x="502766" y="133627"/>
                  </a:lnTo>
                  <a:lnTo>
                    <a:pt x="522723" y="175659"/>
                  </a:lnTo>
                  <a:lnTo>
                    <a:pt x="535255" y="221304"/>
                  </a:lnTo>
                  <a:lnTo>
                    <a:pt x="539602" y="269801"/>
                  </a:lnTo>
                  <a:lnTo>
                    <a:pt x="535255" y="318298"/>
                  </a:lnTo>
                  <a:lnTo>
                    <a:pt x="522723" y="363944"/>
                  </a:lnTo>
                  <a:lnTo>
                    <a:pt x="502766" y="405975"/>
                  </a:lnTo>
                  <a:lnTo>
                    <a:pt x="476148" y="443631"/>
                  </a:lnTo>
                  <a:lnTo>
                    <a:pt x="443630" y="476149"/>
                  </a:lnTo>
                  <a:lnTo>
                    <a:pt x="405975" y="502767"/>
                  </a:lnTo>
                  <a:lnTo>
                    <a:pt x="363943" y="522723"/>
                  </a:lnTo>
                  <a:lnTo>
                    <a:pt x="318298" y="535256"/>
                  </a:lnTo>
                  <a:lnTo>
                    <a:pt x="269803" y="539602"/>
                  </a:lnTo>
                  <a:close/>
                </a:path>
              </a:pathLst>
            </a:custGeom>
            <a:solidFill>
              <a:srgbClr val="FFFFFF"/>
            </a:solidFill>
          </p:spPr>
          <p:txBody>
            <a:bodyPr wrap="square" lIns="0" tIns="0" rIns="0" bIns="0" rtlCol="0"/>
            <a:lstStyle/>
            <a:p>
              <a:endParaRPr/>
            </a:p>
          </p:txBody>
        </p:sp>
        <p:sp>
          <p:nvSpPr>
            <p:cNvPr id="20" name="object 20"/>
            <p:cNvSpPr/>
            <p:nvPr/>
          </p:nvSpPr>
          <p:spPr>
            <a:xfrm>
              <a:off x="14657032" y="3845546"/>
              <a:ext cx="333375" cy="379730"/>
            </a:xfrm>
            <a:custGeom>
              <a:avLst/>
              <a:gdLst/>
              <a:ahLst/>
              <a:cxnLst/>
              <a:rect l="l" t="t" r="r" b="b"/>
              <a:pathLst>
                <a:path w="333375" h="379729">
                  <a:moveTo>
                    <a:pt x="4483" y="313651"/>
                  </a:moveTo>
                  <a:lnTo>
                    <a:pt x="4279" y="313867"/>
                  </a:lnTo>
                  <a:lnTo>
                    <a:pt x="3873" y="314325"/>
                  </a:lnTo>
                  <a:lnTo>
                    <a:pt x="4000" y="314566"/>
                  </a:lnTo>
                  <a:lnTo>
                    <a:pt x="4368" y="314566"/>
                  </a:lnTo>
                  <a:lnTo>
                    <a:pt x="4445" y="314134"/>
                  </a:lnTo>
                  <a:lnTo>
                    <a:pt x="4483" y="313651"/>
                  </a:lnTo>
                  <a:close/>
                </a:path>
                <a:path w="333375" h="379729">
                  <a:moveTo>
                    <a:pt x="9690" y="230314"/>
                  </a:moveTo>
                  <a:lnTo>
                    <a:pt x="9652" y="230124"/>
                  </a:lnTo>
                  <a:lnTo>
                    <a:pt x="9436" y="229920"/>
                  </a:lnTo>
                  <a:lnTo>
                    <a:pt x="9296" y="230009"/>
                  </a:lnTo>
                  <a:lnTo>
                    <a:pt x="9245" y="230187"/>
                  </a:lnTo>
                  <a:lnTo>
                    <a:pt x="9296" y="230327"/>
                  </a:lnTo>
                  <a:lnTo>
                    <a:pt x="9321" y="230492"/>
                  </a:lnTo>
                  <a:lnTo>
                    <a:pt x="9550" y="230733"/>
                  </a:lnTo>
                  <a:lnTo>
                    <a:pt x="9690" y="230670"/>
                  </a:lnTo>
                  <a:lnTo>
                    <a:pt x="9690" y="230454"/>
                  </a:lnTo>
                  <a:lnTo>
                    <a:pt x="9690" y="230314"/>
                  </a:lnTo>
                  <a:close/>
                </a:path>
                <a:path w="333375" h="379729">
                  <a:moveTo>
                    <a:pt x="23901" y="371017"/>
                  </a:moveTo>
                  <a:lnTo>
                    <a:pt x="23812" y="370611"/>
                  </a:lnTo>
                  <a:lnTo>
                    <a:pt x="23672" y="370700"/>
                  </a:lnTo>
                  <a:lnTo>
                    <a:pt x="23761" y="371094"/>
                  </a:lnTo>
                  <a:lnTo>
                    <a:pt x="23901" y="371017"/>
                  </a:lnTo>
                  <a:close/>
                </a:path>
                <a:path w="333375" h="379729">
                  <a:moveTo>
                    <a:pt x="38735" y="223278"/>
                  </a:moveTo>
                  <a:lnTo>
                    <a:pt x="38684" y="222948"/>
                  </a:lnTo>
                  <a:lnTo>
                    <a:pt x="38544" y="222885"/>
                  </a:lnTo>
                  <a:lnTo>
                    <a:pt x="38328" y="223062"/>
                  </a:lnTo>
                  <a:lnTo>
                    <a:pt x="38214" y="223266"/>
                  </a:lnTo>
                  <a:lnTo>
                    <a:pt x="38138" y="223685"/>
                  </a:lnTo>
                  <a:lnTo>
                    <a:pt x="38290" y="223951"/>
                  </a:lnTo>
                  <a:lnTo>
                    <a:pt x="38544" y="223761"/>
                  </a:lnTo>
                  <a:lnTo>
                    <a:pt x="38633" y="223469"/>
                  </a:lnTo>
                  <a:lnTo>
                    <a:pt x="38735" y="223278"/>
                  </a:lnTo>
                  <a:close/>
                </a:path>
                <a:path w="333375" h="379729">
                  <a:moveTo>
                    <a:pt x="41986" y="222084"/>
                  </a:moveTo>
                  <a:lnTo>
                    <a:pt x="41884" y="221488"/>
                  </a:lnTo>
                  <a:lnTo>
                    <a:pt x="41783" y="221297"/>
                  </a:lnTo>
                  <a:lnTo>
                    <a:pt x="41567" y="220941"/>
                  </a:lnTo>
                  <a:lnTo>
                    <a:pt x="41427" y="220980"/>
                  </a:lnTo>
                  <a:lnTo>
                    <a:pt x="41122" y="222224"/>
                  </a:lnTo>
                  <a:lnTo>
                    <a:pt x="40805" y="223139"/>
                  </a:lnTo>
                  <a:lnTo>
                    <a:pt x="40322" y="224180"/>
                  </a:lnTo>
                  <a:lnTo>
                    <a:pt x="40297" y="224370"/>
                  </a:lnTo>
                  <a:lnTo>
                    <a:pt x="40500" y="224434"/>
                  </a:lnTo>
                  <a:lnTo>
                    <a:pt x="40741" y="224447"/>
                  </a:lnTo>
                  <a:lnTo>
                    <a:pt x="41986" y="222084"/>
                  </a:lnTo>
                  <a:close/>
                </a:path>
                <a:path w="333375" h="379729">
                  <a:moveTo>
                    <a:pt x="44704" y="229870"/>
                  </a:moveTo>
                  <a:lnTo>
                    <a:pt x="43840" y="228600"/>
                  </a:lnTo>
                  <a:lnTo>
                    <a:pt x="42506" y="227330"/>
                  </a:lnTo>
                  <a:lnTo>
                    <a:pt x="41275" y="228600"/>
                  </a:lnTo>
                  <a:lnTo>
                    <a:pt x="40970" y="228600"/>
                  </a:lnTo>
                  <a:lnTo>
                    <a:pt x="40703" y="229870"/>
                  </a:lnTo>
                  <a:lnTo>
                    <a:pt x="40538" y="228600"/>
                  </a:lnTo>
                  <a:lnTo>
                    <a:pt x="40157" y="228600"/>
                  </a:lnTo>
                  <a:lnTo>
                    <a:pt x="40627" y="227330"/>
                  </a:lnTo>
                  <a:lnTo>
                    <a:pt x="40944" y="227330"/>
                  </a:lnTo>
                  <a:lnTo>
                    <a:pt x="40932" y="226060"/>
                  </a:lnTo>
                  <a:lnTo>
                    <a:pt x="41008" y="224790"/>
                  </a:lnTo>
                  <a:lnTo>
                    <a:pt x="39814" y="226060"/>
                  </a:lnTo>
                  <a:lnTo>
                    <a:pt x="39814" y="231140"/>
                  </a:lnTo>
                  <a:lnTo>
                    <a:pt x="39420" y="231140"/>
                  </a:lnTo>
                  <a:lnTo>
                    <a:pt x="39281" y="229870"/>
                  </a:lnTo>
                  <a:lnTo>
                    <a:pt x="39585" y="229870"/>
                  </a:lnTo>
                  <a:lnTo>
                    <a:pt x="39814" y="231140"/>
                  </a:lnTo>
                  <a:lnTo>
                    <a:pt x="39814" y="226060"/>
                  </a:lnTo>
                  <a:lnTo>
                    <a:pt x="39281" y="226060"/>
                  </a:lnTo>
                  <a:lnTo>
                    <a:pt x="38328" y="224523"/>
                  </a:lnTo>
                  <a:lnTo>
                    <a:pt x="38328" y="231140"/>
                  </a:lnTo>
                  <a:lnTo>
                    <a:pt x="38188" y="232410"/>
                  </a:lnTo>
                  <a:lnTo>
                    <a:pt x="37973" y="232410"/>
                  </a:lnTo>
                  <a:lnTo>
                    <a:pt x="37973" y="231140"/>
                  </a:lnTo>
                  <a:lnTo>
                    <a:pt x="38328" y="231140"/>
                  </a:lnTo>
                  <a:lnTo>
                    <a:pt x="38328" y="224523"/>
                  </a:lnTo>
                  <a:lnTo>
                    <a:pt x="37719" y="223520"/>
                  </a:lnTo>
                  <a:lnTo>
                    <a:pt x="37592" y="222250"/>
                  </a:lnTo>
                  <a:lnTo>
                    <a:pt x="37045" y="220980"/>
                  </a:lnTo>
                  <a:lnTo>
                    <a:pt x="36880" y="220980"/>
                  </a:lnTo>
                  <a:lnTo>
                    <a:pt x="37325" y="219710"/>
                  </a:lnTo>
                  <a:lnTo>
                    <a:pt x="37579" y="219710"/>
                  </a:lnTo>
                  <a:lnTo>
                    <a:pt x="38163" y="220980"/>
                  </a:lnTo>
                  <a:lnTo>
                    <a:pt x="38849" y="220980"/>
                  </a:lnTo>
                  <a:lnTo>
                    <a:pt x="39776" y="222250"/>
                  </a:lnTo>
                  <a:lnTo>
                    <a:pt x="40271" y="222250"/>
                  </a:lnTo>
                  <a:lnTo>
                    <a:pt x="40944" y="220980"/>
                  </a:lnTo>
                  <a:lnTo>
                    <a:pt x="40208" y="220980"/>
                  </a:lnTo>
                  <a:lnTo>
                    <a:pt x="39700" y="219710"/>
                  </a:lnTo>
                  <a:lnTo>
                    <a:pt x="38163" y="219710"/>
                  </a:lnTo>
                  <a:lnTo>
                    <a:pt x="38265" y="218440"/>
                  </a:lnTo>
                  <a:lnTo>
                    <a:pt x="38633" y="217170"/>
                  </a:lnTo>
                  <a:lnTo>
                    <a:pt x="38989" y="215900"/>
                  </a:lnTo>
                  <a:lnTo>
                    <a:pt x="38735" y="214630"/>
                  </a:lnTo>
                  <a:lnTo>
                    <a:pt x="37223" y="214630"/>
                  </a:lnTo>
                  <a:lnTo>
                    <a:pt x="36703" y="213360"/>
                  </a:lnTo>
                  <a:lnTo>
                    <a:pt x="36309" y="212090"/>
                  </a:lnTo>
                  <a:lnTo>
                    <a:pt x="35458" y="213360"/>
                  </a:lnTo>
                  <a:lnTo>
                    <a:pt x="35242" y="213360"/>
                  </a:lnTo>
                  <a:lnTo>
                    <a:pt x="35394"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50" y="213360"/>
                  </a:lnTo>
                  <a:lnTo>
                    <a:pt x="33820" y="213360"/>
                  </a:lnTo>
                  <a:lnTo>
                    <a:pt x="33820" y="226060"/>
                  </a:lnTo>
                  <a:lnTo>
                    <a:pt x="33388" y="226060"/>
                  </a:lnTo>
                  <a:lnTo>
                    <a:pt x="33172" y="224790"/>
                  </a:lnTo>
                  <a:lnTo>
                    <a:pt x="31483" y="224790"/>
                  </a:lnTo>
                  <a:lnTo>
                    <a:pt x="31229" y="223520"/>
                  </a:lnTo>
                  <a:lnTo>
                    <a:pt x="32105" y="223520"/>
                  </a:lnTo>
                  <a:lnTo>
                    <a:pt x="32550" y="222250"/>
                  </a:lnTo>
                  <a:lnTo>
                    <a:pt x="32981" y="223520"/>
                  </a:lnTo>
                  <a:lnTo>
                    <a:pt x="33451" y="223520"/>
                  </a:lnTo>
                  <a:lnTo>
                    <a:pt x="33591" y="224790"/>
                  </a:lnTo>
                  <a:lnTo>
                    <a:pt x="33820" y="226060"/>
                  </a:lnTo>
                  <a:lnTo>
                    <a:pt x="33820" y="213360"/>
                  </a:lnTo>
                  <a:lnTo>
                    <a:pt x="32778" y="213360"/>
                  </a:lnTo>
                  <a:lnTo>
                    <a:pt x="32054" y="214630"/>
                  </a:lnTo>
                  <a:lnTo>
                    <a:pt x="30010" y="214630"/>
                  </a:lnTo>
                  <a:lnTo>
                    <a:pt x="29794" y="213360"/>
                  </a:lnTo>
                  <a:lnTo>
                    <a:pt x="29222" y="213360"/>
                  </a:lnTo>
                  <a:lnTo>
                    <a:pt x="28613" y="212090"/>
                  </a:lnTo>
                  <a:lnTo>
                    <a:pt x="27343" y="213360"/>
                  </a:lnTo>
                  <a:lnTo>
                    <a:pt x="27025" y="213360"/>
                  </a:lnTo>
                  <a:lnTo>
                    <a:pt x="27279" y="214630"/>
                  </a:lnTo>
                  <a:lnTo>
                    <a:pt x="27762" y="215900"/>
                  </a:lnTo>
                  <a:lnTo>
                    <a:pt x="27152" y="215900"/>
                  </a:lnTo>
                  <a:lnTo>
                    <a:pt x="27038" y="217170"/>
                  </a:lnTo>
                  <a:lnTo>
                    <a:pt x="26250" y="217170"/>
                  </a:lnTo>
                  <a:lnTo>
                    <a:pt x="26314" y="215900"/>
                  </a:lnTo>
                  <a:lnTo>
                    <a:pt x="26314" y="214630"/>
                  </a:lnTo>
                  <a:lnTo>
                    <a:pt x="25400" y="213360"/>
                  </a:lnTo>
                  <a:lnTo>
                    <a:pt x="24650" y="213360"/>
                  </a:lnTo>
                  <a:lnTo>
                    <a:pt x="24650" y="224790"/>
                  </a:lnTo>
                  <a:lnTo>
                    <a:pt x="24371" y="224790"/>
                  </a:lnTo>
                  <a:lnTo>
                    <a:pt x="24625" y="226060"/>
                  </a:lnTo>
                  <a:lnTo>
                    <a:pt x="23977" y="226060"/>
                  </a:lnTo>
                  <a:lnTo>
                    <a:pt x="24053" y="224790"/>
                  </a:lnTo>
                  <a:lnTo>
                    <a:pt x="22796" y="224790"/>
                  </a:lnTo>
                  <a:lnTo>
                    <a:pt x="22593" y="226060"/>
                  </a:lnTo>
                  <a:lnTo>
                    <a:pt x="21234" y="226060"/>
                  </a:lnTo>
                  <a:lnTo>
                    <a:pt x="20891" y="224790"/>
                  </a:lnTo>
                  <a:lnTo>
                    <a:pt x="20447" y="224790"/>
                  </a:lnTo>
                  <a:lnTo>
                    <a:pt x="20993" y="223520"/>
                  </a:lnTo>
                  <a:lnTo>
                    <a:pt x="22415" y="223520"/>
                  </a:lnTo>
                  <a:lnTo>
                    <a:pt x="23063" y="222250"/>
                  </a:lnTo>
                  <a:lnTo>
                    <a:pt x="23723" y="223520"/>
                  </a:lnTo>
                  <a:lnTo>
                    <a:pt x="24434" y="223520"/>
                  </a:lnTo>
                  <a:lnTo>
                    <a:pt x="24650" y="224790"/>
                  </a:lnTo>
                  <a:lnTo>
                    <a:pt x="24650" y="213360"/>
                  </a:lnTo>
                  <a:lnTo>
                    <a:pt x="23329" y="213360"/>
                  </a:lnTo>
                  <a:lnTo>
                    <a:pt x="21869" y="214630"/>
                  </a:lnTo>
                  <a:lnTo>
                    <a:pt x="20955" y="215900"/>
                  </a:lnTo>
                  <a:lnTo>
                    <a:pt x="19735" y="217170"/>
                  </a:lnTo>
                  <a:lnTo>
                    <a:pt x="19545" y="217170"/>
                  </a:lnTo>
                  <a:lnTo>
                    <a:pt x="17907" y="214630"/>
                  </a:lnTo>
                  <a:lnTo>
                    <a:pt x="16789" y="215900"/>
                  </a:lnTo>
                  <a:lnTo>
                    <a:pt x="16471" y="218440"/>
                  </a:lnTo>
                  <a:lnTo>
                    <a:pt x="16408" y="219710"/>
                  </a:lnTo>
                  <a:lnTo>
                    <a:pt x="13817" y="218440"/>
                  </a:lnTo>
                  <a:lnTo>
                    <a:pt x="13957" y="219710"/>
                  </a:lnTo>
                  <a:lnTo>
                    <a:pt x="14757" y="220980"/>
                  </a:lnTo>
                  <a:lnTo>
                    <a:pt x="15455" y="223520"/>
                  </a:lnTo>
                  <a:lnTo>
                    <a:pt x="15328" y="224790"/>
                  </a:lnTo>
                  <a:lnTo>
                    <a:pt x="14617" y="224790"/>
                  </a:lnTo>
                  <a:lnTo>
                    <a:pt x="14389" y="223520"/>
                  </a:lnTo>
                  <a:lnTo>
                    <a:pt x="14122" y="222250"/>
                  </a:lnTo>
                  <a:lnTo>
                    <a:pt x="12827" y="220980"/>
                  </a:lnTo>
                  <a:lnTo>
                    <a:pt x="11645" y="220980"/>
                  </a:lnTo>
                  <a:lnTo>
                    <a:pt x="11506" y="223520"/>
                  </a:lnTo>
                  <a:lnTo>
                    <a:pt x="13627" y="223520"/>
                  </a:lnTo>
                  <a:lnTo>
                    <a:pt x="12217" y="224790"/>
                  </a:lnTo>
                  <a:lnTo>
                    <a:pt x="10706" y="224790"/>
                  </a:lnTo>
                  <a:lnTo>
                    <a:pt x="11607" y="227330"/>
                  </a:lnTo>
                  <a:lnTo>
                    <a:pt x="11582" y="228600"/>
                  </a:lnTo>
                  <a:lnTo>
                    <a:pt x="11150" y="232410"/>
                  </a:lnTo>
                  <a:lnTo>
                    <a:pt x="9144" y="233680"/>
                  </a:lnTo>
                  <a:lnTo>
                    <a:pt x="7467" y="234950"/>
                  </a:lnTo>
                  <a:lnTo>
                    <a:pt x="7683" y="236220"/>
                  </a:lnTo>
                  <a:lnTo>
                    <a:pt x="6769" y="237490"/>
                  </a:lnTo>
                  <a:lnTo>
                    <a:pt x="5194" y="237490"/>
                  </a:lnTo>
                  <a:lnTo>
                    <a:pt x="4686" y="238760"/>
                  </a:lnTo>
                  <a:lnTo>
                    <a:pt x="3937" y="241300"/>
                  </a:lnTo>
                  <a:lnTo>
                    <a:pt x="1701" y="243840"/>
                  </a:lnTo>
                  <a:lnTo>
                    <a:pt x="787" y="243840"/>
                  </a:lnTo>
                  <a:lnTo>
                    <a:pt x="1193" y="245110"/>
                  </a:lnTo>
                  <a:lnTo>
                    <a:pt x="4051" y="245110"/>
                  </a:lnTo>
                  <a:lnTo>
                    <a:pt x="44488" y="245110"/>
                  </a:lnTo>
                  <a:lnTo>
                    <a:pt x="44500" y="243840"/>
                  </a:lnTo>
                  <a:lnTo>
                    <a:pt x="43891" y="241300"/>
                  </a:lnTo>
                  <a:lnTo>
                    <a:pt x="43726" y="240030"/>
                  </a:lnTo>
                  <a:lnTo>
                    <a:pt x="42646" y="240030"/>
                  </a:lnTo>
                  <a:lnTo>
                    <a:pt x="43167" y="238760"/>
                  </a:lnTo>
                  <a:lnTo>
                    <a:pt x="43662" y="238760"/>
                  </a:lnTo>
                  <a:lnTo>
                    <a:pt x="44018" y="236220"/>
                  </a:lnTo>
                  <a:lnTo>
                    <a:pt x="44018" y="234950"/>
                  </a:lnTo>
                  <a:lnTo>
                    <a:pt x="44132" y="233680"/>
                  </a:lnTo>
                  <a:lnTo>
                    <a:pt x="44259" y="232410"/>
                  </a:lnTo>
                  <a:lnTo>
                    <a:pt x="43624" y="232410"/>
                  </a:lnTo>
                  <a:lnTo>
                    <a:pt x="41122" y="232410"/>
                  </a:lnTo>
                  <a:lnTo>
                    <a:pt x="41122" y="234950"/>
                  </a:lnTo>
                  <a:lnTo>
                    <a:pt x="40525" y="234950"/>
                  </a:lnTo>
                  <a:lnTo>
                    <a:pt x="40538" y="233680"/>
                  </a:lnTo>
                  <a:lnTo>
                    <a:pt x="41059" y="233680"/>
                  </a:lnTo>
                  <a:lnTo>
                    <a:pt x="41122" y="234950"/>
                  </a:lnTo>
                  <a:lnTo>
                    <a:pt x="41122" y="232410"/>
                  </a:lnTo>
                  <a:lnTo>
                    <a:pt x="40627" y="232410"/>
                  </a:lnTo>
                  <a:lnTo>
                    <a:pt x="40881" y="231140"/>
                  </a:lnTo>
                  <a:lnTo>
                    <a:pt x="41363" y="231140"/>
                  </a:lnTo>
                  <a:lnTo>
                    <a:pt x="42494" y="229870"/>
                  </a:lnTo>
                  <a:lnTo>
                    <a:pt x="43167" y="229870"/>
                  </a:lnTo>
                  <a:lnTo>
                    <a:pt x="43853" y="231140"/>
                  </a:lnTo>
                  <a:lnTo>
                    <a:pt x="43624" y="232410"/>
                  </a:lnTo>
                  <a:lnTo>
                    <a:pt x="44704" y="231140"/>
                  </a:lnTo>
                  <a:lnTo>
                    <a:pt x="44704" y="229870"/>
                  </a:lnTo>
                  <a:close/>
                </a:path>
                <a:path w="333375" h="379729">
                  <a:moveTo>
                    <a:pt x="50495" y="279133"/>
                  </a:moveTo>
                  <a:lnTo>
                    <a:pt x="50355" y="278917"/>
                  </a:lnTo>
                  <a:lnTo>
                    <a:pt x="50139" y="278828"/>
                  </a:lnTo>
                  <a:lnTo>
                    <a:pt x="50139" y="279184"/>
                  </a:lnTo>
                  <a:lnTo>
                    <a:pt x="50330" y="279285"/>
                  </a:lnTo>
                  <a:lnTo>
                    <a:pt x="50469" y="279247"/>
                  </a:lnTo>
                  <a:close/>
                </a:path>
                <a:path w="333375" h="379729">
                  <a:moveTo>
                    <a:pt x="52171" y="294322"/>
                  </a:moveTo>
                  <a:lnTo>
                    <a:pt x="52006" y="294424"/>
                  </a:lnTo>
                  <a:lnTo>
                    <a:pt x="51790" y="294563"/>
                  </a:lnTo>
                  <a:lnTo>
                    <a:pt x="52070" y="294398"/>
                  </a:lnTo>
                  <a:close/>
                </a:path>
                <a:path w="333375" h="379729">
                  <a:moveTo>
                    <a:pt x="52920" y="295338"/>
                  </a:moveTo>
                  <a:lnTo>
                    <a:pt x="52882" y="295744"/>
                  </a:lnTo>
                  <a:lnTo>
                    <a:pt x="52844" y="296506"/>
                  </a:lnTo>
                  <a:lnTo>
                    <a:pt x="52895" y="295935"/>
                  </a:lnTo>
                  <a:lnTo>
                    <a:pt x="52920" y="295338"/>
                  </a:lnTo>
                  <a:close/>
                </a:path>
                <a:path w="333375" h="379729">
                  <a:moveTo>
                    <a:pt x="53060" y="294640"/>
                  </a:moveTo>
                  <a:lnTo>
                    <a:pt x="53035" y="295363"/>
                  </a:lnTo>
                  <a:lnTo>
                    <a:pt x="53060" y="294640"/>
                  </a:lnTo>
                  <a:close/>
                </a:path>
                <a:path w="333375" h="379729">
                  <a:moveTo>
                    <a:pt x="53200" y="297180"/>
                  </a:moveTo>
                  <a:lnTo>
                    <a:pt x="53200" y="297446"/>
                  </a:lnTo>
                  <a:lnTo>
                    <a:pt x="53200" y="297180"/>
                  </a:lnTo>
                  <a:close/>
                </a:path>
                <a:path w="333375" h="379729">
                  <a:moveTo>
                    <a:pt x="53251" y="296799"/>
                  </a:moveTo>
                  <a:lnTo>
                    <a:pt x="53200" y="295998"/>
                  </a:lnTo>
                  <a:lnTo>
                    <a:pt x="53174" y="295681"/>
                  </a:lnTo>
                  <a:lnTo>
                    <a:pt x="53136" y="295198"/>
                  </a:lnTo>
                  <a:lnTo>
                    <a:pt x="53174" y="295922"/>
                  </a:lnTo>
                  <a:lnTo>
                    <a:pt x="53200" y="296354"/>
                  </a:lnTo>
                  <a:lnTo>
                    <a:pt x="53225" y="296633"/>
                  </a:lnTo>
                  <a:lnTo>
                    <a:pt x="53251" y="296799"/>
                  </a:lnTo>
                  <a:close/>
                </a:path>
                <a:path w="333375" h="379729">
                  <a:moveTo>
                    <a:pt x="53517" y="297180"/>
                  </a:moveTo>
                  <a:lnTo>
                    <a:pt x="53517" y="297688"/>
                  </a:lnTo>
                  <a:lnTo>
                    <a:pt x="53517" y="297180"/>
                  </a:lnTo>
                  <a:close/>
                </a:path>
                <a:path w="333375" h="379729">
                  <a:moveTo>
                    <a:pt x="53606" y="295478"/>
                  </a:moveTo>
                  <a:lnTo>
                    <a:pt x="53581" y="295338"/>
                  </a:lnTo>
                  <a:lnTo>
                    <a:pt x="53467" y="295033"/>
                  </a:lnTo>
                  <a:lnTo>
                    <a:pt x="53543" y="295313"/>
                  </a:lnTo>
                  <a:lnTo>
                    <a:pt x="53606" y="295478"/>
                  </a:lnTo>
                  <a:close/>
                </a:path>
                <a:path w="333375" h="379729">
                  <a:moveTo>
                    <a:pt x="53670" y="372084"/>
                  </a:moveTo>
                  <a:close/>
                </a:path>
                <a:path w="333375" h="379729">
                  <a:moveTo>
                    <a:pt x="54051" y="294690"/>
                  </a:moveTo>
                  <a:close/>
                </a:path>
                <a:path w="333375" h="379729">
                  <a:moveTo>
                    <a:pt x="54838" y="294868"/>
                  </a:moveTo>
                  <a:lnTo>
                    <a:pt x="54775" y="294640"/>
                  </a:lnTo>
                  <a:lnTo>
                    <a:pt x="54838" y="294868"/>
                  </a:lnTo>
                  <a:close/>
                </a:path>
                <a:path w="333375" h="379729">
                  <a:moveTo>
                    <a:pt x="54952" y="294157"/>
                  </a:moveTo>
                  <a:lnTo>
                    <a:pt x="54825" y="294017"/>
                  </a:lnTo>
                  <a:lnTo>
                    <a:pt x="54914" y="294208"/>
                  </a:lnTo>
                  <a:close/>
                </a:path>
                <a:path w="333375" h="379729">
                  <a:moveTo>
                    <a:pt x="55270" y="295414"/>
                  </a:moveTo>
                  <a:close/>
                </a:path>
                <a:path w="333375" h="379729">
                  <a:moveTo>
                    <a:pt x="55308" y="295452"/>
                  </a:moveTo>
                  <a:close/>
                </a:path>
                <a:path w="333375" h="379729">
                  <a:moveTo>
                    <a:pt x="55880" y="292874"/>
                  </a:moveTo>
                  <a:lnTo>
                    <a:pt x="55346" y="292100"/>
                  </a:lnTo>
                  <a:lnTo>
                    <a:pt x="55880" y="292874"/>
                  </a:lnTo>
                  <a:close/>
                </a:path>
                <a:path w="333375" h="379729">
                  <a:moveTo>
                    <a:pt x="56261" y="293370"/>
                  </a:moveTo>
                  <a:lnTo>
                    <a:pt x="55880" y="292874"/>
                  </a:lnTo>
                  <a:lnTo>
                    <a:pt x="56222" y="293370"/>
                  </a:lnTo>
                  <a:close/>
                </a:path>
                <a:path w="333375" h="379729">
                  <a:moveTo>
                    <a:pt x="61607" y="280873"/>
                  </a:moveTo>
                  <a:lnTo>
                    <a:pt x="61239" y="280847"/>
                  </a:lnTo>
                  <a:lnTo>
                    <a:pt x="61214" y="280974"/>
                  </a:lnTo>
                  <a:lnTo>
                    <a:pt x="61150" y="281127"/>
                  </a:lnTo>
                  <a:lnTo>
                    <a:pt x="61239" y="281419"/>
                  </a:lnTo>
                  <a:lnTo>
                    <a:pt x="61391" y="281432"/>
                  </a:lnTo>
                  <a:lnTo>
                    <a:pt x="61493" y="281254"/>
                  </a:lnTo>
                  <a:lnTo>
                    <a:pt x="61569" y="281000"/>
                  </a:lnTo>
                  <a:lnTo>
                    <a:pt x="61607" y="280873"/>
                  </a:lnTo>
                  <a:close/>
                </a:path>
                <a:path w="333375" h="379729">
                  <a:moveTo>
                    <a:pt x="70370" y="266611"/>
                  </a:moveTo>
                  <a:lnTo>
                    <a:pt x="70281" y="266458"/>
                  </a:lnTo>
                  <a:lnTo>
                    <a:pt x="70129" y="266344"/>
                  </a:lnTo>
                  <a:lnTo>
                    <a:pt x="69964" y="266306"/>
                  </a:lnTo>
                  <a:lnTo>
                    <a:pt x="69850" y="266471"/>
                  </a:lnTo>
                  <a:lnTo>
                    <a:pt x="69786" y="266687"/>
                  </a:lnTo>
                  <a:lnTo>
                    <a:pt x="70002" y="266979"/>
                  </a:lnTo>
                  <a:lnTo>
                    <a:pt x="70205" y="266890"/>
                  </a:lnTo>
                  <a:lnTo>
                    <a:pt x="70332" y="266687"/>
                  </a:lnTo>
                  <a:close/>
                </a:path>
                <a:path w="333375" h="379729">
                  <a:moveTo>
                    <a:pt x="75044" y="260680"/>
                  </a:moveTo>
                  <a:lnTo>
                    <a:pt x="74930" y="260527"/>
                  </a:lnTo>
                  <a:lnTo>
                    <a:pt x="74752" y="260540"/>
                  </a:lnTo>
                  <a:lnTo>
                    <a:pt x="74625" y="260515"/>
                  </a:lnTo>
                  <a:lnTo>
                    <a:pt x="74599" y="260654"/>
                  </a:lnTo>
                  <a:lnTo>
                    <a:pt x="74523" y="260832"/>
                  </a:lnTo>
                  <a:lnTo>
                    <a:pt x="74625" y="261010"/>
                  </a:lnTo>
                  <a:lnTo>
                    <a:pt x="74815" y="260985"/>
                  </a:lnTo>
                  <a:lnTo>
                    <a:pt x="74942" y="260997"/>
                  </a:lnTo>
                  <a:lnTo>
                    <a:pt x="74968" y="260870"/>
                  </a:lnTo>
                  <a:lnTo>
                    <a:pt x="75044" y="260680"/>
                  </a:lnTo>
                  <a:close/>
                </a:path>
                <a:path w="333375" h="379729">
                  <a:moveTo>
                    <a:pt x="87096" y="240080"/>
                  </a:moveTo>
                  <a:lnTo>
                    <a:pt x="87007" y="239941"/>
                  </a:lnTo>
                  <a:lnTo>
                    <a:pt x="86702" y="239966"/>
                  </a:lnTo>
                  <a:lnTo>
                    <a:pt x="86588" y="240093"/>
                  </a:lnTo>
                  <a:lnTo>
                    <a:pt x="86461" y="240169"/>
                  </a:lnTo>
                  <a:lnTo>
                    <a:pt x="86601" y="240423"/>
                  </a:lnTo>
                  <a:lnTo>
                    <a:pt x="86868" y="240550"/>
                  </a:lnTo>
                  <a:lnTo>
                    <a:pt x="87007" y="240449"/>
                  </a:lnTo>
                  <a:lnTo>
                    <a:pt x="87096" y="240080"/>
                  </a:lnTo>
                  <a:close/>
                </a:path>
                <a:path w="333375" h="379729">
                  <a:moveTo>
                    <a:pt x="93243" y="229997"/>
                  </a:moveTo>
                  <a:lnTo>
                    <a:pt x="92964" y="229870"/>
                  </a:lnTo>
                  <a:lnTo>
                    <a:pt x="93205" y="230124"/>
                  </a:lnTo>
                  <a:lnTo>
                    <a:pt x="93243" y="229997"/>
                  </a:lnTo>
                  <a:close/>
                </a:path>
                <a:path w="333375" h="379729">
                  <a:moveTo>
                    <a:pt x="102311" y="215861"/>
                  </a:moveTo>
                  <a:lnTo>
                    <a:pt x="102184" y="215620"/>
                  </a:lnTo>
                  <a:lnTo>
                    <a:pt x="101930" y="215468"/>
                  </a:lnTo>
                  <a:lnTo>
                    <a:pt x="101803" y="215734"/>
                  </a:lnTo>
                  <a:lnTo>
                    <a:pt x="101904" y="216001"/>
                  </a:lnTo>
                  <a:lnTo>
                    <a:pt x="102082" y="216052"/>
                  </a:lnTo>
                  <a:lnTo>
                    <a:pt x="102209" y="215925"/>
                  </a:lnTo>
                  <a:close/>
                </a:path>
                <a:path w="333375" h="379729">
                  <a:moveTo>
                    <a:pt x="137236" y="255346"/>
                  </a:moveTo>
                  <a:lnTo>
                    <a:pt x="137198" y="254977"/>
                  </a:lnTo>
                  <a:lnTo>
                    <a:pt x="136969" y="254838"/>
                  </a:lnTo>
                  <a:lnTo>
                    <a:pt x="136779" y="254927"/>
                  </a:lnTo>
                  <a:lnTo>
                    <a:pt x="136652" y="255117"/>
                  </a:lnTo>
                  <a:lnTo>
                    <a:pt x="136550" y="255257"/>
                  </a:lnTo>
                  <a:lnTo>
                    <a:pt x="136639" y="255397"/>
                  </a:lnTo>
                  <a:lnTo>
                    <a:pt x="136956" y="255397"/>
                  </a:lnTo>
                  <a:lnTo>
                    <a:pt x="137096" y="255358"/>
                  </a:lnTo>
                  <a:lnTo>
                    <a:pt x="137236" y="255346"/>
                  </a:lnTo>
                  <a:close/>
                </a:path>
                <a:path w="333375" h="379729">
                  <a:moveTo>
                    <a:pt x="139903" y="250431"/>
                  </a:moveTo>
                  <a:lnTo>
                    <a:pt x="139750" y="250329"/>
                  </a:lnTo>
                  <a:lnTo>
                    <a:pt x="139585" y="250444"/>
                  </a:lnTo>
                  <a:lnTo>
                    <a:pt x="139458" y="250634"/>
                  </a:lnTo>
                  <a:lnTo>
                    <a:pt x="139369" y="250774"/>
                  </a:lnTo>
                  <a:lnTo>
                    <a:pt x="139661" y="250837"/>
                  </a:lnTo>
                  <a:lnTo>
                    <a:pt x="139877" y="250748"/>
                  </a:lnTo>
                  <a:lnTo>
                    <a:pt x="139903" y="250431"/>
                  </a:lnTo>
                  <a:close/>
                </a:path>
                <a:path w="333375" h="379729">
                  <a:moveTo>
                    <a:pt x="181305" y="109689"/>
                  </a:moveTo>
                  <a:lnTo>
                    <a:pt x="181254" y="109512"/>
                  </a:lnTo>
                  <a:lnTo>
                    <a:pt x="181076" y="109499"/>
                  </a:lnTo>
                  <a:lnTo>
                    <a:pt x="180936" y="109588"/>
                  </a:lnTo>
                  <a:lnTo>
                    <a:pt x="180886" y="109715"/>
                  </a:lnTo>
                  <a:lnTo>
                    <a:pt x="180886" y="110045"/>
                  </a:lnTo>
                  <a:lnTo>
                    <a:pt x="181013" y="110109"/>
                  </a:lnTo>
                  <a:lnTo>
                    <a:pt x="181152" y="109956"/>
                  </a:lnTo>
                  <a:lnTo>
                    <a:pt x="181305" y="109689"/>
                  </a:lnTo>
                  <a:close/>
                </a:path>
                <a:path w="333375" h="379729">
                  <a:moveTo>
                    <a:pt x="223012" y="128549"/>
                  </a:moveTo>
                  <a:close/>
                </a:path>
                <a:path w="333375" h="379729">
                  <a:moveTo>
                    <a:pt x="223647" y="128206"/>
                  </a:moveTo>
                  <a:lnTo>
                    <a:pt x="223456" y="128409"/>
                  </a:lnTo>
                  <a:lnTo>
                    <a:pt x="223227" y="128447"/>
                  </a:lnTo>
                  <a:lnTo>
                    <a:pt x="223012" y="128549"/>
                  </a:lnTo>
                  <a:lnTo>
                    <a:pt x="223342" y="129184"/>
                  </a:lnTo>
                  <a:lnTo>
                    <a:pt x="223481" y="128587"/>
                  </a:lnTo>
                  <a:lnTo>
                    <a:pt x="223647" y="128206"/>
                  </a:lnTo>
                  <a:close/>
                </a:path>
                <a:path w="333375" h="379729">
                  <a:moveTo>
                    <a:pt x="223812" y="128003"/>
                  </a:moveTo>
                  <a:lnTo>
                    <a:pt x="223647" y="128206"/>
                  </a:lnTo>
                  <a:lnTo>
                    <a:pt x="223812" y="128003"/>
                  </a:lnTo>
                  <a:close/>
                </a:path>
                <a:path w="333375" h="379729">
                  <a:moveTo>
                    <a:pt x="317665" y="1676"/>
                  </a:moveTo>
                  <a:lnTo>
                    <a:pt x="317588" y="1447"/>
                  </a:lnTo>
                  <a:lnTo>
                    <a:pt x="317449" y="1371"/>
                  </a:lnTo>
                  <a:lnTo>
                    <a:pt x="317271" y="1549"/>
                  </a:lnTo>
                  <a:lnTo>
                    <a:pt x="317360" y="1765"/>
                  </a:lnTo>
                  <a:lnTo>
                    <a:pt x="317487" y="1854"/>
                  </a:lnTo>
                  <a:lnTo>
                    <a:pt x="317665" y="1676"/>
                  </a:lnTo>
                  <a:close/>
                </a:path>
                <a:path w="333375" h="379729">
                  <a:moveTo>
                    <a:pt x="328155" y="3263"/>
                  </a:moveTo>
                  <a:lnTo>
                    <a:pt x="328104" y="3111"/>
                  </a:lnTo>
                  <a:lnTo>
                    <a:pt x="327977" y="3073"/>
                  </a:lnTo>
                  <a:lnTo>
                    <a:pt x="327799" y="3213"/>
                  </a:lnTo>
                  <a:lnTo>
                    <a:pt x="327850" y="3365"/>
                  </a:lnTo>
                  <a:lnTo>
                    <a:pt x="328041" y="3467"/>
                  </a:lnTo>
                  <a:lnTo>
                    <a:pt x="328155" y="3263"/>
                  </a:lnTo>
                  <a:close/>
                </a:path>
                <a:path w="333375" h="379729">
                  <a:moveTo>
                    <a:pt x="333375" y="9918"/>
                  </a:moveTo>
                  <a:lnTo>
                    <a:pt x="333324" y="9321"/>
                  </a:lnTo>
                  <a:lnTo>
                    <a:pt x="333133" y="9182"/>
                  </a:lnTo>
                  <a:lnTo>
                    <a:pt x="332828" y="9232"/>
                  </a:lnTo>
                  <a:lnTo>
                    <a:pt x="332308" y="9321"/>
                  </a:lnTo>
                  <a:lnTo>
                    <a:pt x="331724" y="9588"/>
                  </a:lnTo>
                  <a:lnTo>
                    <a:pt x="331800" y="10452"/>
                  </a:lnTo>
                  <a:lnTo>
                    <a:pt x="331558" y="10629"/>
                  </a:lnTo>
                  <a:lnTo>
                    <a:pt x="330161" y="10896"/>
                  </a:lnTo>
                  <a:lnTo>
                    <a:pt x="329793" y="11163"/>
                  </a:lnTo>
                  <a:lnTo>
                    <a:pt x="329692" y="11430"/>
                  </a:lnTo>
                  <a:lnTo>
                    <a:pt x="328396" y="11430"/>
                  </a:lnTo>
                  <a:lnTo>
                    <a:pt x="328955" y="10160"/>
                  </a:lnTo>
                  <a:lnTo>
                    <a:pt x="326402" y="10160"/>
                  </a:lnTo>
                  <a:lnTo>
                    <a:pt x="327406" y="8890"/>
                  </a:lnTo>
                  <a:lnTo>
                    <a:pt x="328993" y="7708"/>
                  </a:lnTo>
                  <a:lnTo>
                    <a:pt x="329234" y="8039"/>
                  </a:lnTo>
                  <a:lnTo>
                    <a:pt x="329336" y="8318"/>
                  </a:lnTo>
                  <a:lnTo>
                    <a:pt x="330047" y="7823"/>
                  </a:lnTo>
                  <a:lnTo>
                    <a:pt x="329971" y="7620"/>
                  </a:lnTo>
                  <a:lnTo>
                    <a:pt x="329692" y="7327"/>
                  </a:lnTo>
                  <a:lnTo>
                    <a:pt x="329501" y="7239"/>
                  </a:lnTo>
                  <a:lnTo>
                    <a:pt x="329171" y="7340"/>
                  </a:lnTo>
                  <a:lnTo>
                    <a:pt x="328968" y="7493"/>
                  </a:lnTo>
                  <a:lnTo>
                    <a:pt x="327774" y="6350"/>
                  </a:lnTo>
                  <a:lnTo>
                    <a:pt x="328993" y="6350"/>
                  </a:lnTo>
                  <a:lnTo>
                    <a:pt x="328523" y="5080"/>
                  </a:lnTo>
                  <a:lnTo>
                    <a:pt x="329044" y="3810"/>
                  </a:lnTo>
                  <a:lnTo>
                    <a:pt x="330758" y="3810"/>
                  </a:lnTo>
                  <a:lnTo>
                    <a:pt x="330454" y="2540"/>
                  </a:lnTo>
                  <a:lnTo>
                    <a:pt x="328726" y="3810"/>
                  </a:lnTo>
                  <a:lnTo>
                    <a:pt x="325678" y="3810"/>
                  </a:lnTo>
                  <a:lnTo>
                    <a:pt x="325005" y="2540"/>
                  </a:lnTo>
                  <a:lnTo>
                    <a:pt x="324713" y="2540"/>
                  </a:lnTo>
                  <a:lnTo>
                    <a:pt x="324713" y="15240"/>
                  </a:lnTo>
                  <a:lnTo>
                    <a:pt x="322973" y="15240"/>
                  </a:lnTo>
                  <a:lnTo>
                    <a:pt x="322897" y="16510"/>
                  </a:lnTo>
                  <a:lnTo>
                    <a:pt x="322478" y="16510"/>
                  </a:lnTo>
                  <a:lnTo>
                    <a:pt x="322643" y="15240"/>
                  </a:lnTo>
                  <a:lnTo>
                    <a:pt x="323316" y="13970"/>
                  </a:lnTo>
                  <a:lnTo>
                    <a:pt x="324205" y="13970"/>
                  </a:lnTo>
                  <a:lnTo>
                    <a:pt x="324713" y="15240"/>
                  </a:lnTo>
                  <a:lnTo>
                    <a:pt x="324713" y="2540"/>
                  </a:lnTo>
                  <a:lnTo>
                    <a:pt x="323291" y="2540"/>
                  </a:lnTo>
                  <a:lnTo>
                    <a:pt x="323291" y="5080"/>
                  </a:lnTo>
                  <a:lnTo>
                    <a:pt x="322872" y="5080"/>
                  </a:lnTo>
                  <a:lnTo>
                    <a:pt x="323011" y="3810"/>
                  </a:lnTo>
                  <a:lnTo>
                    <a:pt x="323253" y="3810"/>
                  </a:lnTo>
                  <a:lnTo>
                    <a:pt x="323291" y="5080"/>
                  </a:lnTo>
                  <a:lnTo>
                    <a:pt x="323291" y="2540"/>
                  </a:lnTo>
                  <a:lnTo>
                    <a:pt x="315201" y="2540"/>
                  </a:lnTo>
                  <a:lnTo>
                    <a:pt x="314248" y="1270"/>
                  </a:lnTo>
                  <a:lnTo>
                    <a:pt x="312699" y="1270"/>
                  </a:lnTo>
                  <a:lnTo>
                    <a:pt x="312699" y="2540"/>
                  </a:lnTo>
                  <a:lnTo>
                    <a:pt x="312585" y="3810"/>
                  </a:lnTo>
                  <a:lnTo>
                    <a:pt x="312115" y="3810"/>
                  </a:lnTo>
                  <a:lnTo>
                    <a:pt x="312166" y="2540"/>
                  </a:lnTo>
                  <a:lnTo>
                    <a:pt x="312699" y="2540"/>
                  </a:lnTo>
                  <a:lnTo>
                    <a:pt x="312699" y="1270"/>
                  </a:lnTo>
                  <a:lnTo>
                    <a:pt x="312140" y="1270"/>
                  </a:lnTo>
                  <a:lnTo>
                    <a:pt x="310616" y="0"/>
                  </a:lnTo>
                  <a:lnTo>
                    <a:pt x="307035" y="0"/>
                  </a:lnTo>
                  <a:lnTo>
                    <a:pt x="304952" y="1270"/>
                  </a:lnTo>
                  <a:lnTo>
                    <a:pt x="303847" y="2540"/>
                  </a:lnTo>
                  <a:lnTo>
                    <a:pt x="302361" y="1270"/>
                  </a:lnTo>
                  <a:lnTo>
                    <a:pt x="301955" y="1270"/>
                  </a:lnTo>
                  <a:lnTo>
                    <a:pt x="300659" y="2540"/>
                  </a:lnTo>
                  <a:lnTo>
                    <a:pt x="297865" y="3810"/>
                  </a:lnTo>
                  <a:lnTo>
                    <a:pt x="296887" y="3810"/>
                  </a:lnTo>
                  <a:lnTo>
                    <a:pt x="294233" y="5080"/>
                  </a:lnTo>
                  <a:lnTo>
                    <a:pt x="292887" y="6350"/>
                  </a:lnTo>
                  <a:lnTo>
                    <a:pt x="291528" y="6350"/>
                  </a:lnTo>
                  <a:lnTo>
                    <a:pt x="288861" y="8890"/>
                  </a:lnTo>
                  <a:lnTo>
                    <a:pt x="284962" y="10160"/>
                  </a:lnTo>
                  <a:lnTo>
                    <a:pt x="282943" y="12700"/>
                  </a:lnTo>
                  <a:lnTo>
                    <a:pt x="278828" y="15240"/>
                  </a:lnTo>
                  <a:lnTo>
                    <a:pt x="276809" y="15240"/>
                  </a:lnTo>
                  <a:lnTo>
                    <a:pt x="275386" y="17780"/>
                  </a:lnTo>
                  <a:lnTo>
                    <a:pt x="274421" y="19050"/>
                  </a:lnTo>
                  <a:lnTo>
                    <a:pt x="271399" y="20320"/>
                  </a:lnTo>
                  <a:lnTo>
                    <a:pt x="269900" y="22860"/>
                  </a:lnTo>
                  <a:lnTo>
                    <a:pt x="267817" y="24130"/>
                  </a:lnTo>
                  <a:lnTo>
                    <a:pt x="265823" y="24130"/>
                  </a:lnTo>
                  <a:lnTo>
                    <a:pt x="265176" y="26670"/>
                  </a:lnTo>
                  <a:lnTo>
                    <a:pt x="264337" y="26670"/>
                  </a:lnTo>
                  <a:lnTo>
                    <a:pt x="262458" y="29210"/>
                  </a:lnTo>
                  <a:lnTo>
                    <a:pt x="261175" y="29210"/>
                  </a:lnTo>
                  <a:lnTo>
                    <a:pt x="258876" y="31750"/>
                  </a:lnTo>
                  <a:lnTo>
                    <a:pt x="256552" y="31750"/>
                  </a:lnTo>
                  <a:lnTo>
                    <a:pt x="256120" y="34290"/>
                  </a:lnTo>
                  <a:lnTo>
                    <a:pt x="254292" y="35560"/>
                  </a:lnTo>
                  <a:lnTo>
                    <a:pt x="250215" y="39370"/>
                  </a:lnTo>
                  <a:lnTo>
                    <a:pt x="248462" y="39370"/>
                  </a:lnTo>
                  <a:lnTo>
                    <a:pt x="246341" y="43180"/>
                  </a:lnTo>
                  <a:lnTo>
                    <a:pt x="244868" y="44450"/>
                  </a:lnTo>
                  <a:lnTo>
                    <a:pt x="242341" y="45720"/>
                  </a:lnTo>
                  <a:lnTo>
                    <a:pt x="241490" y="45720"/>
                  </a:lnTo>
                  <a:lnTo>
                    <a:pt x="241909" y="48260"/>
                  </a:lnTo>
                  <a:lnTo>
                    <a:pt x="238963" y="48260"/>
                  </a:lnTo>
                  <a:lnTo>
                    <a:pt x="237312" y="52070"/>
                  </a:lnTo>
                  <a:lnTo>
                    <a:pt x="234772" y="53340"/>
                  </a:lnTo>
                  <a:lnTo>
                    <a:pt x="232397" y="55880"/>
                  </a:lnTo>
                  <a:lnTo>
                    <a:pt x="231381" y="57150"/>
                  </a:lnTo>
                  <a:lnTo>
                    <a:pt x="227761" y="58420"/>
                  </a:lnTo>
                  <a:lnTo>
                    <a:pt x="227533" y="60960"/>
                  </a:lnTo>
                  <a:lnTo>
                    <a:pt x="225412" y="62230"/>
                  </a:lnTo>
                  <a:lnTo>
                    <a:pt x="225412" y="63500"/>
                  </a:lnTo>
                  <a:lnTo>
                    <a:pt x="223354" y="63500"/>
                  </a:lnTo>
                  <a:lnTo>
                    <a:pt x="222897" y="64770"/>
                  </a:lnTo>
                  <a:lnTo>
                    <a:pt x="222681" y="66040"/>
                  </a:lnTo>
                  <a:lnTo>
                    <a:pt x="221945" y="67310"/>
                  </a:lnTo>
                  <a:lnTo>
                    <a:pt x="219989" y="68580"/>
                  </a:lnTo>
                  <a:lnTo>
                    <a:pt x="218490" y="68580"/>
                  </a:lnTo>
                  <a:lnTo>
                    <a:pt x="216928" y="71120"/>
                  </a:lnTo>
                  <a:lnTo>
                    <a:pt x="215722" y="72390"/>
                  </a:lnTo>
                  <a:lnTo>
                    <a:pt x="214960" y="74930"/>
                  </a:lnTo>
                  <a:lnTo>
                    <a:pt x="214058" y="74930"/>
                  </a:lnTo>
                  <a:lnTo>
                    <a:pt x="212229" y="76200"/>
                  </a:lnTo>
                  <a:lnTo>
                    <a:pt x="210172" y="78740"/>
                  </a:lnTo>
                  <a:lnTo>
                    <a:pt x="208457" y="80010"/>
                  </a:lnTo>
                  <a:lnTo>
                    <a:pt x="207327" y="81280"/>
                  </a:lnTo>
                  <a:lnTo>
                    <a:pt x="205409" y="83820"/>
                  </a:lnTo>
                  <a:lnTo>
                    <a:pt x="204863" y="85090"/>
                  </a:lnTo>
                  <a:lnTo>
                    <a:pt x="203949" y="86360"/>
                  </a:lnTo>
                  <a:lnTo>
                    <a:pt x="201485" y="87630"/>
                  </a:lnTo>
                  <a:lnTo>
                    <a:pt x="200291" y="88900"/>
                  </a:lnTo>
                  <a:lnTo>
                    <a:pt x="199796" y="90170"/>
                  </a:lnTo>
                  <a:lnTo>
                    <a:pt x="197345" y="90170"/>
                  </a:lnTo>
                  <a:lnTo>
                    <a:pt x="197980" y="91440"/>
                  </a:lnTo>
                  <a:lnTo>
                    <a:pt x="197904" y="93980"/>
                  </a:lnTo>
                  <a:lnTo>
                    <a:pt x="195465"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26" y="104140"/>
                  </a:lnTo>
                  <a:lnTo>
                    <a:pt x="186524" y="106680"/>
                  </a:lnTo>
                  <a:lnTo>
                    <a:pt x="182727" y="107950"/>
                  </a:lnTo>
                  <a:lnTo>
                    <a:pt x="181724" y="109220"/>
                  </a:lnTo>
                  <a:lnTo>
                    <a:pt x="182283" y="110490"/>
                  </a:lnTo>
                  <a:lnTo>
                    <a:pt x="180517" y="110490"/>
                  </a:lnTo>
                  <a:lnTo>
                    <a:pt x="179387" y="111760"/>
                  </a:lnTo>
                  <a:lnTo>
                    <a:pt x="180505" y="113030"/>
                  </a:lnTo>
                  <a:lnTo>
                    <a:pt x="180009" y="113030"/>
                  </a:lnTo>
                  <a:lnTo>
                    <a:pt x="176784" y="116840"/>
                  </a:lnTo>
                  <a:lnTo>
                    <a:pt x="175018" y="116840"/>
                  </a:lnTo>
                  <a:lnTo>
                    <a:pt x="174891" y="120650"/>
                  </a:lnTo>
                  <a:lnTo>
                    <a:pt x="172935" y="120650"/>
                  </a:lnTo>
                  <a:lnTo>
                    <a:pt x="172935" y="139700"/>
                  </a:lnTo>
                  <a:lnTo>
                    <a:pt x="171678" y="139700"/>
                  </a:lnTo>
                  <a:lnTo>
                    <a:pt x="171729" y="138430"/>
                  </a:lnTo>
                  <a:lnTo>
                    <a:pt x="172694" y="138430"/>
                  </a:lnTo>
                  <a:lnTo>
                    <a:pt x="172935" y="139700"/>
                  </a:lnTo>
                  <a:lnTo>
                    <a:pt x="172935" y="120650"/>
                  </a:lnTo>
                  <a:lnTo>
                    <a:pt x="172046" y="120650"/>
                  </a:lnTo>
                  <a:lnTo>
                    <a:pt x="171970" y="124460"/>
                  </a:lnTo>
                  <a:lnTo>
                    <a:pt x="170713" y="125247"/>
                  </a:lnTo>
                  <a:lnTo>
                    <a:pt x="170713"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56" y="137160"/>
                  </a:lnTo>
                  <a:lnTo>
                    <a:pt x="170408" y="135890"/>
                  </a:lnTo>
                  <a:lnTo>
                    <a:pt x="170713" y="137160"/>
                  </a:lnTo>
                  <a:lnTo>
                    <a:pt x="170713" y="125247"/>
                  </a:lnTo>
                  <a:lnTo>
                    <a:pt x="167868" y="127000"/>
                  </a:lnTo>
                  <a:lnTo>
                    <a:pt x="167411" y="127000"/>
                  </a:lnTo>
                  <a:lnTo>
                    <a:pt x="167614"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16" y="149860"/>
                  </a:lnTo>
                  <a:lnTo>
                    <a:pt x="158394" y="148590"/>
                  </a:lnTo>
                  <a:lnTo>
                    <a:pt x="159270" y="148590"/>
                  </a:lnTo>
                  <a:lnTo>
                    <a:pt x="159270" y="137160"/>
                  </a:lnTo>
                  <a:lnTo>
                    <a:pt x="158838" y="137160"/>
                  </a:lnTo>
                  <a:lnTo>
                    <a:pt x="159092" y="140970"/>
                  </a:lnTo>
                  <a:lnTo>
                    <a:pt x="156197" y="140970"/>
                  </a:lnTo>
                  <a:lnTo>
                    <a:pt x="156019" y="144780"/>
                  </a:lnTo>
                  <a:lnTo>
                    <a:pt x="154774" y="146050"/>
                  </a:lnTo>
                  <a:lnTo>
                    <a:pt x="152057" y="147320"/>
                  </a:lnTo>
                  <a:lnTo>
                    <a:pt x="151790" y="148590"/>
                  </a:lnTo>
                  <a:lnTo>
                    <a:pt x="152552" y="148590"/>
                  </a:lnTo>
                  <a:lnTo>
                    <a:pt x="151955" y="149860"/>
                  </a:lnTo>
                  <a:lnTo>
                    <a:pt x="150952" y="151130"/>
                  </a:lnTo>
                  <a:lnTo>
                    <a:pt x="150825" y="151130"/>
                  </a:lnTo>
                  <a:lnTo>
                    <a:pt x="149415" y="153670"/>
                  </a:lnTo>
                  <a:lnTo>
                    <a:pt x="149745" y="154940"/>
                  </a:lnTo>
                  <a:lnTo>
                    <a:pt x="151536" y="154940"/>
                  </a:lnTo>
                  <a:lnTo>
                    <a:pt x="151130" y="153670"/>
                  </a:lnTo>
                  <a:lnTo>
                    <a:pt x="151968" y="153670"/>
                  </a:lnTo>
                  <a:lnTo>
                    <a:pt x="153035" y="153670"/>
                  </a:lnTo>
                  <a:lnTo>
                    <a:pt x="152742" y="152400"/>
                  </a:lnTo>
                  <a:lnTo>
                    <a:pt x="153746" y="152400"/>
                  </a:lnTo>
                  <a:lnTo>
                    <a:pt x="153365" y="153670"/>
                  </a:lnTo>
                  <a:lnTo>
                    <a:pt x="153123" y="154940"/>
                  </a:lnTo>
                  <a:lnTo>
                    <a:pt x="151968" y="153670"/>
                  </a:lnTo>
                  <a:lnTo>
                    <a:pt x="152692" y="154940"/>
                  </a:lnTo>
                  <a:lnTo>
                    <a:pt x="151193" y="156210"/>
                  </a:lnTo>
                  <a:lnTo>
                    <a:pt x="150291" y="157480"/>
                  </a:lnTo>
                  <a:lnTo>
                    <a:pt x="147853" y="157480"/>
                  </a:lnTo>
                  <a:lnTo>
                    <a:pt x="147777" y="156210"/>
                  </a:lnTo>
                  <a:lnTo>
                    <a:pt x="147205" y="154940"/>
                  </a:lnTo>
                  <a:lnTo>
                    <a:pt x="145465" y="154940"/>
                  </a:lnTo>
                  <a:lnTo>
                    <a:pt x="145656" y="157480"/>
                  </a:lnTo>
                  <a:lnTo>
                    <a:pt x="144691" y="157480"/>
                  </a:lnTo>
                  <a:lnTo>
                    <a:pt x="143141" y="160020"/>
                  </a:lnTo>
                  <a:lnTo>
                    <a:pt x="141478" y="160020"/>
                  </a:lnTo>
                  <a:lnTo>
                    <a:pt x="142582" y="162560"/>
                  </a:lnTo>
                  <a:lnTo>
                    <a:pt x="142354" y="162560"/>
                  </a:lnTo>
                  <a:lnTo>
                    <a:pt x="140182" y="163830"/>
                  </a:lnTo>
                  <a:lnTo>
                    <a:pt x="138709" y="166370"/>
                  </a:lnTo>
                  <a:lnTo>
                    <a:pt x="136918" y="168910"/>
                  </a:lnTo>
                  <a:lnTo>
                    <a:pt x="135966" y="170180"/>
                  </a:lnTo>
                  <a:lnTo>
                    <a:pt x="134264" y="171450"/>
                  </a:lnTo>
                  <a:lnTo>
                    <a:pt x="133235" y="171450"/>
                  </a:lnTo>
                  <a:lnTo>
                    <a:pt x="134226" y="173990"/>
                  </a:lnTo>
                  <a:lnTo>
                    <a:pt x="133273" y="175260"/>
                  </a:lnTo>
                  <a:lnTo>
                    <a:pt x="130822" y="176530"/>
                  </a:lnTo>
                  <a:lnTo>
                    <a:pt x="129857" y="179070"/>
                  </a:lnTo>
                  <a:lnTo>
                    <a:pt x="127177" y="180340"/>
                  </a:lnTo>
                  <a:lnTo>
                    <a:pt x="126923" y="180340"/>
                  </a:lnTo>
                  <a:lnTo>
                    <a:pt x="126860" y="182880"/>
                  </a:lnTo>
                  <a:lnTo>
                    <a:pt x="125831" y="185420"/>
                  </a:lnTo>
                  <a:lnTo>
                    <a:pt x="125996" y="187960"/>
                  </a:lnTo>
                  <a:lnTo>
                    <a:pt x="124574" y="187960"/>
                  </a:lnTo>
                  <a:lnTo>
                    <a:pt x="124002" y="189230"/>
                  </a:lnTo>
                  <a:lnTo>
                    <a:pt x="123215" y="187960"/>
                  </a:lnTo>
                  <a:lnTo>
                    <a:pt x="123037" y="189839"/>
                  </a:lnTo>
                  <a:lnTo>
                    <a:pt x="123037" y="269240"/>
                  </a:lnTo>
                  <a:lnTo>
                    <a:pt x="122656" y="269240"/>
                  </a:lnTo>
                  <a:lnTo>
                    <a:pt x="122872" y="267970"/>
                  </a:lnTo>
                  <a:lnTo>
                    <a:pt x="123037" y="269240"/>
                  </a:lnTo>
                  <a:lnTo>
                    <a:pt x="123037" y="189839"/>
                  </a:lnTo>
                  <a:lnTo>
                    <a:pt x="122974" y="190500"/>
                  </a:lnTo>
                  <a:lnTo>
                    <a:pt x="121780" y="190500"/>
                  </a:lnTo>
                  <a:lnTo>
                    <a:pt x="120357" y="191770"/>
                  </a:lnTo>
                  <a:lnTo>
                    <a:pt x="119672" y="191770"/>
                  </a:lnTo>
                  <a:lnTo>
                    <a:pt x="118198" y="193040"/>
                  </a:lnTo>
                  <a:lnTo>
                    <a:pt x="119761" y="193040"/>
                  </a:lnTo>
                  <a:lnTo>
                    <a:pt x="119176" y="194310"/>
                  </a:lnTo>
                  <a:lnTo>
                    <a:pt x="118033" y="195580"/>
                  </a:lnTo>
                  <a:lnTo>
                    <a:pt x="117906" y="198120"/>
                  </a:lnTo>
                  <a:lnTo>
                    <a:pt x="115481" y="198120"/>
                  </a:lnTo>
                  <a:lnTo>
                    <a:pt x="116382" y="200660"/>
                  </a:lnTo>
                  <a:lnTo>
                    <a:pt x="115392" y="200660"/>
                  </a:lnTo>
                  <a:lnTo>
                    <a:pt x="113449" y="201930"/>
                  </a:lnTo>
                  <a:lnTo>
                    <a:pt x="113017" y="203200"/>
                  </a:lnTo>
                  <a:lnTo>
                    <a:pt x="111658" y="204470"/>
                  </a:lnTo>
                  <a:lnTo>
                    <a:pt x="110871" y="205740"/>
                  </a:lnTo>
                  <a:lnTo>
                    <a:pt x="110629" y="207010"/>
                  </a:lnTo>
                  <a:lnTo>
                    <a:pt x="108127" y="207010"/>
                  </a:lnTo>
                  <a:lnTo>
                    <a:pt x="108800" y="208280"/>
                  </a:lnTo>
                  <a:lnTo>
                    <a:pt x="107721" y="210820"/>
                  </a:lnTo>
                  <a:lnTo>
                    <a:pt x="107378" y="212090"/>
                  </a:lnTo>
                  <a:lnTo>
                    <a:pt x="105460" y="212090"/>
                  </a:lnTo>
                  <a:lnTo>
                    <a:pt x="105943" y="214630"/>
                  </a:lnTo>
                  <a:lnTo>
                    <a:pt x="104559" y="215900"/>
                  </a:lnTo>
                  <a:lnTo>
                    <a:pt x="104787" y="217170"/>
                  </a:lnTo>
                  <a:lnTo>
                    <a:pt x="100660" y="217170"/>
                  </a:lnTo>
                  <a:lnTo>
                    <a:pt x="100291" y="218440"/>
                  </a:lnTo>
                  <a:lnTo>
                    <a:pt x="101028" y="222250"/>
                  </a:lnTo>
                  <a:lnTo>
                    <a:pt x="99339" y="222250"/>
                  </a:lnTo>
                  <a:lnTo>
                    <a:pt x="99415" y="226060"/>
                  </a:lnTo>
                  <a:lnTo>
                    <a:pt x="94805" y="226060"/>
                  </a:lnTo>
                  <a:lnTo>
                    <a:pt x="96164" y="228600"/>
                  </a:lnTo>
                  <a:lnTo>
                    <a:pt x="96139" y="229870"/>
                  </a:lnTo>
                  <a:lnTo>
                    <a:pt x="95402" y="229870"/>
                  </a:lnTo>
                  <a:lnTo>
                    <a:pt x="95681" y="231140"/>
                  </a:lnTo>
                  <a:lnTo>
                    <a:pt x="93281" y="230009"/>
                  </a:lnTo>
                  <a:lnTo>
                    <a:pt x="93294" y="230212"/>
                  </a:lnTo>
                  <a:lnTo>
                    <a:pt x="94170" y="231140"/>
                  </a:lnTo>
                  <a:lnTo>
                    <a:pt x="93535" y="233680"/>
                  </a:lnTo>
                  <a:lnTo>
                    <a:pt x="93294" y="230212"/>
                  </a:lnTo>
                  <a:lnTo>
                    <a:pt x="92684" y="232410"/>
                  </a:lnTo>
                  <a:lnTo>
                    <a:pt x="92811" y="232410"/>
                  </a:lnTo>
                  <a:lnTo>
                    <a:pt x="93459"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80" y="248920"/>
                  </a:lnTo>
                  <a:lnTo>
                    <a:pt x="82791" y="251460"/>
                  </a:lnTo>
                  <a:lnTo>
                    <a:pt x="81267" y="251460"/>
                  </a:lnTo>
                  <a:lnTo>
                    <a:pt x="81241" y="251193"/>
                  </a:lnTo>
                  <a:lnTo>
                    <a:pt x="80835" y="251028"/>
                  </a:lnTo>
                  <a:lnTo>
                    <a:pt x="80835" y="251155"/>
                  </a:lnTo>
                  <a:lnTo>
                    <a:pt x="80797" y="251307"/>
                  </a:lnTo>
                  <a:lnTo>
                    <a:pt x="80962" y="251637"/>
                  </a:lnTo>
                  <a:lnTo>
                    <a:pt x="81153" y="251637"/>
                  </a:lnTo>
                  <a:lnTo>
                    <a:pt x="80645" y="254000"/>
                  </a:lnTo>
                  <a:lnTo>
                    <a:pt x="79489" y="252730"/>
                  </a:lnTo>
                  <a:lnTo>
                    <a:pt x="79489" y="254000"/>
                  </a:lnTo>
                  <a:lnTo>
                    <a:pt x="77317" y="255270"/>
                  </a:lnTo>
                  <a:lnTo>
                    <a:pt x="79019" y="256540"/>
                  </a:lnTo>
                  <a:lnTo>
                    <a:pt x="78879" y="256540"/>
                  </a:lnTo>
                  <a:lnTo>
                    <a:pt x="77470" y="257810"/>
                  </a:lnTo>
                  <a:lnTo>
                    <a:pt x="76771" y="259080"/>
                  </a:lnTo>
                  <a:lnTo>
                    <a:pt x="76288" y="261620"/>
                  </a:lnTo>
                  <a:lnTo>
                    <a:pt x="74790" y="261620"/>
                  </a:lnTo>
                  <a:lnTo>
                    <a:pt x="74510" y="262890"/>
                  </a:lnTo>
                  <a:lnTo>
                    <a:pt x="72936" y="265430"/>
                  </a:lnTo>
                  <a:lnTo>
                    <a:pt x="72453" y="266700"/>
                  </a:lnTo>
                  <a:lnTo>
                    <a:pt x="69494" y="269240"/>
                  </a:lnTo>
                  <a:lnTo>
                    <a:pt x="69519" y="271780"/>
                  </a:lnTo>
                  <a:lnTo>
                    <a:pt x="69138" y="270510"/>
                  </a:lnTo>
                  <a:lnTo>
                    <a:pt x="67894" y="273050"/>
                  </a:lnTo>
                  <a:lnTo>
                    <a:pt x="67386"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290" y="276860"/>
                  </a:lnTo>
                  <a:lnTo>
                    <a:pt x="65443" y="278130"/>
                  </a:lnTo>
                  <a:lnTo>
                    <a:pt x="64033" y="279400"/>
                  </a:lnTo>
                  <a:lnTo>
                    <a:pt x="64617" y="281940"/>
                  </a:lnTo>
                  <a:lnTo>
                    <a:pt x="64312" y="281940"/>
                  </a:lnTo>
                  <a:lnTo>
                    <a:pt x="62115" y="280670"/>
                  </a:lnTo>
                  <a:lnTo>
                    <a:pt x="60312" y="283210"/>
                  </a:lnTo>
                  <a:lnTo>
                    <a:pt x="61810" y="285750"/>
                  </a:lnTo>
                  <a:lnTo>
                    <a:pt x="60210" y="287020"/>
                  </a:lnTo>
                  <a:lnTo>
                    <a:pt x="60223" y="288290"/>
                  </a:lnTo>
                  <a:lnTo>
                    <a:pt x="59550" y="288290"/>
                  </a:lnTo>
                  <a:lnTo>
                    <a:pt x="58153" y="289560"/>
                  </a:lnTo>
                  <a:lnTo>
                    <a:pt x="57950" y="289560"/>
                  </a:lnTo>
                  <a:lnTo>
                    <a:pt x="58229" y="290830"/>
                  </a:lnTo>
                  <a:lnTo>
                    <a:pt x="58635" y="292100"/>
                  </a:lnTo>
                  <a:lnTo>
                    <a:pt x="56959" y="292100"/>
                  </a:lnTo>
                  <a:lnTo>
                    <a:pt x="56845" y="292506"/>
                  </a:lnTo>
                  <a:lnTo>
                    <a:pt x="56845" y="370840"/>
                  </a:lnTo>
                  <a:lnTo>
                    <a:pt x="56769" y="372110"/>
                  </a:lnTo>
                  <a:lnTo>
                    <a:pt x="55626" y="372110"/>
                  </a:lnTo>
                  <a:lnTo>
                    <a:pt x="54876" y="373380"/>
                  </a:lnTo>
                  <a:lnTo>
                    <a:pt x="53924" y="374650"/>
                  </a:lnTo>
                  <a:lnTo>
                    <a:pt x="52730" y="374650"/>
                  </a:lnTo>
                  <a:lnTo>
                    <a:pt x="52387" y="375920"/>
                  </a:lnTo>
                  <a:lnTo>
                    <a:pt x="51269" y="375920"/>
                  </a:lnTo>
                  <a:lnTo>
                    <a:pt x="51511" y="374650"/>
                  </a:lnTo>
                  <a:lnTo>
                    <a:pt x="50723" y="374650"/>
                  </a:lnTo>
                  <a:lnTo>
                    <a:pt x="51358" y="373380"/>
                  </a:lnTo>
                  <a:lnTo>
                    <a:pt x="51790" y="372110"/>
                  </a:lnTo>
                  <a:lnTo>
                    <a:pt x="52057" y="373380"/>
                  </a:lnTo>
                  <a:lnTo>
                    <a:pt x="53251" y="373380"/>
                  </a:lnTo>
                  <a:lnTo>
                    <a:pt x="53530" y="372110"/>
                  </a:lnTo>
                  <a:lnTo>
                    <a:pt x="53403" y="372110"/>
                  </a:lnTo>
                  <a:lnTo>
                    <a:pt x="53454" y="370840"/>
                  </a:lnTo>
                  <a:lnTo>
                    <a:pt x="53644" y="370840"/>
                  </a:lnTo>
                  <a:lnTo>
                    <a:pt x="53670" y="372084"/>
                  </a:lnTo>
                  <a:lnTo>
                    <a:pt x="54851" y="370840"/>
                  </a:lnTo>
                  <a:lnTo>
                    <a:pt x="56845" y="370840"/>
                  </a:lnTo>
                  <a:lnTo>
                    <a:pt x="56845" y="292506"/>
                  </a:lnTo>
                  <a:lnTo>
                    <a:pt x="56591" y="293370"/>
                  </a:lnTo>
                  <a:lnTo>
                    <a:pt x="56807" y="294640"/>
                  </a:lnTo>
                  <a:lnTo>
                    <a:pt x="55486" y="294640"/>
                  </a:lnTo>
                  <a:lnTo>
                    <a:pt x="55587" y="295440"/>
                  </a:lnTo>
                  <a:lnTo>
                    <a:pt x="55791" y="295910"/>
                  </a:lnTo>
                  <a:lnTo>
                    <a:pt x="55651" y="295910"/>
                  </a:lnTo>
                  <a:lnTo>
                    <a:pt x="55562" y="295363"/>
                  </a:lnTo>
                  <a:lnTo>
                    <a:pt x="55257" y="294640"/>
                  </a:lnTo>
                  <a:lnTo>
                    <a:pt x="55587" y="295910"/>
                  </a:lnTo>
                  <a:lnTo>
                    <a:pt x="55232" y="295440"/>
                  </a:lnTo>
                  <a:lnTo>
                    <a:pt x="55105" y="295211"/>
                  </a:lnTo>
                  <a:lnTo>
                    <a:pt x="54940" y="294982"/>
                  </a:lnTo>
                  <a:lnTo>
                    <a:pt x="55143" y="295910"/>
                  </a:lnTo>
                  <a:lnTo>
                    <a:pt x="55575" y="298450"/>
                  </a:lnTo>
                  <a:lnTo>
                    <a:pt x="54051" y="294690"/>
                  </a:lnTo>
                  <a:lnTo>
                    <a:pt x="54140" y="295262"/>
                  </a:lnTo>
                  <a:lnTo>
                    <a:pt x="54076" y="295097"/>
                  </a:lnTo>
                  <a:lnTo>
                    <a:pt x="53860" y="294690"/>
                  </a:lnTo>
                  <a:lnTo>
                    <a:pt x="53886" y="294817"/>
                  </a:lnTo>
                  <a:lnTo>
                    <a:pt x="53975" y="295033"/>
                  </a:lnTo>
                  <a:lnTo>
                    <a:pt x="54076" y="295211"/>
                  </a:lnTo>
                  <a:lnTo>
                    <a:pt x="54152" y="295363"/>
                  </a:lnTo>
                  <a:lnTo>
                    <a:pt x="54457" y="297180"/>
                  </a:lnTo>
                  <a:lnTo>
                    <a:pt x="53911" y="295910"/>
                  </a:lnTo>
                  <a:lnTo>
                    <a:pt x="54025" y="297180"/>
                  </a:lnTo>
                  <a:lnTo>
                    <a:pt x="53530" y="295910"/>
                  </a:lnTo>
                  <a:lnTo>
                    <a:pt x="53860" y="297180"/>
                  </a:lnTo>
                  <a:lnTo>
                    <a:pt x="53594" y="297180"/>
                  </a:lnTo>
                  <a:lnTo>
                    <a:pt x="53886" y="298450"/>
                  </a:lnTo>
                  <a:lnTo>
                    <a:pt x="53860" y="299720"/>
                  </a:lnTo>
                  <a:lnTo>
                    <a:pt x="53517" y="297688"/>
                  </a:lnTo>
                  <a:lnTo>
                    <a:pt x="53594" y="300990"/>
                  </a:lnTo>
                  <a:lnTo>
                    <a:pt x="53467" y="299720"/>
                  </a:lnTo>
                  <a:lnTo>
                    <a:pt x="53200" y="297446"/>
                  </a:lnTo>
                  <a:lnTo>
                    <a:pt x="53238" y="299720"/>
                  </a:lnTo>
                  <a:lnTo>
                    <a:pt x="53035" y="295363"/>
                  </a:lnTo>
                  <a:lnTo>
                    <a:pt x="52832" y="299720"/>
                  </a:lnTo>
                  <a:lnTo>
                    <a:pt x="52832" y="297180"/>
                  </a:lnTo>
                  <a:lnTo>
                    <a:pt x="52793" y="298450"/>
                  </a:lnTo>
                  <a:lnTo>
                    <a:pt x="52679" y="299720"/>
                  </a:lnTo>
                  <a:lnTo>
                    <a:pt x="52527" y="299720"/>
                  </a:lnTo>
                  <a:lnTo>
                    <a:pt x="52679" y="297180"/>
                  </a:lnTo>
                  <a:lnTo>
                    <a:pt x="52336" y="299720"/>
                  </a:lnTo>
                  <a:lnTo>
                    <a:pt x="51993" y="298450"/>
                  </a:lnTo>
                  <a:lnTo>
                    <a:pt x="51638" y="298450"/>
                  </a:lnTo>
                  <a:lnTo>
                    <a:pt x="51409" y="297180"/>
                  </a:lnTo>
                  <a:lnTo>
                    <a:pt x="51714" y="297180"/>
                  </a:lnTo>
                  <a:lnTo>
                    <a:pt x="52705" y="295910"/>
                  </a:lnTo>
                  <a:lnTo>
                    <a:pt x="52501" y="295910"/>
                  </a:lnTo>
                  <a:lnTo>
                    <a:pt x="51866" y="294640"/>
                  </a:lnTo>
                  <a:lnTo>
                    <a:pt x="51460" y="294640"/>
                  </a:lnTo>
                  <a:lnTo>
                    <a:pt x="50977"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84"/>
                  </a:lnTo>
                  <a:lnTo>
                    <a:pt x="50393" y="299720"/>
                  </a:lnTo>
                  <a:lnTo>
                    <a:pt x="50025" y="299720"/>
                  </a:lnTo>
                  <a:lnTo>
                    <a:pt x="50279" y="298450"/>
                  </a:lnTo>
                  <a:lnTo>
                    <a:pt x="50393" y="299720"/>
                  </a:lnTo>
                  <a:lnTo>
                    <a:pt x="50393" y="291884"/>
                  </a:lnTo>
                  <a:lnTo>
                    <a:pt x="50101" y="290830"/>
                  </a:lnTo>
                  <a:lnTo>
                    <a:pt x="51015" y="289560"/>
                  </a:lnTo>
                  <a:lnTo>
                    <a:pt x="50063" y="287020"/>
                  </a:lnTo>
                  <a:lnTo>
                    <a:pt x="51320" y="287020"/>
                  </a:lnTo>
                  <a:lnTo>
                    <a:pt x="51142" y="285750"/>
                  </a:lnTo>
                  <a:lnTo>
                    <a:pt x="51422" y="285750"/>
                  </a:lnTo>
                  <a:lnTo>
                    <a:pt x="50431" y="284480"/>
                  </a:lnTo>
                  <a:lnTo>
                    <a:pt x="49771" y="283210"/>
                  </a:lnTo>
                  <a:lnTo>
                    <a:pt x="49288" y="283210"/>
                  </a:lnTo>
                  <a:lnTo>
                    <a:pt x="50342" y="281940"/>
                  </a:lnTo>
                  <a:lnTo>
                    <a:pt x="50190" y="280670"/>
                  </a:lnTo>
                  <a:lnTo>
                    <a:pt x="48869" y="279400"/>
                  </a:lnTo>
                  <a:lnTo>
                    <a:pt x="48590" y="278130"/>
                  </a:lnTo>
                  <a:lnTo>
                    <a:pt x="49885" y="276860"/>
                  </a:lnTo>
                  <a:lnTo>
                    <a:pt x="49085" y="275590"/>
                  </a:lnTo>
                  <a:lnTo>
                    <a:pt x="48844" y="273050"/>
                  </a:lnTo>
                  <a:lnTo>
                    <a:pt x="48539" y="273050"/>
                  </a:lnTo>
                  <a:lnTo>
                    <a:pt x="47307" y="270510"/>
                  </a:lnTo>
                  <a:lnTo>
                    <a:pt x="47231" y="269240"/>
                  </a:lnTo>
                  <a:lnTo>
                    <a:pt x="49047" y="269240"/>
                  </a:lnTo>
                  <a:lnTo>
                    <a:pt x="48653" y="267970"/>
                  </a:lnTo>
                  <a:lnTo>
                    <a:pt x="47929" y="265430"/>
                  </a:lnTo>
                  <a:lnTo>
                    <a:pt x="45885" y="264160"/>
                  </a:lnTo>
                  <a:lnTo>
                    <a:pt x="47739" y="264160"/>
                  </a:lnTo>
                  <a:lnTo>
                    <a:pt x="48044" y="262890"/>
                  </a:lnTo>
                  <a:lnTo>
                    <a:pt x="48348" y="261620"/>
                  </a:lnTo>
                  <a:lnTo>
                    <a:pt x="47028" y="261620"/>
                  </a:lnTo>
                  <a:lnTo>
                    <a:pt x="47879" y="260350"/>
                  </a:lnTo>
                  <a:lnTo>
                    <a:pt x="46634" y="257810"/>
                  </a:lnTo>
                  <a:lnTo>
                    <a:pt x="45643" y="256641"/>
                  </a:lnTo>
                  <a:lnTo>
                    <a:pt x="45643" y="264160"/>
                  </a:lnTo>
                  <a:lnTo>
                    <a:pt x="45059" y="264160"/>
                  </a:lnTo>
                  <a:lnTo>
                    <a:pt x="44627" y="262991"/>
                  </a:lnTo>
                  <a:lnTo>
                    <a:pt x="44602" y="265430"/>
                  </a:lnTo>
                  <a:lnTo>
                    <a:pt x="44157" y="265430"/>
                  </a:lnTo>
                  <a:lnTo>
                    <a:pt x="43662" y="264160"/>
                  </a:lnTo>
                  <a:lnTo>
                    <a:pt x="43116" y="264160"/>
                  </a:lnTo>
                  <a:lnTo>
                    <a:pt x="44577" y="263029"/>
                  </a:lnTo>
                  <a:lnTo>
                    <a:pt x="44589" y="262890"/>
                  </a:lnTo>
                  <a:lnTo>
                    <a:pt x="44754" y="262890"/>
                  </a:lnTo>
                  <a:lnTo>
                    <a:pt x="45529" y="262890"/>
                  </a:lnTo>
                  <a:lnTo>
                    <a:pt x="45643" y="264160"/>
                  </a:lnTo>
                  <a:lnTo>
                    <a:pt x="45643" y="256641"/>
                  </a:lnTo>
                  <a:lnTo>
                    <a:pt x="46761" y="255270"/>
                  </a:lnTo>
                  <a:lnTo>
                    <a:pt x="46520" y="254000"/>
                  </a:lnTo>
                  <a:lnTo>
                    <a:pt x="46926" y="254000"/>
                  </a:lnTo>
                  <a:lnTo>
                    <a:pt x="46050" y="251460"/>
                  </a:lnTo>
                  <a:lnTo>
                    <a:pt x="44958" y="250190"/>
                  </a:lnTo>
                  <a:lnTo>
                    <a:pt x="44958" y="248920"/>
                  </a:lnTo>
                  <a:lnTo>
                    <a:pt x="46024" y="248920"/>
                  </a:lnTo>
                  <a:lnTo>
                    <a:pt x="46596" y="247650"/>
                  </a:lnTo>
                  <a:lnTo>
                    <a:pt x="44488" y="246380"/>
                  </a:lnTo>
                  <a:lnTo>
                    <a:pt x="18923" y="246380"/>
                  </a:lnTo>
                  <a:lnTo>
                    <a:pt x="18923" y="355600"/>
                  </a:lnTo>
                  <a:lnTo>
                    <a:pt x="18732" y="356870"/>
                  </a:lnTo>
                  <a:lnTo>
                    <a:pt x="17881" y="356870"/>
                  </a:lnTo>
                  <a:lnTo>
                    <a:pt x="18275" y="355600"/>
                  </a:lnTo>
                  <a:lnTo>
                    <a:pt x="18923" y="355600"/>
                  </a:lnTo>
                  <a:lnTo>
                    <a:pt x="18923" y="246380"/>
                  </a:lnTo>
                  <a:lnTo>
                    <a:pt x="14033" y="246380"/>
                  </a:lnTo>
                  <a:lnTo>
                    <a:pt x="14033" y="351790"/>
                  </a:lnTo>
                  <a:lnTo>
                    <a:pt x="13830" y="351790"/>
                  </a:lnTo>
                  <a:lnTo>
                    <a:pt x="13512" y="353060"/>
                  </a:lnTo>
                  <a:lnTo>
                    <a:pt x="13423"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27" y="246380"/>
                  </a:lnTo>
                  <a:lnTo>
                    <a:pt x="5727" y="247650"/>
                  </a:lnTo>
                  <a:lnTo>
                    <a:pt x="5664" y="248234"/>
                  </a:lnTo>
                  <a:lnTo>
                    <a:pt x="5664" y="283210"/>
                  </a:lnTo>
                  <a:lnTo>
                    <a:pt x="5499" y="284480"/>
                  </a:lnTo>
                  <a:lnTo>
                    <a:pt x="5207" y="284480"/>
                  </a:lnTo>
                  <a:lnTo>
                    <a:pt x="5118" y="283210"/>
                  </a:lnTo>
                  <a:lnTo>
                    <a:pt x="5664" y="283210"/>
                  </a:lnTo>
                  <a:lnTo>
                    <a:pt x="5664" y="248234"/>
                  </a:lnTo>
                  <a:lnTo>
                    <a:pt x="5588" y="248920"/>
                  </a:lnTo>
                  <a:lnTo>
                    <a:pt x="4203" y="248920"/>
                  </a:lnTo>
                  <a:lnTo>
                    <a:pt x="4102" y="247650"/>
                  </a:lnTo>
                  <a:lnTo>
                    <a:pt x="5727" y="247650"/>
                  </a:lnTo>
                  <a:lnTo>
                    <a:pt x="5727" y="246380"/>
                  </a:lnTo>
                  <a:lnTo>
                    <a:pt x="3048" y="246380"/>
                  </a:lnTo>
                  <a:lnTo>
                    <a:pt x="3213" y="247650"/>
                  </a:lnTo>
                  <a:lnTo>
                    <a:pt x="2755" y="247650"/>
                  </a:lnTo>
                  <a:lnTo>
                    <a:pt x="2273" y="247650"/>
                  </a:lnTo>
                  <a:lnTo>
                    <a:pt x="1333" y="248920"/>
                  </a:lnTo>
                  <a:lnTo>
                    <a:pt x="2730" y="252730"/>
                  </a:lnTo>
                  <a:lnTo>
                    <a:pt x="2019" y="254000"/>
                  </a:lnTo>
                  <a:lnTo>
                    <a:pt x="2578" y="256540"/>
                  </a:lnTo>
                  <a:lnTo>
                    <a:pt x="1549" y="256540"/>
                  </a:lnTo>
                  <a:lnTo>
                    <a:pt x="2362" y="257810"/>
                  </a:lnTo>
                  <a:lnTo>
                    <a:pt x="3263" y="257810"/>
                  </a:lnTo>
                  <a:lnTo>
                    <a:pt x="3365" y="259080"/>
                  </a:lnTo>
                  <a:lnTo>
                    <a:pt x="2425" y="259080"/>
                  </a:lnTo>
                  <a:lnTo>
                    <a:pt x="2997" y="262890"/>
                  </a:lnTo>
                  <a:lnTo>
                    <a:pt x="0" y="264160"/>
                  </a:lnTo>
                  <a:lnTo>
                    <a:pt x="88" y="265430"/>
                  </a:lnTo>
                  <a:lnTo>
                    <a:pt x="1028" y="265430"/>
                  </a:lnTo>
                  <a:lnTo>
                    <a:pt x="1587" y="266700"/>
                  </a:lnTo>
                  <a:lnTo>
                    <a:pt x="2552" y="265430"/>
                  </a:lnTo>
                  <a:lnTo>
                    <a:pt x="2870" y="265430"/>
                  </a:lnTo>
                  <a:lnTo>
                    <a:pt x="3213" y="266700"/>
                  </a:lnTo>
                  <a:lnTo>
                    <a:pt x="1587" y="266700"/>
                  </a:lnTo>
                  <a:lnTo>
                    <a:pt x="1295" y="266700"/>
                  </a:lnTo>
                  <a:lnTo>
                    <a:pt x="2667" y="269240"/>
                  </a:lnTo>
                  <a:lnTo>
                    <a:pt x="2006"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03" y="283210"/>
                  </a:lnTo>
                  <a:lnTo>
                    <a:pt x="2654" y="283210"/>
                  </a:lnTo>
                  <a:lnTo>
                    <a:pt x="1168" y="287020"/>
                  </a:lnTo>
                  <a:lnTo>
                    <a:pt x="1638" y="288290"/>
                  </a:lnTo>
                  <a:lnTo>
                    <a:pt x="3263" y="289560"/>
                  </a:lnTo>
                  <a:lnTo>
                    <a:pt x="3505" y="290830"/>
                  </a:lnTo>
                  <a:lnTo>
                    <a:pt x="2095" y="292100"/>
                  </a:lnTo>
                  <a:lnTo>
                    <a:pt x="3175" y="293370"/>
                  </a:lnTo>
                  <a:lnTo>
                    <a:pt x="2095" y="295910"/>
                  </a:lnTo>
                  <a:lnTo>
                    <a:pt x="2209" y="297180"/>
                  </a:lnTo>
                  <a:lnTo>
                    <a:pt x="3327" y="300990"/>
                  </a:lnTo>
                  <a:lnTo>
                    <a:pt x="4152" y="306070"/>
                  </a:lnTo>
                  <a:lnTo>
                    <a:pt x="3987" y="309880"/>
                  </a:lnTo>
                  <a:lnTo>
                    <a:pt x="4559" y="312420"/>
                  </a:lnTo>
                  <a:lnTo>
                    <a:pt x="5245" y="314960"/>
                  </a:lnTo>
                  <a:lnTo>
                    <a:pt x="5118" y="318770"/>
                  </a:lnTo>
                  <a:lnTo>
                    <a:pt x="6629" y="321310"/>
                  </a:lnTo>
                  <a:lnTo>
                    <a:pt x="6667" y="322580"/>
                  </a:lnTo>
                  <a:lnTo>
                    <a:pt x="6540" y="325120"/>
                  </a:lnTo>
                  <a:lnTo>
                    <a:pt x="6464" y="328930"/>
                  </a:lnTo>
                  <a:lnTo>
                    <a:pt x="7239" y="330200"/>
                  </a:lnTo>
                  <a:lnTo>
                    <a:pt x="6781" y="331470"/>
                  </a:lnTo>
                  <a:lnTo>
                    <a:pt x="7010" y="332740"/>
                  </a:lnTo>
                  <a:lnTo>
                    <a:pt x="7810" y="334010"/>
                  </a:lnTo>
                  <a:lnTo>
                    <a:pt x="10147" y="339090"/>
                  </a:lnTo>
                  <a:lnTo>
                    <a:pt x="10337" y="340360"/>
                  </a:lnTo>
                  <a:lnTo>
                    <a:pt x="9398" y="344170"/>
                  </a:lnTo>
                  <a:lnTo>
                    <a:pt x="9144" y="345440"/>
                  </a:lnTo>
                  <a:lnTo>
                    <a:pt x="8839" y="345440"/>
                  </a:lnTo>
                  <a:lnTo>
                    <a:pt x="8788" y="346710"/>
                  </a:lnTo>
                  <a:lnTo>
                    <a:pt x="9563" y="347980"/>
                  </a:lnTo>
                  <a:lnTo>
                    <a:pt x="10236" y="347980"/>
                  </a:lnTo>
                  <a:lnTo>
                    <a:pt x="11747" y="346710"/>
                  </a:lnTo>
                  <a:lnTo>
                    <a:pt x="11747" y="347980"/>
                  </a:lnTo>
                  <a:lnTo>
                    <a:pt x="11391" y="350520"/>
                  </a:lnTo>
                  <a:lnTo>
                    <a:pt x="10947" y="351790"/>
                  </a:lnTo>
                  <a:lnTo>
                    <a:pt x="12700" y="354330"/>
                  </a:lnTo>
                  <a:lnTo>
                    <a:pt x="12941" y="355600"/>
                  </a:lnTo>
                  <a:lnTo>
                    <a:pt x="13449" y="356870"/>
                  </a:lnTo>
                  <a:lnTo>
                    <a:pt x="13639" y="358140"/>
                  </a:lnTo>
                  <a:lnTo>
                    <a:pt x="14986" y="358140"/>
                  </a:lnTo>
                  <a:lnTo>
                    <a:pt x="14986" y="359410"/>
                  </a:lnTo>
                  <a:lnTo>
                    <a:pt x="15760" y="360680"/>
                  </a:lnTo>
                  <a:lnTo>
                    <a:pt x="16802" y="361950"/>
                  </a:lnTo>
                  <a:lnTo>
                    <a:pt x="18415" y="363220"/>
                  </a:lnTo>
                  <a:lnTo>
                    <a:pt x="18897" y="363220"/>
                  </a:lnTo>
                  <a:lnTo>
                    <a:pt x="19519" y="364490"/>
                  </a:lnTo>
                  <a:lnTo>
                    <a:pt x="19697" y="364490"/>
                  </a:lnTo>
                  <a:lnTo>
                    <a:pt x="20040" y="365760"/>
                  </a:lnTo>
                  <a:lnTo>
                    <a:pt x="20548" y="367030"/>
                  </a:lnTo>
                  <a:lnTo>
                    <a:pt x="20739" y="369570"/>
                  </a:lnTo>
                  <a:lnTo>
                    <a:pt x="23088" y="369570"/>
                  </a:lnTo>
                  <a:lnTo>
                    <a:pt x="22898" y="368300"/>
                  </a:lnTo>
                  <a:lnTo>
                    <a:pt x="23444" y="367030"/>
                  </a:lnTo>
                  <a:lnTo>
                    <a:pt x="23558" y="365760"/>
                  </a:lnTo>
                  <a:lnTo>
                    <a:pt x="25107" y="367030"/>
                  </a:lnTo>
                  <a:lnTo>
                    <a:pt x="25755" y="370840"/>
                  </a:lnTo>
                  <a:lnTo>
                    <a:pt x="25146" y="373380"/>
                  </a:lnTo>
                  <a:lnTo>
                    <a:pt x="25260" y="374650"/>
                  </a:lnTo>
                  <a:lnTo>
                    <a:pt x="27178" y="374650"/>
                  </a:lnTo>
                  <a:lnTo>
                    <a:pt x="28409" y="375920"/>
                  </a:lnTo>
                  <a:lnTo>
                    <a:pt x="29603" y="373380"/>
                  </a:lnTo>
                  <a:lnTo>
                    <a:pt x="29921" y="373380"/>
                  </a:lnTo>
                  <a:lnTo>
                    <a:pt x="30594" y="374650"/>
                  </a:lnTo>
                  <a:lnTo>
                    <a:pt x="30137" y="375920"/>
                  </a:lnTo>
                  <a:lnTo>
                    <a:pt x="31013" y="377190"/>
                  </a:lnTo>
                  <a:lnTo>
                    <a:pt x="33909" y="377190"/>
                  </a:lnTo>
                  <a:lnTo>
                    <a:pt x="34925" y="378460"/>
                  </a:lnTo>
                  <a:lnTo>
                    <a:pt x="35560" y="378460"/>
                  </a:lnTo>
                  <a:lnTo>
                    <a:pt x="36360" y="379730"/>
                  </a:lnTo>
                  <a:lnTo>
                    <a:pt x="40640" y="379730"/>
                  </a:lnTo>
                  <a:lnTo>
                    <a:pt x="40474" y="378460"/>
                  </a:lnTo>
                  <a:lnTo>
                    <a:pt x="41211" y="377266"/>
                  </a:lnTo>
                  <a:lnTo>
                    <a:pt x="42468" y="378460"/>
                  </a:lnTo>
                  <a:lnTo>
                    <a:pt x="45453" y="378460"/>
                  </a:lnTo>
                  <a:lnTo>
                    <a:pt x="45097" y="377190"/>
                  </a:lnTo>
                  <a:lnTo>
                    <a:pt x="46101" y="377190"/>
                  </a:lnTo>
                  <a:lnTo>
                    <a:pt x="46355" y="378460"/>
                  </a:lnTo>
                  <a:lnTo>
                    <a:pt x="46228" y="379730"/>
                  </a:lnTo>
                  <a:lnTo>
                    <a:pt x="48539" y="378460"/>
                  </a:lnTo>
                  <a:lnTo>
                    <a:pt x="49707" y="378460"/>
                  </a:lnTo>
                  <a:lnTo>
                    <a:pt x="51422" y="377190"/>
                  </a:lnTo>
                  <a:lnTo>
                    <a:pt x="55549" y="377190"/>
                  </a:lnTo>
                  <a:lnTo>
                    <a:pt x="56794" y="373380"/>
                  </a:lnTo>
                  <a:lnTo>
                    <a:pt x="59232" y="370840"/>
                  </a:lnTo>
                  <a:lnTo>
                    <a:pt x="61125" y="372110"/>
                  </a:lnTo>
                  <a:lnTo>
                    <a:pt x="61429" y="370840"/>
                  </a:lnTo>
                  <a:lnTo>
                    <a:pt x="62255" y="369570"/>
                  </a:lnTo>
                  <a:lnTo>
                    <a:pt x="62738"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79" y="356870"/>
                  </a:lnTo>
                  <a:lnTo>
                    <a:pt x="76200" y="355600"/>
                  </a:lnTo>
                  <a:lnTo>
                    <a:pt x="76479" y="355600"/>
                  </a:lnTo>
                  <a:lnTo>
                    <a:pt x="76987" y="354330"/>
                  </a:lnTo>
                  <a:lnTo>
                    <a:pt x="77635" y="353060"/>
                  </a:lnTo>
                  <a:lnTo>
                    <a:pt x="78943" y="350520"/>
                  </a:lnTo>
                  <a:lnTo>
                    <a:pt x="79908" y="349250"/>
                  </a:lnTo>
                  <a:lnTo>
                    <a:pt x="80302" y="346710"/>
                  </a:lnTo>
                  <a:lnTo>
                    <a:pt x="81153" y="346710"/>
                  </a:lnTo>
                  <a:lnTo>
                    <a:pt x="81457" y="347980"/>
                  </a:lnTo>
                  <a:lnTo>
                    <a:pt x="81978" y="346710"/>
                  </a:lnTo>
                  <a:lnTo>
                    <a:pt x="82511" y="345440"/>
                  </a:lnTo>
                  <a:lnTo>
                    <a:pt x="82791" y="344170"/>
                  </a:lnTo>
                  <a:lnTo>
                    <a:pt x="84340" y="345440"/>
                  </a:lnTo>
                  <a:lnTo>
                    <a:pt x="84378" y="344170"/>
                  </a:lnTo>
                  <a:lnTo>
                    <a:pt x="84467" y="341630"/>
                  </a:lnTo>
                  <a:lnTo>
                    <a:pt x="85026" y="339090"/>
                  </a:lnTo>
                  <a:lnTo>
                    <a:pt x="87172" y="339090"/>
                  </a:lnTo>
                  <a:lnTo>
                    <a:pt x="88506" y="335280"/>
                  </a:lnTo>
                  <a:lnTo>
                    <a:pt x="90208" y="335280"/>
                  </a:lnTo>
                  <a:lnTo>
                    <a:pt x="90208" y="332740"/>
                  </a:lnTo>
                  <a:lnTo>
                    <a:pt x="90881" y="331470"/>
                  </a:lnTo>
                  <a:lnTo>
                    <a:pt x="92748" y="328930"/>
                  </a:lnTo>
                  <a:lnTo>
                    <a:pt x="93395" y="327660"/>
                  </a:lnTo>
                  <a:lnTo>
                    <a:pt x="93624" y="327660"/>
                  </a:lnTo>
                  <a:lnTo>
                    <a:pt x="93662" y="326390"/>
                  </a:lnTo>
                  <a:lnTo>
                    <a:pt x="94259" y="326390"/>
                  </a:lnTo>
                  <a:lnTo>
                    <a:pt x="94818" y="325120"/>
                  </a:lnTo>
                  <a:lnTo>
                    <a:pt x="95338" y="323850"/>
                  </a:lnTo>
                  <a:lnTo>
                    <a:pt x="96253" y="322580"/>
                  </a:lnTo>
                  <a:lnTo>
                    <a:pt x="97015" y="322580"/>
                  </a:lnTo>
                  <a:lnTo>
                    <a:pt x="96761" y="321310"/>
                  </a:lnTo>
                  <a:lnTo>
                    <a:pt x="97116" y="320040"/>
                  </a:lnTo>
                  <a:lnTo>
                    <a:pt x="99250" y="317500"/>
                  </a:lnTo>
                  <a:lnTo>
                    <a:pt x="99796" y="316230"/>
                  </a:lnTo>
                  <a:lnTo>
                    <a:pt x="100342" y="314960"/>
                  </a:lnTo>
                  <a:lnTo>
                    <a:pt x="100876"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78" y="304800"/>
                  </a:lnTo>
                  <a:lnTo>
                    <a:pt x="107137" y="303530"/>
                  </a:lnTo>
                  <a:lnTo>
                    <a:pt x="107022" y="302260"/>
                  </a:lnTo>
                  <a:lnTo>
                    <a:pt x="107442" y="302260"/>
                  </a:lnTo>
                  <a:lnTo>
                    <a:pt x="107911" y="300990"/>
                  </a:lnTo>
                  <a:lnTo>
                    <a:pt x="109321" y="300990"/>
                  </a:lnTo>
                  <a:lnTo>
                    <a:pt x="109410" y="299720"/>
                  </a:lnTo>
                  <a:lnTo>
                    <a:pt x="109778" y="299720"/>
                  </a:lnTo>
                  <a:lnTo>
                    <a:pt x="109804" y="298450"/>
                  </a:lnTo>
                  <a:lnTo>
                    <a:pt x="109931" y="297180"/>
                  </a:lnTo>
                  <a:lnTo>
                    <a:pt x="110236" y="297180"/>
                  </a:lnTo>
                  <a:lnTo>
                    <a:pt x="110426" y="295910"/>
                  </a:lnTo>
                  <a:lnTo>
                    <a:pt x="112052" y="295910"/>
                  </a:lnTo>
                  <a:lnTo>
                    <a:pt x="112052" y="294640"/>
                  </a:lnTo>
                  <a:lnTo>
                    <a:pt x="113004" y="294640"/>
                  </a:lnTo>
                  <a:lnTo>
                    <a:pt x="112864" y="293370"/>
                  </a:lnTo>
                  <a:lnTo>
                    <a:pt x="113169" y="293370"/>
                  </a:lnTo>
                  <a:lnTo>
                    <a:pt x="113093" y="292874"/>
                  </a:lnTo>
                  <a:lnTo>
                    <a:pt x="113030" y="290830"/>
                  </a:lnTo>
                  <a:lnTo>
                    <a:pt x="114160" y="290830"/>
                  </a:lnTo>
                  <a:lnTo>
                    <a:pt x="115874" y="289560"/>
                  </a:lnTo>
                  <a:lnTo>
                    <a:pt x="115392" y="289560"/>
                  </a:lnTo>
                  <a:lnTo>
                    <a:pt x="115062" y="288290"/>
                  </a:lnTo>
                  <a:lnTo>
                    <a:pt x="115023" y="287020"/>
                  </a:lnTo>
                  <a:lnTo>
                    <a:pt x="115201" y="287020"/>
                  </a:lnTo>
                  <a:lnTo>
                    <a:pt x="115379" y="288290"/>
                  </a:lnTo>
                  <a:lnTo>
                    <a:pt x="116357" y="288290"/>
                  </a:lnTo>
                  <a:lnTo>
                    <a:pt x="116217" y="287020"/>
                  </a:lnTo>
                  <a:lnTo>
                    <a:pt x="116916" y="287020"/>
                  </a:lnTo>
                  <a:lnTo>
                    <a:pt x="116547" y="285750"/>
                  </a:lnTo>
                  <a:lnTo>
                    <a:pt x="117906" y="285750"/>
                  </a:lnTo>
                  <a:lnTo>
                    <a:pt x="118681" y="284480"/>
                  </a:lnTo>
                  <a:lnTo>
                    <a:pt x="118198" y="284480"/>
                  </a:lnTo>
                  <a:lnTo>
                    <a:pt x="118148" y="284314"/>
                  </a:lnTo>
                  <a:lnTo>
                    <a:pt x="117754" y="283210"/>
                  </a:lnTo>
                  <a:lnTo>
                    <a:pt x="118313" y="283210"/>
                  </a:lnTo>
                  <a:lnTo>
                    <a:pt x="118148" y="284314"/>
                  </a:lnTo>
                  <a:lnTo>
                    <a:pt x="118935" y="283210"/>
                  </a:lnTo>
                  <a:lnTo>
                    <a:pt x="119100" y="283210"/>
                  </a:lnTo>
                  <a:lnTo>
                    <a:pt x="119075" y="281940"/>
                  </a:lnTo>
                  <a:lnTo>
                    <a:pt x="120611" y="281940"/>
                  </a:lnTo>
                  <a:lnTo>
                    <a:pt x="120980" y="280670"/>
                  </a:lnTo>
                  <a:lnTo>
                    <a:pt x="122161" y="280670"/>
                  </a:lnTo>
                  <a:lnTo>
                    <a:pt x="122021" y="279400"/>
                  </a:lnTo>
                  <a:lnTo>
                    <a:pt x="121475" y="278130"/>
                  </a:lnTo>
                  <a:lnTo>
                    <a:pt x="121831"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79" y="269240"/>
                  </a:lnTo>
                  <a:lnTo>
                    <a:pt x="126593" y="267970"/>
                  </a:lnTo>
                  <a:lnTo>
                    <a:pt x="126568" y="269240"/>
                  </a:lnTo>
                  <a:lnTo>
                    <a:pt x="127050" y="269240"/>
                  </a:lnTo>
                  <a:lnTo>
                    <a:pt x="126860" y="270510"/>
                  </a:lnTo>
                  <a:lnTo>
                    <a:pt x="127228" y="270510"/>
                  </a:lnTo>
                  <a:lnTo>
                    <a:pt x="127330" y="269240"/>
                  </a:lnTo>
                  <a:lnTo>
                    <a:pt x="127381" y="267970"/>
                  </a:lnTo>
                  <a:lnTo>
                    <a:pt x="128231" y="267970"/>
                  </a:lnTo>
                  <a:lnTo>
                    <a:pt x="128778" y="266700"/>
                  </a:lnTo>
                  <a:lnTo>
                    <a:pt x="130187" y="266700"/>
                  </a:lnTo>
                  <a:lnTo>
                    <a:pt x="130581" y="265430"/>
                  </a:lnTo>
                  <a:lnTo>
                    <a:pt x="130289" y="264160"/>
                  </a:lnTo>
                  <a:lnTo>
                    <a:pt x="130517" y="262890"/>
                  </a:lnTo>
                  <a:lnTo>
                    <a:pt x="130886" y="262890"/>
                  </a:lnTo>
                  <a:lnTo>
                    <a:pt x="132969" y="261620"/>
                  </a:lnTo>
                  <a:lnTo>
                    <a:pt x="133477" y="260350"/>
                  </a:lnTo>
                  <a:lnTo>
                    <a:pt x="132943" y="259080"/>
                  </a:lnTo>
                  <a:lnTo>
                    <a:pt x="133261"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59" y="241300"/>
                  </a:lnTo>
                  <a:lnTo>
                    <a:pt x="144932" y="241300"/>
                  </a:lnTo>
                  <a:lnTo>
                    <a:pt x="145288" y="240030"/>
                  </a:lnTo>
                  <a:lnTo>
                    <a:pt x="146659" y="240030"/>
                  </a:lnTo>
                  <a:lnTo>
                    <a:pt x="146850" y="238760"/>
                  </a:lnTo>
                  <a:lnTo>
                    <a:pt x="146240" y="238760"/>
                  </a:lnTo>
                  <a:lnTo>
                    <a:pt x="146456" y="237490"/>
                  </a:lnTo>
                  <a:lnTo>
                    <a:pt x="146812" y="236220"/>
                  </a:lnTo>
                  <a:lnTo>
                    <a:pt x="147421" y="234950"/>
                  </a:lnTo>
                  <a:lnTo>
                    <a:pt x="149606" y="234950"/>
                  </a:lnTo>
                  <a:lnTo>
                    <a:pt x="149059" y="233680"/>
                  </a:lnTo>
                  <a:lnTo>
                    <a:pt x="149123" y="232410"/>
                  </a:lnTo>
                  <a:lnTo>
                    <a:pt x="150215" y="232410"/>
                  </a:lnTo>
                  <a:lnTo>
                    <a:pt x="152006" y="231140"/>
                  </a:lnTo>
                  <a:lnTo>
                    <a:pt x="152184" y="231140"/>
                  </a:lnTo>
                  <a:lnTo>
                    <a:pt x="151663" y="229870"/>
                  </a:lnTo>
                  <a:lnTo>
                    <a:pt x="151498" y="228600"/>
                  </a:lnTo>
                  <a:lnTo>
                    <a:pt x="152501" y="228600"/>
                  </a:lnTo>
                  <a:lnTo>
                    <a:pt x="152996" y="227330"/>
                  </a:lnTo>
                  <a:lnTo>
                    <a:pt x="154724" y="227330"/>
                  </a:lnTo>
                  <a:lnTo>
                    <a:pt x="154901" y="226060"/>
                  </a:lnTo>
                  <a:lnTo>
                    <a:pt x="154800" y="224790"/>
                  </a:lnTo>
                  <a:lnTo>
                    <a:pt x="155244" y="224790"/>
                  </a:lnTo>
                  <a:lnTo>
                    <a:pt x="155638" y="223520"/>
                  </a:lnTo>
                  <a:lnTo>
                    <a:pt x="156616" y="223520"/>
                  </a:lnTo>
                  <a:lnTo>
                    <a:pt x="156921" y="222250"/>
                  </a:lnTo>
                  <a:lnTo>
                    <a:pt x="157518" y="220980"/>
                  </a:lnTo>
                  <a:lnTo>
                    <a:pt x="158038" y="219710"/>
                  </a:lnTo>
                  <a:lnTo>
                    <a:pt x="158940" y="219710"/>
                  </a:lnTo>
                  <a:lnTo>
                    <a:pt x="160007" y="217170"/>
                  </a:lnTo>
                  <a:lnTo>
                    <a:pt x="160489" y="215900"/>
                  </a:lnTo>
                  <a:lnTo>
                    <a:pt x="161772" y="215900"/>
                  </a:lnTo>
                  <a:lnTo>
                    <a:pt x="162941" y="212090"/>
                  </a:lnTo>
                  <a:lnTo>
                    <a:pt x="164287" y="210820"/>
                  </a:lnTo>
                  <a:lnTo>
                    <a:pt x="165315" y="208280"/>
                  </a:lnTo>
                  <a:lnTo>
                    <a:pt x="167271" y="207010"/>
                  </a:lnTo>
                  <a:lnTo>
                    <a:pt x="166852" y="205740"/>
                  </a:lnTo>
                  <a:lnTo>
                    <a:pt x="167119" y="205740"/>
                  </a:lnTo>
                  <a:lnTo>
                    <a:pt x="167601" y="204470"/>
                  </a:lnTo>
                  <a:lnTo>
                    <a:pt x="169672" y="203200"/>
                  </a:lnTo>
                  <a:lnTo>
                    <a:pt x="170726" y="200660"/>
                  </a:lnTo>
                  <a:lnTo>
                    <a:pt x="171970" y="198120"/>
                  </a:lnTo>
                  <a:lnTo>
                    <a:pt x="172580" y="198120"/>
                  </a:lnTo>
                  <a:lnTo>
                    <a:pt x="173050" y="196850"/>
                  </a:lnTo>
                  <a:lnTo>
                    <a:pt x="172910" y="194310"/>
                  </a:lnTo>
                  <a:lnTo>
                    <a:pt x="173977" y="195580"/>
                  </a:lnTo>
                  <a:lnTo>
                    <a:pt x="175323" y="194310"/>
                  </a:lnTo>
                  <a:lnTo>
                    <a:pt x="176022" y="194310"/>
                  </a:lnTo>
                  <a:lnTo>
                    <a:pt x="175742" y="193040"/>
                  </a:lnTo>
                  <a:lnTo>
                    <a:pt x="177101" y="191770"/>
                  </a:lnTo>
                  <a:lnTo>
                    <a:pt x="176898" y="190500"/>
                  </a:lnTo>
                  <a:lnTo>
                    <a:pt x="179031" y="190500"/>
                  </a:lnTo>
                  <a:lnTo>
                    <a:pt x="179082" y="189230"/>
                  </a:lnTo>
                  <a:lnTo>
                    <a:pt x="179133" y="187960"/>
                  </a:lnTo>
                  <a:lnTo>
                    <a:pt x="180301" y="187960"/>
                  </a:lnTo>
                  <a:lnTo>
                    <a:pt x="180365" y="186690"/>
                  </a:lnTo>
                  <a:lnTo>
                    <a:pt x="180467" y="185420"/>
                  </a:lnTo>
                  <a:lnTo>
                    <a:pt x="180809" y="185420"/>
                  </a:lnTo>
                  <a:lnTo>
                    <a:pt x="181698" y="186690"/>
                  </a:lnTo>
                  <a:lnTo>
                    <a:pt x="181559" y="185420"/>
                  </a:lnTo>
                  <a:lnTo>
                    <a:pt x="181622" y="184150"/>
                  </a:lnTo>
                  <a:lnTo>
                    <a:pt x="182499" y="184150"/>
                  </a:lnTo>
                  <a:lnTo>
                    <a:pt x="182308" y="182880"/>
                  </a:lnTo>
                  <a:lnTo>
                    <a:pt x="183426" y="182880"/>
                  </a:lnTo>
                  <a:lnTo>
                    <a:pt x="183388" y="181610"/>
                  </a:lnTo>
                  <a:lnTo>
                    <a:pt x="184848" y="181610"/>
                  </a:lnTo>
                  <a:lnTo>
                    <a:pt x="184886" y="180340"/>
                  </a:lnTo>
                  <a:lnTo>
                    <a:pt x="185127" y="179070"/>
                  </a:lnTo>
                  <a:lnTo>
                    <a:pt x="186855" y="179070"/>
                  </a:lnTo>
                  <a:lnTo>
                    <a:pt x="186905" y="176530"/>
                  </a:lnTo>
                  <a:lnTo>
                    <a:pt x="187947" y="176530"/>
                  </a:lnTo>
                  <a:lnTo>
                    <a:pt x="188290" y="175260"/>
                  </a:lnTo>
                  <a:lnTo>
                    <a:pt x="188582" y="175260"/>
                  </a:lnTo>
                  <a:lnTo>
                    <a:pt x="189598" y="173990"/>
                  </a:lnTo>
                  <a:lnTo>
                    <a:pt x="189750" y="172720"/>
                  </a:lnTo>
                  <a:lnTo>
                    <a:pt x="191135" y="171450"/>
                  </a:lnTo>
                  <a:lnTo>
                    <a:pt x="190385" y="171450"/>
                  </a:lnTo>
                  <a:lnTo>
                    <a:pt x="190398" y="170180"/>
                  </a:lnTo>
                  <a:lnTo>
                    <a:pt x="192417" y="170180"/>
                  </a:lnTo>
                  <a:lnTo>
                    <a:pt x="193052" y="168910"/>
                  </a:lnTo>
                  <a:lnTo>
                    <a:pt x="193408" y="167640"/>
                  </a:lnTo>
                  <a:lnTo>
                    <a:pt x="194703" y="166370"/>
                  </a:lnTo>
                  <a:lnTo>
                    <a:pt x="193903" y="166370"/>
                  </a:lnTo>
                  <a:lnTo>
                    <a:pt x="194640" y="165100"/>
                  </a:lnTo>
                  <a:lnTo>
                    <a:pt x="194729" y="166370"/>
                  </a:lnTo>
                  <a:lnTo>
                    <a:pt x="195199" y="166370"/>
                  </a:lnTo>
                  <a:lnTo>
                    <a:pt x="196062" y="165100"/>
                  </a:lnTo>
                  <a:lnTo>
                    <a:pt x="195846" y="165100"/>
                  </a:lnTo>
                  <a:lnTo>
                    <a:pt x="196037" y="163830"/>
                  </a:lnTo>
                  <a:lnTo>
                    <a:pt x="196418" y="163830"/>
                  </a:lnTo>
                  <a:lnTo>
                    <a:pt x="196811" y="162560"/>
                  </a:lnTo>
                  <a:lnTo>
                    <a:pt x="197154" y="162560"/>
                  </a:lnTo>
                  <a:lnTo>
                    <a:pt x="197396" y="161290"/>
                  </a:lnTo>
                  <a:lnTo>
                    <a:pt x="198678" y="160020"/>
                  </a:lnTo>
                  <a:lnTo>
                    <a:pt x="199694" y="160020"/>
                  </a:lnTo>
                  <a:lnTo>
                    <a:pt x="199910" y="158750"/>
                  </a:lnTo>
                  <a:lnTo>
                    <a:pt x="200583" y="157480"/>
                  </a:lnTo>
                  <a:lnTo>
                    <a:pt x="201269" y="157480"/>
                  </a:lnTo>
                  <a:lnTo>
                    <a:pt x="201739" y="154940"/>
                  </a:lnTo>
                  <a:lnTo>
                    <a:pt x="203530" y="154940"/>
                  </a:lnTo>
                  <a:lnTo>
                    <a:pt x="203466" y="153670"/>
                  </a:lnTo>
                  <a:lnTo>
                    <a:pt x="204139" y="153670"/>
                  </a:lnTo>
                  <a:lnTo>
                    <a:pt x="204203" y="152400"/>
                  </a:lnTo>
                  <a:lnTo>
                    <a:pt x="205486" y="152400"/>
                  </a:lnTo>
                  <a:lnTo>
                    <a:pt x="204990"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69" y="139700"/>
                  </a:lnTo>
                  <a:lnTo>
                    <a:pt x="213258" y="139700"/>
                  </a:lnTo>
                  <a:lnTo>
                    <a:pt x="213779" y="138430"/>
                  </a:lnTo>
                  <a:lnTo>
                    <a:pt x="215798" y="138430"/>
                  </a:lnTo>
                  <a:lnTo>
                    <a:pt x="216154" y="137160"/>
                  </a:lnTo>
                  <a:lnTo>
                    <a:pt x="216649" y="135890"/>
                  </a:lnTo>
                  <a:lnTo>
                    <a:pt x="217093" y="134620"/>
                  </a:lnTo>
                  <a:lnTo>
                    <a:pt x="217665" y="133350"/>
                  </a:lnTo>
                  <a:lnTo>
                    <a:pt x="219760" y="133350"/>
                  </a:lnTo>
                  <a:lnTo>
                    <a:pt x="220319" y="132080"/>
                  </a:lnTo>
                  <a:lnTo>
                    <a:pt x="221767" y="129540"/>
                  </a:lnTo>
                  <a:lnTo>
                    <a:pt x="222148" y="128270"/>
                  </a:lnTo>
                  <a:lnTo>
                    <a:pt x="222872" y="128270"/>
                  </a:lnTo>
                  <a:lnTo>
                    <a:pt x="222885" y="127000"/>
                  </a:lnTo>
                  <a:lnTo>
                    <a:pt x="224688" y="127000"/>
                  </a:lnTo>
                  <a:lnTo>
                    <a:pt x="224828" y="125730"/>
                  </a:lnTo>
                  <a:lnTo>
                    <a:pt x="225044" y="125730"/>
                  </a:lnTo>
                  <a:lnTo>
                    <a:pt x="225348" y="124460"/>
                  </a:lnTo>
                  <a:lnTo>
                    <a:pt x="225590" y="124460"/>
                  </a:lnTo>
                  <a:lnTo>
                    <a:pt x="226504" y="123190"/>
                  </a:lnTo>
                  <a:lnTo>
                    <a:pt x="227863" y="121920"/>
                  </a:lnTo>
                  <a:lnTo>
                    <a:pt x="228409" y="120650"/>
                  </a:lnTo>
                  <a:lnTo>
                    <a:pt x="229577" y="120650"/>
                  </a:lnTo>
                  <a:lnTo>
                    <a:pt x="229781" y="119380"/>
                  </a:lnTo>
                  <a:lnTo>
                    <a:pt x="230174" y="118110"/>
                  </a:lnTo>
                  <a:lnTo>
                    <a:pt x="230809" y="118110"/>
                  </a:lnTo>
                  <a:lnTo>
                    <a:pt x="231063" y="116840"/>
                  </a:lnTo>
                  <a:lnTo>
                    <a:pt x="231584"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12" y="110490"/>
                  </a:lnTo>
                  <a:lnTo>
                    <a:pt x="237490" y="109220"/>
                  </a:lnTo>
                  <a:lnTo>
                    <a:pt x="237680" y="107950"/>
                  </a:lnTo>
                  <a:lnTo>
                    <a:pt x="238518" y="106680"/>
                  </a:lnTo>
                  <a:lnTo>
                    <a:pt x="239280" y="106680"/>
                  </a:lnTo>
                  <a:lnTo>
                    <a:pt x="239814" y="105410"/>
                  </a:lnTo>
                  <a:lnTo>
                    <a:pt x="239979" y="105410"/>
                  </a:lnTo>
                  <a:lnTo>
                    <a:pt x="240195" y="102870"/>
                  </a:lnTo>
                  <a:lnTo>
                    <a:pt x="240931" y="102870"/>
                  </a:lnTo>
                  <a:lnTo>
                    <a:pt x="241122" y="101600"/>
                  </a:lnTo>
                  <a:lnTo>
                    <a:pt x="241858" y="104140"/>
                  </a:lnTo>
                  <a:lnTo>
                    <a:pt x="242824" y="101600"/>
                  </a:lnTo>
                  <a:lnTo>
                    <a:pt x="244843" y="101600"/>
                  </a:lnTo>
                  <a:lnTo>
                    <a:pt x="244652" y="100330"/>
                  </a:lnTo>
                  <a:lnTo>
                    <a:pt x="245046" y="99060"/>
                  </a:lnTo>
                  <a:lnTo>
                    <a:pt x="245833" y="99060"/>
                  </a:lnTo>
                  <a:lnTo>
                    <a:pt x="246189" y="97790"/>
                  </a:lnTo>
                  <a:lnTo>
                    <a:pt x="245757"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07" y="91440"/>
                  </a:lnTo>
                  <a:lnTo>
                    <a:pt x="253085" y="90170"/>
                  </a:lnTo>
                  <a:lnTo>
                    <a:pt x="254050" y="88900"/>
                  </a:lnTo>
                  <a:lnTo>
                    <a:pt x="254901" y="87630"/>
                  </a:lnTo>
                  <a:lnTo>
                    <a:pt x="255524" y="88900"/>
                  </a:lnTo>
                  <a:lnTo>
                    <a:pt x="255625" y="87630"/>
                  </a:lnTo>
                  <a:lnTo>
                    <a:pt x="255854" y="86360"/>
                  </a:lnTo>
                  <a:lnTo>
                    <a:pt x="256603" y="86360"/>
                  </a:lnTo>
                  <a:lnTo>
                    <a:pt x="257670" y="85090"/>
                  </a:lnTo>
                  <a:lnTo>
                    <a:pt x="258343" y="85090"/>
                  </a:lnTo>
                  <a:lnTo>
                    <a:pt x="258445" y="83820"/>
                  </a:lnTo>
                  <a:lnTo>
                    <a:pt x="260108" y="83820"/>
                  </a:lnTo>
                  <a:lnTo>
                    <a:pt x="260286" y="82550"/>
                  </a:lnTo>
                  <a:lnTo>
                    <a:pt x="261264" y="81280"/>
                  </a:lnTo>
                  <a:lnTo>
                    <a:pt x="261327" y="80010"/>
                  </a:lnTo>
                  <a:lnTo>
                    <a:pt x="263588" y="78740"/>
                  </a:lnTo>
                  <a:lnTo>
                    <a:pt x="263817" y="78740"/>
                  </a:lnTo>
                  <a:lnTo>
                    <a:pt x="263652" y="77470"/>
                  </a:lnTo>
                  <a:lnTo>
                    <a:pt x="264972" y="77470"/>
                  </a:lnTo>
                  <a:lnTo>
                    <a:pt x="265341" y="76200"/>
                  </a:lnTo>
                  <a:lnTo>
                    <a:pt x="265480" y="76200"/>
                  </a:lnTo>
                  <a:lnTo>
                    <a:pt x="266014" y="74930"/>
                  </a:lnTo>
                  <a:lnTo>
                    <a:pt x="268185" y="74930"/>
                  </a:lnTo>
                  <a:lnTo>
                    <a:pt x="267639" y="73660"/>
                  </a:lnTo>
                  <a:lnTo>
                    <a:pt x="268173" y="72390"/>
                  </a:lnTo>
                  <a:lnTo>
                    <a:pt x="270167" y="72390"/>
                  </a:lnTo>
                  <a:lnTo>
                    <a:pt x="271322" y="69850"/>
                  </a:lnTo>
                  <a:lnTo>
                    <a:pt x="273316" y="68580"/>
                  </a:lnTo>
                  <a:lnTo>
                    <a:pt x="274980" y="66040"/>
                  </a:lnTo>
                  <a:lnTo>
                    <a:pt x="275475" y="66040"/>
                  </a:lnTo>
                  <a:lnTo>
                    <a:pt x="276250" y="64770"/>
                  </a:lnTo>
                  <a:lnTo>
                    <a:pt x="276529" y="64770"/>
                  </a:lnTo>
                  <a:lnTo>
                    <a:pt x="276402" y="63500"/>
                  </a:lnTo>
                  <a:lnTo>
                    <a:pt x="277139" y="63500"/>
                  </a:lnTo>
                  <a:lnTo>
                    <a:pt x="277329" y="62230"/>
                  </a:lnTo>
                  <a:lnTo>
                    <a:pt x="278688" y="62230"/>
                  </a:lnTo>
                  <a:lnTo>
                    <a:pt x="279247" y="60960"/>
                  </a:lnTo>
                  <a:lnTo>
                    <a:pt x="280593" y="58420"/>
                  </a:lnTo>
                  <a:lnTo>
                    <a:pt x="282359" y="59690"/>
                  </a:lnTo>
                  <a:lnTo>
                    <a:pt x="282587" y="58420"/>
                  </a:lnTo>
                  <a:lnTo>
                    <a:pt x="283679" y="55880"/>
                  </a:lnTo>
                  <a:lnTo>
                    <a:pt x="283578" y="54610"/>
                  </a:lnTo>
                  <a:lnTo>
                    <a:pt x="285305" y="54610"/>
                  </a:lnTo>
                  <a:lnTo>
                    <a:pt x="285902" y="53340"/>
                  </a:lnTo>
                  <a:lnTo>
                    <a:pt x="287540" y="53340"/>
                  </a:lnTo>
                  <a:lnTo>
                    <a:pt x="287388" y="52070"/>
                  </a:lnTo>
                  <a:lnTo>
                    <a:pt x="287782" y="50800"/>
                  </a:lnTo>
                  <a:lnTo>
                    <a:pt x="288607" y="50800"/>
                  </a:lnTo>
                  <a:lnTo>
                    <a:pt x="289826" y="49530"/>
                  </a:lnTo>
                  <a:lnTo>
                    <a:pt x="288899" y="52070"/>
                  </a:lnTo>
                  <a:lnTo>
                    <a:pt x="290220" y="49530"/>
                  </a:lnTo>
                  <a:lnTo>
                    <a:pt x="292862" y="45720"/>
                  </a:lnTo>
                  <a:lnTo>
                    <a:pt x="293446" y="44450"/>
                  </a:lnTo>
                  <a:lnTo>
                    <a:pt x="293636" y="45720"/>
                  </a:lnTo>
                  <a:lnTo>
                    <a:pt x="294462" y="45720"/>
                  </a:lnTo>
                  <a:lnTo>
                    <a:pt x="294462" y="44450"/>
                  </a:lnTo>
                  <a:lnTo>
                    <a:pt x="294741" y="44450"/>
                  </a:lnTo>
                  <a:lnTo>
                    <a:pt x="295859" y="43180"/>
                  </a:lnTo>
                  <a:lnTo>
                    <a:pt x="296062" y="43180"/>
                  </a:lnTo>
                  <a:lnTo>
                    <a:pt x="295046" y="41910"/>
                  </a:lnTo>
                  <a:lnTo>
                    <a:pt x="297916" y="41910"/>
                  </a:lnTo>
                  <a:lnTo>
                    <a:pt x="297484" y="40640"/>
                  </a:lnTo>
                  <a:lnTo>
                    <a:pt x="296481" y="40640"/>
                  </a:lnTo>
                  <a:lnTo>
                    <a:pt x="297307"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11" y="30480"/>
                  </a:lnTo>
                  <a:lnTo>
                    <a:pt x="308775" y="30480"/>
                  </a:lnTo>
                  <a:lnTo>
                    <a:pt x="311721" y="27940"/>
                  </a:lnTo>
                  <a:lnTo>
                    <a:pt x="317373" y="22860"/>
                  </a:lnTo>
                  <a:lnTo>
                    <a:pt x="318744" y="22860"/>
                  </a:lnTo>
                  <a:lnTo>
                    <a:pt x="317474" y="21590"/>
                  </a:lnTo>
                  <a:lnTo>
                    <a:pt x="318731" y="21590"/>
                  </a:lnTo>
                  <a:lnTo>
                    <a:pt x="319163" y="22860"/>
                  </a:lnTo>
                  <a:lnTo>
                    <a:pt x="319671" y="21590"/>
                  </a:lnTo>
                  <a:lnTo>
                    <a:pt x="320167" y="20320"/>
                  </a:lnTo>
                  <a:lnTo>
                    <a:pt x="321970" y="19050"/>
                  </a:lnTo>
                  <a:lnTo>
                    <a:pt x="324866" y="17780"/>
                  </a:lnTo>
                  <a:lnTo>
                    <a:pt x="325742" y="17780"/>
                  </a:lnTo>
                  <a:lnTo>
                    <a:pt x="326644" y="16510"/>
                  </a:lnTo>
                  <a:lnTo>
                    <a:pt x="327545" y="15240"/>
                  </a:lnTo>
                  <a:lnTo>
                    <a:pt x="328422" y="15240"/>
                  </a:lnTo>
                  <a:lnTo>
                    <a:pt x="329704" y="13970"/>
                  </a:lnTo>
                  <a:lnTo>
                    <a:pt x="328244" y="13970"/>
                  </a:lnTo>
                  <a:lnTo>
                    <a:pt x="327850" y="14020"/>
                  </a:lnTo>
                  <a:lnTo>
                    <a:pt x="327507" y="14173"/>
                  </a:lnTo>
                  <a:lnTo>
                    <a:pt x="327660" y="14274"/>
                  </a:lnTo>
                  <a:lnTo>
                    <a:pt x="326110" y="15240"/>
                  </a:lnTo>
                  <a:lnTo>
                    <a:pt x="326326" y="13970"/>
                  </a:lnTo>
                  <a:lnTo>
                    <a:pt x="327469" y="13970"/>
                  </a:lnTo>
                  <a:lnTo>
                    <a:pt x="327964" y="12700"/>
                  </a:lnTo>
                  <a:lnTo>
                    <a:pt x="329996" y="12700"/>
                  </a:lnTo>
                  <a:lnTo>
                    <a:pt x="330377" y="13970"/>
                  </a:lnTo>
                  <a:lnTo>
                    <a:pt x="331533" y="12700"/>
                  </a:lnTo>
                  <a:lnTo>
                    <a:pt x="330441" y="12700"/>
                  </a:lnTo>
                  <a:lnTo>
                    <a:pt x="330339" y="12306"/>
                  </a:lnTo>
                  <a:lnTo>
                    <a:pt x="332041" y="11785"/>
                  </a:lnTo>
                  <a:lnTo>
                    <a:pt x="332574" y="9982"/>
                  </a:lnTo>
                  <a:lnTo>
                    <a:pt x="332994" y="9690"/>
                  </a:lnTo>
                  <a:lnTo>
                    <a:pt x="333375" y="9918"/>
                  </a:lnTo>
                  <a:close/>
                </a:path>
              </a:pathLst>
            </a:custGeom>
            <a:solidFill>
              <a:srgbClr val="D02929"/>
            </a:solidFill>
          </p:spPr>
          <p:txBody>
            <a:bodyPr wrap="square" lIns="0" tIns="0" rIns="0" bIns="0" rtlCol="0"/>
            <a:lstStyle/>
            <a:p>
              <a:endParaRPr/>
            </a:p>
          </p:txBody>
        </p:sp>
      </p:grpSp>
      <p:sp>
        <p:nvSpPr>
          <p:cNvPr id="21" name="object 21"/>
          <p:cNvSpPr txBox="1"/>
          <p:nvPr/>
        </p:nvSpPr>
        <p:spPr>
          <a:xfrm>
            <a:off x="13762059" y="4485664"/>
            <a:ext cx="2311400" cy="330835"/>
          </a:xfrm>
          <a:prstGeom prst="rect">
            <a:avLst/>
          </a:prstGeom>
        </p:spPr>
        <p:txBody>
          <a:bodyPr vert="horz" wrap="square" lIns="0" tIns="12700" rIns="0" bIns="0" rtlCol="0">
            <a:spAutoFit/>
          </a:bodyPr>
          <a:lstStyle/>
          <a:p>
            <a:pPr marL="12700">
              <a:lnSpc>
                <a:spcPct val="100000"/>
              </a:lnSpc>
              <a:spcBef>
                <a:spcPts val="100"/>
              </a:spcBef>
            </a:pPr>
            <a:r>
              <a:rPr sz="2000" b="1" spc="-10" dirty="0">
                <a:solidFill>
                  <a:srgbClr val="FFFFFF"/>
                </a:solidFill>
                <a:latin typeface="Roboto"/>
                <a:cs typeface="Roboto"/>
              </a:rPr>
              <a:t>POSICIONAMIENTO</a:t>
            </a:r>
            <a:endParaRPr sz="2000">
              <a:latin typeface="Roboto"/>
              <a:cs typeface="Roboto"/>
            </a:endParaRPr>
          </a:p>
        </p:txBody>
      </p:sp>
      <p:grpSp>
        <p:nvGrpSpPr>
          <p:cNvPr id="22" name="object 22"/>
          <p:cNvGrpSpPr/>
          <p:nvPr/>
        </p:nvGrpSpPr>
        <p:grpSpPr>
          <a:xfrm>
            <a:off x="1993859" y="237491"/>
            <a:ext cx="16066135" cy="8265795"/>
            <a:chOff x="1993859" y="237491"/>
            <a:chExt cx="16066135" cy="8265795"/>
          </a:xfrm>
        </p:grpSpPr>
        <p:sp>
          <p:nvSpPr>
            <p:cNvPr id="23" name="object 23"/>
            <p:cNvSpPr/>
            <p:nvPr/>
          </p:nvSpPr>
          <p:spPr>
            <a:xfrm>
              <a:off x="5734065" y="6369041"/>
              <a:ext cx="0" cy="2134235"/>
            </a:xfrm>
            <a:custGeom>
              <a:avLst/>
              <a:gdLst/>
              <a:ahLst/>
              <a:cxnLst/>
              <a:rect l="l" t="t" r="r" b="b"/>
              <a:pathLst>
                <a:path h="2134234">
                  <a:moveTo>
                    <a:pt x="0" y="0"/>
                  </a:moveTo>
                  <a:lnTo>
                    <a:pt x="0" y="2133745"/>
                  </a:lnTo>
                </a:path>
              </a:pathLst>
            </a:custGeom>
            <a:ln w="9525">
              <a:solidFill>
                <a:srgbClr val="737373"/>
              </a:solidFill>
            </a:ln>
          </p:spPr>
          <p:txBody>
            <a:bodyPr wrap="square" lIns="0" tIns="0" rIns="0" bIns="0" rtlCol="0"/>
            <a:lstStyle/>
            <a:p>
              <a:endParaRPr/>
            </a:p>
          </p:txBody>
        </p:sp>
        <p:sp>
          <p:nvSpPr>
            <p:cNvPr id="24" name="object 24"/>
            <p:cNvSpPr/>
            <p:nvPr/>
          </p:nvSpPr>
          <p:spPr>
            <a:xfrm>
              <a:off x="11790047" y="6369041"/>
              <a:ext cx="0" cy="2134235"/>
            </a:xfrm>
            <a:custGeom>
              <a:avLst/>
              <a:gdLst/>
              <a:ahLst/>
              <a:cxnLst/>
              <a:rect l="l" t="t" r="r" b="b"/>
              <a:pathLst>
                <a:path h="2134234">
                  <a:moveTo>
                    <a:pt x="0" y="0"/>
                  </a:moveTo>
                  <a:lnTo>
                    <a:pt x="0" y="2133745"/>
                  </a:lnTo>
                </a:path>
              </a:pathLst>
            </a:custGeom>
            <a:ln w="9525">
              <a:solidFill>
                <a:srgbClr val="737373"/>
              </a:solidFill>
            </a:ln>
          </p:spPr>
          <p:txBody>
            <a:bodyPr wrap="square" lIns="0" tIns="0" rIns="0" bIns="0" rtlCol="0"/>
            <a:lstStyle/>
            <a:p>
              <a:endParaRPr/>
            </a:p>
          </p:txBody>
        </p:sp>
        <p:sp>
          <p:nvSpPr>
            <p:cNvPr id="25" name="object 25"/>
            <p:cNvSpPr/>
            <p:nvPr/>
          </p:nvSpPr>
          <p:spPr>
            <a:xfrm>
              <a:off x="3849077" y="6501584"/>
              <a:ext cx="1174115" cy="1174115"/>
            </a:xfrm>
            <a:custGeom>
              <a:avLst/>
              <a:gdLst/>
              <a:ahLst/>
              <a:cxnLst/>
              <a:rect l="l" t="t" r="r" b="b"/>
              <a:pathLst>
                <a:path w="1174114" h="1174115">
                  <a:moveTo>
                    <a:pt x="587048" y="1174093"/>
                  </a:moveTo>
                  <a:lnTo>
                    <a:pt x="538899" y="1172147"/>
                  </a:lnTo>
                  <a:lnTo>
                    <a:pt x="491824" y="1166409"/>
                  </a:lnTo>
                  <a:lnTo>
                    <a:pt x="445972" y="1157032"/>
                  </a:lnTo>
                  <a:lnTo>
                    <a:pt x="401494" y="1144165"/>
                  </a:lnTo>
                  <a:lnTo>
                    <a:pt x="358541" y="1127960"/>
                  </a:lnTo>
                  <a:lnTo>
                    <a:pt x="317264" y="1108568"/>
                  </a:lnTo>
                  <a:lnTo>
                    <a:pt x="277815" y="1086140"/>
                  </a:lnTo>
                  <a:lnTo>
                    <a:pt x="240344" y="1060827"/>
                  </a:lnTo>
                  <a:lnTo>
                    <a:pt x="205002" y="1032780"/>
                  </a:lnTo>
                  <a:lnTo>
                    <a:pt x="171941" y="1002151"/>
                  </a:lnTo>
                  <a:lnTo>
                    <a:pt x="141312" y="969090"/>
                  </a:lnTo>
                  <a:lnTo>
                    <a:pt x="113265" y="933748"/>
                  </a:lnTo>
                  <a:lnTo>
                    <a:pt x="87952" y="896277"/>
                  </a:lnTo>
                  <a:lnTo>
                    <a:pt x="65524" y="856828"/>
                  </a:lnTo>
                  <a:lnTo>
                    <a:pt x="46132" y="815551"/>
                  </a:lnTo>
                  <a:lnTo>
                    <a:pt x="29927" y="772598"/>
                  </a:lnTo>
                  <a:lnTo>
                    <a:pt x="17060" y="728120"/>
                  </a:lnTo>
                  <a:lnTo>
                    <a:pt x="7683" y="682268"/>
                  </a:lnTo>
                  <a:lnTo>
                    <a:pt x="1945" y="635193"/>
                  </a:lnTo>
                  <a:lnTo>
                    <a:pt x="0" y="587038"/>
                  </a:lnTo>
                  <a:lnTo>
                    <a:pt x="1945" y="538899"/>
                  </a:lnTo>
                  <a:lnTo>
                    <a:pt x="7683" y="491824"/>
                  </a:lnTo>
                  <a:lnTo>
                    <a:pt x="17060" y="445972"/>
                  </a:lnTo>
                  <a:lnTo>
                    <a:pt x="29927" y="401494"/>
                  </a:lnTo>
                  <a:lnTo>
                    <a:pt x="46132" y="358541"/>
                  </a:lnTo>
                  <a:lnTo>
                    <a:pt x="65524" y="317264"/>
                  </a:lnTo>
                  <a:lnTo>
                    <a:pt x="87952" y="277815"/>
                  </a:lnTo>
                  <a:lnTo>
                    <a:pt x="113265" y="240344"/>
                  </a:lnTo>
                  <a:lnTo>
                    <a:pt x="141312" y="205002"/>
                  </a:lnTo>
                  <a:lnTo>
                    <a:pt x="171941" y="171941"/>
                  </a:lnTo>
                  <a:lnTo>
                    <a:pt x="205002" y="141312"/>
                  </a:lnTo>
                  <a:lnTo>
                    <a:pt x="240344" y="113265"/>
                  </a:lnTo>
                  <a:lnTo>
                    <a:pt x="277815" y="87953"/>
                  </a:lnTo>
                  <a:lnTo>
                    <a:pt x="317264" y="65525"/>
                  </a:lnTo>
                  <a:lnTo>
                    <a:pt x="358541" y="46133"/>
                  </a:lnTo>
                  <a:lnTo>
                    <a:pt x="401494" y="29928"/>
                  </a:lnTo>
                  <a:lnTo>
                    <a:pt x="445972" y="17061"/>
                  </a:lnTo>
                  <a:lnTo>
                    <a:pt x="491824" y="7683"/>
                  </a:lnTo>
                  <a:lnTo>
                    <a:pt x="538899" y="1946"/>
                  </a:lnTo>
                  <a:lnTo>
                    <a:pt x="587046" y="0"/>
                  </a:lnTo>
                  <a:lnTo>
                    <a:pt x="635193" y="1946"/>
                  </a:lnTo>
                  <a:lnTo>
                    <a:pt x="682268" y="7683"/>
                  </a:lnTo>
                  <a:lnTo>
                    <a:pt x="728120" y="17061"/>
                  </a:lnTo>
                  <a:lnTo>
                    <a:pt x="772598" y="29928"/>
                  </a:lnTo>
                  <a:lnTo>
                    <a:pt x="815551" y="46133"/>
                  </a:lnTo>
                  <a:lnTo>
                    <a:pt x="856828" y="65525"/>
                  </a:lnTo>
                  <a:lnTo>
                    <a:pt x="896277" y="87953"/>
                  </a:lnTo>
                  <a:lnTo>
                    <a:pt x="933748" y="113265"/>
                  </a:lnTo>
                  <a:lnTo>
                    <a:pt x="969090" y="141312"/>
                  </a:lnTo>
                  <a:lnTo>
                    <a:pt x="1002151" y="171941"/>
                  </a:lnTo>
                  <a:lnTo>
                    <a:pt x="1032780" y="205002"/>
                  </a:lnTo>
                  <a:lnTo>
                    <a:pt x="1060827" y="240344"/>
                  </a:lnTo>
                  <a:lnTo>
                    <a:pt x="1086140" y="277815"/>
                  </a:lnTo>
                  <a:lnTo>
                    <a:pt x="1108568" y="317264"/>
                  </a:lnTo>
                  <a:lnTo>
                    <a:pt x="1127960" y="358541"/>
                  </a:lnTo>
                  <a:lnTo>
                    <a:pt x="1144165" y="401494"/>
                  </a:lnTo>
                  <a:lnTo>
                    <a:pt x="1157032" y="445972"/>
                  </a:lnTo>
                  <a:lnTo>
                    <a:pt x="1166409" y="491824"/>
                  </a:lnTo>
                  <a:lnTo>
                    <a:pt x="1172147" y="538899"/>
                  </a:lnTo>
                  <a:lnTo>
                    <a:pt x="1174092" y="587046"/>
                  </a:lnTo>
                  <a:lnTo>
                    <a:pt x="1172147" y="635193"/>
                  </a:lnTo>
                  <a:lnTo>
                    <a:pt x="1166409" y="682268"/>
                  </a:lnTo>
                  <a:lnTo>
                    <a:pt x="1157032" y="728120"/>
                  </a:lnTo>
                  <a:lnTo>
                    <a:pt x="1144165" y="772598"/>
                  </a:lnTo>
                  <a:lnTo>
                    <a:pt x="1127960" y="815551"/>
                  </a:lnTo>
                  <a:lnTo>
                    <a:pt x="1108568" y="856828"/>
                  </a:lnTo>
                  <a:lnTo>
                    <a:pt x="1086140" y="896277"/>
                  </a:lnTo>
                  <a:lnTo>
                    <a:pt x="1060827" y="933748"/>
                  </a:lnTo>
                  <a:lnTo>
                    <a:pt x="1032780" y="969090"/>
                  </a:lnTo>
                  <a:lnTo>
                    <a:pt x="1002151" y="1002151"/>
                  </a:lnTo>
                  <a:lnTo>
                    <a:pt x="969090" y="1032780"/>
                  </a:lnTo>
                  <a:lnTo>
                    <a:pt x="933748" y="1060827"/>
                  </a:lnTo>
                  <a:lnTo>
                    <a:pt x="896277" y="1086140"/>
                  </a:lnTo>
                  <a:lnTo>
                    <a:pt x="856828" y="1108568"/>
                  </a:lnTo>
                  <a:lnTo>
                    <a:pt x="815551" y="1127960"/>
                  </a:lnTo>
                  <a:lnTo>
                    <a:pt x="772598" y="1144165"/>
                  </a:lnTo>
                  <a:lnTo>
                    <a:pt x="728120" y="1157032"/>
                  </a:lnTo>
                  <a:lnTo>
                    <a:pt x="682268" y="1166409"/>
                  </a:lnTo>
                  <a:lnTo>
                    <a:pt x="635193" y="1172147"/>
                  </a:lnTo>
                  <a:lnTo>
                    <a:pt x="587048" y="1174093"/>
                  </a:lnTo>
                  <a:close/>
                </a:path>
              </a:pathLst>
            </a:custGeom>
            <a:solidFill>
              <a:srgbClr val="0090AE"/>
            </a:solidFill>
          </p:spPr>
          <p:txBody>
            <a:bodyPr wrap="square" lIns="0" tIns="0" rIns="0" bIns="0" rtlCol="0"/>
            <a:lstStyle/>
            <a:p>
              <a:endParaRPr/>
            </a:p>
          </p:txBody>
        </p:sp>
        <p:sp>
          <p:nvSpPr>
            <p:cNvPr id="26" name="object 26"/>
            <p:cNvSpPr/>
            <p:nvPr/>
          </p:nvSpPr>
          <p:spPr>
            <a:xfrm>
              <a:off x="4152379" y="6837400"/>
              <a:ext cx="570865" cy="592455"/>
            </a:xfrm>
            <a:custGeom>
              <a:avLst/>
              <a:gdLst/>
              <a:ahLst/>
              <a:cxnLst/>
              <a:rect l="l" t="t" r="r" b="b"/>
              <a:pathLst>
                <a:path w="570864" h="592454">
                  <a:moveTo>
                    <a:pt x="523087" y="374408"/>
                  </a:moveTo>
                  <a:lnTo>
                    <a:pt x="522605" y="354380"/>
                  </a:lnTo>
                  <a:lnTo>
                    <a:pt x="515073" y="335686"/>
                  </a:lnTo>
                  <a:lnTo>
                    <a:pt x="501192" y="322122"/>
                  </a:lnTo>
                  <a:lnTo>
                    <a:pt x="482981" y="314960"/>
                  </a:lnTo>
                  <a:lnTo>
                    <a:pt x="462483" y="315429"/>
                  </a:lnTo>
                  <a:lnTo>
                    <a:pt x="427913" y="321957"/>
                  </a:lnTo>
                  <a:lnTo>
                    <a:pt x="388823" y="326910"/>
                  </a:lnTo>
                  <a:lnTo>
                    <a:pt x="326161" y="325869"/>
                  </a:lnTo>
                  <a:lnTo>
                    <a:pt x="288124" y="290550"/>
                  </a:lnTo>
                  <a:lnTo>
                    <a:pt x="266001" y="266496"/>
                  </a:lnTo>
                  <a:lnTo>
                    <a:pt x="256425" y="256400"/>
                  </a:lnTo>
                  <a:lnTo>
                    <a:pt x="223393" y="224269"/>
                  </a:lnTo>
                  <a:lnTo>
                    <a:pt x="172364" y="196494"/>
                  </a:lnTo>
                  <a:lnTo>
                    <a:pt x="137388" y="190563"/>
                  </a:lnTo>
                  <a:lnTo>
                    <a:pt x="93281" y="190754"/>
                  </a:lnTo>
                  <a:lnTo>
                    <a:pt x="51155" y="203733"/>
                  </a:lnTo>
                  <a:lnTo>
                    <a:pt x="22072" y="236143"/>
                  </a:lnTo>
                  <a:lnTo>
                    <a:pt x="6045" y="310146"/>
                  </a:lnTo>
                  <a:lnTo>
                    <a:pt x="2222" y="359041"/>
                  </a:lnTo>
                  <a:lnTo>
                    <a:pt x="393" y="412445"/>
                  </a:lnTo>
                  <a:lnTo>
                    <a:pt x="0" y="467804"/>
                  </a:lnTo>
                  <a:lnTo>
                    <a:pt x="419" y="522566"/>
                  </a:lnTo>
                  <a:lnTo>
                    <a:pt x="1092" y="574179"/>
                  </a:lnTo>
                  <a:lnTo>
                    <a:pt x="1092" y="583920"/>
                  </a:lnTo>
                  <a:lnTo>
                    <a:pt x="7391" y="592264"/>
                  </a:lnTo>
                  <a:lnTo>
                    <a:pt x="219900" y="592264"/>
                  </a:lnTo>
                  <a:lnTo>
                    <a:pt x="233260" y="445795"/>
                  </a:lnTo>
                  <a:lnTo>
                    <a:pt x="236677" y="383603"/>
                  </a:lnTo>
                  <a:lnTo>
                    <a:pt x="250342" y="396036"/>
                  </a:lnTo>
                  <a:lnTo>
                    <a:pt x="293306" y="421855"/>
                  </a:lnTo>
                  <a:lnTo>
                    <a:pt x="340499" y="429780"/>
                  </a:lnTo>
                  <a:lnTo>
                    <a:pt x="357619" y="430199"/>
                  </a:lnTo>
                  <a:lnTo>
                    <a:pt x="398335" y="428294"/>
                  </a:lnTo>
                  <a:lnTo>
                    <a:pt x="465861" y="418757"/>
                  </a:lnTo>
                  <a:lnTo>
                    <a:pt x="502551" y="406615"/>
                  </a:lnTo>
                  <a:lnTo>
                    <a:pt x="515962" y="392468"/>
                  </a:lnTo>
                  <a:lnTo>
                    <a:pt x="523087" y="374408"/>
                  </a:lnTo>
                  <a:close/>
                </a:path>
                <a:path w="570864" h="592454">
                  <a:moveTo>
                    <a:pt x="570484" y="32600"/>
                  </a:moveTo>
                  <a:lnTo>
                    <a:pt x="568134" y="20370"/>
                  </a:lnTo>
                  <a:lnTo>
                    <a:pt x="561047" y="9385"/>
                  </a:lnTo>
                  <a:lnTo>
                    <a:pt x="550303" y="2336"/>
                  </a:lnTo>
                  <a:lnTo>
                    <a:pt x="537984" y="0"/>
                  </a:lnTo>
                  <a:lnTo>
                    <a:pt x="525665" y="2336"/>
                  </a:lnTo>
                  <a:lnTo>
                    <a:pt x="514908" y="9385"/>
                  </a:lnTo>
                  <a:lnTo>
                    <a:pt x="468071" y="55981"/>
                  </a:lnTo>
                  <a:lnTo>
                    <a:pt x="440105" y="46253"/>
                  </a:lnTo>
                  <a:lnTo>
                    <a:pt x="447802" y="38595"/>
                  </a:lnTo>
                  <a:lnTo>
                    <a:pt x="447802" y="32334"/>
                  </a:lnTo>
                  <a:lnTo>
                    <a:pt x="443611" y="28854"/>
                  </a:lnTo>
                  <a:lnTo>
                    <a:pt x="439407" y="24688"/>
                  </a:lnTo>
                  <a:lnTo>
                    <a:pt x="433120" y="24688"/>
                  </a:lnTo>
                  <a:lnTo>
                    <a:pt x="429628" y="28854"/>
                  </a:lnTo>
                  <a:lnTo>
                    <a:pt x="419138" y="39293"/>
                  </a:lnTo>
                  <a:lnTo>
                    <a:pt x="391871" y="29552"/>
                  </a:lnTo>
                  <a:lnTo>
                    <a:pt x="397471" y="23990"/>
                  </a:lnTo>
                  <a:lnTo>
                    <a:pt x="397471" y="17729"/>
                  </a:lnTo>
                  <a:lnTo>
                    <a:pt x="393268" y="14249"/>
                  </a:lnTo>
                  <a:lnTo>
                    <a:pt x="389077" y="10083"/>
                  </a:lnTo>
                  <a:lnTo>
                    <a:pt x="382790" y="10083"/>
                  </a:lnTo>
                  <a:lnTo>
                    <a:pt x="379298" y="14249"/>
                  </a:lnTo>
                  <a:lnTo>
                    <a:pt x="370903" y="22606"/>
                  </a:lnTo>
                  <a:lnTo>
                    <a:pt x="347840" y="14249"/>
                  </a:lnTo>
                  <a:lnTo>
                    <a:pt x="344335" y="12865"/>
                  </a:lnTo>
                  <a:lnTo>
                    <a:pt x="340842" y="14249"/>
                  </a:lnTo>
                  <a:lnTo>
                    <a:pt x="315671" y="39293"/>
                  </a:lnTo>
                  <a:lnTo>
                    <a:pt x="316382" y="46253"/>
                  </a:lnTo>
                  <a:lnTo>
                    <a:pt x="321271" y="49034"/>
                  </a:lnTo>
                  <a:lnTo>
                    <a:pt x="419138" y="108851"/>
                  </a:lnTo>
                  <a:lnTo>
                    <a:pt x="359016" y="179108"/>
                  </a:lnTo>
                  <a:lnTo>
                    <a:pt x="316382" y="167970"/>
                  </a:lnTo>
                  <a:lnTo>
                    <a:pt x="314274" y="168668"/>
                  </a:lnTo>
                  <a:lnTo>
                    <a:pt x="298894" y="183972"/>
                  </a:lnTo>
                  <a:lnTo>
                    <a:pt x="299593" y="189534"/>
                  </a:lnTo>
                  <a:lnTo>
                    <a:pt x="303796" y="191617"/>
                  </a:lnTo>
                  <a:lnTo>
                    <a:pt x="351332" y="217360"/>
                  </a:lnTo>
                  <a:lnTo>
                    <a:pt x="377190" y="264655"/>
                  </a:lnTo>
                  <a:lnTo>
                    <a:pt x="379298" y="268833"/>
                  </a:lnTo>
                  <a:lnTo>
                    <a:pt x="384886" y="269532"/>
                  </a:lnTo>
                  <a:lnTo>
                    <a:pt x="400265" y="254228"/>
                  </a:lnTo>
                  <a:lnTo>
                    <a:pt x="400964" y="252133"/>
                  </a:lnTo>
                  <a:lnTo>
                    <a:pt x="390474" y="210400"/>
                  </a:lnTo>
                  <a:lnTo>
                    <a:pt x="461086" y="150583"/>
                  </a:lnTo>
                  <a:lnTo>
                    <a:pt x="521208" y="248653"/>
                  </a:lnTo>
                  <a:lnTo>
                    <a:pt x="524002" y="253530"/>
                  </a:lnTo>
                  <a:lnTo>
                    <a:pt x="530987" y="254228"/>
                  </a:lnTo>
                  <a:lnTo>
                    <a:pt x="554062" y="231267"/>
                  </a:lnTo>
                  <a:lnTo>
                    <a:pt x="556856" y="229184"/>
                  </a:lnTo>
                  <a:lnTo>
                    <a:pt x="557555" y="225005"/>
                  </a:lnTo>
                  <a:lnTo>
                    <a:pt x="556158" y="222224"/>
                  </a:lnTo>
                  <a:lnTo>
                    <a:pt x="547763" y="199275"/>
                  </a:lnTo>
                  <a:lnTo>
                    <a:pt x="560349" y="186753"/>
                  </a:lnTo>
                  <a:lnTo>
                    <a:pt x="560349" y="180492"/>
                  </a:lnTo>
                  <a:lnTo>
                    <a:pt x="556158" y="177012"/>
                  </a:lnTo>
                  <a:lnTo>
                    <a:pt x="551967" y="172847"/>
                  </a:lnTo>
                  <a:lnTo>
                    <a:pt x="545668" y="172847"/>
                  </a:lnTo>
                  <a:lnTo>
                    <a:pt x="542175" y="177012"/>
                  </a:lnTo>
                  <a:lnTo>
                    <a:pt x="541477" y="178409"/>
                  </a:lnTo>
                  <a:lnTo>
                    <a:pt x="531685" y="151282"/>
                  </a:lnTo>
                  <a:lnTo>
                    <a:pt x="545668" y="137363"/>
                  </a:lnTo>
                  <a:lnTo>
                    <a:pt x="545668" y="131102"/>
                  </a:lnTo>
                  <a:lnTo>
                    <a:pt x="541477" y="127635"/>
                  </a:lnTo>
                  <a:lnTo>
                    <a:pt x="537286" y="123456"/>
                  </a:lnTo>
                  <a:lnTo>
                    <a:pt x="530987" y="123456"/>
                  </a:lnTo>
                  <a:lnTo>
                    <a:pt x="527494" y="127635"/>
                  </a:lnTo>
                  <a:lnTo>
                    <a:pt x="524002" y="131102"/>
                  </a:lnTo>
                  <a:lnTo>
                    <a:pt x="514210" y="101892"/>
                  </a:lnTo>
                  <a:lnTo>
                    <a:pt x="561047" y="55295"/>
                  </a:lnTo>
                  <a:lnTo>
                    <a:pt x="568134" y="44691"/>
                  </a:lnTo>
                  <a:lnTo>
                    <a:pt x="570484" y="32600"/>
                  </a:lnTo>
                  <a:close/>
                </a:path>
              </a:pathLst>
            </a:custGeom>
            <a:solidFill>
              <a:srgbClr val="FFFFFF"/>
            </a:solidFill>
          </p:spPr>
          <p:txBody>
            <a:bodyPr wrap="square" lIns="0" tIns="0" rIns="0" bIns="0" rtlCol="0"/>
            <a:lstStyle/>
            <a:p>
              <a:endParaRPr/>
            </a:p>
          </p:txBody>
        </p:sp>
        <p:pic>
          <p:nvPicPr>
            <p:cNvPr id="27" name="object 27"/>
            <p:cNvPicPr/>
            <p:nvPr/>
          </p:nvPicPr>
          <p:blipFill>
            <a:blip r:embed="rId2" cstate="print"/>
            <a:stretch>
              <a:fillRect/>
            </a:stretch>
          </p:blipFill>
          <p:spPr>
            <a:xfrm>
              <a:off x="4169560" y="6768874"/>
              <a:ext cx="232090" cy="230928"/>
            </a:xfrm>
            <a:prstGeom prst="rect">
              <a:avLst/>
            </a:prstGeom>
          </p:spPr>
        </p:pic>
        <p:sp>
          <p:nvSpPr>
            <p:cNvPr id="28" name="object 28"/>
            <p:cNvSpPr/>
            <p:nvPr/>
          </p:nvSpPr>
          <p:spPr>
            <a:xfrm>
              <a:off x="6314009" y="6529058"/>
              <a:ext cx="1174115" cy="1174115"/>
            </a:xfrm>
            <a:custGeom>
              <a:avLst/>
              <a:gdLst/>
              <a:ahLst/>
              <a:cxnLst/>
              <a:rect l="l" t="t" r="r" b="b"/>
              <a:pathLst>
                <a:path w="1174115" h="1174115">
                  <a:moveTo>
                    <a:pt x="587048" y="1174093"/>
                  </a:moveTo>
                  <a:lnTo>
                    <a:pt x="538899" y="1172147"/>
                  </a:lnTo>
                  <a:lnTo>
                    <a:pt x="491824" y="1166409"/>
                  </a:lnTo>
                  <a:lnTo>
                    <a:pt x="445972" y="1157032"/>
                  </a:lnTo>
                  <a:lnTo>
                    <a:pt x="401494" y="1144165"/>
                  </a:lnTo>
                  <a:lnTo>
                    <a:pt x="358541" y="1127960"/>
                  </a:lnTo>
                  <a:lnTo>
                    <a:pt x="317264" y="1108568"/>
                  </a:lnTo>
                  <a:lnTo>
                    <a:pt x="277815" y="1086140"/>
                  </a:lnTo>
                  <a:lnTo>
                    <a:pt x="240344" y="1060827"/>
                  </a:lnTo>
                  <a:lnTo>
                    <a:pt x="205002" y="1032780"/>
                  </a:lnTo>
                  <a:lnTo>
                    <a:pt x="171941" y="1002151"/>
                  </a:lnTo>
                  <a:lnTo>
                    <a:pt x="141312" y="969090"/>
                  </a:lnTo>
                  <a:lnTo>
                    <a:pt x="113265" y="933748"/>
                  </a:lnTo>
                  <a:lnTo>
                    <a:pt x="87952" y="896277"/>
                  </a:lnTo>
                  <a:lnTo>
                    <a:pt x="65524" y="856828"/>
                  </a:lnTo>
                  <a:lnTo>
                    <a:pt x="46132" y="815551"/>
                  </a:lnTo>
                  <a:lnTo>
                    <a:pt x="29927" y="772598"/>
                  </a:lnTo>
                  <a:lnTo>
                    <a:pt x="17060" y="728120"/>
                  </a:lnTo>
                  <a:lnTo>
                    <a:pt x="7683" y="682268"/>
                  </a:lnTo>
                  <a:lnTo>
                    <a:pt x="1945" y="635193"/>
                  </a:lnTo>
                  <a:lnTo>
                    <a:pt x="0" y="587039"/>
                  </a:lnTo>
                  <a:lnTo>
                    <a:pt x="1945" y="538899"/>
                  </a:lnTo>
                  <a:lnTo>
                    <a:pt x="7683" y="491824"/>
                  </a:lnTo>
                  <a:lnTo>
                    <a:pt x="17060" y="445972"/>
                  </a:lnTo>
                  <a:lnTo>
                    <a:pt x="29927" y="401494"/>
                  </a:lnTo>
                  <a:lnTo>
                    <a:pt x="46132" y="358541"/>
                  </a:lnTo>
                  <a:lnTo>
                    <a:pt x="65524" y="317264"/>
                  </a:lnTo>
                  <a:lnTo>
                    <a:pt x="87952" y="277815"/>
                  </a:lnTo>
                  <a:lnTo>
                    <a:pt x="113265" y="240344"/>
                  </a:lnTo>
                  <a:lnTo>
                    <a:pt x="141312" y="205002"/>
                  </a:lnTo>
                  <a:lnTo>
                    <a:pt x="171941" y="171941"/>
                  </a:lnTo>
                  <a:lnTo>
                    <a:pt x="205002" y="141312"/>
                  </a:lnTo>
                  <a:lnTo>
                    <a:pt x="240344" y="113265"/>
                  </a:lnTo>
                  <a:lnTo>
                    <a:pt x="277815" y="87953"/>
                  </a:lnTo>
                  <a:lnTo>
                    <a:pt x="317264" y="65525"/>
                  </a:lnTo>
                  <a:lnTo>
                    <a:pt x="358541" y="46133"/>
                  </a:lnTo>
                  <a:lnTo>
                    <a:pt x="401494" y="29928"/>
                  </a:lnTo>
                  <a:lnTo>
                    <a:pt x="445972" y="17061"/>
                  </a:lnTo>
                  <a:lnTo>
                    <a:pt x="491824" y="7683"/>
                  </a:lnTo>
                  <a:lnTo>
                    <a:pt x="538899" y="1946"/>
                  </a:lnTo>
                  <a:lnTo>
                    <a:pt x="587046" y="0"/>
                  </a:lnTo>
                  <a:lnTo>
                    <a:pt x="635193" y="1946"/>
                  </a:lnTo>
                  <a:lnTo>
                    <a:pt x="682268" y="7683"/>
                  </a:lnTo>
                  <a:lnTo>
                    <a:pt x="728120" y="17061"/>
                  </a:lnTo>
                  <a:lnTo>
                    <a:pt x="772598" y="29928"/>
                  </a:lnTo>
                  <a:lnTo>
                    <a:pt x="815551" y="46133"/>
                  </a:lnTo>
                  <a:lnTo>
                    <a:pt x="856827" y="65525"/>
                  </a:lnTo>
                  <a:lnTo>
                    <a:pt x="896277" y="87953"/>
                  </a:lnTo>
                  <a:lnTo>
                    <a:pt x="933748" y="113265"/>
                  </a:lnTo>
                  <a:lnTo>
                    <a:pt x="969089" y="141312"/>
                  </a:lnTo>
                  <a:lnTo>
                    <a:pt x="1002150" y="171941"/>
                  </a:lnTo>
                  <a:lnTo>
                    <a:pt x="1032780" y="205002"/>
                  </a:lnTo>
                  <a:lnTo>
                    <a:pt x="1060826" y="240344"/>
                  </a:lnTo>
                  <a:lnTo>
                    <a:pt x="1086139" y="277815"/>
                  </a:lnTo>
                  <a:lnTo>
                    <a:pt x="1108567" y="317264"/>
                  </a:lnTo>
                  <a:lnTo>
                    <a:pt x="1127959" y="358541"/>
                  </a:lnTo>
                  <a:lnTo>
                    <a:pt x="1144164" y="401494"/>
                  </a:lnTo>
                  <a:lnTo>
                    <a:pt x="1157031" y="445972"/>
                  </a:lnTo>
                  <a:lnTo>
                    <a:pt x="1166409" y="491824"/>
                  </a:lnTo>
                  <a:lnTo>
                    <a:pt x="1172146" y="538899"/>
                  </a:lnTo>
                  <a:lnTo>
                    <a:pt x="1174092" y="587046"/>
                  </a:lnTo>
                  <a:lnTo>
                    <a:pt x="1172146" y="635193"/>
                  </a:lnTo>
                  <a:lnTo>
                    <a:pt x="1166409" y="682268"/>
                  </a:lnTo>
                  <a:lnTo>
                    <a:pt x="1157031" y="728120"/>
                  </a:lnTo>
                  <a:lnTo>
                    <a:pt x="1144164" y="772598"/>
                  </a:lnTo>
                  <a:lnTo>
                    <a:pt x="1127959" y="815551"/>
                  </a:lnTo>
                  <a:lnTo>
                    <a:pt x="1108567" y="856828"/>
                  </a:lnTo>
                  <a:lnTo>
                    <a:pt x="1086139" y="896277"/>
                  </a:lnTo>
                  <a:lnTo>
                    <a:pt x="1060826" y="933748"/>
                  </a:lnTo>
                  <a:lnTo>
                    <a:pt x="1032780" y="969090"/>
                  </a:lnTo>
                  <a:lnTo>
                    <a:pt x="1002150" y="1002151"/>
                  </a:lnTo>
                  <a:lnTo>
                    <a:pt x="969089" y="1032780"/>
                  </a:lnTo>
                  <a:lnTo>
                    <a:pt x="933748" y="1060827"/>
                  </a:lnTo>
                  <a:lnTo>
                    <a:pt x="896277" y="1086140"/>
                  </a:lnTo>
                  <a:lnTo>
                    <a:pt x="856827" y="1108568"/>
                  </a:lnTo>
                  <a:lnTo>
                    <a:pt x="815551" y="1127960"/>
                  </a:lnTo>
                  <a:lnTo>
                    <a:pt x="772598" y="1144165"/>
                  </a:lnTo>
                  <a:lnTo>
                    <a:pt x="728120" y="1157032"/>
                  </a:lnTo>
                  <a:lnTo>
                    <a:pt x="682268" y="1166409"/>
                  </a:lnTo>
                  <a:lnTo>
                    <a:pt x="635193" y="1172147"/>
                  </a:lnTo>
                  <a:lnTo>
                    <a:pt x="587048" y="1174093"/>
                  </a:lnTo>
                  <a:close/>
                </a:path>
              </a:pathLst>
            </a:custGeom>
            <a:solidFill>
              <a:srgbClr val="21408B"/>
            </a:solidFill>
          </p:spPr>
          <p:txBody>
            <a:bodyPr wrap="square" lIns="0" tIns="0" rIns="0" bIns="0" rtlCol="0"/>
            <a:lstStyle/>
            <a:p>
              <a:endParaRPr/>
            </a:p>
          </p:txBody>
        </p:sp>
        <p:sp>
          <p:nvSpPr>
            <p:cNvPr id="29" name="object 29"/>
            <p:cNvSpPr/>
            <p:nvPr/>
          </p:nvSpPr>
          <p:spPr>
            <a:xfrm>
              <a:off x="12415033" y="6529058"/>
              <a:ext cx="1174115" cy="1174115"/>
            </a:xfrm>
            <a:custGeom>
              <a:avLst/>
              <a:gdLst/>
              <a:ahLst/>
              <a:cxnLst/>
              <a:rect l="l" t="t" r="r" b="b"/>
              <a:pathLst>
                <a:path w="1174115" h="1174115">
                  <a:moveTo>
                    <a:pt x="587048" y="1174093"/>
                  </a:moveTo>
                  <a:lnTo>
                    <a:pt x="538899" y="1172147"/>
                  </a:lnTo>
                  <a:lnTo>
                    <a:pt x="491824" y="1166409"/>
                  </a:lnTo>
                  <a:lnTo>
                    <a:pt x="445972" y="1157032"/>
                  </a:lnTo>
                  <a:lnTo>
                    <a:pt x="401494" y="1144165"/>
                  </a:lnTo>
                  <a:lnTo>
                    <a:pt x="358541" y="1127960"/>
                  </a:lnTo>
                  <a:lnTo>
                    <a:pt x="317264" y="1108568"/>
                  </a:lnTo>
                  <a:lnTo>
                    <a:pt x="277814" y="1086140"/>
                  </a:lnTo>
                  <a:lnTo>
                    <a:pt x="240343" y="1060827"/>
                  </a:lnTo>
                  <a:lnTo>
                    <a:pt x="205002" y="1032780"/>
                  </a:lnTo>
                  <a:lnTo>
                    <a:pt x="171941" y="1002151"/>
                  </a:lnTo>
                  <a:lnTo>
                    <a:pt x="141311" y="969090"/>
                  </a:lnTo>
                  <a:lnTo>
                    <a:pt x="113265" y="933748"/>
                  </a:lnTo>
                  <a:lnTo>
                    <a:pt x="87952" y="896277"/>
                  </a:lnTo>
                  <a:lnTo>
                    <a:pt x="65524" y="856828"/>
                  </a:lnTo>
                  <a:lnTo>
                    <a:pt x="46132" y="815551"/>
                  </a:lnTo>
                  <a:lnTo>
                    <a:pt x="29927" y="772598"/>
                  </a:lnTo>
                  <a:lnTo>
                    <a:pt x="17060" y="728120"/>
                  </a:lnTo>
                  <a:lnTo>
                    <a:pt x="7682" y="682268"/>
                  </a:lnTo>
                  <a:lnTo>
                    <a:pt x="1945" y="635193"/>
                  </a:lnTo>
                  <a:lnTo>
                    <a:pt x="0" y="587029"/>
                  </a:lnTo>
                  <a:lnTo>
                    <a:pt x="1945" y="538899"/>
                  </a:lnTo>
                  <a:lnTo>
                    <a:pt x="7682" y="491824"/>
                  </a:lnTo>
                  <a:lnTo>
                    <a:pt x="17060" y="445972"/>
                  </a:lnTo>
                  <a:lnTo>
                    <a:pt x="29927" y="401494"/>
                  </a:lnTo>
                  <a:lnTo>
                    <a:pt x="46132" y="358541"/>
                  </a:lnTo>
                  <a:lnTo>
                    <a:pt x="65524" y="317264"/>
                  </a:lnTo>
                  <a:lnTo>
                    <a:pt x="87952" y="277815"/>
                  </a:lnTo>
                  <a:lnTo>
                    <a:pt x="113265" y="240344"/>
                  </a:lnTo>
                  <a:lnTo>
                    <a:pt x="141311" y="205002"/>
                  </a:lnTo>
                  <a:lnTo>
                    <a:pt x="171941" y="171941"/>
                  </a:lnTo>
                  <a:lnTo>
                    <a:pt x="205002" y="141312"/>
                  </a:lnTo>
                  <a:lnTo>
                    <a:pt x="240343" y="113265"/>
                  </a:lnTo>
                  <a:lnTo>
                    <a:pt x="277814" y="87953"/>
                  </a:lnTo>
                  <a:lnTo>
                    <a:pt x="317264" y="65525"/>
                  </a:lnTo>
                  <a:lnTo>
                    <a:pt x="358541" y="46133"/>
                  </a:lnTo>
                  <a:lnTo>
                    <a:pt x="401494" y="29928"/>
                  </a:lnTo>
                  <a:lnTo>
                    <a:pt x="445972" y="17061"/>
                  </a:lnTo>
                  <a:lnTo>
                    <a:pt x="491824" y="7683"/>
                  </a:lnTo>
                  <a:lnTo>
                    <a:pt x="538899" y="1946"/>
                  </a:lnTo>
                  <a:lnTo>
                    <a:pt x="587046" y="0"/>
                  </a:lnTo>
                  <a:lnTo>
                    <a:pt x="635193" y="1946"/>
                  </a:lnTo>
                  <a:lnTo>
                    <a:pt x="682268" y="7683"/>
                  </a:lnTo>
                  <a:lnTo>
                    <a:pt x="728120" y="17061"/>
                  </a:lnTo>
                  <a:lnTo>
                    <a:pt x="772598" y="29928"/>
                  </a:lnTo>
                  <a:lnTo>
                    <a:pt x="815551" y="46133"/>
                  </a:lnTo>
                  <a:lnTo>
                    <a:pt x="856827" y="65525"/>
                  </a:lnTo>
                  <a:lnTo>
                    <a:pt x="896277" y="87953"/>
                  </a:lnTo>
                  <a:lnTo>
                    <a:pt x="933748" y="113265"/>
                  </a:lnTo>
                  <a:lnTo>
                    <a:pt x="969089" y="141312"/>
                  </a:lnTo>
                  <a:lnTo>
                    <a:pt x="1002150" y="171941"/>
                  </a:lnTo>
                  <a:lnTo>
                    <a:pt x="1032780" y="205002"/>
                  </a:lnTo>
                  <a:lnTo>
                    <a:pt x="1060827" y="240344"/>
                  </a:lnTo>
                  <a:lnTo>
                    <a:pt x="1086139" y="277815"/>
                  </a:lnTo>
                  <a:lnTo>
                    <a:pt x="1108567" y="317264"/>
                  </a:lnTo>
                  <a:lnTo>
                    <a:pt x="1127960" y="358541"/>
                  </a:lnTo>
                  <a:lnTo>
                    <a:pt x="1144165" y="401494"/>
                  </a:lnTo>
                  <a:lnTo>
                    <a:pt x="1157032" y="445972"/>
                  </a:lnTo>
                  <a:lnTo>
                    <a:pt x="1166409" y="491824"/>
                  </a:lnTo>
                  <a:lnTo>
                    <a:pt x="1172147" y="538899"/>
                  </a:lnTo>
                  <a:lnTo>
                    <a:pt x="1174091" y="587046"/>
                  </a:lnTo>
                  <a:lnTo>
                    <a:pt x="1172147" y="635193"/>
                  </a:lnTo>
                  <a:lnTo>
                    <a:pt x="1166409" y="682268"/>
                  </a:lnTo>
                  <a:lnTo>
                    <a:pt x="1157032" y="728120"/>
                  </a:lnTo>
                  <a:lnTo>
                    <a:pt x="1144165" y="772598"/>
                  </a:lnTo>
                  <a:lnTo>
                    <a:pt x="1127960" y="815551"/>
                  </a:lnTo>
                  <a:lnTo>
                    <a:pt x="1108567" y="856828"/>
                  </a:lnTo>
                  <a:lnTo>
                    <a:pt x="1086139" y="896277"/>
                  </a:lnTo>
                  <a:lnTo>
                    <a:pt x="1060827" y="933748"/>
                  </a:lnTo>
                  <a:lnTo>
                    <a:pt x="1032780" y="969090"/>
                  </a:lnTo>
                  <a:lnTo>
                    <a:pt x="1002150" y="1002151"/>
                  </a:lnTo>
                  <a:lnTo>
                    <a:pt x="969089" y="1032780"/>
                  </a:lnTo>
                  <a:lnTo>
                    <a:pt x="933748" y="1060827"/>
                  </a:lnTo>
                  <a:lnTo>
                    <a:pt x="896277" y="1086140"/>
                  </a:lnTo>
                  <a:lnTo>
                    <a:pt x="856827" y="1108568"/>
                  </a:lnTo>
                  <a:lnTo>
                    <a:pt x="815551" y="1127960"/>
                  </a:lnTo>
                  <a:lnTo>
                    <a:pt x="772598" y="1144165"/>
                  </a:lnTo>
                  <a:lnTo>
                    <a:pt x="728120" y="1157032"/>
                  </a:lnTo>
                  <a:lnTo>
                    <a:pt x="682268" y="1166409"/>
                  </a:lnTo>
                  <a:lnTo>
                    <a:pt x="635193" y="1172147"/>
                  </a:lnTo>
                  <a:lnTo>
                    <a:pt x="587048" y="1174093"/>
                  </a:lnTo>
                  <a:close/>
                </a:path>
              </a:pathLst>
            </a:custGeom>
            <a:solidFill>
              <a:srgbClr val="E3112B"/>
            </a:solidFill>
          </p:spPr>
          <p:txBody>
            <a:bodyPr wrap="square" lIns="0" tIns="0" rIns="0" bIns="0" rtlCol="0"/>
            <a:lstStyle/>
            <a:p>
              <a:endParaRPr/>
            </a:p>
          </p:txBody>
        </p:sp>
        <p:sp>
          <p:nvSpPr>
            <p:cNvPr id="30" name="object 30"/>
            <p:cNvSpPr/>
            <p:nvPr/>
          </p:nvSpPr>
          <p:spPr>
            <a:xfrm>
              <a:off x="10030231" y="6529069"/>
              <a:ext cx="7275195" cy="1174115"/>
            </a:xfrm>
            <a:custGeom>
              <a:avLst/>
              <a:gdLst/>
              <a:ahLst/>
              <a:cxnLst/>
              <a:rect l="l" t="t" r="r" b="b"/>
              <a:pathLst>
                <a:path w="7275194" h="1174115">
                  <a:moveTo>
                    <a:pt x="1174089" y="587044"/>
                  </a:moveTo>
                  <a:lnTo>
                    <a:pt x="1172146" y="538899"/>
                  </a:lnTo>
                  <a:lnTo>
                    <a:pt x="1166406" y="491820"/>
                  </a:lnTo>
                  <a:lnTo>
                    <a:pt x="1157020" y="445973"/>
                  </a:lnTo>
                  <a:lnTo>
                    <a:pt x="1144155" y="401485"/>
                  </a:lnTo>
                  <a:lnTo>
                    <a:pt x="1127950" y="358533"/>
                  </a:lnTo>
                  <a:lnTo>
                    <a:pt x="1108557" y="317258"/>
                  </a:lnTo>
                  <a:lnTo>
                    <a:pt x="1086129" y="277812"/>
                  </a:lnTo>
                  <a:lnTo>
                    <a:pt x="1060818" y="240334"/>
                  </a:lnTo>
                  <a:lnTo>
                    <a:pt x="1032776" y="205003"/>
                  </a:lnTo>
                  <a:lnTo>
                    <a:pt x="1002144" y="171932"/>
                  </a:lnTo>
                  <a:lnTo>
                    <a:pt x="969086" y="141312"/>
                  </a:lnTo>
                  <a:lnTo>
                    <a:pt x="933742" y="113258"/>
                  </a:lnTo>
                  <a:lnTo>
                    <a:pt x="896277" y="87947"/>
                  </a:lnTo>
                  <a:lnTo>
                    <a:pt x="856818" y="65519"/>
                  </a:lnTo>
                  <a:lnTo>
                    <a:pt x="815543" y="46126"/>
                  </a:lnTo>
                  <a:lnTo>
                    <a:pt x="772591" y="29921"/>
                  </a:lnTo>
                  <a:lnTo>
                    <a:pt x="728116" y="17056"/>
                  </a:lnTo>
                  <a:lnTo>
                    <a:pt x="682269" y="7683"/>
                  </a:lnTo>
                  <a:lnTo>
                    <a:pt x="635190" y="1943"/>
                  </a:lnTo>
                  <a:lnTo>
                    <a:pt x="587044" y="0"/>
                  </a:lnTo>
                  <a:lnTo>
                    <a:pt x="538899" y="1943"/>
                  </a:lnTo>
                  <a:lnTo>
                    <a:pt x="491820" y="7683"/>
                  </a:lnTo>
                  <a:lnTo>
                    <a:pt x="445973" y="17056"/>
                  </a:lnTo>
                  <a:lnTo>
                    <a:pt x="401485" y="29921"/>
                  </a:lnTo>
                  <a:lnTo>
                    <a:pt x="358533" y="46126"/>
                  </a:lnTo>
                  <a:lnTo>
                    <a:pt x="317258" y="65519"/>
                  </a:lnTo>
                  <a:lnTo>
                    <a:pt x="277812" y="87947"/>
                  </a:lnTo>
                  <a:lnTo>
                    <a:pt x="240334" y="113258"/>
                  </a:lnTo>
                  <a:lnTo>
                    <a:pt x="205003" y="141312"/>
                  </a:lnTo>
                  <a:lnTo>
                    <a:pt x="171932" y="171932"/>
                  </a:lnTo>
                  <a:lnTo>
                    <a:pt x="141312" y="205003"/>
                  </a:lnTo>
                  <a:lnTo>
                    <a:pt x="113258" y="240334"/>
                  </a:lnTo>
                  <a:lnTo>
                    <a:pt x="87947" y="277812"/>
                  </a:lnTo>
                  <a:lnTo>
                    <a:pt x="65519" y="317258"/>
                  </a:lnTo>
                  <a:lnTo>
                    <a:pt x="46126" y="358533"/>
                  </a:lnTo>
                  <a:lnTo>
                    <a:pt x="29921" y="401485"/>
                  </a:lnTo>
                  <a:lnTo>
                    <a:pt x="17056" y="445973"/>
                  </a:lnTo>
                  <a:lnTo>
                    <a:pt x="7683" y="491820"/>
                  </a:lnTo>
                  <a:lnTo>
                    <a:pt x="1943" y="538899"/>
                  </a:lnTo>
                  <a:lnTo>
                    <a:pt x="0" y="587032"/>
                  </a:lnTo>
                  <a:lnTo>
                    <a:pt x="1943" y="635190"/>
                  </a:lnTo>
                  <a:lnTo>
                    <a:pt x="7683" y="682269"/>
                  </a:lnTo>
                  <a:lnTo>
                    <a:pt x="17056" y="728116"/>
                  </a:lnTo>
                  <a:lnTo>
                    <a:pt x="29921" y="772591"/>
                  </a:lnTo>
                  <a:lnTo>
                    <a:pt x="46126" y="815543"/>
                  </a:lnTo>
                  <a:lnTo>
                    <a:pt x="65519" y="856818"/>
                  </a:lnTo>
                  <a:lnTo>
                    <a:pt x="87947" y="896277"/>
                  </a:lnTo>
                  <a:lnTo>
                    <a:pt x="113258" y="933742"/>
                  </a:lnTo>
                  <a:lnTo>
                    <a:pt x="141312" y="969086"/>
                  </a:lnTo>
                  <a:lnTo>
                    <a:pt x="171932" y="1002144"/>
                  </a:lnTo>
                  <a:lnTo>
                    <a:pt x="205003" y="1032776"/>
                  </a:lnTo>
                  <a:lnTo>
                    <a:pt x="240334" y="1060818"/>
                  </a:lnTo>
                  <a:lnTo>
                    <a:pt x="277812" y="1086129"/>
                  </a:lnTo>
                  <a:lnTo>
                    <a:pt x="317258" y="1108557"/>
                  </a:lnTo>
                  <a:lnTo>
                    <a:pt x="358533" y="1127950"/>
                  </a:lnTo>
                  <a:lnTo>
                    <a:pt x="401485" y="1144155"/>
                  </a:lnTo>
                  <a:lnTo>
                    <a:pt x="445973" y="1157033"/>
                  </a:lnTo>
                  <a:lnTo>
                    <a:pt x="491820" y="1166406"/>
                  </a:lnTo>
                  <a:lnTo>
                    <a:pt x="538899" y="1172146"/>
                  </a:lnTo>
                  <a:lnTo>
                    <a:pt x="587044" y="1174089"/>
                  </a:lnTo>
                  <a:lnTo>
                    <a:pt x="635190" y="1172146"/>
                  </a:lnTo>
                  <a:lnTo>
                    <a:pt x="682269" y="1166406"/>
                  </a:lnTo>
                  <a:lnTo>
                    <a:pt x="728116" y="1157033"/>
                  </a:lnTo>
                  <a:lnTo>
                    <a:pt x="772591" y="1144155"/>
                  </a:lnTo>
                  <a:lnTo>
                    <a:pt x="815543" y="1127950"/>
                  </a:lnTo>
                  <a:lnTo>
                    <a:pt x="856818" y="1108557"/>
                  </a:lnTo>
                  <a:lnTo>
                    <a:pt x="896277" y="1086129"/>
                  </a:lnTo>
                  <a:lnTo>
                    <a:pt x="933742" y="1060818"/>
                  </a:lnTo>
                  <a:lnTo>
                    <a:pt x="969086" y="1032776"/>
                  </a:lnTo>
                  <a:lnTo>
                    <a:pt x="1002144" y="1002144"/>
                  </a:lnTo>
                  <a:lnTo>
                    <a:pt x="1032776" y="969086"/>
                  </a:lnTo>
                  <a:lnTo>
                    <a:pt x="1060818" y="933742"/>
                  </a:lnTo>
                  <a:lnTo>
                    <a:pt x="1086129" y="896277"/>
                  </a:lnTo>
                  <a:lnTo>
                    <a:pt x="1108557" y="856818"/>
                  </a:lnTo>
                  <a:lnTo>
                    <a:pt x="1127950" y="815543"/>
                  </a:lnTo>
                  <a:lnTo>
                    <a:pt x="1144155" y="772591"/>
                  </a:lnTo>
                  <a:lnTo>
                    <a:pt x="1157020" y="728116"/>
                  </a:lnTo>
                  <a:lnTo>
                    <a:pt x="1166406" y="682269"/>
                  </a:lnTo>
                  <a:lnTo>
                    <a:pt x="1172146" y="635190"/>
                  </a:lnTo>
                  <a:lnTo>
                    <a:pt x="1174089" y="587044"/>
                  </a:lnTo>
                  <a:close/>
                </a:path>
                <a:path w="7275194" h="1174115">
                  <a:moveTo>
                    <a:pt x="7275106" y="587044"/>
                  </a:moveTo>
                  <a:lnTo>
                    <a:pt x="7273163" y="538899"/>
                  </a:lnTo>
                  <a:lnTo>
                    <a:pt x="7267422" y="491820"/>
                  </a:lnTo>
                  <a:lnTo>
                    <a:pt x="7258050" y="445973"/>
                  </a:lnTo>
                  <a:lnTo>
                    <a:pt x="7245185" y="401485"/>
                  </a:lnTo>
                  <a:lnTo>
                    <a:pt x="7228980" y="358533"/>
                  </a:lnTo>
                  <a:lnTo>
                    <a:pt x="7209587" y="317258"/>
                  </a:lnTo>
                  <a:lnTo>
                    <a:pt x="7187158" y="277812"/>
                  </a:lnTo>
                  <a:lnTo>
                    <a:pt x="7161847" y="240334"/>
                  </a:lnTo>
                  <a:lnTo>
                    <a:pt x="7133793" y="205003"/>
                  </a:lnTo>
                  <a:lnTo>
                    <a:pt x="7103173" y="171932"/>
                  </a:lnTo>
                  <a:lnTo>
                    <a:pt x="7070103" y="141312"/>
                  </a:lnTo>
                  <a:lnTo>
                    <a:pt x="7034771" y="113258"/>
                  </a:lnTo>
                  <a:lnTo>
                    <a:pt x="6997293" y="87947"/>
                  </a:lnTo>
                  <a:lnTo>
                    <a:pt x="6957847" y="65519"/>
                  </a:lnTo>
                  <a:lnTo>
                    <a:pt x="6916572" y="46126"/>
                  </a:lnTo>
                  <a:lnTo>
                    <a:pt x="6873621" y="29921"/>
                  </a:lnTo>
                  <a:lnTo>
                    <a:pt x="6829133" y="17056"/>
                  </a:lnTo>
                  <a:lnTo>
                    <a:pt x="6783286" y="7683"/>
                  </a:lnTo>
                  <a:lnTo>
                    <a:pt x="6736207" y="1943"/>
                  </a:lnTo>
                  <a:lnTo>
                    <a:pt x="6688061" y="0"/>
                  </a:lnTo>
                  <a:lnTo>
                    <a:pt x="6639915" y="1943"/>
                  </a:lnTo>
                  <a:lnTo>
                    <a:pt x="6592837" y="7683"/>
                  </a:lnTo>
                  <a:lnTo>
                    <a:pt x="6546990" y="17056"/>
                  </a:lnTo>
                  <a:lnTo>
                    <a:pt x="6502514" y="29921"/>
                  </a:lnTo>
                  <a:lnTo>
                    <a:pt x="6459563" y="46126"/>
                  </a:lnTo>
                  <a:lnTo>
                    <a:pt x="6418288" y="65519"/>
                  </a:lnTo>
                  <a:lnTo>
                    <a:pt x="6378829" y="87947"/>
                  </a:lnTo>
                  <a:lnTo>
                    <a:pt x="6341364" y="113258"/>
                  </a:lnTo>
                  <a:lnTo>
                    <a:pt x="6306020" y="141312"/>
                  </a:lnTo>
                  <a:lnTo>
                    <a:pt x="6272962" y="171932"/>
                  </a:lnTo>
                  <a:lnTo>
                    <a:pt x="6242329" y="205003"/>
                  </a:lnTo>
                  <a:lnTo>
                    <a:pt x="6214288" y="240334"/>
                  </a:lnTo>
                  <a:lnTo>
                    <a:pt x="6188976" y="277812"/>
                  </a:lnTo>
                  <a:lnTo>
                    <a:pt x="6166548" y="317258"/>
                  </a:lnTo>
                  <a:lnTo>
                    <a:pt x="6147155" y="358533"/>
                  </a:lnTo>
                  <a:lnTo>
                    <a:pt x="6130950" y="401485"/>
                  </a:lnTo>
                  <a:lnTo>
                    <a:pt x="6118072" y="445973"/>
                  </a:lnTo>
                  <a:lnTo>
                    <a:pt x="6108700" y="491820"/>
                  </a:lnTo>
                  <a:lnTo>
                    <a:pt x="6102959" y="538899"/>
                  </a:lnTo>
                  <a:lnTo>
                    <a:pt x="6101016" y="587032"/>
                  </a:lnTo>
                  <a:lnTo>
                    <a:pt x="6102959" y="635190"/>
                  </a:lnTo>
                  <a:lnTo>
                    <a:pt x="6108700" y="682269"/>
                  </a:lnTo>
                  <a:lnTo>
                    <a:pt x="6118072" y="728116"/>
                  </a:lnTo>
                  <a:lnTo>
                    <a:pt x="6130950" y="772591"/>
                  </a:lnTo>
                  <a:lnTo>
                    <a:pt x="6147155" y="815543"/>
                  </a:lnTo>
                  <a:lnTo>
                    <a:pt x="6166548" y="856818"/>
                  </a:lnTo>
                  <a:lnTo>
                    <a:pt x="6188976" y="896277"/>
                  </a:lnTo>
                  <a:lnTo>
                    <a:pt x="6214288" y="933742"/>
                  </a:lnTo>
                  <a:lnTo>
                    <a:pt x="6242329" y="969086"/>
                  </a:lnTo>
                  <a:lnTo>
                    <a:pt x="6272962" y="1002144"/>
                  </a:lnTo>
                  <a:lnTo>
                    <a:pt x="6306020" y="1032776"/>
                  </a:lnTo>
                  <a:lnTo>
                    <a:pt x="6341364" y="1060818"/>
                  </a:lnTo>
                  <a:lnTo>
                    <a:pt x="6378829" y="1086129"/>
                  </a:lnTo>
                  <a:lnTo>
                    <a:pt x="6418288" y="1108557"/>
                  </a:lnTo>
                  <a:lnTo>
                    <a:pt x="6459563" y="1127950"/>
                  </a:lnTo>
                  <a:lnTo>
                    <a:pt x="6502514" y="1144155"/>
                  </a:lnTo>
                  <a:lnTo>
                    <a:pt x="6546990" y="1157033"/>
                  </a:lnTo>
                  <a:lnTo>
                    <a:pt x="6592837" y="1166406"/>
                  </a:lnTo>
                  <a:lnTo>
                    <a:pt x="6639915" y="1172146"/>
                  </a:lnTo>
                  <a:lnTo>
                    <a:pt x="6688061" y="1174089"/>
                  </a:lnTo>
                  <a:lnTo>
                    <a:pt x="6736207" y="1172146"/>
                  </a:lnTo>
                  <a:lnTo>
                    <a:pt x="6783286" y="1166406"/>
                  </a:lnTo>
                  <a:lnTo>
                    <a:pt x="6829133" y="1157033"/>
                  </a:lnTo>
                  <a:lnTo>
                    <a:pt x="6873621" y="1144155"/>
                  </a:lnTo>
                  <a:lnTo>
                    <a:pt x="6916572" y="1127950"/>
                  </a:lnTo>
                  <a:lnTo>
                    <a:pt x="6957847" y="1108557"/>
                  </a:lnTo>
                  <a:lnTo>
                    <a:pt x="6997293" y="1086129"/>
                  </a:lnTo>
                  <a:lnTo>
                    <a:pt x="7034771" y="1060818"/>
                  </a:lnTo>
                  <a:lnTo>
                    <a:pt x="7070103" y="1032776"/>
                  </a:lnTo>
                  <a:lnTo>
                    <a:pt x="7103173" y="1002144"/>
                  </a:lnTo>
                  <a:lnTo>
                    <a:pt x="7133793" y="969086"/>
                  </a:lnTo>
                  <a:lnTo>
                    <a:pt x="7161847" y="933742"/>
                  </a:lnTo>
                  <a:lnTo>
                    <a:pt x="7187158" y="896277"/>
                  </a:lnTo>
                  <a:lnTo>
                    <a:pt x="7209587" y="856818"/>
                  </a:lnTo>
                  <a:lnTo>
                    <a:pt x="7228980" y="815543"/>
                  </a:lnTo>
                  <a:lnTo>
                    <a:pt x="7245185" y="772591"/>
                  </a:lnTo>
                  <a:lnTo>
                    <a:pt x="7258050" y="728116"/>
                  </a:lnTo>
                  <a:lnTo>
                    <a:pt x="7267422" y="682269"/>
                  </a:lnTo>
                  <a:lnTo>
                    <a:pt x="7273163" y="635190"/>
                  </a:lnTo>
                  <a:lnTo>
                    <a:pt x="7275106" y="587044"/>
                  </a:lnTo>
                  <a:close/>
                </a:path>
              </a:pathLst>
            </a:custGeom>
            <a:solidFill>
              <a:srgbClr val="F5A316"/>
            </a:solidFill>
          </p:spPr>
          <p:txBody>
            <a:bodyPr wrap="square" lIns="0" tIns="0" rIns="0" bIns="0" rtlCol="0"/>
            <a:lstStyle/>
            <a:p>
              <a:endParaRPr/>
            </a:p>
          </p:txBody>
        </p:sp>
        <p:sp>
          <p:nvSpPr>
            <p:cNvPr id="31" name="object 31"/>
            <p:cNvSpPr/>
            <p:nvPr/>
          </p:nvSpPr>
          <p:spPr>
            <a:xfrm>
              <a:off x="8153097" y="6529058"/>
              <a:ext cx="1174115" cy="1174115"/>
            </a:xfrm>
            <a:custGeom>
              <a:avLst/>
              <a:gdLst/>
              <a:ahLst/>
              <a:cxnLst/>
              <a:rect l="l" t="t" r="r" b="b"/>
              <a:pathLst>
                <a:path w="1174115" h="1174115">
                  <a:moveTo>
                    <a:pt x="587048" y="1174093"/>
                  </a:moveTo>
                  <a:lnTo>
                    <a:pt x="538899" y="1172147"/>
                  </a:lnTo>
                  <a:lnTo>
                    <a:pt x="491824" y="1166409"/>
                  </a:lnTo>
                  <a:lnTo>
                    <a:pt x="445972" y="1157032"/>
                  </a:lnTo>
                  <a:lnTo>
                    <a:pt x="401493" y="1144165"/>
                  </a:lnTo>
                  <a:lnTo>
                    <a:pt x="358541" y="1127960"/>
                  </a:lnTo>
                  <a:lnTo>
                    <a:pt x="317264" y="1108568"/>
                  </a:lnTo>
                  <a:lnTo>
                    <a:pt x="277815" y="1086140"/>
                  </a:lnTo>
                  <a:lnTo>
                    <a:pt x="240344" y="1060827"/>
                  </a:lnTo>
                  <a:lnTo>
                    <a:pt x="205002" y="1032780"/>
                  </a:lnTo>
                  <a:lnTo>
                    <a:pt x="171941" y="1002151"/>
                  </a:lnTo>
                  <a:lnTo>
                    <a:pt x="141312" y="969090"/>
                  </a:lnTo>
                  <a:lnTo>
                    <a:pt x="113265" y="933748"/>
                  </a:lnTo>
                  <a:lnTo>
                    <a:pt x="87952" y="896277"/>
                  </a:lnTo>
                  <a:lnTo>
                    <a:pt x="65524" y="856828"/>
                  </a:lnTo>
                  <a:lnTo>
                    <a:pt x="46132" y="815551"/>
                  </a:lnTo>
                  <a:lnTo>
                    <a:pt x="29927" y="772598"/>
                  </a:lnTo>
                  <a:lnTo>
                    <a:pt x="17060" y="728120"/>
                  </a:lnTo>
                  <a:lnTo>
                    <a:pt x="7682" y="682268"/>
                  </a:lnTo>
                  <a:lnTo>
                    <a:pt x="1945" y="635193"/>
                  </a:lnTo>
                  <a:lnTo>
                    <a:pt x="0" y="587044"/>
                  </a:lnTo>
                  <a:lnTo>
                    <a:pt x="1945" y="538899"/>
                  </a:lnTo>
                  <a:lnTo>
                    <a:pt x="7682" y="491824"/>
                  </a:lnTo>
                  <a:lnTo>
                    <a:pt x="17060" y="445972"/>
                  </a:lnTo>
                  <a:lnTo>
                    <a:pt x="29927" y="401494"/>
                  </a:lnTo>
                  <a:lnTo>
                    <a:pt x="46132" y="358541"/>
                  </a:lnTo>
                  <a:lnTo>
                    <a:pt x="65524" y="317264"/>
                  </a:lnTo>
                  <a:lnTo>
                    <a:pt x="87952" y="277815"/>
                  </a:lnTo>
                  <a:lnTo>
                    <a:pt x="113265" y="240344"/>
                  </a:lnTo>
                  <a:lnTo>
                    <a:pt x="141312" y="205002"/>
                  </a:lnTo>
                  <a:lnTo>
                    <a:pt x="171941" y="171941"/>
                  </a:lnTo>
                  <a:lnTo>
                    <a:pt x="205002" y="141312"/>
                  </a:lnTo>
                  <a:lnTo>
                    <a:pt x="240344" y="113265"/>
                  </a:lnTo>
                  <a:lnTo>
                    <a:pt x="277815" y="87953"/>
                  </a:lnTo>
                  <a:lnTo>
                    <a:pt x="317264" y="65525"/>
                  </a:lnTo>
                  <a:lnTo>
                    <a:pt x="358541" y="46133"/>
                  </a:lnTo>
                  <a:lnTo>
                    <a:pt x="401493" y="29928"/>
                  </a:lnTo>
                  <a:lnTo>
                    <a:pt x="445972" y="17061"/>
                  </a:lnTo>
                  <a:lnTo>
                    <a:pt x="491824" y="7683"/>
                  </a:lnTo>
                  <a:lnTo>
                    <a:pt x="538899" y="1946"/>
                  </a:lnTo>
                  <a:lnTo>
                    <a:pt x="587046" y="0"/>
                  </a:lnTo>
                  <a:lnTo>
                    <a:pt x="635193" y="1946"/>
                  </a:lnTo>
                  <a:lnTo>
                    <a:pt x="682268" y="7683"/>
                  </a:lnTo>
                  <a:lnTo>
                    <a:pt x="728120" y="17061"/>
                  </a:lnTo>
                  <a:lnTo>
                    <a:pt x="772598" y="29928"/>
                  </a:lnTo>
                  <a:lnTo>
                    <a:pt x="815551" y="46133"/>
                  </a:lnTo>
                  <a:lnTo>
                    <a:pt x="856827" y="65525"/>
                  </a:lnTo>
                  <a:lnTo>
                    <a:pt x="896277" y="87953"/>
                  </a:lnTo>
                  <a:lnTo>
                    <a:pt x="933748" y="113265"/>
                  </a:lnTo>
                  <a:lnTo>
                    <a:pt x="969089" y="141312"/>
                  </a:lnTo>
                  <a:lnTo>
                    <a:pt x="1002150" y="171941"/>
                  </a:lnTo>
                  <a:lnTo>
                    <a:pt x="1032780" y="205002"/>
                  </a:lnTo>
                  <a:lnTo>
                    <a:pt x="1060826" y="240344"/>
                  </a:lnTo>
                  <a:lnTo>
                    <a:pt x="1086139" y="277815"/>
                  </a:lnTo>
                  <a:lnTo>
                    <a:pt x="1108567" y="317264"/>
                  </a:lnTo>
                  <a:lnTo>
                    <a:pt x="1127959" y="358541"/>
                  </a:lnTo>
                  <a:lnTo>
                    <a:pt x="1144164" y="401494"/>
                  </a:lnTo>
                  <a:lnTo>
                    <a:pt x="1157031" y="445972"/>
                  </a:lnTo>
                  <a:lnTo>
                    <a:pt x="1166409" y="491824"/>
                  </a:lnTo>
                  <a:lnTo>
                    <a:pt x="1172146" y="538899"/>
                  </a:lnTo>
                  <a:lnTo>
                    <a:pt x="1174092" y="587053"/>
                  </a:lnTo>
                  <a:lnTo>
                    <a:pt x="1172146" y="635193"/>
                  </a:lnTo>
                  <a:lnTo>
                    <a:pt x="1166409" y="682268"/>
                  </a:lnTo>
                  <a:lnTo>
                    <a:pt x="1157031" y="728120"/>
                  </a:lnTo>
                  <a:lnTo>
                    <a:pt x="1144164" y="772598"/>
                  </a:lnTo>
                  <a:lnTo>
                    <a:pt x="1127959" y="815551"/>
                  </a:lnTo>
                  <a:lnTo>
                    <a:pt x="1108567" y="856828"/>
                  </a:lnTo>
                  <a:lnTo>
                    <a:pt x="1086139" y="896277"/>
                  </a:lnTo>
                  <a:lnTo>
                    <a:pt x="1060826" y="933748"/>
                  </a:lnTo>
                  <a:lnTo>
                    <a:pt x="1032780" y="969090"/>
                  </a:lnTo>
                  <a:lnTo>
                    <a:pt x="1002150" y="1002151"/>
                  </a:lnTo>
                  <a:lnTo>
                    <a:pt x="969089" y="1032780"/>
                  </a:lnTo>
                  <a:lnTo>
                    <a:pt x="933748" y="1060827"/>
                  </a:lnTo>
                  <a:lnTo>
                    <a:pt x="896277" y="1086140"/>
                  </a:lnTo>
                  <a:lnTo>
                    <a:pt x="856827" y="1108568"/>
                  </a:lnTo>
                  <a:lnTo>
                    <a:pt x="815551" y="1127960"/>
                  </a:lnTo>
                  <a:lnTo>
                    <a:pt x="772598" y="1144165"/>
                  </a:lnTo>
                  <a:lnTo>
                    <a:pt x="728120" y="1157032"/>
                  </a:lnTo>
                  <a:lnTo>
                    <a:pt x="682268" y="1166409"/>
                  </a:lnTo>
                  <a:lnTo>
                    <a:pt x="635193" y="1172147"/>
                  </a:lnTo>
                  <a:lnTo>
                    <a:pt x="587048" y="1174093"/>
                  </a:lnTo>
                  <a:close/>
                </a:path>
              </a:pathLst>
            </a:custGeom>
            <a:solidFill>
              <a:srgbClr val="0090AE"/>
            </a:solidFill>
          </p:spPr>
          <p:txBody>
            <a:bodyPr wrap="square" lIns="0" tIns="0" rIns="0" bIns="0" rtlCol="0"/>
            <a:lstStyle/>
            <a:p>
              <a:endParaRPr/>
            </a:p>
          </p:txBody>
        </p:sp>
        <p:sp>
          <p:nvSpPr>
            <p:cNvPr id="32" name="object 32"/>
            <p:cNvSpPr/>
            <p:nvPr/>
          </p:nvSpPr>
          <p:spPr>
            <a:xfrm>
              <a:off x="14254120" y="6529058"/>
              <a:ext cx="1174115" cy="1174115"/>
            </a:xfrm>
            <a:custGeom>
              <a:avLst/>
              <a:gdLst/>
              <a:ahLst/>
              <a:cxnLst/>
              <a:rect l="l" t="t" r="r" b="b"/>
              <a:pathLst>
                <a:path w="1174115" h="1174115">
                  <a:moveTo>
                    <a:pt x="587048" y="1174093"/>
                  </a:moveTo>
                  <a:lnTo>
                    <a:pt x="538899" y="1172147"/>
                  </a:lnTo>
                  <a:lnTo>
                    <a:pt x="491824" y="1166409"/>
                  </a:lnTo>
                  <a:lnTo>
                    <a:pt x="445972" y="1157032"/>
                  </a:lnTo>
                  <a:lnTo>
                    <a:pt x="401494" y="1144165"/>
                  </a:lnTo>
                  <a:lnTo>
                    <a:pt x="358541" y="1127960"/>
                  </a:lnTo>
                  <a:lnTo>
                    <a:pt x="317265" y="1108568"/>
                  </a:lnTo>
                  <a:lnTo>
                    <a:pt x="277815" y="1086140"/>
                  </a:lnTo>
                  <a:lnTo>
                    <a:pt x="240344" y="1060827"/>
                  </a:lnTo>
                  <a:lnTo>
                    <a:pt x="205003" y="1032780"/>
                  </a:lnTo>
                  <a:lnTo>
                    <a:pt x="171942" y="1002151"/>
                  </a:lnTo>
                  <a:lnTo>
                    <a:pt x="141312" y="969090"/>
                  </a:lnTo>
                  <a:lnTo>
                    <a:pt x="113265" y="933748"/>
                  </a:lnTo>
                  <a:lnTo>
                    <a:pt x="87953" y="896277"/>
                  </a:lnTo>
                  <a:lnTo>
                    <a:pt x="65524" y="856828"/>
                  </a:lnTo>
                  <a:lnTo>
                    <a:pt x="46132" y="815551"/>
                  </a:lnTo>
                  <a:lnTo>
                    <a:pt x="29927" y="772598"/>
                  </a:lnTo>
                  <a:lnTo>
                    <a:pt x="17060" y="728120"/>
                  </a:lnTo>
                  <a:lnTo>
                    <a:pt x="7683" y="682268"/>
                  </a:lnTo>
                  <a:lnTo>
                    <a:pt x="1945" y="635193"/>
                  </a:lnTo>
                  <a:lnTo>
                    <a:pt x="0" y="587040"/>
                  </a:lnTo>
                  <a:lnTo>
                    <a:pt x="1945" y="538899"/>
                  </a:lnTo>
                  <a:lnTo>
                    <a:pt x="7683" y="491824"/>
                  </a:lnTo>
                  <a:lnTo>
                    <a:pt x="17060" y="445972"/>
                  </a:lnTo>
                  <a:lnTo>
                    <a:pt x="29927" y="401494"/>
                  </a:lnTo>
                  <a:lnTo>
                    <a:pt x="46132" y="358541"/>
                  </a:lnTo>
                  <a:lnTo>
                    <a:pt x="65524" y="317264"/>
                  </a:lnTo>
                  <a:lnTo>
                    <a:pt x="87953" y="277815"/>
                  </a:lnTo>
                  <a:lnTo>
                    <a:pt x="113265" y="240344"/>
                  </a:lnTo>
                  <a:lnTo>
                    <a:pt x="141312" y="205002"/>
                  </a:lnTo>
                  <a:lnTo>
                    <a:pt x="171942" y="171941"/>
                  </a:lnTo>
                  <a:lnTo>
                    <a:pt x="205003" y="141312"/>
                  </a:lnTo>
                  <a:lnTo>
                    <a:pt x="240344" y="113265"/>
                  </a:lnTo>
                  <a:lnTo>
                    <a:pt x="277815" y="87953"/>
                  </a:lnTo>
                  <a:lnTo>
                    <a:pt x="317265" y="65525"/>
                  </a:lnTo>
                  <a:lnTo>
                    <a:pt x="358541" y="46133"/>
                  </a:lnTo>
                  <a:lnTo>
                    <a:pt x="401494" y="29928"/>
                  </a:lnTo>
                  <a:lnTo>
                    <a:pt x="445972" y="17061"/>
                  </a:lnTo>
                  <a:lnTo>
                    <a:pt x="491824" y="7683"/>
                  </a:lnTo>
                  <a:lnTo>
                    <a:pt x="538899" y="1946"/>
                  </a:lnTo>
                  <a:lnTo>
                    <a:pt x="587046" y="0"/>
                  </a:lnTo>
                  <a:lnTo>
                    <a:pt x="635193" y="1946"/>
                  </a:lnTo>
                  <a:lnTo>
                    <a:pt x="682268" y="7683"/>
                  </a:lnTo>
                  <a:lnTo>
                    <a:pt x="728120" y="17061"/>
                  </a:lnTo>
                  <a:lnTo>
                    <a:pt x="772598" y="29928"/>
                  </a:lnTo>
                  <a:lnTo>
                    <a:pt x="815551" y="46133"/>
                  </a:lnTo>
                  <a:lnTo>
                    <a:pt x="856828" y="65525"/>
                  </a:lnTo>
                  <a:lnTo>
                    <a:pt x="896277" y="87953"/>
                  </a:lnTo>
                  <a:lnTo>
                    <a:pt x="933748" y="113265"/>
                  </a:lnTo>
                  <a:lnTo>
                    <a:pt x="969090" y="141312"/>
                  </a:lnTo>
                  <a:lnTo>
                    <a:pt x="1002151" y="171941"/>
                  </a:lnTo>
                  <a:lnTo>
                    <a:pt x="1032780" y="205002"/>
                  </a:lnTo>
                  <a:lnTo>
                    <a:pt x="1060827" y="240344"/>
                  </a:lnTo>
                  <a:lnTo>
                    <a:pt x="1086140" y="277815"/>
                  </a:lnTo>
                  <a:lnTo>
                    <a:pt x="1108568" y="317264"/>
                  </a:lnTo>
                  <a:lnTo>
                    <a:pt x="1127960" y="358541"/>
                  </a:lnTo>
                  <a:lnTo>
                    <a:pt x="1144165" y="401494"/>
                  </a:lnTo>
                  <a:lnTo>
                    <a:pt x="1157031" y="445972"/>
                  </a:lnTo>
                  <a:lnTo>
                    <a:pt x="1166409" y="491824"/>
                  </a:lnTo>
                  <a:lnTo>
                    <a:pt x="1172147" y="538899"/>
                  </a:lnTo>
                  <a:lnTo>
                    <a:pt x="1174092" y="587046"/>
                  </a:lnTo>
                  <a:lnTo>
                    <a:pt x="1172147" y="635193"/>
                  </a:lnTo>
                  <a:lnTo>
                    <a:pt x="1166409" y="682268"/>
                  </a:lnTo>
                  <a:lnTo>
                    <a:pt x="1157031" y="728120"/>
                  </a:lnTo>
                  <a:lnTo>
                    <a:pt x="1144165" y="772598"/>
                  </a:lnTo>
                  <a:lnTo>
                    <a:pt x="1127960" y="815551"/>
                  </a:lnTo>
                  <a:lnTo>
                    <a:pt x="1108568" y="856828"/>
                  </a:lnTo>
                  <a:lnTo>
                    <a:pt x="1086140" y="896277"/>
                  </a:lnTo>
                  <a:lnTo>
                    <a:pt x="1060827" y="933748"/>
                  </a:lnTo>
                  <a:lnTo>
                    <a:pt x="1032780" y="969090"/>
                  </a:lnTo>
                  <a:lnTo>
                    <a:pt x="1002151" y="1002151"/>
                  </a:lnTo>
                  <a:lnTo>
                    <a:pt x="969090" y="1032780"/>
                  </a:lnTo>
                  <a:lnTo>
                    <a:pt x="933748" y="1060827"/>
                  </a:lnTo>
                  <a:lnTo>
                    <a:pt x="896277" y="1086140"/>
                  </a:lnTo>
                  <a:lnTo>
                    <a:pt x="856828" y="1108568"/>
                  </a:lnTo>
                  <a:lnTo>
                    <a:pt x="815551" y="1127960"/>
                  </a:lnTo>
                  <a:lnTo>
                    <a:pt x="772598" y="1144165"/>
                  </a:lnTo>
                  <a:lnTo>
                    <a:pt x="728120" y="1157032"/>
                  </a:lnTo>
                  <a:lnTo>
                    <a:pt x="682268" y="1166409"/>
                  </a:lnTo>
                  <a:lnTo>
                    <a:pt x="635193" y="1172147"/>
                  </a:lnTo>
                  <a:lnTo>
                    <a:pt x="587048" y="1174093"/>
                  </a:lnTo>
                  <a:close/>
                </a:path>
              </a:pathLst>
            </a:custGeom>
            <a:solidFill>
              <a:srgbClr val="21408B"/>
            </a:solidFill>
          </p:spPr>
          <p:txBody>
            <a:bodyPr wrap="square" lIns="0" tIns="0" rIns="0" bIns="0" rtlCol="0"/>
            <a:lstStyle/>
            <a:p>
              <a:endParaRPr/>
            </a:p>
          </p:txBody>
        </p:sp>
        <p:sp>
          <p:nvSpPr>
            <p:cNvPr id="33" name="object 33"/>
            <p:cNvSpPr/>
            <p:nvPr/>
          </p:nvSpPr>
          <p:spPr>
            <a:xfrm>
              <a:off x="1993859" y="6501584"/>
              <a:ext cx="1174115" cy="1174115"/>
            </a:xfrm>
            <a:custGeom>
              <a:avLst/>
              <a:gdLst/>
              <a:ahLst/>
              <a:cxnLst/>
              <a:rect l="l" t="t" r="r" b="b"/>
              <a:pathLst>
                <a:path w="1174114" h="1174115">
                  <a:moveTo>
                    <a:pt x="587048" y="1174093"/>
                  </a:moveTo>
                  <a:lnTo>
                    <a:pt x="538899" y="1172147"/>
                  </a:lnTo>
                  <a:lnTo>
                    <a:pt x="491824" y="1166409"/>
                  </a:lnTo>
                  <a:lnTo>
                    <a:pt x="445972" y="1157032"/>
                  </a:lnTo>
                  <a:lnTo>
                    <a:pt x="401494" y="1144165"/>
                  </a:lnTo>
                  <a:lnTo>
                    <a:pt x="358541" y="1127960"/>
                  </a:lnTo>
                  <a:lnTo>
                    <a:pt x="317264" y="1108568"/>
                  </a:lnTo>
                  <a:lnTo>
                    <a:pt x="277815" y="1086140"/>
                  </a:lnTo>
                  <a:lnTo>
                    <a:pt x="240344" y="1060827"/>
                  </a:lnTo>
                  <a:lnTo>
                    <a:pt x="205002" y="1032780"/>
                  </a:lnTo>
                  <a:lnTo>
                    <a:pt x="171941" y="1002151"/>
                  </a:lnTo>
                  <a:lnTo>
                    <a:pt x="141312" y="969090"/>
                  </a:lnTo>
                  <a:lnTo>
                    <a:pt x="113265" y="933748"/>
                  </a:lnTo>
                  <a:lnTo>
                    <a:pt x="87952" y="896277"/>
                  </a:lnTo>
                  <a:lnTo>
                    <a:pt x="65524" y="856828"/>
                  </a:lnTo>
                  <a:lnTo>
                    <a:pt x="46132" y="815551"/>
                  </a:lnTo>
                  <a:lnTo>
                    <a:pt x="29927" y="772598"/>
                  </a:lnTo>
                  <a:lnTo>
                    <a:pt x="17060" y="728120"/>
                  </a:lnTo>
                  <a:lnTo>
                    <a:pt x="7683" y="682268"/>
                  </a:lnTo>
                  <a:lnTo>
                    <a:pt x="1945" y="635193"/>
                  </a:lnTo>
                  <a:lnTo>
                    <a:pt x="0" y="587041"/>
                  </a:lnTo>
                  <a:lnTo>
                    <a:pt x="1945" y="538899"/>
                  </a:lnTo>
                  <a:lnTo>
                    <a:pt x="7683" y="491824"/>
                  </a:lnTo>
                  <a:lnTo>
                    <a:pt x="17060" y="445972"/>
                  </a:lnTo>
                  <a:lnTo>
                    <a:pt x="29927" y="401494"/>
                  </a:lnTo>
                  <a:lnTo>
                    <a:pt x="46132" y="358541"/>
                  </a:lnTo>
                  <a:lnTo>
                    <a:pt x="65524" y="317264"/>
                  </a:lnTo>
                  <a:lnTo>
                    <a:pt x="87952" y="277815"/>
                  </a:lnTo>
                  <a:lnTo>
                    <a:pt x="113265" y="240344"/>
                  </a:lnTo>
                  <a:lnTo>
                    <a:pt x="141312" y="205002"/>
                  </a:lnTo>
                  <a:lnTo>
                    <a:pt x="171941" y="171941"/>
                  </a:lnTo>
                  <a:lnTo>
                    <a:pt x="205002" y="141312"/>
                  </a:lnTo>
                  <a:lnTo>
                    <a:pt x="240344" y="113265"/>
                  </a:lnTo>
                  <a:lnTo>
                    <a:pt x="277815" y="87953"/>
                  </a:lnTo>
                  <a:lnTo>
                    <a:pt x="317264" y="65525"/>
                  </a:lnTo>
                  <a:lnTo>
                    <a:pt x="358541" y="46133"/>
                  </a:lnTo>
                  <a:lnTo>
                    <a:pt x="401494" y="29928"/>
                  </a:lnTo>
                  <a:lnTo>
                    <a:pt x="445972" y="17061"/>
                  </a:lnTo>
                  <a:lnTo>
                    <a:pt x="491824" y="7683"/>
                  </a:lnTo>
                  <a:lnTo>
                    <a:pt x="538899" y="1946"/>
                  </a:lnTo>
                  <a:lnTo>
                    <a:pt x="587046" y="0"/>
                  </a:lnTo>
                  <a:lnTo>
                    <a:pt x="635193" y="1946"/>
                  </a:lnTo>
                  <a:lnTo>
                    <a:pt x="682268" y="7683"/>
                  </a:lnTo>
                  <a:lnTo>
                    <a:pt x="728120" y="17061"/>
                  </a:lnTo>
                  <a:lnTo>
                    <a:pt x="772598" y="29928"/>
                  </a:lnTo>
                  <a:lnTo>
                    <a:pt x="815551" y="46133"/>
                  </a:lnTo>
                  <a:lnTo>
                    <a:pt x="856828" y="65525"/>
                  </a:lnTo>
                  <a:lnTo>
                    <a:pt x="896277" y="87953"/>
                  </a:lnTo>
                  <a:lnTo>
                    <a:pt x="933748" y="113265"/>
                  </a:lnTo>
                  <a:lnTo>
                    <a:pt x="969090" y="141312"/>
                  </a:lnTo>
                  <a:lnTo>
                    <a:pt x="1002151" y="171941"/>
                  </a:lnTo>
                  <a:lnTo>
                    <a:pt x="1032780" y="205002"/>
                  </a:lnTo>
                  <a:lnTo>
                    <a:pt x="1060827" y="240344"/>
                  </a:lnTo>
                  <a:lnTo>
                    <a:pt x="1086140" y="277815"/>
                  </a:lnTo>
                  <a:lnTo>
                    <a:pt x="1108568" y="317264"/>
                  </a:lnTo>
                  <a:lnTo>
                    <a:pt x="1127960" y="358541"/>
                  </a:lnTo>
                  <a:lnTo>
                    <a:pt x="1144165" y="401494"/>
                  </a:lnTo>
                  <a:lnTo>
                    <a:pt x="1157032" y="445972"/>
                  </a:lnTo>
                  <a:lnTo>
                    <a:pt x="1166409" y="491824"/>
                  </a:lnTo>
                  <a:lnTo>
                    <a:pt x="1172147" y="538899"/>
                  </a:lnTo>
                  <a:lnTo>
                    <a:pt x="1174093" y="587046"/>
                  </a:lnTo>
                  <a:lnTo>
                    <a:pt x="1172147" y="635193"/>
                  </a:lnTo>
                  <a:lnTo>
                    <a:pt x="1166409" y="682268"/>
                  </a:lnTo>
                  <a:lnTo>
                    <a:pt x="1157032" y="728120"/>
                  </a:lnTo>
                  <a:lnTo>
                    <a:pt x="1144165" y="772598"/>
                  </a:lnTo>
                  <a:lnTo>
                    <a:pt x="1127960" y="815551"/>
                  </a:lnTo>
                  <a:lnTo>
                    <a:pt x="1108568" y="856828"/>
                  </a:lnTo>
                  <a:lnTo>
                    <a:pt x="1086140" y="896277"/>
                  </a:lnTo>
                  <a:lnTo>
                    <a:pt x="1060827" y="933748"/>
                  </a:lnTo>
                  <a:lnTo>
                    <a:pt x="1032780" y="969090"/>
                  </a:lnTo>
                  <a:lnTo>
                    <a:pt x="1002151" y="1002151"/>
                  </a:lnTo>
                  <a:lnTo>
                    <a:pt x="969090" y="1032780"/>
                  </a:lnTo>
                  <a:lnTo>
                    <a:pt x="933748" y="1060827"/>
                  </a:lnTo>
                  <a:lnTo>
                    <a:pt x="896277" y="1086140"/>
                  </a:lnTo>
                  <a:lnTo>
                    <a:pt x="856828" y="1108568"/>
                  </a:lnTo>
                  <a:lnTo>
                    <a:pt x="815551" y="1127960"/>
                  </a:lnTo>
                  <a:lnTo>
                    <a:pt x="772598" y="1144165"/>
                  </a:lnTo>
                  <a:lnTo>
                    <a:pt x="728120" y="1157032"/>
                  </a:lnTo>
                  <a:lnTo>
                    <a:pt x="682268" y="1166409"/>
                  </a:lnTo>
                  <a:lnTo>
                    <a:pt x="635193" y="1172147"/>
                  </a:lnTo>
                  <a:lnTo>
                    <a:pt x="587048" y="1174093"/>
                  </a:lnTo>
                  <a:close/>
                </a:path>
              </a:pathLst>
            </a:custGeom>
            <a:solidFill>
              <a:srgbClr val="E3112B"/>
            </a:solidFill>
          </p:spPr>
          <p:txBody>
            <a:bodyPr wrap="square" lIns="0" tIns="0" rIns="0" bIns="0" rtlCol="0"/>
            <a:lstStyle/>
            <a:p>
              <a:endParaRPr/>
            </a:p>
          </p:txBody>
        </p:sp>
        <p:sp>
          <p:nvSpPr>
            <p:cNvPr id="34" name="object 34"/>
            <p:cNvSpPr/>
            <p:nvPr/>
          </p:nvSpPr>
          <p:spPr>
            <a:xfrm>
              <a:off x="2226665" y="7119960"/>
              <a:ext cx="255270" cy="339090"/>
            </a:xfrm>
            <a:custGeom>
              <a:avLst/>
              <a:gdLst/>
              <a:ahLst/>
              <a:cxnLst/>
              <a:rect l="l" t="t" r="r" b="b"/>
              <a:pathLst>
                <a:path w="255269" h="339090">
                  <a:moveTo>
                    <a:pt x="240322" y="339025"/>
                  </a:moveTo>
                  <a:lnTo>
                    <a:pt x="232142" y="339025"/>
                  </a:lnTo>
                  <a:lnTo>
                    <a:pt x="225846" y="333740"/>
                  </a:lnTo>
                  <a:lnTo>
                    <a:pt x="215162" y="259381"/>
                  </a:lnTo>
                  <a:lnTo>
                    <a:pt x="142328" y="265719"/>
                  </a:lnTo>
                  <a:lnTo>
                    <a:pt x="132550" y="333740"/>
                  </a:lnTo>
                  <a:lnTo>
                    <a:pt x="126254" y="339025"/>
                  </a:lnTo>
                  <a:lnTo>
                    <a:pt x="119052" y="339025"/>
                  </a:lnTo>
                  <a:lnTo>
                    <a:pt x="117120" y="338930"/>
                  </a:lnTo>
                  <a:lnTo>
                    <a:pt x="108392" y="337232"/>
                  </a:lnTo>
                  <a:lnTo>
                    <a:pt x="103383" y="329602"/>
                  </a:lnTo>
                  <a:lnTo>
                    <a:pt x="112470" y="266485"/>
                  </a:lnTo>
                  <a:lnTo>
                    <a:pt x="83335" y="258271"/>
                  </a:lnTo>
                  <a:lnTo>
                    <a:pt x="58539" y="241509"/>
                  </a:lnTo>
                  <a:lnTo>
                    <a:pt x="40080" y="217743"/>
                  </a:lnTo>
                  <a:lnTo>
                    <a:pt x="29953" y="188515"/>
                  </a:lnTo>
                  <a:lnTo>
                    <a:pt x="0" y="10332"/>
                  </a:lnTo>
                  <a:lnTo>
                    <a:pt x="5413" y="2702"/>
                  </a:lnTo>
                  <a:lnTo>
                    <a:pt x="21439" y="0"/>
                  </a:lnTo>
                  <a:lnTo>
                    <a:pt x="29047" y="5429"/>
                  </a:lnTo>
                  <a:lnTo>
                    <a:pt x="59001" y="183588"/>
                  </a:lnTo>
                  <a:lnTo>
                    <a:pt x="67463" y="206296"/>
                  </a:lnTo>
                  <a:lnTo>
                    <a:pt x="83178" y="223882"/>
                  </a:lnTo>
                  <a:lnTo>
                    <a:pt x="104088" y="234751"/>
                  </a:lnTo>
                  <a:lnTo>
                    <a:pt x="128138" y="237306"/>
                  </a:lnTo>
                  <a:lnTo>
                    <a:pt x="242350" y="227380"/>
                  </a:lnTo>
                  <a:lnTo>
                    <a:pt x="244901" y="256798"/>
                  </a:lnTo>
                  <a:lnTo>
                    <a:pt x="244544" y="256846"/>
                  </a:lnTo>
                  <a:lnTo>
                    <a:pt x="255013" y="329602"/>
                  </a:lnTo>
                  <a:lnTo>
                    <a:pt x="250005" y="337232"/>
                  </a:lnTo>
                  <a:lnTo>
                    <a:pt x="242254" y="338738"/>
                  </a:lnTo>
                  <a:lnTo>
                    <a:pt x="240322" y="339025"/>
                  </a:lnTo>
                  <a:close/>
                </a:path>
              </a:pathLst>
            </a:custGeom>
            <a:solidFill>
              <a:srgbClr val="FFFFFF"/>
            </a:solidFill>
          </p:spPr>
          <p:txBody>
            <a:bodyPr wrap="square" lIns="0" tIns="0" rIns="0" bIns="0" rtlCol="0"/>
            <a:lstStyle/>
            <a:p>
              <a:endParaRPr/>
            </a:p>
          </p:txBody>
        </p:sp>
        <p:pic>
          <p:nvPicPr>
            <p:cNvPr id="35" name="object 35"/>
            <p:cNvPicPr/>
            <p:nvPr/>
          </p:nvPicPr>
          <p:blipFill>
            <a:blip r:embed="rId3" cstate="print"/>
            <a:stretch>
              <a:fillRect/>
            </a:stretch>
          </p:blipFill>
          <p:spPr>
            <a:xfrm>
              <a:off x="2327688" y="6941107"/>
              <a:ext cx="103216" cy="103513"/>
            </a:xfrm>
            <a:prstGeom prst="rect">
              <a:avLst/>
            </a:prstGeom>
          </p:spPr>
        </p:pic>
        <p:sp>
          <p:nvSpPr>
            <p:cNvPr id="36" name="object 36"/>
            <p:cNvSpPr/>
            <p:nvPr/>
          </p:nvSpPr>
          <p:spPr>
            <a:xfrm>
              <a:off x="2293556" y="7068260"/>
              <a:ext cx="641350" cy="391160"/>
            </a:xfrm>
            <a:custGeom>
              <a:avLst/>
              <a:gdLst/>
              <a:ahLst/>
              <a:cxnLst/>
              <a:rect l="l" t="t" r="r" b="b"/>
              <a:pathLst>
                <a:path w="641350" h="391159">
                  <a:moveTo>
                    <a:pt x="268135" y="341249"/>
                  </a:moveTo>
                  <a:lnTo>
                    <a:pt x="234378" y="209588"/>
                  </a:lnTo>
                  <a:lnTo>
                    <a:pt x="97828" y="178015"/>
                  </a:lnTo>
                  <a:lnTo>
                    <a:pt x="96380" y="163436"/>
                  </a:lnTo>
                  <a:lnTo>
                    <a:pt x="95440" y="149479"/>
                  </a:lnTo>
                  <a:lnTo>
                    <a:pt x="94945" y="136156"/>
                  </a:lnTo>
                  <a:lnTo>
                    <a:pt x="94869" y="123482"/>
                  </a:lnTo>
                  <a:lnTo>
                    <a:pt x="179222" y="123482"/>
                  </a:lnTo>
                  <a:lnTo>
                    <a:pt x="186321" y="116357"/>
                  </a:lnTo>
                  <a:lnTo>
                    <a:pt x="186321" y="98780"/>
                  </a:lnTo>
                  <a:lnTo>
                    <a:pt x="179222" y="91668"/>
                  </a:lnTo>
                  <a:lnTo>
                    <a:pt x="170472" y="91668"/>
                  </a:lnTo>
                  <a:lnTo>
                    <a:pt x="114300" y="84785"/>
                  </a:lnTo>
                  <a:lnTo>
                    <a:pt x="102895" y="36639"/>
                  </a:lnTo>
                  <a:lnTo>
                    <a:pt x="97142" y="20777"/>
                  </a:lnTo>
                  <a:lnTo>
                    <a:pt x="87541" y="7924"/>
                  </a:lnTo>
                  <a:lnTo>
                    <a:pt x="71920" y="0"/>
                  </a:lnTo>
                  <a:lnTo>
                    <a:pt x="40043" y="3581"/>
                  </a:lnTo>
                  <a:lnTo>
                    <a:pt x="19050" y="26517"/>
                  </a:lnTo>
                  <a:lnTo>
                    <a:pt x="6858" y="58724"/>
                  </a:lnTo>
                  <a:lnTo>
                    <a:pt x="1333" y="90068"/>
                  </a:lnTo>
                  <a:lnTo>
                    <a:pt x="0" y="124929"/>
                  </a:lnTo>
                  <a:lnTo>
                    <a:pt x="2679" y="159766"/>
                  </a:lnTo>
                  <a:lnTo>
                    <a:pt x="16662" y="228219"/>
                  </a:lnTo>
                  <a:lnTo>
                    <a:pt x="47142" y="260604"/>
                  </a:lnTo>
                  <a:lnTo>
                    <a:pt x="54927" y="262394"/>
                  </a:lnTo>
                  <a:lnTo>
                    <a:pt x="189217" y="252730"/>
                  </a:lnTo>
                  <a:lnTo>
                    <a:pt x="222046" y="346227"/>
                  </a:lnTo>
                  <a:lnTo>
                    <a:pt x="226631" y="354012"/>
                  </a:lnTo>
                  <a:lnTo>
                    <a:pt x="233527" y="359435"/>
                  </a:lnTo>
                  <a:lnTo>
                    <a:pt x="241922" y="362013"/>
                  </a:lnTo>
                  <a:lnTo>
                    <a:pt x="250977" y="361264"/>
                  </a:lnTo>
                  <a:lnTo>
                    <a:pt x="259384" y="356933"/>
                  </a:lnTo>
                  <a:lnTo>
                    <a:pt x="265277" y="349935"/>
                  </a:lnTo>
                  <a:lnTo>
                    <a:pt x="268135" y="341249"/>
                  </a:lnTo>
                  <a:close/>
                </a:path>
                <a:path w="641350" h="391159">
                  <a:moveTo>
                    <a:pt x="640829" y="62039"/>
                  </a:moveTo>
                  <a:lnTo>
                    <a:pt x="635419" y="54406"/>
                  </a:lnTo>
                  <a:lnTo>
                    <a:pt x="627405" y="53073"/>
                  </a:lnTo>
                  <a:lnTo>
                    <a:pt x="619366" y="51701"/>
                  </a:lnTo>
                  <a:lnTo>
                    <a:pt x="611784" y="57137"/>
                  </a:lnTo>
                  <a:lnTo>
                    <a:pt x="581837" y="235292"/>
                  </a:lnTo>
                  <a:lnTo>
                    <a:pt x="573366" y="258000"/>
                  </a:lnTo>
                  <a:lnTo>
                    <a:pt x="557657" y="275590"/>
                  </a:lnTo>
                  <a:lnTo>
                    <a:pt x="536740" y="286461"/>
                  </a:lnTo>
                  <a:lnTo>
                    <a:pt x="512699" y="289013"/>
                  </a:lnTo>
                  <a:lnTo>
                    <a:pt x="398487" y="279082"/>
                  </a:lnTo>
                  <a:lnTo>
                    <a:pt x="395960" y="308508"/>
                  </a:lnTo>
                  <a:lnTo>
                    <a:pt x="396265" y="308546"/>
                  </a:lnTo>
                  <a:lnTo>
                    <a:pt x="385826" y="381304"/>
                  </a:lnTo>
                  <a:lnTo>
                    <a:pt x="390829" y="388937"/>
                  </a:lnTo>
                  <a:lnTo>
                    <a:pt x="399529" y="390639"/>
                  </a:lnTo>
                  <a:lnTo>
                    <a:pt x="401485" y="390728"/>
                  </a:lnTo>
                  <a:lnTo>
                    <a:pt x="408698" y="390728"/>
                  </a:lnTo>
                  <a:lnTo>
                    <a:pt x="414985" y="385445"/>
                  </a:lnTo>
                  <a:lnTo>
                    <a:pt x="425678" y="311086"/>
                  </a:lnTo>
                  <a:lnTo>
                    <a:pt x="498487" y="317423"/>
                  </a:lnTo>
                  <a:lnTo>
                    <a:pt x="508279" y="385445"/>
                  </a:lnTo>
                  <a:lnTo>
                    <a:pt x="514578" y="390728"/>
                  </a:lnTo>
                  <a:lnTo>
                    <a:pt x="522732" y="390728"/>
                  </a:lnTo>
                  <a:lnTo>
                    <a:pt x="524687" y="390448"/>
                  </a:lnTo>
                  <a:lnTo>
                    <a:pt x="532422" y="388937"/>
                  </a:lnTo>
                  <a:lnTo>
                    <a:pt x="537425" y="381304"/>
                  </a:lnTo>
                  <a:lnTo>
                    <a:pt x="528370" y="318185"/>
                  </a:lnTo>
                  <a:lnTo>
                    <a:pt x="557504" y="309981"/>
                  </a:lnTo>
                  <a:lnTo>
                    <a:pt x="582295" y="293217"/>
                  </a:lnTo>
                  <a:lnTo>
                    <a:pt x="600760" y="269443"/>
                  </a:lnTo>
                  <a:lnTo>
                    <a:pt x="610882" y="240220"/>
                  </a:lnTo>
                  <a:lnTo>
                    <a:pt x="640829" y="62039"/>
                  </a:lnTo>
                  <a:close/>
                </a:path>
              </a:pathLst>
            </a:custGeom>
            <a:solidFill>
              <a:srgbClr val="FFFFFF"/>
            </a:solidFill>
          </p:spPr>
          <p:txBody>
            <a:bodyPr wrap="square" lIns="0" tIns="0" rIns="0" bIns="0" rtlCol="0"/>
            <a:lstStyle/>
            <a:p>
              <a:endParaRPr/>
            </a:p>
          </p:txBody>
        </p:sp>
        <p:pic>
          <p:nvPicPr>
            <p:cNvPr id="37" name="object 37"/>
            <p:cNvPicPr/>
            <p:nvPr/>
          </p:nvPicPr>
          <p:blipFill>
            <a:blip r:embed="rId4" cstate="print"/>
            <a:stretch>
              <a:fillRect/>
            </a:stretch>
          </p:blipFill>
          <p:spPr>
            <a:xfrm>
              <a:off x="2730158" y="6941107"/>
              <a:ext cx="103216" cy="103513"/>
            </a:xfrm>
            <a:prstGeom prst="rect">
              <a:avLst/>
            </a:prstGeom>
          </p:spPr>
        </p:pic>
        <p:sp>
          <p:nvSpPr>
            <p:cNvPr id="38" name="object 38"/>
            <p:cNvSpPr/>
            <p:nvPr/>
          </p:nvSpPr>
          <p:spPr>
            <a:xfrm>
              <a:off x="2599365" y="7068251"/>
              <a:ext cx="268605" cy="362585"/>
            </a:xfrm>
            <a:custGeom>
              <a:avLst/>
              <a:gdLst/>
              <a:ahLst/>
              <a:cxnLst/>
              <a:rect l="l" t="t" r="r" b="b"/>
              <a:pathLst>
                <a:path w="268605" h="362584">
                  <a:moveTo>
                    <a:pt x="26208" y="362022"/>
                  </a:moveTo>
                  <a:lnTo>
                    <a:pt x="17154" y="361268"/>
                  </a:lnTo>
                  <a:lnTo>
                    <a:pt x="8741" y="356933"/>
                  </a:lnTo>
                  <a:lnTo>
                    <a:pt x="2848" y="349944"/>
                  </a:lnTo>
                  <a:lnTo>
                    <a:pt x="0" y="341250"/>
                  </a:lnTo>
                  <a:lnTo>
                    <a:pt x="722" y="331802"/>
                  </a:lnTo>
                  <a:lnTo>
                    <a:pt x="33752" y="209586"/>
                  </a:lnTo>
                  <a:lnTo>
                    <a:pt x="170310" y="178015"/>
                  </a:lnTo>
                  <a:lnTo>
                    <a:pt x="171751" y="163434"/>
                  </a:lnTo>
                  <a:lnTo>
                    <a:pt x="172701" y="149476"/>
                  </a:lnTo>
                  <a:lnTo>
                    <a:pt x="173194" y="136155"/>
                  </a:lnTo>
                  <a:lnTo>
                    <a:pt x="173267" y="123484"/>
                  </a:lnTo>
                  <a:lnTo>
                    <a:pt x="88891" y="123484"/>
                  </a:lnTo>
                  <a:lnTo>
                    <a:pt x="81807" y="116357"/>
                  </a:lnTo>
                  <a:lnTo>
                    <a:pt x="81807" y="98777"/>
                  </a:lnTo>
                  <a:lnTo>
                    <a:pt x="88891" y="91674"/>
                  </a:lnTo>
                  <a:lnTo>
                    <a:pt x="97667" y="91674"/>
                  </a:lnTo>
                  <a:lnTo>
                    <a:pt x="153830" y="84786"/>
                  </a:lnTo>
                  <a:lnTo>
                    <a:pt x="165245" y="36640"/>
                  </a:lnTo>
                  <a:lnTo>
                    <a:pt x="170992" y="20784"/>
                  </a:lnTo>
                  <a:lnTo>
                    <a:pt x="180590" y="7923"/>
                  </a:lnTo>
                  <a:lnTo>
                    <a:pt x="196209" y="0"/>
                  </a:lnTo>
                  <a:lnTo>
                    <a:pt x="228090" y="3580"/>
                  </a:lnTo>
                  <a:lnTo>
                    <a:pt x="249079" y="26524"/>
                  </a:lnTo>
                  <a:lnTo>
                    <a:pt x="261282" y="58724"/>
                  </a:lnTo>
                  <a:lnTo>
                    <a:pt x="266801" y="90072"/>
                  </a:lnTo>
                  <a:lnTo>
                    <a:pt x="268138" y="124929"/>
                  </a:lnTo>
                  <a:lnTo>
                    <a:pt x="265457" y="159772"/>
                  </a:lnTo>
                  <a:lnTo>
                    <a:pt x="251467" y="228217"/>
                  </a:lnTo>
                  <a:lnTo>
                    <a:pt x="220988" y="260601"/>
                  </a:lnTo>
                  <a:lnTo>
                    <a:pt x="213214" y="262395"/>
                  </a:lnTo>
                  <a:lnTo>
                    <a:pt x="78922" y="252732"/>
                  </a:lnTo>
                  <a:lnTo>
                    <a:pt x="46082" y="346225"/>
                  </a:lnTo>
                  <a:lnTo>
                    <a:pt x="41508" y="354014"/>
                  </a:lnTo>
                  <a:lnTo>
                    <a:pt x="34605" y="359442"/>
                  </a:lnTo>
                  <a:lnTo>
                    <a:pt x="26208" y="362022"/>
                  </a:lnTo>
                  <a:close/>
                </a:path>
              </a:pathLst>
            </a:custGeom>
            <a:solidFill>
              <a:srgbClr val="FFFFFF"/>
            </a:solidFill>
          </p:spPr>
          <p:txBody>
            <a:bodyPr wrap="square" lIns="0" tIns="0" rIns="0" bIns="0" rtlCol="0"/>
            <a:lstStyle/>
            <a:p>
              <a:endParaRPr/>
            </a:p>
          </p:txBody>
        </p:sp>
        <p:pic>
          <p:nvPicPr>
            <p:cNvPr id="39" name="object 39"/>
            <p:cNvPicPr/>
            <p:nvPr/>
          </p:nvPicPr>
          <p:blipFill>
            <a:blip r:embed="rId5" cstate="print"/>
            <a:stretch>
              <a:fillRect/>
            </a:stretch>
          </p:blipFill>
          <p:spPr>
            <a:xfrm>
              <a:off x="2428305" y="6691911"/>
              <a:ext cx="347006" cy="237164"/>
            </a:xfrm>
            <a:prstGeom prst="rect">
              <a:avLst/>
            </a:prstGeom>
          </p:spPr>
        </p:pic>
        <p:sp>
          <p:nvSpPr>
            <p:cNvPr id="40" name="object 40"/>
            <p:cNvSpPr/>
            <p:nvPr/>
          </p:nvSpPr>
          <p:spPr>
            <a:xfrm>
              <a:off x="8420354" y="6744550"/>
              <a:ext cx="8623300" cy="740410"/>
            </a:xfrm>
            <a:custGeom>
              <a:avLst/>
              <a:gdLst/>
              <a:ahLst/>
              <a:cxnLst/>
              <a:rect l="l" t="t" r="r" b="b"/>
              <a:pathLst>
                <a:path w="8623300" h="740409">
                  <a:moveTo>
                    <a:pt x="195313" y="541756"/>
                  </a:moveTo>
                  <a:lnTo>
                    <a:pt x="119621" y="381050"/>
                  </a:lnTo>
                  <a:lnTo>
                    <a:pt x="78905" y="400202"/>
                  </a:lnTo>
                  <a:lnTo>
                    <a:pt x="59220" y="409867"/>
                  </a:lnTo>
                  <a:lnTo>
                    <a:pt x="24345" y="432981"/>
                  </a:lnTo>
                  <a:lnTo>
                    <a:pt x="2374" y="472541"/>
                  </a:lnTo>
                  <a:lnTo>
                    <a:pt x="0" y="489737"/>
                  </a:lnTo>
                  <a:lnTo>
                    <a:pt x="76" y="495846"/>
                  </a:lnTo>
                  <a:lnTo>
                    <a:pt x="7162" y="527253"/>
                  </a:lnTo>
                  <a:lnTo>
                    <a:pt x="8978" y="532015"/>
                  </a:lnTo>
                  <a:lnTo>
                    <a:pt x="38100" y="566686"/>
                  </a:lnTo>
                  <a:lnTo>
                    <a:pt x="80975" y="581215"/>
                  </a:lnTo>
                  <a:lnTo>
                    <a:pt x="86055" y="581342"/>
                  </a:lnTo>
                  <a:lnTo>
                    <a:pt x="96227" y="580656"/>
                  </a:lnTo>
                  <a:lnTo>
                    <a:pt x="151282" y="561467"/>
                  </a:lnTo>
                  <a:lnTo>
                    <a:pt x="173431" y="551942"/>
                  </a:lnTo>
                  <a:lnTo>
                    <a:pt x="195313" y="541756"/>
                  </a:lnTo>
                  <a:close/>
                </a:path>
                <a:path w="8623300" h="740409">
                  <a:moveTo>
                    <a:pt x="278028" y="727595"/>
                  </a:moveTo>
                  <a:lnTo>
                    <a:pt x="277761" y="719467"/>
                  </a:lnTo>
                  <a:lnTo>
                    <a:pt x="274434" y="709803"/>
                  </a:lnTo>
                  <a:lnTo>
                    <a:pt x="210273" y="573455"/>
                  </a:lnTo>
                  <a:lnTo>
                    <a:pt x="208254" y="570407"/>
                  </a:lnTo>
                  <a:lnTo>
                    <a:pt x="206197" y="566788"/>
                  </a:lnTo>
                  <a:lnTo>
                    <a:pt x="154724" y="591096"/>
                  </a:lnTo>
                  <a:lnTo>
                    <a:pt x="221170" y="694093"/>
                  </a:lnTo>
                  <a:lnTo>
                    <a:pt x="242976" y="728116"/>
                  </a:lnTo>
                  <a:lnTo>
                    <a:pt x="248158" y="734745"/>
                  </a:lnTo>
                  <a:lnTo>
                    <a:pt x="254114" y="739013"/>
                  </a:lnTo>
                  <a:lnTo>
                    <a:pt x="261048" y="740410"/>
                  </a:lnTo>
                  <a:lnTo>
                    <a:pt x="269163" y="738390"/>
                  </a:lnTo>
                  <a:lnTo>
                    <a:pt x="275170" y="733971"/>
                  </a:lnTo>
                  <a:lnTo>
                    <a:pt x="278028" y="727595"/>
                  </a:lnTo>
                  <a:close/>
                </a:path>
                <a:path w="8623300" h="740409">
                  <a:moveTo>
                    <a:pt x="295122" y="553872"/>
                  </a:moveTo>
                  <a:lnTo>
                    <a:pt x="286410" y="533730"/>
                  </a:lnTo>
                  <a:lnTo>
                    <a:pt x="232270" y="557758"/>
                  </a:lnTo>
                  <a:lnTo>
                    <a:pt x="236969" y="566686"/>
                  </a:lnTo>
                  <a:lnTo>
                    <a:pt x="247459" y="586105"/>
                  </a:lnTo>
                  <a:lnTo>
                    <a:pt x="251320" y="593420"/>
                  </a:lnTo>
                  <a:lnTo>
                    <a:pt x="281165" y="581647"/>
                  </a:lnTo>
                  <a:lnTo>
                    <a:pt x="294563" y="569150"/>
                  </a:lnTo>
                  <a:lnTo>
                    <a:pt x="295122" y="553872"/>
                  </a:lnTo>
                  <a:close/>
                </a:path>
                <a:path w="8623300" h="740409">
                  <a:moveTo>
                    <a:pt x="538721" y="299897"/>
                  </a:moveTo>
                  <a:lnTo>
                    <a:pt x="534327" y="286143"/>
                  </a:lnTo>
                  <a:lnTo>
                    <a:pt x="526199" y="274967"/>
                  </a:lnTo>
                  <a:lnTo>
                    <a:pt x="515226" y="268401"/>
                  </a:lnTo>
                  <a:lnTo>
                    <a:pt x="501103" y="266534"/>
                  </a:lnTo>
                  <a:lnTo>
                    <a:pt x="483552" y="269417"/>
                  </a:lnTo>
                  <a:lnTo>
                    <a:pt x="515823" y="337845"/>
                  </a:lnTo>
                  <a:lnTo>
                    <a:pt x="529742" y="325437"/>
                  </a:lnTo>
                  <a:lnTo>
                    <a:pt x="537273" y="312889"/>
                  </a:lnTo>
                  <a:lnTo>
                    <a:pt x="538721" y="299897"/>
                  </a:lnTo>
                  <a:close/>
                </a:path>
                <a:path w="8623300" h="740409">
                  <a:moveTo>
                    <a:pt x="538911" y="10833"/>
                  </a:moveTo>
                  <a:lnTo>
                    <a:pt x="537819" y="9245"/>
                  </a:lnTo>
                  <a:lnTo>
                    <a:pt x="534441" y="3403"/>
                  </a:lnTo>
                  <a:lnTo>
                    <a:pt x="529386" y="342"/>
                  </a:lnTo>
                  <a:lnTo>
                    <a:pt x="522643" y="63"/>
                  </a:lnTo>
                  <a:lnTo>
                    <a:pt x="516115" y="0"/>
                  </a:lnTo>
                  <a:lnTo>
                    <a:pt x="511060" y="2692"/>
                  </a:lnTo>
                  <a:lnTo>
                    <a:pt x="507479" y="8140"/>
                  </a:lnTo>
                  <a:lnTo>
                    <a:pt x="500316" y="18427"/>
                  </a:lnTo>
                  <a:lnTo>
                    <a:pt x="493204" y="28778"/>
                  </a:lnTo>
                  <a:lnTo>
                    <a:pt x="486143" y="39179"/>
                  </a:lnTo>
                  <a:lnTo>
                    <a:pt x="479132" y="49657"/>
                  </a:lnTo>
                  <a:lnTo>
                    <a:pt x="475322" y="54952"/>
                  </a:lnTo>
                  <a:lnTo>
                    <a:pt x="491020" y="75920"/>
                  </a:lnTo>
                  <a:lnTo>
                    <a:pt x="495350" y="75768"/>
                  </a:lnTo>
                  <a:lnTo>
                    <a:pt x="528015" y="36715"/>
                  </a:lnTo>
                  <a:lnTo>
                    <a:pt x="538010" y="16129"/>
                  </a:lnTo>
                  <a:lnTo>
                    <a:pt x="538111" y="15024"/>
                  </a:lnTo>
                  <a:lnTo>
                    <a:pt x="538518" y="12827"/>
                  </a:lnTo>
                  <a:lnTo>
                    <a:pt x="538911" y="10833"/>
                  </a:lnTo>
                  <a:close/>
                </a:path>
                <a:path w="8623300" h="740409">
                  <a:moveTo>
                    <a:pt x="578637" y="534631"/>
                  </a:moveTo>
                  <a:lnTo>
                    <a:pt x="573722" y="522224"/>
                  </a:lnTo>
                  <a:lnTo>
                    <a:pt x="573074" y="520827"/>
                  </a:lnTo>
                  <a:lnTo>
                    <a:pt x="571995" y="518629"/>
                  </a:lnTo>
                  <a:lnTo>
                    <a:pt x="556374" y="485457"/>
                  </a:lnTo>
                  <a:lnTo>
                    <a:pt x="469112" y="300113"/>
                  </a:lnTo>
                  <a:lnTo>
                    <a:pt x="376301" y="102844"/>
                  </a:lnTo>
                  <a:lnTo>
                    <a:pt x="373621" y="96913"/>
                  </a:lnTo>
                  <a:lnTo>
                    <a:pt x="370357" y="91605"/>
                  </a:lnTo>
                  <a:lnTo>
                    <a:pt x="365607" y="88417"/>
                  </a:lnTo>
                  <a:lnTo>
                    <a:pt x="358457" y="88874"/>
                  </a:lnTo>
                  <a:lnTo>
                    <a:pt x="348284" y="92138"/>
                  </a:lnTo>
                  <a:lnTo>
                    <a:pt x="351091" y="101028"/>
                  </a:lnTo>
                  <a:lnTo>
                    <a:pt x="351155" y="120815"/>
                  </a:lnTo>
                  <a:lnTo>
                    <a:pt x="333438" y="197739"/>
                  </a:lnTo>
                  <a:lnTo>
                    <a:pt x="311823" y="235915"/>
                  </a:lnTo>
                  <a:lnTo>
                    <a:pt x="283972" y="269862"/>
                  </a:lnTo>
                  <a:lnTo>
                    <a:pt x="251091" y="300113"/>
                  </a:lnTo>
                  <a:lnTo>
                    <a:pt x="200329" y="337299"/>
                  </a:lnTo>
                  <a:lnTo>
                    <a:pt x="147104" y="373303"/>
                  </a:lnTo>
                  <a:lnTo>
                    <a:pt x="219925" y="528104"/>
                  </a:lnTo>
                  <a:lnTo>
                    <a:pt x="262483" y="511517"/>
                  </a:lnTo>
                  <a:lnTo>
                    <a:pt x="309372" y="497433"/>
                  </a:lnTo>
                  <a:lnTo>
                    <a:pt x="356844" y="488378"/>
                  </a:lnTo>
                  <a:lnTo>
                    <a:pt x="405003" y="485457"/>
                  </a:lnTo>
                  <a:lnTo>
                    <a:pt x="453974" y="489737"/>
                  </a:lnTo>
                  <a:lnTo>
                    <a:pt x="495452" y="500507"/>
                  </a:lnTo>
                  <a:lnTo>
                    <a:pt x="533374" y="520636"/>
                  </a:lnTo>
                  <a:lnTo>
                    <a:pt x="559257" y="542340"/>
                  </a:lnTo>
                  <a:lnTo>
                    <a:pt x="567029" y="541794"/>
                  </a:lnTo>
                  <a:lnTo>
                    <a:pt x="572909" y="543179"/>
                  </a:lnTo>
                  <a:lnTo>
                    <a:pt x="575005" y="542086"/>
                  </a:lnTo>
                  <a:lnTo>
                    <a:pt x="575271" y="541794"/>
                  </a:lnTo>
                  <a:lnTo>
                    <a:pt x="576516" y="540461"/>
                  </a:lnTo>
                  <a:lnTo>
                    <a:pt x="577430" y="538276"/>
                  </a:lnTo>
                  <a:lnTo>
                    <a:pt x="577786" y="537375"/>
                  </a:lnTo>
                  <a:lnTo>
                    <a:pt x="578637" y="534631"/>
                  </a:lnTo>
                  <a:close/>
                </a:path>
                <a:path w="8623300" h="740409">
                  <a:moveTo>
                    <a:pt x="685914" y="209943"/>
                  </a:moveTo>
                  <a:lnTo>
                    <a:pt x="685609" y="207949"/>
                  </a:lnTo>
                  <a:lnTo>
                    <a:pt x="684872" y="201231"/>
                  </a:lnTo>
                  <a:lnTo>
                    <a:pt x="681482" y="196380"/>
                  </a:lnTo>
                  <a:lnTo>
                    <a:pt x="675436" y="193370"/>
                  </a:lnTo>
                  <a:lnTo>
                    <a:pt x="669582" y="190601"/>
                  </a:lnTo>
                  <a:lnTo>
                    <a:pt x="663917" y="190969"/>
                  </a:lnTo>
                  <a:lnTo>
                    <a:pt x="658469" y="194475"/>
                  </a:lnTo>
                  <a:lnTo>
                    <a:pt x="647636" y="200888"/>
                  </a:lnTo>
                  <a:lnTo>
                    <a:pt x="626084" y="213982"/>
                  </a:lnTo>
                  <a:lnTo>
                    <a:pt x="615353" y="220624"/>
                  </a:lnTo>
                  <a:lnTo>
                    <a:pt x="609777" y="223926"/>
                  </a:lnTo>
                  <a:lnTo>
                    <a:pt x="607021" y="228815"/>
                  </a:lnTo>
                  <a:lnTo>
                    <a:pt x="607098" y="235813"/>
                  </a:lnTo>
                  <a:lnTo>
                    <a:pt x="607187" y="238137"/>
                  </a:lnTo>
                  <a:lnTo>
                    <a:pt x="607961" y="240804"/>
                  </a:lnTo>
                  <a:lnTo>
                    <a:pt x="612521" y="248869"/>
                  </a:lnTo>
                  <a:lnTo>
                    <a:pt x="617321" y="251599"/>
                  </a:lnTo>
                  <a:lnTo>
                    <a:pt x="626821" y="251409"/>
                  </a:lnTo>
                  <a:lnTo>
                    <a:pt x="629653" y="250545"/>
                  </a:lnTo>
                  <a:lnTo>
                    <a:pt x="632218" y="248869"/>
                  </a:lnTo>
                  <a:lnTo>
                    <a:pt x="643128" y="242455"/>
                  </a:lnTo>
                  <a:lnTo>
                    <a:pt x="676440" y="222021"/>
                  </a:lnTo>
                  <a:lnTo>
                    <a:pt x="682917" y="214337"/>
                  </a:lnTo>
                  <a:lnTo>
                    <a:pt x="683514" y="213334"/>
                  </a:lnTo>
                  <a:lnTo>
                    <a:pt x="684123" y="212432"/>
                  </a:lnTo>
                  <a:lnTo>
                    <a:pt x="684618" y="211543"/>
                  </a:lnTo>
                  <a:lnTo>
                    <a:pt x="685914" y="209943"/>
                  </a:lnTo>
                  <a:close/>
                </a:path>
                <a:path w="8623300" h="740409">
                  <a:moveTo>
                    <a:pt x="743140" y="479945"/>
                  </a:moveTo>
                  <a:lnTo>
                    <a:pt x="741108" y="473506"/>
                  </a:lnTo>
                  <a:lnTo>
                    <a:pt x="738987" y="467410"/>
                  </a:lnTo>
                  <a:lnTo>
                    <a:pt x="734796" y="463575"/>
                  </a:lnTo>
                  <a:lnTo>
                    <a:pt x="728522" y="462026"/>
                  </a:lnTo>
                  <a:lnTo>
                    <a:pt x="716432" y="458660"/>
                  </a:lnTo>
                  <a:lnTo>
                    <a:pt x="679831" y="449059"/>
                  </a:lnTo>
                  <a:lnTo>
                    <a:pt x="673569" y="447344"/>
                  </a:lnTo>
                  <a:lnTo>
                    <a:pt x="668121" y="448741"/>
                  </a:lnTo>
                  <a:lnTo>
                    <a:pt x="657428" y="466610"/>
                  </a:lnTo>
                  <a:lnTo>
                    <a:pt x="658799" y="471957"/>
                  </a:lnTo>
                  <a:lnTo>
                    <a:pt x="665530" y="478637"/>
                  </a:lnTo>
                  <a:lnTo>
                    <a:pt x="668096" y="480072"/>
                  </a:lnTo>
                  <a:lnTo>
                    <a:pt x="671042" y="480796"/>
                  </a:lnTo>
                  <a:lnTo>
                    <a:pt x="695706" y="487578"/>
                  </a:lnTo>
                  <a:lnTo>
                    <a:pt x="708266" y="490867"/>
                  </a:lnTo>
                  <a:lnTo>
                    <a:pt x="721042" y="494068"/>
                  </a:lnTo>
                  <a:lnTo>
                    <a:pt x="724446" y="494588"/>
                  </a:lnTo>
                  <a:lnTo>
                    <a:pt x="727811" y="494385"/>
                  </a:lnTo>
                  <a:lnTo>
                    <a:pt x="732218" y="493166"/>
                  </a:lnTo>
                  <a:lnTo>
                    <a:pt x="734314" y="492772"/>
                  </a:lnTo>
                  <a:lnTo>
                    <a:pt x="736409" y="492569"/>
                  </a:lnTo>
                  <a:lnTo>
                    <a:pt x="737590" y="490893"/>
                  </a:lnTo>
                  <a:lnTo>
                    <a:pt x="741972" y="485724"/>
                  </a:lnTo>
                  <a:lnTo>
                    <a:pt x="743140" y="479945"/>
                  </a:lnTo>
                  <a:close/>
                </a:path>
                <a:path w="8623300" h="740409">
                  <a:moveTo>
                    <a:pt x="8242846" y="303593"/>
                  </a:moveTo>
                  <a:lnTo>
                    <a:pt x="8209026" y="272478"/>
                  </a:lnTo>
                  <a:lnTo>
                    <a:pt x="8171815" y="244348"/>
                  </a:lnTo>
                  <a:lnTo>
                    <a:pt x="8130578" y="220383"/>
                  </a:lnTo>
                  <a:lnTo>
                    <a:pt x="8084604" y="201790"/>
                  </a:lnTo>
                  <a:lnTo>
                    <a:pt x="8033245" y="189763"/>
                  </a:lnTo>
                  <a:lnTo>
                    <a:pt x="7975816" y="185483"/>
                  </a:lnTo>
                  <a:lnTo>
                    <a:pt x="7975816" y="239166"/>
                  </a:lnTo>
                  <a:lnTo>
                    <a:pt x="8034642" y="244386"/>
                  </a:lnTo>
                  <a:lnTo>
                    <a:pt x="8085823" y="259016"/>
                  </a:lnTo>
                  <a:lnTo>
                    <a:pt x="8130794" y="281495"/>
                  </a:lnTo>
                  <a:lnTo>
                    <a:pt x="8170977" y="310299"/>
                  </a:lnTo>
                  <a:lnTo>
                    <a:pt x="8207781" y="343865"/>
                  </a:lnTo>
                  <a:lnTo>
                    <a:pt x="8242846" y="303593"/>
                  </a:lnTo>
                  <a:close/>
                </a:path>
                <a:path w="8623300" h="740409">
                  <a:moveTo>
                    <a:pt x="8623173" y="534441"/>
                  </a:moveTo>
                  <a:lnTo>
                    <a:pt x="8461337" y="400227"/>
                  </a:lnTo>
                  <a:lnTo>
                    <a:pt x="8461337" y="668667"/>
                  </a:lnTo>
                  <a:lnTo>
                    <a:pt x="8623173" y="534441"/>
                  </a:lnTo>
                  <a:close/>
                </a:path>
                <a:path w="8623300" h="740409">
                  <a:moveTo>
                    <a:pt x="8623173" y="212331"/>
                  </a:moveTo>
                  <a:lnTo>
                    <a:pt x="8461337" y="78117"/>
                  </a:lnTo>
                  <a:lnTo>
                    <a:pt x="8461337" y="346544"/>
                  </a:lnTo>
                  <a:lnTo>
                    <a:pt x="8623173" y="212331"/>
                  </a:lnTo>
                  <a:close/>
                </a:path>
              </a:pathLst>
            </a:custGeom>
            <a:solidFill>
              <a:srgbClr val="FFFFFF"/>
            </a:solidFill>
          </p:spPr>
          <p:txBody>
            <a:bodyPr wrap="square" lIns="0" tIns="0" rIns="0" bIns="0" rtlCol="0"/>
            <a:lstStyle/>
            <a:p>
              <a:endParaRPr/>
            </a:p>
          </p:txBody>
        </p:sp>
        <p:pic>
          <p:nvPicPr>
            <p:cNvPr id="41" name="object 41"/>
            <p:cNvPicPr/>
            <p:nvPr/>
          </p:nvPicPr>
          <p:blipFill>
            <a:blip r:embed="rId6" cstate="print"/>
            <a:stretch>
              <a:fillRect/>
            </a:stretch>
          </p:blipFill>
          <p:spPr>
            <a:xfrm>
              <a:off x="16717157" y="7150144"/>
              <a:ext cx="191510" cy="155690"/>
            </a:xfrm>
            <a:prstGeom prst="rect">
              <a:avLst/>
            </a:prstGeom>
          </p:spPr>
        </p:pic>
        <p:sp>
          <p:nvSpPr>
            <p:cNvPr id="42" name="object 42"/>
            <p:cNvSpPr/>
            <p:nvPr/>
          </p:nvSpPr>
          <p:spPr>
            <a:xfrm>
              <a:off x="6559575" y="6775944"/>
              <a:ext cx="10349230" cy="683895"/>
            </a:xfrm>
            <a:custGeom>
              <a:avLst/>
              <a:gdLst/>
              <a:ahLst/>
              <a:cxnLst/>
              <a:rect l="l" t="t" r="r" b="b"/>
              <a:pathLst>
                <a:path w="10349230" h="683895">
                  <a:moveTo>
                    <a:pt x="80289" y="260489"/>
                  </a:moveTo>
                  <a:lnTo>
                    <a:pt x="78714" y="252564"/>
                  </a:lnTo>
                  <a:lnTo>
                    <a:pt x="74295" y="246265"/>
                  </a:lnTo>
                  <a:lnTo>
                    <a:pt x="67551" y="242087"/>
                  </a:lnTo>
                  <a:lnTo>
                    <a:pt x="58966" y="240512"/>
                  </a:lnTo>
                  <a:lnTo>
                    <a:pt x="50952" y="240538"/>
                  </a:lnTo>
                  <a:lnTo>
                    <a:pt x="42913" y="240639"/>
                  </a:lnTo>
                  <a:lnTo>
                    <a:pt x="34899" y="240652"/>
                  </a:lnTo>
                  <a:lnTo>
                    <a:pt x="0" y="255168"/>
                  </a:lnTo>
                  <a:lnTo>
                    <a:pt x="0" y="265849"/>
                  </a:lnTo>
                  <a:lnTo>
                    <a:pt x="4711" y="273138"/>
                  </a:lnTo>
                  <a:lnTo>
                    <a:pt x="10795" y="277876"/>
                  </a:lnTo>
                  <a:lnTo>
                    <a:pt x="18211" y="280314"/>
                  </a:lnTo>
                  <a:lnTo>
                    <a:pt x="26924" y="280682"/>
                  </a:lnTo>
                  <a:lnTo>
                    <a:pt x="34925" y="280390"/>
                  </a:lnTo>
                  <a:lnTo>
                    <a:pt x="42938" y="280403"/>
                  </a:lnTo>
                  <a:lnTo>
                    <a:pt x="50965" y="280504"/>
                  </a:lnTo>
                  <a:lnTo>
                    <a:pt x="58991" y="280517"/>
                  </a:lnTo>
                  <a:lnTo>
                    <a:pt x="67564" y="278930"/>
                  </a:lnTo>
                  <a:lnTo>
                    <a:pt x="74307" y="274726"/>
                  </a:lnTo>
                  <a:lnTo>
                    <a:pt x="78714" y="268414"/>
                  </a:lnTo>
                  <a:lnTo>
                    <a:pt x="80289" y="260489"/>
                  </a:lnTo>
                  <a:close/>
                </a:path>
                <a:path w="10349230" h="683895">
                  <a:moveTo>
                    <a:pt x="583730" y="241122"/>
                  </a:moveTo>
                  <a:lnTo>
                    <a:pt x="578650" y="190525"/>
                  </a:lnTo>
                  <a:lnTo>
                    <a:pt x="565442" y="147523"/>
                  </a:lnTo>
                  <a:lnTo>
                    <a:pt x="543852" y="107772"/>
                  </a:lnTo>
                  <a:lnTo>
                    <a:pt x="543382" y="107200"/>
                  </a:lnTo>
                  <a:lnTo>
                    <a:pt x="543382" y="251231"/>
                  </a:lnTo>
                  <a:lnTo>
                    <a:pt x="537222" y="291820"/>
                  </a:lnTo>
                  <a:lnTo>
                    <a:pt x="522376" y="330073"/>
                  </a:lnTo>
                  <a:lnTo>
                    <a:pt x="498830" y="365887"/>
                  </a:lnTo>
                  <a:lnTo>
                    <a:pt x="483806" y="385419"/>
                  </a:lnTo>
                  <a:lnTo>
                    <a:pt x="470357" y="405765"/>
                  </a:lnTo>
                  <a:lnTo>
                    <a:pt x="450888" y="450557"/>
                  </a:lnTo>
                  <a:lnTo>
                    <a:pt x="445528" y="473938"/>
                  </a:lnTo>
                  <a:lnTo>
                    <a:pt x="443788" y="481939"/>
                  </a:lnTo>
                  <a:lnTo>
                    <a:pt x="443293" y="481939"/>
                  </a:lnTo>
                  <a:lnTo>
                    <a:pt x="443293" y="522732"/>
                  </a:lnTo>
                  <a:lnTo>
                    <a:pt x="443255" y="541185"/>
                  </a:lnTo>
                  <a:lnTo>
                    <a:pt x="398856" y="562394"/>
                  </a:lnTo>
                  <a:lnTo>
                    <a:pt x="398805" y="602767"/>
                  </a:lnTo>
                  <a:lnTo>
                    <a:pt x="390448" y="619150"/>
                  </a:lnTo>
                  <a:lnTo>
                    <a:pt x="377202" y="632218"/>
                  </a:lnTo>
                  <a:lnTo>
                    <a:pt x="360680" y="640816"/>
                  </a:lnTo>
                  <a:lnTo>
                    <a:pt x="342493" y="643826"/>
                  </a:lnTo>
                  <a:lnTo>
                    <a:pt x="324383" y="640575"/>
                  </a:lnTo>
                  <a:lnTo>
                    <a:pt x="308038" y="631901"/>
                  </a:lnTo>
                  <a:lnTo>
                    <a:pt x="295033" y="618921"/>
                  </a:lnTo>
                  <a:lnTo>
                    <a:pt x="286931" y="602767"/>
                  </a:lnTo>
                  <a:lnTo>
                    <a:pt x="398805" y="602767"/>
                  </a:lnTo>
                  <a:lnTo>
                    <a:pt x="398805" y="562394"/>
                  </a:lnTo>
                  <a:lnTo>
                    <a:pt x="396621" y="562394"/>
                  </a:lnTo>
                  <a:lnTo>
                    <a:pt x="395617" y="562394"/>
                  </a:lnTo>
                  <a:lnTo>
                    <a:pt x="351002" y="562394"/>
                  </a:lnTo>
                  <a:lnTo>
                    <a:pt x="317360" y="562381"/>
                  </a:lnTo>
                  <a:lnTo>
                    <a:pt x="264515" y="562368"/>
                  </a:lnTo>
                  <a:lnTo>
                    <a:pt x="242417" y="540385"/>
                  </a:lnTo>
                  <a:lnTo>
                    <a:pt x="242417" y="522732"/>
                  </a:lnTo>
                  <a:lnTo>
                    <a:pt x="443293" y="522732"/>
                  </a:lnTo>
                  <a:lnTo>
                    <a:pt x="443293" y="481939"/>
                  </a:lnTo>
                  <a:lnTo>
                    <a:pt x="241935" y="481939"/>
                  </a:lnTo>
                  <a:lnTo>
                    <a:pt x="240220" y="473976"/>
                  </a:lnTo>
                  <a:lnTo>
                    <a:pt x="238544" y="466090"/>
                  </a:lnTo>
                  <a:lnTo>
                    <a:pt x="236842" y="458470"/>
                  </a:lnTo>
                  <a:lnTo>
                    <a:pt x="217220" y="408559"/>
                  </a:lnTo>
                  <a:lnTo>
                    <a:pt x="191223" y="371398"/>
                  </a:lnTo>
                  <a:lnTo>
                    <a:pt x="164426" y="331965"/>
                  </a:lnTo>
                  <a:lnTo>
                    <a:pt x="147662" y="290855"/>
                  </a:lnTo>
                  <a:lnTo>
                    <a:pt x="141147" y="248234"/>
                  </a:lnTo>
                  <a:lnTo>
                    <a:pt x="145034" y="204304"/>
                  </a:lnTo>
                  <a:lnTo>
                    <a:pt x="159499" y="159207"/>
                  </a:lnTo>
                  <a:lnTo>
                    <a:pt x="186931" y="112585"/>
                  </a:lnTo>
                  <a:lnTo>
                    <a:pt x="223431" y="77330"/>
                  </a:lnTo>
                  <a:lnTo>
                    <a:pt x="268503" y="53619"/>
                  </a:lnTo>
                  <a:lnTo>
                    <a:pt x="321665" y="41579"/>
                  </a:lnTo>
                  <a:lnTo>
                    <a:pt x="367449" y="41490"/>
                  </a:lnTo>
                  <a:lnTo>
                    <a:pt x="410032" y="51231"/>
                  </a:lnTo>
                  <a:lnTo>
                    <a:pt x="449249" y="70548"/>
                  </a:lnTo>
                  <a:lnTo>
                    <a:pt x="484987" y="99199"/>
                  </a:lnTo>
                  <a:lnTo>
                    <a:pt x="521931" y="149098"/>
                  </a:lnTo>
                  <a:lnTo>
                    <a:pt x="540880" y="208394"/>
                  </a:lnTo>
                  <a:lnTo>
                    <a:pt x="543382" y="251231"/>
                  </a:lnTo>
                  <a:lnTo>
                    <a:pt x="543382" y="107200"/>
                  </a:lnTo>
                  <a:lnTo>
                    <a:pt x="515137" y="72555"/>
                  </a:lnTo>
                  <a:lnTo>
                    <a:pt x="480491" y="43129"/>
                  </a:lnTo>
                  <a:lnTo>
                    <a:pt x="477608" y="41490"/>
                  </a:lnTo>
                  <a:lnTo>
                    <a:pt x="441147" y="20764"/>
                  </a:lnTo>
                  <a:lnTo>
                    <a:pt x="398335" y="6718"/>
                  </a:lnTo>
                  <a:lnTo>
                    <a:pt x="388861" y="4838"/>
                  </a:lnTo>
                  <a:lnTo>
                    <a:pt x="360248" y="50"/>
                  </a:lnTo>
                  <a:lnTo>
                    <a:pt x="325437" y="0"/>
                  </a:lnTo>
                  <a:lnTo>
                    <a:pt x="323964" y="355"/>
                  </a:lnTo>
                  <a:lnTo>
                    <a:pt x="322491" y="952"/>
                  </a:lnTo>
                  <a:lnTo>
                    <a:pt x="321005" y="1066"/>
                  </a:lnTo>
                  <a:lnTo>
                    <a:pt x="283324" y="6972"/>
                  </a:lnTo>
                  <a:lnTo>
                    <a:pt x="205447" y="42964"/>
                  </a:lnTo>
                  <a:lnTo>
                    <a:pt x="170459" y="71361"/>
                  </a:lnTo>
                  <a:lnTo>
                    <a:pt x="142557" y="104571"/>
                  </a:lnTo>
                  <a:lnTo>
                    <a:pt x="121831" y="142595"/>
                  </a:lnTo>
                  <a:lnTo>
                    <a:pt x="108356" y="185407"/>
                  </a:lnTo>
                  <a:lnTo>
                    <a:pt x="102247" y="233006"/>
                  </a:lnTo>
                  <a:lnTo>
                    <a:pt x="104368" y="278269"/>
                  </a:lnTo>
                  <a:lnTo>
                    <a:pt x="115036" y="320840"/>
                  </a:lnTo>
                  <a:lnTo>
                    <a:pt x="133921" y="360603"/>
                  </a:lnTo>
                  <a:lnTo>
                    <a:pt x="166776" y="405765"/>
                  </a:lnTo>
                  <a:lnTo>
                    <a:pt x="179349" y="422960"/>
                  </a:lnTo>
                  <a:lnTo>
                    <a:pt x="192532" y="450189"/>
                  </a:lnTo>
                  <a:lnTo>
                    <a:pt x="192646" y="450557"/>
                  </a:lnTo>
                  <a:lnTo>
                    <a:pt x="200304" y="479717"/>
                  </a:lnTo>
                  <a:lnTo>
                    <a:pt x="202285" y="511200"/>
                  </a:lnTo>
                  <a:lnTo>
                    <a:pt x="202196" y="515366"/>
                  </a:lnTo>
                  <a:lnTo>
                    <a:pt x="202069" y="523544"/>
                  </a:lnTo>
                  <a:lnTo>
                    <a:pt x="212356" y="575614"/>
                  </a:lnTo>
                  <a:lnTo>
                    <a:pt x="241769" y="598906"/>
                  </a:lnTo>
                  <a:lnTo>
                    <a:pt x="244309" y="602437"/>
                  </a:lnTo>
                  <a:lnTo>
                    <a:pt x="279107" y="660476"/>
                  </a:lnTo>
                  <a:lnTo>
                    <a:pt x="339204" y="683793"/>
                  </a:lnTo>
                  <a:lnTo>
                    <a:pt x="373799" y="678764"/>
                  </a:lnTo>
                  <a:lnTo>
                    <a:pt x="421322" y="643826"/>
                  </a:lnTo>
                  <a:lnTo>
                    <a:pt x="440728" y="605345"/>
                  </a:lnTo>
                  <a:lnTo>
                    <a:pt x="441325" y="602767"/>
                  </a:lnTo>
                  <a:lnTo>
                    <a:pt x="441439" y="602437"/>
                  </a:lnTo>
                  <a:lnTo>
                    <a:pt x="443572" y="599084"/>
                  </a:lnTo>
                  <a:lnTo>
                    <a:pt x="445998" y="597966"/>
                  </a:lnTo>
                  <a:lnTo>
                    <a:pt x="462305" y="587844"/>
                  </a:lnTo>
                  <a:lnTo>
                    <a:pt x="473925" y="574776"/>
                  </a:lnTo>
                  <a:lnTo>
                    <a:pt x="479361" y="562406"/>
                  </a:lnTo>
                  <a:lnTo>
                    <a:pt x="480949" y="558787"/>
                  </a:lnTo>
                  <a:lnTo>
                    <a:pt x="483450" y="539902"/>
                  </a:lnTo>
                  <a:lnTo>
                    <a:pt x="483565" y="522732"/>
                  </a:lnTo>
                  <a:lnTo>
                    <a:pt x="483450" y="507187"/>
                  </a:lnTo>
                  <a:lnTo>
                    <a:pt x="484987" y="482257"/>
                  </a:lnTo>
                  <a:lnTo>
                    <a:pt x="485063" y="481939"/>
                  </a:lnTo>
                  <a:lnTo>
                    <a:pt x="490296" y="458470"/>
                  </a:lnTo>
                  <a:lnTo>
                    <a:pt x="499364" y="435876"/>
                  </a:lnTo>
                  <a:lnTo>
                    <a:pt x="512178" y="414477"/>
                  </a:lnTo>
                  <a:lnTo>
                    <a:pt x="518668" y="405790"/>
                  </a:lnTo>
                  <a:lnTo>
                    <a:pt x="532244" y="388823"/>
                  </a:lnTo>
                  <a:lnTo>
                    <a:pt x="538708" y="380123"/>
                  </a:lnTo>
                  <a:lnTo>
                    <a:pt x="563778" y="335927"/>
                  </a:lnTo>
                  <a:lnTo>
                    <a:pt x="578777" y="289585"/>
                  </a:lnTo>
                  <a:lnTo>
                    <a:pt x="583730" y="241122"/>
                  </a:lnTo>
                  <a:close/>
                </a:path>
                <a:path w="10349230" h="683895">
                  <a:moveTo>
                    <a:pt x="10349090" y="154089"/>
                  </a:moveTo>
                  <a:lnTo>
                    <a:pt x="10304628" y="159613"/>
                  </a:lnTo>
                  <a:lnTo>
                    <a:pt x="10264965" y="174967"/>
                  </a:lnTo>
                  <a:lnTo>
                    <a:pt x="10229050" y="198386"/>
                  </a:lnTo>
                  <a:lnTo>
                    <a:pt x="10195839" y="228053"/>
                  </a:lnTo>
                  <a:lnTo>
                    <a:pt x="10164267" y="262204"/>
                  </a:lnTo>
                  <a:lnTo>
                    <a:pt x="10133305" y="299046"/>
                  </a:lnTo>
                  <a:lnTo>
                    <a:pt x="10100729" y="335902"/>
                  </a:lnTo>
                  <a:lnTo>
                    <a:pt x="10066934" y="371729"/>
                  </a:lnTo>
                  <a:lnTo>
                    <a:pt x="10030676" y="404837"/>
                  </a:lnTo>
                  <a:lnTo>
                    <a:pt x="9990747" y="433527"/>
                  </a:lnTo>
                  <a:lnTo>
                    <a:pt x="9945903" y="456107"/>
                  </a:lnTo>
                  <a:lnTo>
                    <a:pt x="9894926" y="470903"/>
                  </a:lnTo>
                  <a:lnTo>
                    <a:pt x="9836594" y="476211"/>
                  </a:lnTo>
                  <a:lnTo>
                    <a:pt x="9836594" y="529894"/>
                  </a:lnTo>
                  <a:lnTo>
                    <a:pt x="9896881" y="525005"/>
                  </a:lnTo>
                  <a:lnTo>
                    <a:pt x="9950729" y="511352"/>
                  </a:lnTo>
                  <a:lnTo>
                    <a:pt x="9998748" y="490537"/>
                  </a:lnTo>
                  <a:lnTo>
                    <a:pt x="10041585" y="464134"/>
                  </a:lnTo>
                  <a:lnTo>
                    <a:pt x="10079876" y="433692"/>
                  </a:lnTo>
                  <a:lnTo>
                    <a:pt x="10114255" y="400799"/>
                  </a:lnTo>
                  <a:lnTo>
                    <a:pt x="10145331" y="367017"/>
                  </a:lnTo>
                  <a:lnTo>
                    <a:pt x="10207269" y="295046"/>
                  </a:lnTo>
                  <a:lnTo>
                    <a:pt x="10240531" y="260540"/>
                  </a:lnTo>
                  <a:lnTo>
                    <a:pt x="10274554" y="232854"/>
                  </a:lnTo>
                  <a:lnTo>
                    <a:pt x="10310393" y="214452"/>
                  </a:lnTo>
                  <a:lnTo>
                    <a:pt x="10349090" y="207772"/>
                  </a:lnTo>
                  <a:lnTo>
                    <a:pt x="10349090" y="154089"/>
                  </a:lnTo>
                  <a:close/>
                </a:path>
              </a:pathLst>
            </a:custGeom>
            <a:solidFill>
              <a:srgbClr val="FFFFFF"/>
            </a:solidFill>
          </p:spPr>
          <p:txBody>
            <a:bodyPr wrap="square" lIns="0" tIns="0" rIns="0" bIns="0" rtlCol="0"/>
            <a:lstStyle/>
            <a:p>
              <a:endParaRPr/>
            </a:p>
          </p:txBody>
        </p:sp>
        <p:pic>
          <p:nvPicPr>
            <p:cNvPr id="43" name="object 43"/>
            <p:cNvPicPr/>
            <p:nvPr/>
          </p:nvPicPr>
          <p:blipFill>
            <a:blip r:embed="rId7" cstate="print"/>
            <a:stretch>
              <a:fillRect/>
            </a:stretch>
          </p:blipFill>
          <p:spPr>
            <a:xfrm>
              <a:off x="6565523" y="6882065"/>
              <a:ext cx="70201" cy="68403"/>
            </a:xfrm>
            <a:prstGeom prst="rect">
              <a:avLst/>
            </a:prstGeom>
          </p:spPr>
        </p:pic>
        <p:pic>
          <p:nvPicPr>
            <p:cNvPr id="44" name="object 44"/>
            <p:cNvPicPr/>
            <p:nvPr/>
          </p:nvPicPr>
          <p:blipFill>
            <a:blip r:embed="rId8" cstate="print"/>
            <a:stretch>
              <a:fillRect/>
            </a:stretch>
          </p:blipFill>
          <p:spPr>
            <a:xfrm>
              <a:off x="7170829" y="6880383"/>
              <a:ext cx="68624" cy="69964"/>
            </a:xfrm>
            <a:prstGeom prst="rect">
              <a:avLst/>
            </a:prstGeom>
          </p:spPr>
        </p:pic>
        <p:pic>
          <p:nvPicPr>
            <p:cNvPr id="45" name="object 45"/>
            <p:cNvPicPr/>
            <p:nvPr/>
          </p:nvPicPr>
          <p:blipFill>
            <a:blip r:embed="rId9" cstate="print"/>
            <a:stretch>
              <a:fillRect/>
            </a:stretch>
          </p:blipFill>
          <p:spPr>
            <a:xfrm>
              <a:off x="6565512" y="7120808"/>
              <a:ext cx="68649" cy="69982"/>
            </a:xfrm>
            <a:prstGeom prst="rect">
              <a:avLst/>
            </a:prstGeom>
          </p:spPr>
        </p:pic>
        <p:pic>
          <p:nvPicPr>
            <p:cNvPr id="46" name="object 46"/>
            <p:cNvPicPr/>
            <p:nvPr/>
          </p:nvPicPr>
          <p:blipFill>
            <a:blip r:embed="rId10" cstate="print"/>
            <a:stretch>
              <a:fillRect/>
            </a:stretch>
          </p:blipFill>
          <p:spPr>
            <a:xfrm>
              <a:off x="7169150" y="7122295"/>
              <a:ext cx="70171" cy="68474"/>
            </a:xfrm>
            <a:prstGeom prst="rect">
              <a:avLst/>
            </a:prstGeom>
          </p:spPr>
        </p:pic>
        <p:sp>
          <p:nvSpPr>
            <p:cNvPr id="47" name="object 47"/>
            <p:cNvSpPr/>
            <p:nvPr/>
          </p:nvSpPr>
          <p:spPr>
            <a:xfrm>
              <a:off x="7164965" y="7016350"/>
              <a:ext cx="80645" cy="40640"/>
            </a:xfrm>
            <a:custGeom>
              <a:avLst/>
              <a:gdLst/>
              <a:ahLst/>
              <a:cxnLst/>
              <a:rect l="l" t="t" r="r" b="b"/>
              <a:pathLst>
                <a:path w="80645" h="40640">
                  <a:moveTo>
                    <a:pt x="53132" y="40285"/>
                  </a:moveTo>
                  <a:lnTo>
                    <a:pt x="46432" y="40141"/>
                  </a:lnTo>
                  <a:lnTo>
                    <a:pt x="39732" y="40141"/>
                  </a:lnTo>
                  <a:lnTo>
                    <a:pt x="33266" y="40123"/>
                  </a:lnTo>
                  <a:lnTo>
                    <a:pt x="26781" y="40285"/>
                  </a:lnTo>
                  <a:lnTo>
                    <a:pt x="20315" y="40087"/>
                  </a:lnTo>
                  <a:lnTo>
                    <a:pt x="12114" y="38326"/>
                  </a:lnTo>
                  <a:lnTo>
                    <a:pt x="5631" y="33960"/>
                  </a:lnTo>
                  <a:lnTo>
                    <a:pt x="1411" y="27566"/>
                  </a:lnTo>
                  <a:lnTo>
                    <a:pt x="0" y="19718"/>
                  </a:lnTo>
                  <a:lnTo>
                    <a:pt x="1650" y="12058"/>
                  </a:lnTo>
                  <a:lnTo>
                    <a:pt x="40172" y="0"/>
                  </a:lnTo>
                  <a:lnTo>
                    <a:pt x="50047" y="36"/>
                  </a:lnTo>
                  <a:lnTo>
                    <a:pt x="80237" y="19825"/>
                  </a:lnTo>
                  <a:lnTo>
                    <a:pt x="78784" y="27670"/>
                  </a:lnTo>
                  <a:lnTo>
                    <a:pt x="74538" y="34037"/>
                  </a:lnTo>
                  <a:lnTo>
                    <a:pt x="68037" y="38368"/>
                  </a:lnTo>
                  <a:lnTo>
                    <a:pt x="59814" y="40105"/>
                  </a:lnTo>
                  <a:lnTo>
                    <a:pt x="53132" y="40285"/>
                  </a:lnTo>
                  <a:close/>
                </a:path>
              </a:pathLst>
            </a:custGeom>
            <a:solidFill>
              <a:srgbClr val="FFFFFF"/>
            </a:solidFill>
          </p:spPr>
          <p:txBody>
            <a:bodyPr wrap="square" lIns="0" tIns="0" rIns="0" bIns="0" rtlCol="0"/>
            <a:lstStyle/>
            <a:p>
              <a:endParaRPr/>
            </a:p>
          </p:txBody>
        </p:sp>
        <p:pic>
          <p:nvPicPr>
            <p:cNvPr id="48" name="object 48"/>
            <p:cNvPicPr/>
            <p:nvPr/>
          </p:nvPicPr>
          <p:blipFill>
            <a:blip r:embed="rId11" cstate="print"/>
            <a:stretch>
              <a:fillRect/>
            </a:stretch>
          </p:blipFill>
          <p:spPr>
            <a:xfrm>
              <a:off x="6882472" y="6856054"/>
              <a:ext cx="180485" cy="180336"/>
            </a:xfrm>
            <a:prstGeom prst="rect">
              <a:avLst/>
            </a:prstGeom>
          </p:spPr>
        </p:pic>
        <p:pic>
          <p:nvPicPr>
            <p:cNvPr id="49" name="object 49"/>
            <p:cNvPicPr/>
            <p:nvPr/>
          </p:nvPicPr>
          <p:blipFill>
            <a:blip r:embed="rId12" cstate="print"/>
            <a:stretch>
              <a:fillRect/>
            </a:stretch>
          </p:blipFill>
          <p:spPr>
            <a:xfrm>
              <a:off x="10519209" y="6788662"/>
              <a:ext cx="127530" cy="67769"/>
            </a:xfrm>
            <a:prstGeom prst="rect">
              <a:avLst/>
            </a:prstGeom>
          </p:spPr>
        </p:pic>
        <p:sp>
          <p:nvSpPr>
            <p:cNvPr id="50" name="object 50"/>
            <p:cNvSpPr/>
            <p:nvPr/>
          </p:nvSpPr>
          <p:spPr>
            <a:xfrm>
              <a:off x="10366306" y="6806192"/>
              <a:ext cx="478155" cy="497205"/>
            </a:xfrm>
            <a:custGeom>
              <a:avLst/>
              <a:gdLst/>
              <a:ahLst/>
              <a:cxnLst/>
              <a:rect l="l" t="t" r="r" b="b"/>
              <a:pathLst>
                <a:path w="478154" h="497204">
                  <a:moveTo>
                    <a:pt x="120084" y="496734"/>
                  </a:moveTo>
                  <a:lnTo>
                    <a:pt x="0" y="327454"/>
                  </a:lnTo>
                  <a:lnTo>
                    <a:pt x="1823" y="322270"/>
                  </a:lnTo>
                  <a:lnTo>
                    <a:pt x="4696" y="312895"/>
                  </a:lnTo>
                  <a:lnTo>
                    <a:pt x="7554" y="302427"/>
                  </a:lnTo>
                  <a:lnTo>
                    <a:pt x="9335" y="293963"/>
                  </a:lnTo>
                  <a:lnTo>
                    <a:pt x="30412" y="315159"/>
                  </a:lnTo>
                  <a:lnTo>
                    <a:pt x="41119" y="323989"/>
                  </a:lnTo>
                  <a:lnTo>
                    <a:pt x="53164" y="330454"/>
                  </a:lnTo>
                  <a:lnTo>
                    <a:pt x="66248" y="334427"/>
                  </a:lnTo>
                  <a:lnTo>
                    <a:pt x="80069" y="335779"/>
                  </a:lnTo>
                  <a:lnTo>
                    <a:pt x="87054" y="335437"/>
                  </a:lnTo>
                  <a:lnTo>
                    <a:pt x="124567" y="319856"/>
                  </a:lnTo>
                  <a:lnTo>
                    <a:pt x="147920" y="283386"/>
                  </a:lnTo>
                  <a:lnTo>
                    <a:pt x="149981" y="271578"/>
                  </a:lnTo>
                  <a:lnTo>
                    <a:pt x="157007" y="268221"/>
                  </a:lnTo>
                  <a:lnTo>
                    <a:pt x="183592" y="237396"/>
                  </a:lnTo>
                  <a:lnTo>
                    <a:pt x="189711" y="214205"/>
                  </a:lnTo>
                  <a:lnTo>
                    <a:pt x="196755" y="210848"/>
                  </a:lnTo>
                  <a:lnTo>
                    <a:pt x="224101" y="178237"/>
                  </a:lnTo>
                  <a:lnTo>
                    <a:pt x="229669" y="152996"/>
                  </a:lnTo>
                  <a:lnTo>
                    <a:pt x="235759" y="149735"/>
                  </a:lnTo>
                  <a:lnTo>
                    <a:pt x="264051" y="110780"/>
                  </a:lnTo>
                  <a:lnTo>
                    <a:pt x="266868" y="87071"/>
                  </a:lnTo>
                  <a:lnTo>
                    <a:pt x="265122" y="74526"/>
                  </a:lnTo>
                  <a:lnTo>
                    <a:pt x="261127" y="62401"/>
                  </a:lnTo>
                  <a:lnTo>
                    <a:pt x="254889" y="51025"/>
                  </a:lnTo>
                  <a:lnTo>
                    <a:pt x="252636" y="47630"/>
                  </a:lnTo>
                  <a:lnTo>
                    <a:pt x="253533" y="42969"/>
                  </a:lnTo>
                  <a:lnTo>
                    <a:pt x="305634" y="7310"/>
                  </a:lnTo>
                  <a:lnTo>
                    <a:pt x="316383" y="2039"/>
                  </a:lnTo>
                  <a:lnTo>
                    <a:pt x="328097" y="0"/>
                  </a:lnTo>
                  <a:lnTo>
                    <a:pt x="339872" y="1352"/>
                  </a:lnTo>
                  <a:lnTo>
                    <a:pt x="350804" y="6255"/>
                  </a:lnTo>
                  <a:lnTo>
                    <a:pt x="360668" y="16183"/>
                  </a:lnTo>
                  <a:lnTo>
                    <a:pt x="364979" y="28245"/>
                  </a:lnTo>
                  <a:lnTo>
                    <a:pt x="364609" y="41454"/>
                  </a:lnTo>
                  <a:lnTo>
                    <a:pt x="360426" y="54823"/>
                  </a:lnTo>
                  <a:lnTo>
                    <a:pt x="359452" y="57029"/>
                  </a:lnTo>
                  <a:lnTo>
                    <a:pt x="361724" y="59254"/>
                  </a:lnTo>
                  <a:lnTo>
                    <a:pt x="369284" y="55706"/>
                  </a:lnTo>
                  <a:lnTo>
                    <a:pt x="376482" y="52656"/>
                  </a:lnTo>
                  <a:lnTo>
                    <a:pt x="380625" y="52291"/>
                  </a:lnTo>
                  <a:lnTo>
                    <a:pt x="389458" y="52487"/>
                  </a:lnTo>
                  <a:lnTo>
                    <a:pt x="419757" y="83438"/>
                  </a:lnTo>
                  <a:lnTo>
                    <a:pt x="419406" y="93688"/>
                  </a:lnTo>
                  <a:lnTo>
                    <a:pt x="416306" y="103603"/>
                  </a:lnTo>
                  <a:lnTo>
                    <a:pt x="413519" y="109568"/>
                  </a:lnTo>
                  <a:lnTo>
                    <a:pt x="405940" y="116397"/>
                  </a:lnTo>
                  <a:lnTo>
                    <a:pt x="398952" y="122017"/>
                  </a:lnTo>
                  <a:lnTo>
                    <a:pt x="400021" y="124262"/>
                  </a:lnTo>
                  <a:lnTo>
                    <a:pt x="401759" y="123878"/>
                  </a:lnTo>
                  <a:lnTo>
                    <a:pt x="408708" y="122610"/>
                  </a:lnTo>
                  <a:lnTo>
                    <a:pt x="416390" y="121777"/>
                  </a:lnTo>
                  <a:lnTo>
                    <a:pt x="423825" y="121866"/>
                  </a:lnTo>
                  <a:lnTo>
                    <a:pt x="450380" y="157890"/>
                  </a:lnTo>
                  <a:lnTo>
                    <a:pt x="448303" y="167642"/>
                  </a:lnTo>
                  <a:lnTo>
                    <a:pt x="443932" y="176551"/>
                  </a:lnTo>
                  <a:lnTo>
                    <a:pt x="440572" y="181653"/>
                  </a:lnTo>
                  <a:lnTo>
                    <a:pt x="436028" y="185528"/>
                  </a:lnTo>
                  <a:lnTo>
                    <a:pt x="430816" y="191129"/>
                  </a:lnTo>
                  <a:lnTo>
                    <a:pt x="431904" y="192990"/>
                  </a:lnTo>
                  <a:lnTo>
                    <a:pt x="433450" y="192606"/>
                  </a:lnTo>
                  <a:lnTo>
                    <a:pt x="444358" y="191406"/>
                  </a:lnTo>
                  <a:lnTo>
                    <a:pt x="477139" y="217451"/>
                  </a:lnTo>
                  <a:lnTo>
                    <a:pt x="477532" y="230234"/>
                  </a:lnTo>
                  <a:lnTo>
                    <a:pt x="474218" y="242560"/>
                  </a:lnTo>
                  <a:lnTo>
                    <a:pt x="437057" y="284148"/>
                  </a:lnTo>
                  <a:lnTo>
                    <a:pt x="402541" y="318036"/>
                  </a:lnTo>
                  <a:lnTo>
                    <a:pt x="367081" y="350917"/>
                  </a:lnTo>
                  <a:lnTo>
                    <a:pt x="334022" y="378957"/>
                  </a:lnTo>
                  <a:lnTo>
                    <a:pt x="294014" y="407976"/>
                  </a:lnTo>
                  <a:lnTo>
                    <a:pt x="247080" y="435102"/>
                  </a:lnTo>
                  <a:lnTo>
                    <a:pt x="206010" y="453738"/>
                  </a:lnTo>
                  <a:lnTo>
                    <a:pt x="163250" y="468114"/>
                  </a:lnTo>
                  <a:lnTo>
                    <a:pt x="151219" y="473212"/>
                  </a:lnTo>
                  <a:lnTo>
                    <a:pt x="140515" y="480496"/>
                  </a:lnTo>
                  <a:lnTo>
                    <a:pt x="130386" y="488744"/>
                  </a:lnTo>
                  <a:lnTo>
                    <a:pt x="120084" y="496734"/>
                  </a:lnTo>
                  <a:close/>
                </a:path>
              </a:pathLst>
            </a:custGeom>
            <a:solidFill>
              <a:srgbClr val="FFFFFF"/>
            </a:solidFill>
          </p:spPr>
          <p:txBody>
            <a:bodyPr wrap="square" lIns="0" tIns="0" rIns="0" bIns="0" rtlCol="0"/>
            <a:lstStyle/>
            <a:p>
              <a:endParaRPr/>
            </a:p>
          </p:txBody>
        </p:sp>
        <p:pic>
          <p:nvPicPr>
            <p:cNvPr id="51" name="object 51"/>
            <p:cNvPicPr/>
            <p:nvPr/>
          </p:nvPicPr>
          <p:blipFill>
            <a:blip r:embed="rId13" cstate="print"/>
            <a:stretch>
              <a:fillRect/>
            </a:stretch>
          </p:blipFill>
          <p:spPr>
            <a:xfrm>
              <a:off x="10652696" y="7083064"/>
              <a:ext cx="218042" cy="225155"/>
            </a:xfrm>
            <a:prstGeom prst="rect">
              <a:avLst/>
            </a:prstGeom>
          </p:spPr>
        </p:pic>
        <p:sp>
          <p:nvSpPr>
            <p:cNvPr id="52" name="object 52"/>
            <p:cNvSpPr/>
            <p:nvPr/>
          </p:nvSpPr>
          <p:spPr>
            <a:xfrm>
              <a:off x="10167645" y="6812317"/>
              <a:ext cx="4584065" cy="620395"/>
            </a:xfrm>
            <a:custGeom>
              <a:avLst/>
              <a:gdLst/>
              <a:ahLst/>
              <a:cxnLst/>
              <a:rect l="l" t="t" r="r" b="b"/>
              <a:pathLst>
                <a:path w="4584065" h="620395">
                  <a:moveTo>
                    <a:pt x="303758" y="536994"/>
                  </a:moveTo>
                  <a:lnTo>
                    <a:pt x="158318" y="331965"/>
                  </a:lnTo>
                  <a:lnTo>
                    <a:pt x="11366" y="476250"/>
                  </a:lnTo>
                  <a:lnTo>
                    <a:pt x="1117" y="493077"/>
                  </a:lnTo>
                  <a:lnTo>
                    <a:pt x="0" y="511784"/>
                  </a:lnTo>
                  <a:lnTo>
                    <a:pt x="7429" y="528980"/>
                  </a:lnTo>
                  <a:lnTo>
                    <a:pt x="22809" y="541248"/>
                  </a:lnTo>
                  <a:lnTo>
                    <a:pt x="189699" y="616927"/>
                  </a:lnTo>
                  <a:lnTo>
                    <a:pt x="201498" y="620204"/>
                  </a:lnTo>
                  <a:lnTo>
                    <a:pt x="213461" y="619772"/>
                  </a:lnTo>
                  <a:lnTo>
                    <a:pt x="224764" y="615784"/>
                  </a:lnTo>
                  <a:lnTo>
                    <a:pt x="234543" y="608393"/>
                  </a:lnTo>
                  <a:lnTo>
                    <a:pt x="303758" y="536994"/>
                  </a:lnTo>
                  <a:close/>
                </a:path>
                <a:path w="4584065" h="620395">
                  <a:moveTo>
                    <a:pt x="430479" y="84480"/>
                  </a:moveTo>
                  <a:lnTo>
                    <a:pt x="392493" y="81064"/>
                  </a:lnTo>
                  <a:lnTo>
                    <a:pt x="357479" y="63538"/>
                  </a:lnTo>
                  <a:lnTo>
                    <a:pt x="324078" y="18275"/>
                  </a:lnTo>
                  <a:lnTo>
                    <a:pt x="318973" y="0"/>
                  </a:lnTo>
                  <a:lnTo>
                    <a:pt x="311619" y="7378"/>
                  </a:lnTo>
                  <a:lnTo>
                    <a:pt x="306819" y="16662"/>
                  </a:lnTo>
                  <a:lnTo>
                    <a:pt x="304774" y="26936"/>
                  </a:lnTo>
                  <a:lnTo>
                    <a:pt x="305714" y="37325"/>
                  </a:lnTo>
                  <a:lnTo>
                    <a:pt x="306209" y="39344"/>
                  </a:lnTo>
                  <a:lnTo>
                    <a:pt x="304101" y="40995"/>
                  </a:lnTo>
                  <a:lnTo>
                    <a:pt x="302260" y="40055"/>
                  </a:lnTo>
                  <a:lnTo>
                    <a:pt x="290055" y="36449"/>
                  </a:lnTo>
                  <a:lnTo>
                    <a:pt x="277241" y="37172"/>
                  </a:lnTo>
                  <a:lnTo>
                    <a:pt x="265417" y="42049"/>
                  </a:lnTo>
                  <a:lnTo>
                    <a:pt x="256171" y="50838"/>
                  </a:lnTo>
                  <a:lnTo>
                    <a:pt x="251345" y="61760"/>
                  </a:lnTo>
                  <a:lnTo>
                    <a:pt x="250507" y="73736"/>
                  </a:lnTo>
                  <a:lnTo>
                    <a:pt x="253377" y="85445"/>
                  </a:lnTo>
                  <a:lnTo>
                    <a:pt x="259676" y="95618"/>
                  </a:lnTo>
                  <a:lnTo>
                    <a:pt x="261137" y="97294"/>
                  </a:lnTo>
                  <a:lnTo>
                    <a:pt x="259753" y="99860"/>
                  </a:lnTo>
                  <a:lnTo>
                    <a:pt x="257530" y="99593"/>
                  </a:lnTo>
                  <a:lnTo>
                    <a:pt x="251142" y="99314"/>
                  </a:lnTo>
                  <a:lnTo>
                    <a:pt x="244792" y="100037"/>
                  </a:lnTo>
                  <a:lnTo>
                    <a:pt x="216255" y="134848"/>
                  </a:lnTo>
                  <a:lnTo>
                    <a:pt x="218173" y="144614"/>
                  </a:lnTo>
                  <a:lnTo>
                    <a:pt x="222542" y="153517"/>
                  </a:lnTo>
                  <a:lnTo>
                    <a:pt x="228688" y="161683"/>
                  </a:lnTo>
                  <a:lnTo>
                    <a:pt x="235953" y="169189"/>
                  </a:lnTo>
                  <a:lnTo>
                    <a:pt x="237693" y="170840"/>
                  </a:lnTo>
                  <a:lnTo>
                    <a:pt x="236245" y="173710"/>
                  </a:lnTo>
                  <a:lnTo>
                    <a:pt x="233883" y="173367"/>
                  </a:lnTo>
                  <a:lnTo>
                    <a:pt x="225933" y="173050"/>
                  </a:lnTo>
                  <a:lnTo>
                    <a:pt x="218109" y="174383"/>
                  </a:lnTo>
                  <a:lnTo>
                    <a:pt x="192900" y="210477"/>
                  </a:lnTo>
                  <a:lnTo>
                    <a:pt x="195351" y="220726"/>
                  </a:lnTo>
                  <a:lnTo>
                    <a:pt x="241973" y="272707"/>
                  </a:lnTo>
                  <a:lnTo>
                    <a:pt x="280187" y="293941"/>
                  </a:lnTo>
                  <a:lnTo>
                    <a:pt x="291592" y="291528"/>
                  </a:lnTo>
                  <a:lnTo>
                    <a:pt x="301675" y="285661"/>
                  </a:lnTo>
                  <a:lnTo>
                    <a:pt x="309232" y="276796"/>
                  </a:lnTo>
                  <a:lnTo>
                    <a:pt x="313143" y="265811"/>
                  </a:lnTo>
                  <a:lnTo>
                    <a:pt x="313207" y="254101"/>
                  </a:lnTo>
                  <a:lnTo>
                    <a:pt x="309651" y="242963"/>
                  </a:lnTo>
                  <a:lnTo>
                    <a:pt x="302641" y="233654"/>
                  </a:lnTo>
                  <a:lnTo>
                    <a:pt x="308457" y="236994"/>
                  </a:lnTo>
                  <a:lnTo>
                    <a:pt x="315023" y="238417"/>
                  </a:lnTo>
                  <a:lnTo>
                    <a:pt x="321881" y="238137"/>
                  </a:lnTo>
                  <a:lnTo>
                    <a:pt x="328510" y="236347"/>
                  </a:lnTo>
                  <a:lnTo>
                    <a:pt x="352577" y="202793"/>
                  </a:lnTo>
                  <a:lnTo>
                    <a:pt x="351980" y="194081"/>
                  </a:lnTo>
                  <a:lnTo>
                    <a:pt x="349465" y="185724"/>
                  </a:lnTo>
                  <a:lnTo>
                    <a:pt x="345147" y="178168"/>
                  </a:lnTo>
                  <a:lnTo>
                    <a:pt x="357124" y="180060"/>
                  </a:lnTo>
                  <a:lnTo>
                    <a:pt x="392137" y="151523"/>
                  </a:lnTo>
                  <a:lnTo>
                    <a:pt x="392150" y="140220"/>
                  </a:lnTo>
                  <a:lnTo>
                    <a:pt x="388899" y="129273"/>
                  </a:lnTo>
                  <a:lnTo>
                    <a:pt x="383387" y="118973"/>
                  </a:lnTo>
                  <a:lnTo>
                    <a:pt x="391426" y="120802"/>
                  </a:lnTo>
                  <a:lnTo>
                    <a:pt x="426148" y="100952"/>
                  </a:lnTo>
                  <a:lnTo>
                    <a:pt x="429272" y="92964"/>
                  </a:lnTo>
                  <a:lnTo>
                    <a:pt x="430479" y="84480"/>
                  </a:lnTo>
                  <a:close/>
                </a:path>
                <a:path w="4584065" h="620395">
                  <a:moveTo>
                    <a:pt x="896353" y="511797"/>
                  </a:moveTo>
                  <a:lnTo>
                    <a:pt x="895235" y="493090"/>
                  </a:lnTo>
                  <a:lnTo>
                    <a:pt x="884986" y="476262"/>
                  </a:lnTo>
                  <a:lnTo>
                    <a:pt x="743432" y="337235"/>
                  </a:lnTo>
                  <a:lnTo>
                    <a:pt x="597966" y="542290"/>
                  </a:lnTo>
                  <a:lnTo>
                    <a:pt x="662038" y="608393"/>
                  </a:lnTo>
                  <a:lnTo>
                    <a:pt x="671830" y="615784"/>
                  </a:lnTo>
                  <a:lnTo>
                    <a:pt x="683133" y="619772"/>
                  </a:lnTo>
                  <a:lnTo>
                    <a:pt x="695096" y="620204"/>
                  </a:lnTo>
                  <a:lnTo>
                    <a:pt x="706907" y="616927"/>
                  </a:lnTo>
                  <a:lnTo>
                    <a:pt x="873556" y="541274"/>
                  </a:lnTo>
                  <a:lnTo>
                    <a:pt x="888923" y="528993"/>
                  </a:lnTo>
                  <a:lnTo>
                    <a:pt x="896353" y="511797"/>
                  </a:lnTo>
                  <a:close/>
                </a:path>
                <a:path w="4584065" h="620395">
                  <a:moveTo>
                    <a:pt x="4583773" y="359206"/>
                  </a:moveTo>
                  <a:lnTo>
                    <a:pt x="4582541" y="355434"/>
                  </a:lnTo>
                  <a:lnTo>
                    <a:pt x="4580153" y="350558"/>
                  </a:lnTo>
                  <a:lnTo>
                    <a:pt x="4513300" y="224104"/>
                  </a:lnTo>
                  <a:lnTo>
                    <a:pt x="4365142" y="227749"/>
                  </a:lnTo>
                  <a:lnTo>
                    <a:pt x="4358500" y="228066"/>
                  </a:lnTo>
                  <a:lnTo>
                    <a:pt x="4355211" y="231546"/>
                  </a:lnTo>
                  <a:lnTo>
                    <a:pt x="4355211" y="239737"/>
                  </a:lnTo>
                  <a:lnTo>
                    <a:pt x="4357306" y="241858"/>
                  </a:lnTo>
                  <a:lnTo>
                    <a:pt x="4361535" y="244576"/>
                  </a:lnTo>
                  <a:lnTo>
                    <a:pt x="4392244" y="263232"/>
                  </a:lnTo>
                  <a:lnTo>
                    <a:pt x="4359732" y="314172"/>
                  </a:lnTo>
                  <a:lnTo>
                    <a:pt x="4353801" y="324612"/>
                  </a:lnTo>
                  <a:lnTo>
                    <a:pt x="4349559" y="334086"/>
                  </a:lnTo>
                  <a:lnTo>
                    <a:pt x="4347019" y="342582"/>
                  </a:lnTo>
                  <a:lnTo>
                    <a:pt x="4346168" y="350113"/>
                  </a:lnTo>
                  <a:lnTo>
                    <a:pt x="4346740" y="356692"/>
                  </a:lnTo>
                  <a:lnTo>
                    <a:pt x="4348429" y="363651"/>
                  </a:lnTo>
                  <a:lnTo>
                    <a:pt x="4351248" y="371017"/>
                  </a:lnTo>
                  <a:lnTo>
                    <a:pt x="4355211" y="378764"/>
                  </a:lnTo>
                  <a:lnTo>
                    <a:pt x="4455934" y="555726"/>
                  </a:lnTo>
                  <a:lnTo>
                    <a:pt x="4454360" y="547433"/>
                  </a:lnTo>
                  <a:lnTo>
                    <a:pt x="4453229" y="539356"/>
                  </a:lnTo>
                  <a:lnTo>
                    <a:pt x="4452544" y="531507"/>
                  </a:lnTo>
                  <a:lnTo>
                    <a:pt x="4452328" y="523887"/>
                  </a:lnTo>
                  <a:lnTo>
                    <a:pt x="4453369" y="510527"/>
                  </a:lnTo>
                  <a:lnTo>
                    <a:pt x="4456493" y="497281"/>
                  </a:lnTo>
                  <a:lnTo>
                    <a:pt x="4461713" y="484136"/>
                  </a:lnTo>
                  <a:lnTo>
                    <a:pt x="4469041" y="471119"/>
                  </a:lnTo>
                  <a:lnTo>
                    <a:pt x="4545825" y="349643"/>
                  </a:lnTo>
                  <a:lnTo>
                    <a:pt x="4576089" y="368300"/>
                  </a:lnTo>
                  <a:lnTo>
                    <a:pt x="4581195" y="368300"/>
                  </a:lnTo>
                  <a:lnTo>
                    <a:pt x="4583773" y="366191"/>
                  </a:lnTo>
                  <a:lnTo>
                    <a:pt x="4583773" y="359206"/>
                  </a:lnTo>
                  <a:close/>
                </a:path>
              </a:pathLst>
            </a:custGeom>
            <a:solidFill>
              <a:srgbClr val="FFFFFF"/>
            </a:solidFill>
          </p:spPr>
          <p:txBody>
            <a:bodyPr wrap="square" lIns="0" tIns="0" rIns="0" bIns="0" rtlCol="0"/>
            <a:lstStyle/>
            <a:p>
              <a:endParaRPr/>
            </a:p>
          </p:txBody>
        </p:sp>
        <p:pic>
          <p:nvPicPr>
            <p:cNvPr id="53" name="object 53"/>
            <p:cNvPicPr/>
            <p:nvPr/>
          </p:nvPicPr>
          <p:blipFill>
            <a:blip r:embed="rId14" cstate="print"/>
            <a:stretch>
              <a:fillRect/>
            </a:stretch>
          </p:blipFill>
          <p:spPr>
            <a:xfrm>
              <a:off x="14615461" y="6822164"/>
              <a:ext cx="219985" cy="236548"/>
            </a:xfrm>
            <a:prstGeom prst="rect">
              <a:avLst/>
            </a:prstGeom>
          </p:spPr>
        </p:pic>
        <p:pic>
          <p:nvPicPr>
            <p:cNvPr id="54" name="object 54"/>
            <p:cNvPicPr/>
            <p:nvPr/>
          </p:nvPicPr>
          <p:blipFill>
            <a:blip r:embed="rId15" cstate="print"/>
            <a:stretch>
              <a:fillRect/>
            </a:stretch>
          </p:blipFill>
          <p:spPr>
            <a:xfrm>
              <a:off x="14643011" y="7242023"/>
              <a:ext cx="201916" cy="167863"/>
            </a:xfrm>
            <a:prstGeom prst="rect">
              <a:avLst/>
            </a:prstGeom>
          </p:spPr>
        </p:pic>
        <p:sp>
          <p:nvSpPr>
            <p:cNvPr id="55" name="object 55"/>
            <p:cNvSpPr/>
            <p:nvPr/>
          </p:nvSpPr>
          <p:spPr>
            <a:xfrm>
              <a:off x="14749615" y="6803516"/>
              <a:ext cx="440690" cy="657225"/>
            </a:xfrm>
            <a:custGeom>
              <a:avLst/>
              <a:gdLst/>
              <a:ahLst/>
              <a:cxnLst/>
              <a:rect l="l" t="t" r="r" b="b"/>
              <a:pathLst>
                <a:path w="440690" h="657225">
                  <a:moveTo>
                    <a:pt x="340131" y="84607"/>
                  </a:moveTo>
                  <a:lnTo>
                    <a:pt x="338315" y="81876"/>
                  </a:lnTo>
                  <a:lnTo>
                    <a:pt x="335292" y="81876"/>
                  </a:lnTo>
                  <a:lnTo>
                    <a:pt x="332905" y="82791"/>
                  </a:lnTo>
                  <a:lnTo>
                    <a:pt x="327482" y="84607"/>
                  </a:lnTo>
                  <a:lnTo>
                    <a:pt x="294957" y="99631"/>
                  </a:lnTo>
                  <a:lnTo>
                    <a:pt x="265150" y="40030"/>
                  </a:lnTo>
                  <a:lnTo>
                    <a:pt x="252717" y="22517"/>
                  </a:lnTo>
                  <a:lnTo>
                    <a:pt x="235331" y="10007"/>
                  </a:lnTo>
                  <a:lnTo>
                    <a:pt x="212979" y="2501"/>
                  </a:lnTo>
                  <a:lnTo>
                    <a:pt x="185648" y="0"/>
                  </a:lnTo>
                  <a:lnTo>
                    <a:pt x="0" y="0"/>
                  </a:lnTo>
                  <a:lnTo>
                    <a:pt x="15582" y="5207"/>
                  </a:lnTo>
                  <a:lnTo>
                    <a:pt x="28460" y="10350"/>
                  </a:lnTo>
                  <a:lnTo>
                    <a:pt x="60388" y="34353"/>
                  </a:lnTo>
                  <a:lnTo>
                    <a:pt x="89522" y="77101"/>
                  </a:lnTo>
                  <a:lnTo>
                    <a:pt x="141376" y="184238"/>
                  </a:lnTo>
                  <a:lnTo>
                    <a:pt x="113817" y="197434"/>
                  </a:lnTo>
                  <a:lnTo>
                    <a:pt x="111112" y="198666"/>
                  </a:lnTo>
                  <a:lnTo>
                    <a:pt x="109753" y="201066"/>
                  </a:lnTo>
                  <a:lnTo>
                    <a:pt x="109753" y="209257"/>
                  </a:lnTo>
                  <a:lnTo>
                    <a:pt x="112598" y="211848"/>
                  </a:lnTo>
                  <a:lnTo>
                    <a:pt x="118338" y="212445"/>
                  </a:lnTo>
                  <a:lnTo>
                    <a:pt x="265150" y="224256"/>
                  </a:lnTo>
                  <a:lnTo>
                    <a:pt x="336511" y="103263"/>
                  </a:lnTo>
                  <a:lnTo>
                    <a:pt x="338582" y="99631"/>
                  </a:lnTo>
                  <a:lnTo>
                    <a:pt x="338912" y="99034"/>
                  </a:lnTo>
                  <a:lnTo>
                    <a:pt x="340131" y="94615"/>
                  </a:lnTo>
                  <a:lnTo>
                    <a:pt x="340131" y="84607"/>
                  </a:lnTo>
                  <a:close/>
                </a:path>
                <a:path w="440690" h="657225">
                  <a:moveTo>
                    <a:pt x="440397" y="391210"/>
                  </a:moveTo>
                  <a:lnTo>
                    <a:pt x="403567" y="421081"/>
                  </a:lnTo>
                  <a:lnTo>
                    <a:pt x="363943" y="432168"/>
                  </a:lnTo>
                  <a:lnTo>
                    <a:pt x="328383" y="433971"/>
                  </a:lnTo>
                  <a:lnTo>
                    <a:pt x="212750" y="433971"/>
                  </a:lnTo>
                  <a:lnTo>
                    <a:pt x="212750" y="400469"/>
                  </a:lnTo>
                  <a:lnTo>
                    <a:pt x="210489" y="395757"/>
                  </a:lnTo>
                  <a:lnTo>
                    <a:pt x="202641" y="395757"/>
                  </a:lnTo>
                  <a:lnTo>
                    <a:pt x="200228" y="396989"/>
                  </a:lnTo>
                  <a:lnTo>
                    <a:pt x="198742" y="399402"/>
                  </a:lnTo>
                  <a:lnTo>
                    <a:pt x="125564" y="527240"/>
                  </a:lnTo>
                  <a:lnTo>
                    <a:pt x="201447" y="644601"/>
                  </a:lnTo>
                  <a:lnTo>
                    <a:pt x="207162" y="653402"/>
                  </a:lnTo>
                  <a:lnTo>
                    <a:pt x="212140" y="656882"/>
                  </a:lnTo>
                  <a:lnTo>
                    <a:pt x="216357" y="655066"/>
                  </a:lnTo>
                  <a:lnTo>
                    <a:pt x="220548" y="653859"/>
                  </a:lnTo>
                  <a:lnTo>
                    <a:pt x="222681" y="651586"/>
                  </a:lnTo>
                  <a:lnTo>
                    <a:pt x="222681" y="608203"/>
                  </a:lnTo>
                  <a:lnTo>
                    <a:pt x="286816" y="608203"/>
                  </a:lnTo>
                  <a:lnTo>
                    <a:pt x="303136" y="606526"/>
                  </a:lnTo>
                  <a:lnTo>
                    <a:pt x="316865" y="601497"/>
                  </a:lnTo>
                  <a:lnTo>
                    <a:pt x="327977" y="593115"/>
                  </a:lnTo>
                  <a:lnTo>
                    <a:pt x="336511" y="581355"/>
                  </a:lnTo>
                  <a:lnTo>
                    <a:pt x="440397" y="391210"/>
                  </a:lnTo>
                  <a:close/>
                </a:path>
              </a:pathLst>
            </a:custGeom>
            <a:solidFill>
              <a:srgbClr val="FFFFFF"/>
            </a:solidFill>
          </p:spPr>
          <p:txBody>
            <a:bodyPr wrap="square" lIns="0" tIns="0" rIns="0" bIns="0" rtlCol="0"/>
            <a:lstStyle/>
            <a:p>
              <a:endParaRPr/>
            </a:p>
          </p:txBody>
        </p:sp>
        <p:pic>
          <p:nvPicPr>
            <p:cNvPr id="56" name="object 56"/>
            <p:cNvPicPr/>
            <p:nvPr/>
          </p:nvPicPr>
          <p:blipFill>
            <a:blip r:embed="rId16" cstate="print"/>
            <a:stretch>
              <a:fillRect/>
            </a:stretch>
          </p:blipFill>
          <p:spPr>
            <a:xfrm>
              <a:off x="14958744" y="6993662"/>
              <a:ext cx="231277" cy="219708"/>
            </a:xfrm>
            <a:prstGeom prst="rect">
              <a:avLst/>
            </a:prstGeom>
          </p:spPr>
        </p:pic>
        <p:sp>
          <p:nvSpPr>
            <p:cNvPr id="57" name="object 57"/>
            <p:cNvSpPr/>
            <p:nvPr/>
          </p:nvSpPr>
          <p:spPr>
            <a:xfrm>
              <a:off x="12661767" y="6690861"/>
              <a:ext cx="723900" cy="809625"/>
            </a:xfrm>
            <a:custGeom>
              <a:avLst/>
              <a:gdLst/>
              <a:ahLst/>
              <a:cxnLst/>
              <a:rect l="l" t="t" r="r" b="b"/>
              <a:pathLst>
                <a:path w="723900" h="809625">
                  <a:moveTo>
                    <a:pt x="0" y="483278"/>
                  </a:moveTo>
                  <a:lnTo>
                    <a:pt x="46302" y="436798"/>
                  </a:lnTo>
                  <a:lnTo>
                    <a:pt x="336510" y="413247"/>
                  </a:lnTo>
                  <a:lnTo>
                    <a:pt x="284271" y="465681"/>
                  </a:lnTo>
                  <a:lnTo>
                    <a:pt x="0" y="483278"/>
                  </a:lnTo>
                  <a:close/>
                </a:path>
                <a:path w="723900" h="809625">
                  <a:moveTo>
                    <a:pt x="358110" y="799577"/>
                  </a:moveTo>
                  <a:lnTo>
                    <a:pt x="53651" y="770071"/>
                  </a:lnTo>
                  <a:lnTo>
                    <a:pt x="53651" y="506653"/>
                  </a:lnTo>
                  <a:lnTo>
                    <a:pt x="294258" y="491751"/>
                  </a:lnTo>
                  <a:lnTo>
                    <a:pt x="297122" y="490448"/>
                  </a:lnTo>
                  <a:lnTo>
                    <a:pt x="358110" y="429243"/>
                  </a:lnTo>
                  <a:lnTo>
                    <a:pt x="358110" y="661378"/>
                  </a:lnTo>
                  <a:lnTo>
                    <a:pt x="96609" y="661378"/>
                  </a:lnTo>
                  <a:lnTo>
                    <a:pt x="94885" y="661544"/>
                  </a:lnTo>
                  <a:lnTo>
                    <a:pt x="83840" y="673554"/>
                  </a:lnTo>
                  <a:lnTo>
                    <a:pt x="83842" y="677044"/>
                  </a:lnTo>
                  <a:lnTo>
                    <a:pt x="140764" y="692485"/>
                  </a:lnTo>
                  <a:lnTo>
                    <a:pt x="358110" y="692485"/>
                  </a:lnTo>
                  <a:lnTo>
                    <a:pt x="358110" y="716643"/>
                  </a:lnTo>
                  <a:lnTo>
                    <a:pt x="96601" y="716643"/>
                  </a:lnTo>
                  <a:lnTo>
                    <a:pt x="94873" y="716801"/>
                  </a:lnTo>
                  <a:lnTo>
                    <a:pt x="83671" y="730596"/>
                  </a:lnTo>
                  <a:lnTo>
                    <a:pt x="83844" y="732324"/>
                  </a:lnTo>
                  <a:lnTo>
                    <a:pt x="191053" y="752652"/>
                  </a:lnTo>
                  <a:lnTo>
                    <a:pt x="358110" y="752666"/>
                  </a:lnTo>
                  <a:lnTo>
                    <a:pt x="358110" y="799577"/>
                  </a:lnTo>
                  <a:close/>
                </a:path>
                <a:path w="723900" h="809625">
                  <a:moveTo>
                    <a:pt x="358110" y="692485"/>
                  </a:moveTo>
                  <a:lnTo>
                    <a:pt x="140764" y="692485"/>
                  </a:lnTo>
                  <a:lnTo>
                    <a:pt x="145643" y="692484"/>
                  </a:lnTo>
                  <a:lnTo>
                    <a:pt x="148695" y="691256"/>
                  </a:lnTo>
                  <a:lnTo>
                    <a:pt x="153818" y="686346"/>
                  </a:lnTo>
                  <a:lnTo>
                    <a:pt x="155181" y="683343"/>
                  </a:lnTo>
                  <a:lnTo>
                    <a:pt x="155512" y="676241"/>
                  </a:lnTo>
                  <a:lnTo>
                    <a:pt x="154434" y="673123"/>
                  </a:lnTo>
                  <a:lnTo>
                    <a:pt x="149790" y="667755"/>
                  </a:lnTo>
                  <a:lnTo>
                    <a:pt x="146866" y="666246"/>
                  </a:lnTo>
                  <a:lnTo>
                    <a:pt x="96609" y="661378"/>
                  </a:lnTo>
                  <a:lnTo>
                    <a:pt x="358110" y="661378"/>
                  </a:lnTo>
                  <a:lnTo>
                    <a:pt x="358110" y="692485"/>
                  </a:lnTo>
                  <a:close/>
                </a:path>
                <a:path w="723900" h="809625">
                  <a:moveTo>
                    <a:pt x="358110" y="752666"/>
                  </a:moveTo>
                  <a:lnTo>
                    <a:pt x="195706" y="752666"/>
                  </a:lnTo>
                  <a:lnTo>
                    <a:pt x="198678" y="751523"/>
                  </a:lnTo>
                  <a:lnTo>
                    <a:pt x="203736" y="746921"/>
                  </a:lnTo>
                  <a:lnTo>
                    <a:pt x="205161" y="744065"/>
                  </a:lnTo>
                  <a:lnTo>
                    <a:pt x="205660" y="738897"/>
                  </a:lnTo>
                  <a:lnTo>
                    <a:pt x="205496" y="737174"/>
                  </a:lnTo>
                  <a:lnTo>
                    <a:pt x="98360" y="716836"/>
                  </a:lnTo>
                  <a:lnTo>
                    <a:pt x="96601" y="716643"/>
                  </a:lnTo>
                  <a:lnTo>
                    <a:pt x="358110" y="716643"/>
                  </a:lnTo>
                  <a:lnTo>
                    <a:pt x="358110" y="752666"/>
                  </a:lnTo>
                  <a:close/>
                </a:path>
                <a:path w="723900" h="809625">
                  <a:moveTo>
                    <a:pt x="676911" y="475192"/>
                  </a:moveTo>
                  <a:lnTo>
                    <a:pt x="452836" y="459906"/>
                  </a:lnTo>
                  <a:lnTo>
                    <a:pt x="407158" y="414046"/>
                  </a:lnTo>
                  <a:lnTo>
                    <a:pt x="639107" y="437333"/>
                  </a:lnTo>
                  <a:lnTo>
                    <a:pt x="676911" y="475192"/>
                  </a:lnTo>
                  <a:close/>
                </a:path>
                <a:path w="723900" h="809625">
                  <a:moveTo>
                    <a:pt x="384664" y="799221"/>
                  </a:moveTo>
                  <a:lnTo>
                    <a:pt x="384664" y="429243"/>
                  </a:lnTo>
                  <a:lnTo>
                    <a:pt x="439962" y="484650"/>
                  </a:lnTo>
                  <a:lnTo>
                    <a:pt x="442796" y="485954"/>
                  </a:lnTo>
                  <a:lnTo>
                    <a:pt x="631847" y="498742"/>
                  </a:lnTo>
                  <a:lnTo>
                    <a:pt x="631847" y="597658"/>
                  </a:lnTo>
                  <a:lnTo>
                    <a:pt x="622123" y="597670"/>
                  </a:lnTo>
                  <a:lnTo>
                    <a:pt x="614511" y="598434"/>
                  </a:lnTo>
                  <a:lnTo>
                    <a:pt x="577919" y="609619"/>
                  </a:lnTo>
                  <a:lnTo>
                    <a:pt x="541612" y="637610"/>
                  </a:lnTo>
                  <a:lnTo>
                    <a:pt x="518683" y="677475"/>
                  </a:lnTo>
                  <a:lnTo>
                    <a:pt x="512746" y="707051"/>
                  </a:lnTo>
                  <a:lnTo>
                    <a:pt x="512810" y="717007"/>
                  </a:lnTo>
                  <a:lnTo>
                    <a:pt x="513928" y="733121"/>
                  </a:lnTo>
                  <a:lnTo>
                    <a:pt x="517780" y="750192"/>
                  </a:lnTo>
                  <a:lnTo>
                    <a:pt x="524243" y="766448"/>
                  </a:lnTo>
                  <a:lnTo>
                    <a:pt x="533317" y="781890"/>
                  </a:lnTo>
                  <a:lnTo>
                    <a:pt x="384664" y="799221"/>
                  </a:lnTo>
                  <a:close/>
                </a:path>
                <a:path w="723900" h="809625">
                  <a:moveTo>
                    <a:pt x="635904" y="809622"/>
                  </a:moveTo>
                  <a:lnTo>
                    <a:pt x="588028" y="800039"/>
                  </a:lnTo>
                  <a:lnTo>
                    <a:pt x="554964" y="772772"/>
                  </a:lnTo>
                  <a:lnTo>
                    <a:pt x="536320" y="727576"/>
                  </a:lnTo>
                  <a:lnTo>
                    <a:pt x="535752" y="708512"/>
                  </a:lnTo>
                  <a:lnTo>
                    <a:pt x="536315" y="702806"/>
                  </a:lnTo>
                  <a:lnTo>
                    <a:pt x="555018" y="657539"/>
                  </a:lnTo>
                  <a:lnTo>
                    <a:pt x="588133" y="630294"/>
                  </a:lnTo>
                  <a:lnTo>
                    <a:pt x="623640" y="620761"/>
                  </a:lnTo>
                  <a:lnTo>
                    <a:pt x="634954" y="620770"/>
                  </a:lnTo>
                  <a:lnTo>
                    <a:pt x="680985" y="635772"/>
                  </a:lnTo>
                  <a:lnTo>
                    <a:pt x="701052" y="653555"/>
                  </a:lnTo>
                  <a:lnTo>
                    <a:pt x="628048" y="653555"/>
                  </a:lnTo>
                  <a:lnTo>
                    <a:pt x="626354" y="653893"/>
                  </a:lnTo>
                  <a:lnTo>
                    <a:pt x="616526" y="665122"/>
                  </a:lnTo>
                  <a:lnTo>
                    <a:pt x="616526" y="701906"/>
                  </a:lnTo>
                  <a:lnTo>
                    <a:pt x="579895" y="701909"/>
                  </a:lnTo>
                  <a:lnTo>
                    <a:pt x="568396" y="717007"/>
                  </a:lnTo>
                  <a:lnTo>
                    <a:pt x="568733" y="718706"/>
                  </a:lnTo>
                  <a:lnTo>
                    <a:pt x="616537" y="728576"/>
                  </a:lnTo>
                  <a:lnTo>
                    <a:pt x="616537" y="765350"/>
                  </a:lnTo>
                  <a:lnTo>
                    <a:pt x="628059" y="776917"/>
                  </a:lnTo>
                  <a:lnTo>
                    <a:pt x="701193" y="776917"/>
                  </a:lnTo>
                  <a:lnTo>
                    <a:pt x="700624" y="777611"/>
                  </a:lnTo>
                  <a:lnTo>
                    <a:pt x="660021" y="804818"/>
                  </a:lnTo>
                  <a:lnTo>
                    <a:pt x="642021" y="809020"/>
                  </a:lnTo>
                  <a:lnTo>
                    <a:pt x="635904" y="809622"/>
                  </a:lnTo>
                  <a:close/>
                </a:path>
                <a:path w="723900" h="809625">
                  <a:moveTo>
                    <a:pt x="677976" y="701901"/>
                  </a:moveTo>
                  <a:lnTo>
                    <a:pt x="643094" y="701901"/>
                  </a:lnTo>
                  <a:lnTo>
                    <a:pt x="643094" y="665122"/>
                  </a:lnTo>
                  <a:lnTo>
                    <a:pt x="642757" y="663421"/>
                  </a:lnTo>
                  <a:lnTo>
                    <a:pt x="631571" y="653555"/>
                  </a:lnTo>
                  <a:lnTo>
                    <a:pt x="701052" y="653555"/>
                  </a:lnTo>
                  <a:lnTo>
                    <a:pt x="719997" y="687901"/>
                  </a:lnTo>
                  <a:lnTo>
                    <a:pt x="722958" y="701898"/>
                  </a:lnTo>
                  <a:lnTo>
                    <a:pt x="677976" y="701901"/>
                  </a:lnTo>
                  <a:close/>
                </a:path>
                <a:path w="723900" h="809625">
                  <a:moveTo>
                    <a:pt x="723838" y="715236"/>
                  </a:moveTo>
                  <a:lnTo>
                    <a:pt x="691260" y="715236"/>
                  </a:lnTo>
                  <a:lnTo>
                    <a:pt x="691263" y="713467"/>
                  </a:lnTo>
                  <a:lnTo>
                    <a:pt x="690928" y="711765"/>
                  </a:lnTo>
                  <a:lnTo>
                    <a:pt x="679739" y="701898"/>
                  </a:lnTo>
                  <a:lnTo>
                    <a:pt x="722958" y="701898"/>
                  </a:lnTo>
                  <a:lnTo>
                    <a:pt x="723360" y="704175"/>
                  </a:lnTo>
                  <a:lnTo>
                    <a:pt x="723737" y="708494"/>
                  </a:lnTo>
                  <a:lnTo>
                    <a:pt x="723838" y="715236"/>
                  </a:lnTo>
                  <a:close/>
                </a:path>
                <a:path w="723900" h="809625">
                  <a:moveTo>
                    <a:pt x="723032" y="728569"/>
                  </a:moveTo>
                  <a:lnTo>
                    <a:pt x="679747" y="728569"/>
                  </a:lnTo>
                  <a:lnTo>
                    <a:pt x="681442" y="728231"/>
                  </a:lnTo>
                  <a:lnTo>
                    <a:pt x="684702" y="726875"/>
                  </a:lnTo>
                  <a:lnTo>
                    <a:pt x="691261" y="717007"/>
                  </a:lnTo>
                  <a:lnTo>
                    <a:pt x="691259" y="715236"/>
                  </a:lnTo>
                  <a:lnTo>
                    <a:pt x="723837" y="715236"/>
                  </a:lnTo>
                  <a:lnTo>
                    <a:pt x="723782" y="721972"/>
                  </a:lnTo>
                  <a:lnTo>
                    <a:pt x="723229" y="727576"/>
                  </a:lnTo>
                  <a:lnTo>
                    <a:pt x="723032" y="728569"/>
                  </a:lnTo>
                  <a:close/>
                </a:path>
                <a:path w="723900" h="809625">
                  <a:moveTo>
                    <a:pt x="701193" y="776917"/>
                  </a:moveTo>
                  <a:lnTo>
                    <a:pt x="631582" y="776917"/>
                  </a:lnTo>
                  <a:lnTo>
                    <a:pt x="633277" y="776578"/>
                  </a:lnTo>
                  <a:lnTo>
                    <a:pt x="636532" y="775225"/>
                  </a:lnTo>
                  <a:lnTo>
                    <a:pt x="643105" y="728568"/>
                  </a:lnTo>
                  <a:lnTo>
                    <a:pt x="723032" y="728569"/>
                  </a:lnTo>
                  <a:lnTo>
                    <a:pt x="704526" y="772843"/>
                  </a:lnTo>
                  <a:lnTo>
                    <a:pt x="701193" y="776917"/>
                  </a:lnTo>
                  <a:close/>
                </a:path>
                <a:path w="723900" h="809625">
                  <a:moveTo>
                    <a:pt x="277358" y="201150"/>
                  </a:moveTo>
                  <a:lnTo>
                    <a:pt x="275618" y="201020"/>
                  </a:lnTo>
                  <a:lnTo>
                    <a:pt x="272309" y="198603"/>
                  </a:lnTo>
                  <a:lnTo>
                    <a:pt x="271656" y="196986"/>
                  </a:lnTo>
                  <a:lnTo>
                    <a:pt x="283212" y="129336"/>
                  </a:lnTo>
                  <a:lnTo>
                    <a:pt x="282734" y="127872"/>
                  </a:lnTo>
                  <a:lnTo>
                    <a:pt x="233772" y="79965"/>
                  </a:lnTo>
                  <a:lnTo>
                    <a:pt x="233358" y="78270"/>
                  </a:lnTo>
                  <a:lnTo>
                    <a:pt x="234627" y="74360"/>
                  </a:lnTo>
                  <a:lnTo>
                    <a:pt x="235952" y="73239"/>
                  </a:lnTo>
                  <a:lnTo>
                    <a:pt x="303621" y="63364"/>
                  </a:lnTo>
                  <a:lnTo>
                    <a:pt x="304857" y="62459"/>
                  </a:lnTo>
                  <a:lnTo>
                    <a:pt x="335124" y="919"/>
                  </a:lnTo>
                  <a:lnTo>
                    <a:pt x="336600" y="0"/>
                  </a:lnTo>
                  <a:lnTo>
                    <a:pt x="340690" y="0"/>
                  </a:lnTo>
                  <a:lnTo>
                    <a:pt x="342166" y="919"/>
                  </a:lnTo>
                  <a:lnTo>
                    <a:pt x="372441" y="62464"/>
                  </a:lnTo>
                  <a:lnTo>
                    <a:pt x="373675" y="63364"/>
                  </a:lnTo>
                  <a:lnTo>
                    <a:pt x="441342" y="73239"/>
                  </a:lnTo>
                  <a:lnTo>
                    <a:pt x="442668" y="74364"/>
                  </a:lnTo>
                  <a:lnTo>
                    <a:pt x="443931" y="78274"/>
                  </a:lnTo>
                  <a:lnTo>
                    <a:pt x="443510" y="79969"/>
                  </a:lnTo>
                  <a:lnTo>
                    <a:pt x="394552" y="127877"/>
                  </a:lnTo>
                  <a:lnTo>
                    <a:pt x="394080" y="129341"/>
                  </a:lnTo>
                  <a:lnTo>
                    <a:pt x="400887" y="169205"/>
                  </a:lnTo>
                  <a:lnTo>
                    <a:pt x="337876" y="169205"/>
                  </a:lnTo>
                  <a:lnTo>
                    <a:pt x="277358" y="201150"/>
                  </a:lnTo>
                  <a:close/>
                </a:path>
                <a:path w="723900" h="809625">
                  <a:moveTo>
                    <a:pt x="399928" y="201146"/>
                  </a:moveTo>
                  <a:lnTo>
                    <a:pt x="339409" y="169205"/>
                  </a:lnTo>
                  <a:lnTo>
                    <a:pt x="400887" y="169205"/>
                  </a:lnTo>
                  <a:lnTo>
                    <a:pt x="405629" y="196991"/>
                  </a:lnTo>
                  <a:lnTo>
                    <a:pt x="404970" y="198608"/>
                  </a:lnTo>
                  <a:lnTo>
                    <a:pt x="401663" y="201020"/>
                  </a:lnTo>
                  <a:lnTo>
                    <a:pt x="399928" y="201146"/>
                  </a:lnTo>
                  <a:close/>
                </a:path>
                <a:path w="723900" h="809625">
                  <a:moveTo>
                    <a:pt x="72735" y="216891"/>
                  </a:moveTo>
                  <a:lnTo>
                    <a:pt x="71730" y="216818"/>
                  </a:lnTo>
                  <a:lnTo>
                    <a:pt x="69811" y="215418"/>
                  </a:lnTo>
                  <a:lnTo>
                    <a:pt x="69432" y="214482"/>
                  </a:lnTo>
                  <a:lnTo>
                    <a:pt x="76126" y="175301"/>
                  </a:lnTo>
                  <a:lnTo>
                    <a:pt x="75852" y="174455"/>
                  </a:lnTo>
                  <a:lnTo>
                    <a:pt x="47499" y="146703"/>
                  </a:lnTo>
                  <a:lnTo>
                    <a:pt x="47257" y="145722"/>
                  </a:lnTo>
                  <a:lnTo>
                    <a:pt x="47988" y="143457"/>
                  </a:lnTo>
                  <a:lnTo>
                    <a:pt x="48757" y="142804"/>
                  </a:lnTo>
                  <a:lnTo>
                    <a:pt x="87946" y="137090"/>
                  </a:lnTo>
                  <a:lnTo>
                    <a:pt x="88665" y="136566"/>
                  </a:lnTo>
                  <a:lnTo>
                    <a:pt x="106191" y="100918"/>
                  </a:lnTo>
                  <a:lnTo>
                    <a:pt x="107046" y="100384"/>
                  </a:lnTo>
                  <a:lnTo>
                    <a:pt x="109418" y="100384"/>
                  </a:lnTo>
                  <a:lnTo>
                    <a:pt x="110274" y="100918"/>
                  </a:lnTo>
                  <a:lnTo>
                    <a:pt x="127806" y="136570"/>
                  </a:lnTo>
                  <a:lnTo>
                    <a:pt x="128524" y="137094"/>
                  </a:lnTo>
                  <a:lnTo>
                    <a:pt x="167713" y="142808"/>
                  </a:lnTo>
                  <a:lnTo>
                    <a:pt x="168483" y="143460"/>
                  </a:lnTo>
                  <a:lnTo>
                    <a:pt x="169214" y="145725"/>
                  </a:lnTo>
                  <a:lnTo>
                    <a:pt x="168971" y="146706"/>
                  </a:lnTo>
                  <a:lnTo>
                    <a:pt x="140611" y="174455"/>
                  </a:lnTo>
                  <a:lnTo>
                    <a:pt x="140337" y="175301"/>
                  </a:lnTo>
                  <a:lnTo>
                    <a:pt x="144282" y="198392"/>
                  </a:lnTo>
                  <a:lnTo>
                    <a:pt x="107788" y="198392"/>
                  </a:lnTo>
                  <a:lnTo>
                    <a:pt x="72735" y="216891"/>
                  </a:lnTo>
                  <a:close/>
                </a:path>
                <a:path w="723900" h="809625">
                  <a:moveTo>
                    <a:pt x="143728" y="216891"/>
                  </a:moveTo>
                  <a:lnTo>
                    <a:pt x="108675" y="198392"/>
                  </a:lnTo>
                  <a:lnTo>
                    <a:pt x="144282" y="198392"/>
                  </a:lnTo>
                  <a:lnTo>
                    <a:pt x="147031" y="214482"/>
                  </a:lnTo>
                  <a:lnTo>
                    <a:pt x="146651" y="215418"/>
                  </a:lnTo>
                  <a:lnTo>
                    <a:pt x="144732" y="216818"/>
                  </a:lnTo>
                  <a:lnTo>
                    <a:pt x="143728" y="216891"/>
                  </a:lnTo>
                  <a:close/>
                </a:path>
                <a:path w="723900" h="809625">
                  <a:moveTo>
                    <a:pt x="533559" y="216891"/>
                  </a:moveTo>
                  <a:lnTo>
                    <a:pt x="532554" y="216818"/>
                  </a:lnTo>
                  <a:lnTo>
                    <a:pt x="530635" y="215418"/>
                  </a:lnTo>
                  <a:lnTo>
                    <a:pt x="530256" y="214482"/>
                  </a:lnTo>
                  <a:lnTo>
                    <a:pt x="536952" y="175301"/>
                  </a:lnTo>
                  <a:lnTo>
                    <a:pt x="536677" y="174454"/>
                  </a:lnTo>
                  <a:lnTo>
                    <a:pt x="508318" y="146703"/>
                  </a:lnTo>
                  <a:lnTo>
                    <a:pt x="508076" y="145722"/>
                  </a:lnTo>
                  <a:lnTo>
                    <a:pt x="508807" y="143458"/>
                  </a:lnTo>
                  <a:lnTo>
                    <a:pt x="509576" y="142806"/>
                  </a:lnTo>
                  <a:lnTo>
                    <a:pt x="548765" y="137091"/>
                  </a:lnTo>
                  <a:lnTo>
                    <a:pt x="549483" y="136567"/>
                  </a:lnTo>
                  <a:lnTo>
                    <a:pt x="567005" y="100917"/>
                  </a:lnTo>
                  <a:lnTo>
                    <a:pt x="567860" y="100383"/>
                  </a:lnTo>
                  <a:lnTo>
                    <a:pt x="570234" y="100383"/>
                  </a:lnTo>
                  <a:lnTo>
                    <a:pt x="571090" y="100917"/>
                  </a:lnTo>
                  <a:lnTo>
                    <a:pt x="588624" y="136569"/>
                  </a:lnTo>
                  <a:lnTo>
                    <a:pt x="589342" y="137093"/>
                  </a:lnTo>
                  <a:lnTo>
                    <a:pt x="628531" y="142809"/>
                  </a:lnTo>
                  <a:lnTo>
                    <a:pt x="629300" y="143461"/>
                  </a:lnTo>
                  <a:lnTo>
                    <a:pt x="630031" y="145725"/>
                  </a:lnTo>
                  <a:lnTo>
                    <a:pt x="629789" y="146706"/>
                  </a:lnTo>
                  <a:lnTo>
                    <a:pt x="601435" y="174454"/>
                  </a:lnTo>
                  <a:lnTo>
                    <a:pt x="601160" y="175301"/>
                  </a:lnTo>
                  <a:lnTo>
                    <a:pt x="605107" y="198392"/>
                  </a:lnTo>
                  <a:lnTo>
                    <a:pt x="568612" y="198392"/>
                  </a:lnTo>
                  <a:lnTo>
                    <a:pt x="533559" y="216891"/>
                  </a:lnTo>
                  <a:close/>
                </a:path>
                <a:path w="723900" h="809625">
                  <a:moveTo>
                    <a:pt x="604553" y="216891"/>
                  </a:moveTo>
                  <a:lnTo>
                    <a:pt x="569500" y="198392"/>
                  </a:lnTo>
                  <a:lnTo>
                    <a:pt x="605107" y="198392"/>
                  </a:lnTo>
                  <a:lnTo>
                    <a:pt x="607856" y="214482"/>
                  </a:lnTo>
                  <a:lnTo>
                    <a:pt x="607477" y="215418"/>
                  </a:lnTo>
                  <a:lnTo>
                    <a:pt x="605549" y="216819"/>
                  </a:lnTo>
                  <a:lnTo>
                    <a:pt x="604553" y="216891"/>
                  </a:lnTo>
                  <a:close/>
                </a:path>
                <a:path w="723900" h="809625">
                  <a:moveTo>
                    <a:pt x="342246" y="361380"/>
                  </a:moveTo>
                  <a:lnTo>
                    <a:pt x="335036" y="361380"/>
                  </a:lnTo>
                  <a:lnTo>
                    <a:pt x="331943" y="360116"/>
                  </a:lnTo>
                  <a:lnTo>
                    <a:pt x="326783" y="355061"/>
                  </a:lnTo>
                  <a:lnTo>
                    <a:pt x="325449" y="351989"/>
                  </a:lnTo>
                  <a:lnTo>
                    <a:pt x="325449" y="255432"/>
                  </a:lnTo>
                  <a:lnTo>
                    <a:pt x="326783" y="252360"/>
                  </a:lnTo>
                  <a:lnTo>
                    <a:pt x="331943" y="247305"/>
                  </a:lnTo>
                  <a:lnTo>
                    <a:pt x="335036" y="246041"/>
                  </a:lnTo>
                  <a:lnTo>
                    <a:pt x="342246" y="246041"/>
                  </a:lnTo>
                  <a:lnTo>
                    <a:pt x="345338" y="247305"/>
                  </a:lnTo>
                  <a:lnTo>
                    <a:pt x="350499" y="252360"/>
                  </a:lnTo>
                  <a:lnTo>
                    <a:pt x="351833" y="255432"/>
                  </a:lnTo>
                  <a:lnTo>
                    <a:pt x="351833" y="351989"/>
                  </a:lnTo>
                  <a:lnTo>
                    <a:pt x="350499" y="355061"/>
                  </a:lnTo>
                  <a:lnTo>
                    <a:pt x="345338" y="360116"/>
                  </a:lnTo>
                  <a:lnTo>
                    <a:pt x="342246" y="361380"/>
                  </a:lnTo>
                  <a:close/>
                </a:path>
                <a:path w="723900" h="809625">
                  <a:moveTo>
                    <a:pt x="524610" y="379213"/>
                  </a:moveTo>
                  <a:lnTo>
                    <a:pt x="508578" y="364693"/>
                  </a:lnTo>
                  <a:lnTo>
                    <a:pt x="508943" y="362540"/>
                  </a:lnTo>
                  <a:lnTo>
                    <a:pt x="553323" y="261920"/>
                  </a:lnTo>
                  <a:lnTo>
                    <a:pt x="553995" y="260242"/>
                  </a:lnTo>
                  <a:lnTo>
                    <a:pt x="564054" y="253530"/>
                  </a:lnTo>
                  <a:lnTo>
                    <a:pt x="567658" y="253586"/>
                  </a:lnTo>
                  <a:lnTo>
                    <a:pt x="579008" y="265758"/>
                  </a:lnTo>
                  <a:lnTo>
                    <a:pt x="578826" y="269371"/>
                  </a:lnTo>
                  <a:lnTo>
                    <a:pt x="578387" y="271088"/>
                  </a:lnTo>
                  <a:lnTo>
                    <a:pt x="577600" y="272715"/>
                  </a:lnTo>
                  <a:lnTo>
                    <a:pt x="533067" y="373688"/>
                  </a:lnTo>
                  <a:lnTo>
                    <a:pt x="531434" y="375615"/>
                  </a:lnTo>
                  <a:lnTo>
                    <a:pt x="527027" y="378494"/>
                  </a:lnTo>
                  <a:lnTo>
                    <a:pt x="524610" y="379213"/>
                  </a:lnTo>
                  <a:close/>
                </a:path>
                <a:path w="723900" h="809625">
                  <a:moveTo>
                    <a:pt x="438169" y="372574"/>
                  </a:moveTo>
                  <a:lnTo>
                    <a:pt x="436447" y="372426"/>
                  </a:lnTo>
                  <a:lnTo>
                    <a:pt x="434755" y="371934"/>
                  </a:lnTo>
                  <a:lnTo>
                    <a:pt x="433061" y="371447"/>
                  </a:lnTo>
                  <a:lnTo>
                    <a:pt x="425026" y="358863"/>
                  </a:lnTo>
                  <a:lnTo>
                    <a:pt x="425172" y="357135"/>
                  </a:lnTo>
                  <a:lnTo>
                    <a:pt x="463191" y="224352"/>
                  </a:lnTo>
                  <a:lnTo>
                    <a:pt x="476065" y="214585"/>
                  </a:lnTo>
                  <a:lnTo>
                    <a:pt x="482975" y="216580"/>
                  </a:lnTo>
                  <a:lnTo>
                    <a:pt x="485595" y="218646"/>
                  </a:lnTo>
                  <a:lnTo>
                    <a:pt x="489165" y="224912"/>
                  </a:lnTo>
                  <a:lnTo>
                    <a:pt x="489609" y="228226"/>
                  </a:lnTo>
                  <a:lnTo>
                    <a:pt x="488713" y="231721"/>
                  </a:lnTo>
                  <a:lnTo>
                    <a:pt x="450700" y="364508"/>
                  </a:lnTo>
                  <a:lnTo>
                    <a:pt x="441670" y="372179"/>
                  </a:lnTo>
                  <a:lnTo>
                    <a:pt x="438169" y="372574"/>
                  </a:lnTo>
                  <a:close/>
                </a:path>
                <a:path w="723900" h="809625">
                  <a:moveTo>
                    <a:pt x="241995" y="374054"/>
                  </a:moveTo>
                  <a:lnTo>
                    <a:pt x="228841" y="363635"/>
                  </a:lnTo>
                  <a:lnTo>
                    <a:pt x="192287" y="236173"/>
                  </a:lnTo>
                  <a:lnTo>
                    <a:pt x="191377" y="232673"/>
                  </a:lnTo>
                  <a:lnTo>
                    <a:pt x="191814" y="229351"/>
                  </a:lnTo>
                  <a:lnTo>
                    <a:pt x="195379" y="223065"/>
                  </a:lnTo>
                  <a:lnTo>
                    <a:pt x="198002" y="220993"/>
                  </a:lnTo>
                  <a:lnTo>
                    <a:pt x="204927" y="218991"/>
                  </a:lnTo>
                  <a:lnTo>
                    <a:pt x="208246" y="219346"/>
                  </a:lnTo>
                  <a:lnTo>
                    <a:pt x="214596" y="222766"/>
                  </a:lnTo>
                  <a:lnTo>
                    <a:pt x="216725" y="225346"/>
                  </a:lnTo>
                  <a:lnTo>
                    <a:pt x="217809" y="228796"/>
                  </a:lnTo>
                  <a:lnTo>
                    <a:pt x="254458" y="356589"/>
                  </a:lnTo>
                  <a:lnTo>
                    <a:pt x="254997" y="358304"/>
                  </a:lnTo>
                  <a:lnTo>
                    <a:pt x="243744" y="373912"/>
                  </a:lnTo>
                  <a:lnTo>
                    <a:pt x="241995" y="374054"/>
                  </a:lnTo>
                  <a:close/>
                </a:path>
                <a:path w="723900" h="809625">
                  <a:moveTo>
                    <a:pt x="153850" y="379247"/>
                  </a:moveTo>
                  <a:lnTo>
                    <a:pt x="100470" y="274490"/>
                  </a:lnTo>
                  <a:lnTo>
                    <a:pt x="99402" y="267701"/>
                  </a:lnTo>
                  <a:lnTo>
                    <a:pt x="99713" y="266013"/>
                  </a:lnTo>
                  <a:lnTo>
                    <a:pt x="114077" y="255919"/>
                  </a:lnTo>
                  <a:lnTo>
                    <a:pt x="115763" y="256204"/>
                  </a:lnTo>
                  <a:lnTo>
                    <a:pt x="168152" y="362093"/>
                  </a:lnTo>
                  <a:lnTo>
                    <a:pt x="168615" y="367321"/>
                  </a:lnTo>
                  <a:lnTo>
                    <a:pt x="168318" y="369030"/>
                  </a:lnTo>
                  <a:lnTo>
                    <a:pt x="153850" y="379247"/>
                  </a:lnTo>
                  <a:close/>
                </a:path>
              </a:pathLst>
            </a:custGeom>
            <a:solidFill>
              <a:srgbClr val="FFFFFF"/>
            </a:solidFill>
          </p:spPr>
          <p:txBody>
            <a:bodyPr wrap="square" lIns="0" tIns="0" rIns="0" bIns="0" rtlCol="0"/>
            <a:lstStyle/>
            <a:p>
              <a:endParaRPr/>
            </a:p>
          </p:txBody>
        </p:sp>
        <p:pic>
          <p:nvPicPr>
            <p:cNvPr id="58" name="object 58"/>
            <p:cNvPicPr/>
            <p:nvPr/>
          </p:nvPicPr>
          <p:blipFill>
            <a:blip r:embed="rId17" cstate="print"/>
            <a:stretch>
              <a:fillRect/>
            </a:stretch>
          </p:blipFill>
          <p:spPr>
            <a:xfrm>
              <a:off x="17316449" y="237491"/>
              <a:ext cx="742949" cy="819149"/>
            </a:xfrm>
            <a:prstGeom prst="rect">
              <a:avLst/>
            </a:prstGeom>
          </p:spPr>
        </p:pic>
      </p:grpSp>
      <p:sp>
        <p:nvSpPr>
          <p:cNvPr id="59" name="object 59"/>
          <p:cNvSpPr txBox="1"/>
          <p:nvPr/>
        </p:nvSpPr>
        <p:spPr>
          <a:xfrm>
            <a:off x="3839796" y="7783145"/>
            <a:ext cx="1193165" cy="479425"/>
          </a:xfrm>
          <a:prstGeom prst="rect">
            <a:avLst/>
          </a:prstGeom>
        </p:spPr>
        <p:txBody>
          <a:bodyPr vert="horz" wrap="square" lIns="0" tIns="24765" rIns="0" bIns="0" rtlCol="0">
            <a:spAutoFit/>
          </a:bodyPr>
          <a:lstStyle/>
          <a:p>
            <a:pPr marL="12700" marR="5080" indent="204470">
              <a:lnSpc>
                <a:spcPts val="1760"/>
              </a:lnSpc>
              <a:spcBef>
                <a:spcPts val="195"/>
              </a:spcBef>
            </a:pPr>
            <a:r>
              <a:rPr sz="1500" b="1" spc="-10" dirty="0">
                <a:solidFill>
                  <a:srgbClr val="737373"/>
                </a:solidFill>
                <a:latin typeface="Roboto"/>
                <a:cs typeface="Roboto"/>
              </a:rPr>
              <a:t>Impulsar </a:t>
            </a:r>
            <a:r>
              <a:rPr sz="1500" b="1" dirty="0">
                <a:solidFill>
                  <a:srgbClr val="737373"/>
                </a:solidFill>
                <a:latin typeface="Roboto"/>
                <a:cs typeface="Roboto"/>
              </a:rPr>
              <a:t>turismo</a:t>
            </a:r>
            <a:r>
              <a:rPr sz="1500" b="1" spc="-40" dirty="0">
                <a:solidFill>
                  <a:srgbClr val="737373"/>
                </a:solidFill>
                <a:latin typeface="Roboto"/>
                <a:cs typeface="Roboto"/>
              </a:rPr>
              <a:t> </a:t>
            </a:r>
            <a:r>
              <a:rPr sz="1500" b="1" spc="-20" dirty="0">
                <a:solidFill>
                  <a:srgbClr val="737373"/>
                </a:solidFill>
                <a:latin typeface="Roboto"/>
                <a:cs typeface="Roboto"/>
              </a:rPr>
              <a:t>MICE</a:t>
            </a:r>
            <a:endParaRPr sz="1500">
              <a:latin typeface="Roboto"/>
              <a:cs typeface="Roboto"/>
            </a:endParaRPr>
          </a:p>
        </p:txBody>
      </p:sp>
      <p:sp>
        <p:nvSpPr>
          <p:cNvPr id="70" name="object 70"/>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71" name="object 71"/>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33</a:t>
            </a:r>
          </a:p>
        </p:txBody>
      </p:sp>
      <p:sp>
        <p:nvSpPr>
          <p:cNvPr id="60" name="object 60"/>
          <p:cNvSpPr txBox="1"/>
          <p:nvPr/>
        </p:nvSpPr>
        <p:spPr>
          <a:xfrm>
            <a:off x="6431057" y="7783145"/>
            <a:ext cx="940435" cy="479425"/>
          </a:xfrm>
          <a:prstGeom prst="rect">
            <a:avLst/>
          </a:prstGeom>
        </p:spPr>
        <p:txBody>
          <a:bodyPr vert="horz" wrap="square" lIns="0" tIns="24765" rIns="0" bIns="0" rtlCol="0">
            <a:spAutoFit/>
          </a:bodyPr>
          <a:lstStyle/>
          <a:p>
            <a:pPr marL="12700" marR="5080" indent="13970">
              <a:lnSpc>
                <a:spcPts val="1760"/>
              </a:lnSpc>
              <a:spcBef>
                <a:spcPts val="195"/>
              </a:spcBef>
            </a:pPr>
            <a:r>
              <a:rPr sz="1500" b="1" spc="-10" dirty="0">
                <a:solidFill>
                  <a:srgbClr val="737373"/>
                </a:solidFill>
                <a:latin typeface="Roboto"/>
                <a:cs typeface="Roboto"/>
              </a:rPr>
              <a:t>Desarrollo inteligente</a:t>
            </a:r>
            <a:endParaRPr sz="1500">
              <a:latin typeface="Roboto"/>
              <a:cs typeface="Roboto"/>
            </a:endParaRPr>
          </a:p>
        </p:txBody>
      </p:sp>
      <p:sp>
        <p:nvSpPr>
          <p:cNvPr id="61" name="object 61"/>
          <p:cNvSpPr txBox="1"/>
          <p:nvPr/>
        </p:nvSpPr>
        <p:spPr>
          <a:xfrm>
            <a:off x="12553929" y="7783145"/>
            <a:ext cx="896619" cy="703580"/>
          </a:xfrm>
          <a:prstGeom prst="rect">
            <a:avLst/>
          </a:prstGeom>
        </p:spPr>
        <p:txBody>
          <a:bodyPr vert="horz" wrap="square" lIns="0" tIns="24765" rIns="0" bIns="0" rtlCol="0">
            <a:spAutoFit/>
          </a:bodyPr>
          <a:lstStyle/>
          <a:p>
            <a:pPr marL="12065" marR="5080" algn="ctr">
              <a:lnSpc>
                <a:spcPts val="1760"/>
              </a:lnSpc>
              <a:spcBef>
                <a:spcPts val="195"/>
              </a:spcBef>
            </a:pPr>
            <a:r>
              <a:rPr sz="1500" b="1" spc="-10" dirty="0">
                <a:solidFill>
                  <a:srgbClr val="737373"/>
                </a:solidFill>
                <a:latin typeface="Roboto"/>
                <a:cs typeface="Roboto"/>
              </a:rPr>
              <a:t>Creación nuevos productos</a:t>
            </a:r>
            <a:endParaRPr sz="1500">
              <a:latin typeface="Roboto"/>
              <a:cs typeface="Roboto"/>
            </a:endParaRPr>
          </a:p>
        </p:txBody>
      </p:sp>
      <p:sp>
        <p:nvSpPr>
          <p:cNvPr id="62" name="object 62"/>
          <p:cNvSpPr txBox="1"/>
          <p:nvPr/>
        </p:nvSpPr>
        <p:spPr>
          <a:xfrm>
            <a:off x="9799116" y="7783145"/>
            <a:ext cx="1589405" cy="703580"/>
          </a:xfrm>
          <a:prstGeom prst="rect">
            <a:avLst/>
          </a:prstGeom>
        </p:spPr>
        <p:txBody>
          <a:bodyPr vert="horz" wrap="square" lIns="0" tIns="24765" rIns="0" bIns="0" rtlCol="0">
            <a:spAutoFit/>
          </a:bodyPr>
          <a:lstStyle/>
          <a:p>
            <a:pPr marL="12065" marR="5080" algn="ctr">
              <a:lnSpc>
                <a:spcPts val="1760"/>
              </a:lnSpc>
              <a:spcBef>
                <a:spcPts val="195"/>
              </a:spcBef>
            </a:pPr>
            <a:r>
              <a:rPr sz="1500" b="1" dirty="0">
                <a:solidFill>
                  <a:srgbClr val="737373"/>
                </a:solidFill>
                <a:latin typeface="Roboto"/>
                <a:cs typeface="Roboto"/>
              </a:rPr>
              <a:t>Competitividad</a:t>
            </a:r>
            <a:r>
              <a:rPr sz="1500" b="1" spc="-85" dirty="0">
                <a:solidFill>
                  <a:srgbClr val="737373"/>
                </a:solidFill>
                <a:latin typeface="Roboto"/>
                <a:cs typeface="Roboto"/>
              </a:rPr>
              <a:t> </a:t>
            </a:r>
            <a:r>
              <a:rPr sz="1500" b="1" spc="-25" dirty="0">
                <a:solidFill>
                  <a:srgbClr val="737373"/>
                </a:solidFill>
                <a:latin typeface="Roboto"/>
                <a:cs typeface="Roboto"/>
              </a:rPr>
              <a:t>en </a:t>
            </a:r>
            <a:r>
              <a:rPr sz="1500" b="1" dirty="0">
                <a:solidFill>
                  <a:srgbClr val="737373"/>
                </a:solidFill>
                <a:latin typeface="Roboto"/>
                <a:cs typeface="Roboto"/>
              </a:rPr>
              <a:t>toda</a:t>
            </a:r>
            <a:r>
              <a:rPr sz="1500" b="1" spc="-20" dirty="0">
                <a:solidFill>
                  <a:srgbClr val="737373"/>
                </a:solidFill>
                <a:latin typeface="Roboto"/>
                <a:cs typeface="Roboto"/>
              </a:rPr>
              <a:t> </a:t>
            </a:r>
            <a:r>
              <a:rPr sz="1500" b="1" dirty="0">
                <a:solidFill>
                  <a:srgbClr val="737373"/>
                </a:solidFill>
                <a:latin typeface="Roboto"/>
                <a:cs typeface="Roboto"/>
              </a:rPr>
              <a:t>la</a:t>
            </a:r>
            <a:r>
              <a:rPr sz="1500" b="1" spc="-20" dirty="0">
                <a:solidFill>
                  <a:srgbClr val="737373"/>
                </a:solidFill>
                <a:latin typeface="Roboto"/>
                <a:cs typeface="Roboto"/>
              </a:rPr>
              <a:t> </a:t>
            </a:r>
            <a:r>
              <a:rPr sz="1500" b="1" spc="-10" dirty="0">
                <a:solidFill>
                  <a:srgbClr val="737373"/>
                </a:solidFill>
                <a:latin typeface="Roboto"/>
                <a:cs typeface="Roboto"/>
              </a:rPr>
              <a:t>cadena</a:t>
            </a:r>
            <a:endParaRPr sz="1500">
              <a:latin typeface="Roboto"/>
              <a:cs typeface="Roboto"/>
            </a:endParaRPr>
          </a:p>
          <a:p>
            <a:pPr marL="46990" algn="ctr">
              <a:lnSpc>
                <a:spcPts val="1714"/>
              </a:lnSpc>
            </a:pPr>
            <a:r>
              <a:rPr sz="1500" b="1" dirty="0">
                <a:solidFill>
                  <a:srgbClr val="737373"/>
                </a:solidFill>
                <a:latin typeface="Roboto"/>
                <a:cs typeface="Roboto"/>
              </a:rPr>
              <a:t>de</a:t>
            </a:r>
            <a:r>
              <a:rPr sz="1500" b="1" spc="10" dirty="0">
                <a:solidFill>
                  <a:srgbClr val="737373"/>
                </a:solidFill>
                <a:latin typeface="Roboto"/>
                <a:cs typeface="Roboto"/>
              </a:rPr>
              <a:t> </a:t>
            </a:r>
            <a:r>
              <a:rPr sz="1500" b="1" spc="-10" dirty="0">
                <a:solidFill>
                  <a:srgbClr val="737373"/>
                </a:solidFill>
                <a:latin typeface="Roboto"/>
                <a:cs typeface="Roboto"/>
              </a:rPr>
              <a:t>valor</a:t>
            </a:r>
            <a:endParaRPr sz="1500">
              <a:latin typeface="Roboto"/>
              <a:cs typeface="Roboto"/>
            </a:endParaRPr>
          </a:p>
        </p:txBody>
      </p:sp>
      <p:sp>
        <p:nvSpPr>
          <p:cNvPr id="63" name="object 63"/>
          <p:cNvSpPr txBox="1"/>
          <p:nvPr/>
        </p:nvSpPr>
        <p:spPr>
          <a:xfrm>
            <a:off x="16301115" y="7783145"/>
            <a:ext cx="835025" cy="255270"/>
          </a:xfrm>
          <a:prstGeom prst="rect">
            <a:avLst/>
          </a:prstGeom>
        </p:spPr>
        <p:txBody>
          <a:bodyPr vert="horz" wrap="square" lIns="0" tIns="13335" rIns="0" bIns="0" rtlCol="0">
            <a:spAutoFit/>
          </a:bodyPr>
          <a:lstStyle/>
          <a:p>
            <a:pPr marL="12700">
              <a:lnSpc>
                <a:spcPct val="100000"/>
              </a:lnSpc>
              <a:spcBef>
                <a:spcPts val="105"/>
              </a:spcBef>
            </a:pPr>
            <a:r>
              <a:rPr sz="1500" b="1" spc="-10" dirty="0">
                <a:solidFill>
                  <a:srgbClr val="737373"/>
                </a:solidFill>
                <a:latin typeface="Roboto"/>
                <a:cs typeface="Roboto"/>
              </a:rPr>
              <a:t>Sinergias</a:t>
            </a:r>
            <a:endParaRPr sz="1500">
              <a:latin typeface="Roboto"/>
              <a:cs typeface="Roboto"/>
            </a:endParaRPr>
          </a:p>
        </p:txBody>
      </p:sp>
      <p:sp>
        <p:nvSpPr>
          <p:cNvPr id="64" name="object 64"/>
          <p:cNvSpPr txBox="1"/>
          <p:nvPr/>
        </p:nvSpPr>
        <p:spPr>
          <a:xfrm>
            <a:off x="7923341" y="7783145"/>
            <a:ext cx="1633855" cy="703580"/>
          </a:xfrm>
          <a:prstGeom prst="rect">
            <a:avLst/>
          </a:prstGeom>
        </p:spPr>
        <p:txBody>
          <a:bodyPr vert="horz" wrap="square" lIns="0" tIns="24765" rIns="0" bIns="0" rtlCol="0">
            <a:spAutoFit/>
          </a:bodyPr>
          <a:lstStyle/>
          <a:p>
            <a:pPr marL="12700" marR="5080" algn="ctr">
              <a:lnSpc>
                <a:spcPts val="1760"/>
              </a:lnSpc>
              <a:spcBef>
                <a:spcPts val="195"/>
              </a:spcBef>
            </a:pPr>
            <a:r>
              <a:rPr sz="1500" b="1" dirty="0">
                <a:solidFill>
                  <a:srgbClr val="737373"/>
                </a:solidFill>
                <a:latin typeface="Roboto"/>
                <a:cs typeface="Roboto"/>
              </a:rPr>
              <a:t>Mejorar</a:t>
            </a:r>
            <a:r>
              <a:rPr sz="1500" b="1" spc="15" dirty="0">
                <a:solidFill>
                  <a:srgbClr val="737373"/>
                </a:solidFill>
                <a:latin typeface="Roboto"/>
                <a:cs typeface="Roboto"/>
              </a:rPr>
              <a:t> </a:t>
            </a:r>
            <a:r>
              <a:rPr sz="1500" b="1" spc="-10" dirty="0">
                <a:solidFill>
                  <a:srgbClr val="737373"/>
                </a:solidFill>
                <a:latin typeface="Roboto"/>
                <a:cs typeface="Roboto"/>
              </a:rPr>
              <a:t>canales</a:t>
            </a:r>
            <a:r>
              <a:rPr sz="1500" b="1" spc="500" dirty="0">
                <a:solidFill>
                  <a:srgbClr val="737373"/>
                </a:solidFill>
                <a:latin typeface="Roboto"/>
                <a:cs typeface="Roboto"/>
              </a:rPr>
              <a:t> </a:t>
            </a:r>
            <a:r>
              <a:rPr sz="1500" b="1" dirty="0">
                <a:solidFill>
                  <a:srgbClr val="737373"/>
                </a:solidFill>
                <a:latin typeface="Roboto"/>
                <a:cs typeface="Roboto"/>
              </a:rPr>
              <a:t>de</a:t>
            </a:r>
            <a:r>
              <a:rPr sz="1500" b="1" spc="-30" dirty="0">
                <a:solidFill>
                  <a:srgbClr val="737373"/>
                </a:solidFill>
                <a:latin typeface="Roboto"/>
                <a:cs typeface="Roboto"/>
              </a:rPr>
              <a:t> </a:t>
            </a:r>
            <a:r>
              <a:rPr sz="1500" b="1" dirty="0">
                <a:solidFill>
                  <a:srgbClr val="737373"/>
                </a:solidFill>
                <a:latin typeface="Roboto"/>
                <a:cs typeface="Roboto"/>
              </a:rPr>
              <a:t>comunicación</a:t>
            </a:r>
            <a:r>
              <a:rPr sz="1500" b="1" spc="-25" dirty="0">
                <a:solidFill>
                  <a:srgbClr val="737373"/>
                </a:solidFill>
                <a:latin typeface="Roboto"/>
                <a:cs typeface="Roboto"/>
              </a:rPr>
              <a:t> </a:t>
            </a:r>
            <a:r>
              <a:rPr sz="1500" b="1" spc="-50" dirty="0">
                <a:solidFill>
                  <a:srgbClr val="737373"/>
                </a:solidFill>
                <a:latin typeface="Roboto"/>
                <a:cs typeface="Roboto"/>
              </a:rPr>
              <a:t>y </a:t>
            </a:r>
            <a:r>
              <a:rPr sz="1500" b="1" spc="-10" dirty="0">
                <a:solidFill>
                  <a:srgbClr val="737373"/>
                </a:solidFill>
                <a:latin typeface="Roboto"/>
                <a:cs typeface="Roboto"/>
              </a:rPr>
              <a:t>promoción</a:t>
            </a:r>
            <a:endParaRPr sz="1500">
              <a:latin typeface="Roboto"/>
              <a:cs typeface="Roboto"/>
            </a:endParaRPr>
          </a:p>
        </p:txBody>
      </p:sp>
      <p:sp>
        <p:nvSpPr>
          <p:cNvPr id="65" name="object 65"/>
          <p:cNvSpPr txBox="1"/>
          <p:nvPr/>
        </p:nvSpPr>
        <p:spPr>
          <a:xfrm>
            <a:off x="14160917" y="7783145"/>
            <a:ext cx="1360805" cy="703580"/>
          </a:xfrm>
          <a:prstGeom prst="rect">
            <a:avLst/>
          </a:prstGeom>
        </p:spPr>
        <p:txBody>
          <a:bodyPr vert="horz" wrap="square" lIns="0" tIns="24765" rIns="0" bIns="0" rtlCol="0">
            <a:spAutoFit/>
          </a:bodyPr>
          <a:lstStyle/>
          <a:p>
            <a:pPr marL="12700" marR="5080" algn="ctr">
              <a:lnSpc>
                <a:spcPts val="1760"/>
              </a:lnSpc>
              <a:spcBef>
                <a:spcPts val="195"/>
              </a:spcBef>
            </a:pPr>
            <a:r>
              <a:rPr sz="1500" b="1" spc="-10" dirty="0">
                <a:solidFill>
                  <a:srgbClr val="737373"/>
                </a:solidFill>
                <a:latin typeface="Roboto"/>
                <a:cs typeface="Roboto"/>
              </a:rPr>
              <a:t>Sostenibilidad </a:t>
            </a:r>
            <a:r>
              <a:rPr sz="1500" b="1" dirty="0">
                <a:solidFill>
                  <a:srgbClr val="737373"/>
                </a:solidFill>
                <a:latin typeface="Roboto"/>
                <a:cs typeface="Roboto"/>
              </a:rPr>
              <a:t>como</a:t>
            </a:r>
            <a:r>
              <a:rPr sz="1500" b="1" spc="-10" dirty="0">
                <a:solidFill>
                  <a:srgbClr val="737373"/>
                </a:solidFill>
                <a:latin typeface="Roboto"/>
                <a:cs typeface="Roboto"/>
              </a:rPr>
              <a:t> elemento diferencial</a:t>
            </a:r>
            <a:endParaRPr sz="1500">
              <a:latin typeface="Roboto"/>
              <a:cs typeface="Roboto"/>
            </a:endParaRPr>
          </a:p>
        </p:txBody>
      </p:sp>
      <p:sp>
        <p:nvSpPr>
          <p:cNvPr id="66" name="object 66"/>
          <p:cNvSpPr txBox="1"/>
          <p:nvPr/>
        </p:nvSpPr>
        <p:spPr>
          <a:xfrm>
            <a:off x="2079395" y="7783145"/>
            <a:ext cx="1003300" cy="703580"/>
          </a:xfrm>
          <a:prstGeom prst="rect">
            <a:avLst/>
          </a:prstGeom>
        </p:spPr>
        <p:txBody>
          <a:bodyPr vert="horz" wrap="square" lIns="0" tIns="24765" rIns="0" bIns="0" rtlCol="0">
            <a:spAutoFit/>
          </a:bodyPr>
          <a:lstStyle/>
          <a:p>
            <a:pPr marL="12700" marR="5080" indent="-635" algn="ctr">
              <a:lnSpc>
                <a:spcPts val="1760"/>
              </a:lnSpc>
              <a:spcBef>
                <a:spcPts val="195"/>
              </a:spcBef>
            </a:pPr>
            <a:r>
              <a:rPr sz="1500" b="1" spc="-10" dirty="0">
                <a:solidFill>
                  <a:srgbClr val="737373"/>
                </a:solidFill>
                <a:latin typeface="Roboto"/>
                <a:cs typeface="Roboto"/>
              </a:rPr>
              <a:t>Fortalecer Convention Bureaus</a:t>
            </a:r>
            <a:endParaRPr sz="1500">
              <a:latin typeface="Roboto"/>
              <a:cs typeface="Roboto"/>
            </a:endParaRPr>
          </a:p>
        </p:txBody>
      </p:sp>
      <p:sp>
        <p:nvSpPr>
          <p:cNvPr id="67" name="object 67"/>
          <p:cNvSpPr txBox="1"/>
          <p:nvPr/>
        </p:nvSpPr>
        <p:spPr>
          <a:xfrm>
            <a:off x="8415424" y="2454307"/>
            <a:ext cx="2444115" cy="746125"/>
          </a:xfrm>
          <a:prstGeom prst="rect">
            <a:avLst/>
          </a:prstGeom>
        </p:spPr>
        <p:txBody>
          <a:bodyPr vert="horz" wrap="square" lIns="0" tIns="24765" rIns="0" bIns="0" rtlCol="0">
            <a:spAutoFit/>
          </a:bodyPr>
          <a:lstStyle/>
          <a:p>
            <a:pPr marL="12700" marR="5080" indent="85725">
              <a:lnSpc>
                <a:spcPts val="1880"/>
              </a:lnSpc>
              <a:spcBef>
                <a:spcPts val="195"/>
              </a:spcBef>
            </a:pPr>
            <a:r>
              <a:rPr sz="1600" spc="-20" dirty="0">
                <a:solidFill>
                  <a:srgbClr val="FFFFFF"/>
                </a:solidFill>
                <a:latin typeface="Roboto"/>
                <a:cs typeface="Roboto"/>
              </a:rPr>
              <a:t>MAYOR</a:t>
            </a:r>
            <a:r>
              <a:rPr sz="1600" spc="-45" dirty="0">
                <a:solidFill>
                  <a:srgbClr val="FFFFFF"/>
                </a:solidFill>
                <a:latin typeface="Roboto"/>
                <a:cs typeface="Roboto"/>
              </a:rPr>
              <a:t> </a:t>
            </a:r>
            <a:r>
              <a:rPr sz="1600" spc="-10" dirty="0">
                <a:solidFill>
                  <a:srgbClr val="FFFFFF"/>
                </a:solidFill>
                <a:latin typeface="Roboto"/>
                <a:cs typeface="Roboto"/>
              </a:rPr>
              <a:t>CONTRIBUCIÓN </a:t>
            </a:r>
            <a:r>
              <a:rPr sz="1600" dirty="0">
                <a:solidFill>
                  <a:srgbClr val="FFFFFF"/>
                </a:solidFill>
                <a:latin typeface="Roboto"/>
                <a:cs typeface="Roboto"/>
              </a:rPr>
              <a:t>DEL</a:t>
            </a:r>
            <a:r>
              <a:rPr sz="1600" spc="-50" dirty="0">
                <a:solidFill>
                  <a:srgbClr val="FFFFFF"/>
                </a:solidFill>
                <a:latin typeface="Roboto"/>
                <a:cs typeface="Roboto"/>
              </a:rPr>
              <a:t> </a:t>
            </a:r>
            <a:r>
              <a:rPr sz="1600" spc="-30" dirty="0">
                <a:solidFill>
                  <a:srgbClr val="FFFFFF"/>
                </a:solidFill>
                <a:latin typeface="Roboto"/>
                <a:cs typeface="Roboto"/>
              </a:rPr>
              <a:t>TURISMO</a:t>
            </a:r>
            <a:r>
              <a:rPr sz="1600" spc="-50" dirty="0">
                <a:solidFill>
                  <a:srgbClr val="FFFFFF"/>
                </a:solidFill>
                <a:latin typeface="Roboto"/>
                <a:cs typeface="Roboto"/>
              </a:rPr>
              <a:t> </a:t>
            </a:r>
            <a:r>
              <a:rPr sz="1600" b="1" spc="-10" dirty="0">
                <a:solidFill>
                  <a:srgbClr val="FFFFFF"/>
                </a:solidFill>
                <a:latin typeface="Roboto"/>
                <a:cs typeface="Roboto"/>
              </a:rPr>
              <a:t>RECEPTIVO </a:t>
            </a:r>
            <a:r>
              <a:rPr sz="1600" dirty="0">
                <a:solidFill>
                  <a:srgbClr val="FFFFFF"/>
                </a:solidFill>
                <a:latin typeface="Roboto"/>
                <a:cs typeface="Roboto"/>
              </a:rPr>
              <a:t>A</a:t>
            </a:r>
            <a:r>
              <a:rPr sz="1600" spc="-45" dirty="0">
                <a:solidFill>
                  <a:srgbClr val="FFFFFF"/>
                </a:solidFill>
                <a:latin typeface="Roboto"/>
                <a:cs typeface="Roboto"/>
              </a:rPr>
              <a:t> </a:t>
            </a:r>
            <a:r>
              <a:rPr sz="1600" dirty="0">
                <a:solidFill>
                  <a:srgbClr val="FFFFFF"/>
                </a:solidFill>
                <a:latin typeface="Roboto"/>
                <a:cs typeface="Roboto"/>
              </a:rPr>
              <a:t>LA</a:t>
            </a:r>
            <a:r>
              <a:rPr sz="1600" spc="-40" dirty="0">
                <a:solidFill>
                  <a:srgbClr val="FFFFFF"/>
                </a:solidFill>
                <a:latin typeface="Roboto"/>
                <a:cs typeface="Roboto"/>
              </a:rPr>
              <a:t> </a:t>
            </a:r>
            <a:r>
              <a:rPr sz="1600" dirty="0">
                <a:solidFill>
                  <a:srgbClr val="FFFFFF"/>
                </a:solidFill>
                <a:latin typeface="Roboto"/>
                <a:cs typeface="Roboto"/>
              </a:rPr>
              <a:t>ECONOMÍA</a:t>
            </a:r>
            <a:r>
              <a:rPr sz="1600" spc="-40" dirty="0">
                <a:solidFill>
                  <a:srgbClr val="FFFFFF"/>
                </a:solidFill>
                <a:latin typeface="Roboto"/>
                <a:cs typeface="Roboto"/>
              </a:rPr>
              <a:t> </a:t>
            </a:r>
            <a:r>
              <a:rPr sz="1600" dirty="0">
                <a:solidFill>
                  <a:srgbClr val="FFFFFF"/>
                </a:solidFill>
                <a:latin typeface="Roboto"/>
                <a:cs typeface="Roboto"/>
              </a:rPr>
              <a:t>DE</a:t>
            </a:r>
            <a:r>
              <a:rPr sz="1600" spc="-40" dirty="0">
                <a:solidFill>
                  <a:srgbClr val="FFFFFF"/>
                </a:solidFill>
                <a:latin typeface="Roboto"/>
                <a:cs typeface="Roboto"/>
              </a:rPr>
              <a:t> </a:t>
            </a:r>
            <a:r>
              <a:rPr sz="1600" spc="-20" dirty="0">
                <a:solidFill>
                  <a:srgbClr val="FFFFFF"/>
                </a:solidFill>
                <a:latin typeface="Roboto"/>
                <a:cs typeface="Roboto"/>
              </a:rPr>
              <a:t>CHILE</a:t>
            </a:r>
            <a:endParaRPr sz="1600">
              <a:latin typeface="Roboto"/>
              <a:cs typeface="Roboto"/>
            </a:endParaRPr>
          </a:p>
        </p:txBody>
      </p:sp>
      <p:sp>
        <p:nvSpPr>
          <p:cNvPr id="68" name="object 68"/>
          <p:cNvSpPr txBox="1"/>
          <p:nvPr/>
        </p:nvSpPr>
        <p:spPr>
          <a:xfrm>
            <a:off x="627946" y="6339123"/>
            <a:ext cx="358775" cy="1580515"/>
          </a:xfrm>
          <a:prstGeom prst="rect">
            <a:avLst/>
          </a:prstGeom>
        </p:spPr>
        <p:txBody>
          <a:bodyPr vert="vert270" wrap="square" lIns="0" tIns="0" rIns="0" bIns="0" rtlCol="0">
            <a:spAutoFit/>
          </a:bodyPr>
          <a:lstStyle/>
          <a:p>
            <a:pPr marL="12700">
              <a:lnSpc>
                <a:spcPts val="2410"/>
              </a:lnSpc>
            </a:pPr>
            <a:r>
              <a:rPr sz="2100" b="1" spc="-10" dirty="0">
                <a:solidFill>
                  <a:srgbClr val="E3112B"/>
                </a:solidFill>
                <a:latin typeface="Arial"/>
                <a:cs typeface="Arial"/>
              </a:rPr>
              <a:t>OBJETIVOS</a:t>
            </a:r>
            <a:endParaRPr sz="2100">
              <a:latin typeface="Arial"/>
              <a:cs typeface="Arial"/>
            </a:endParaRPr>
          </a:p>
        </p:txBody>
      </p:sp>
      <p:sp>
        <p:nvSpPr>
          <p:cNvPr id="69" name="object 69"/>
          <p:cNvSpPr txBox="1">
            <a:spLocks noGrp="1"/>
          </p:cNvSpPr>
          <p:nvPr>
            <p:ph type="title"/>
          </p:nvPr>
        </p:nvSpPr>
        <p:spPr>
          <a:xfrm>
            <a:off x="637985" y="384148"/>
            <a:ext cx="8007984" cy="482600"/>
          </a:xfrm>
          <a:prstGeom prst="rect">
            <a:avLst/>
          </a:prstGeom>
        </p:spPr>
        <p:txBody>
          <a:bodyPr vert="horz" wrap="square" lIns="0" tIns="12700" rIns="0" bIns="0" rtlCol="0">
            <a:spAutoFit/>
          </a:bodyPr>
          <a:lstStyle/>
          <a:p>
            <a:pPr marL="12700">
              <a:lnSpc>
                <a:spcPct val="100000"/>
              </a:lnSpc>
              <a:spcBef>
                <a:spcPts val="100"/>
              </a:spcBef>
            </a:pPr>
            <a:r>
              <a:rPr dirty="0"/>
              <a:t>02.</a:t>
            </a:r>
            <a:r>
              <a:rPr spc="-60" dirty="0"/>
              <a:t> </a:t>
            </a:r>
            <a:r>
              <a:rPr dirty="0"/>
              <a:t>Cómo</a:t>
            </a:r>
            <a:r>
              <a:rPr spc="-55" dirty="0"/>
              <a:t> </a:t>
            </a:r>
            <a:r>
              <a:rPr spc="-10" dirty="0"/>
              <a:t>promocionamos</a:t>
            </a:r>
            <a:r>
              <a:rPr spc="-55" dirty="0"/>
              <a:t> </a:t>
            </a:r>
            <a:r>
              <a:rPr dirty="0"/>
              <a:t>MICE</a:t>
            </a:r>
            <a:r>
              <a:rPr spc="-55" dirty="0"/>
              <a:t> </a:t>
            </a:r>
            <a:r>
              <a:rPr spc="-10" dirty="0"/>
              <a:t>internacional?</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29"/>
            <a:ext cx="17954625" cy="9604375"/>
            <a:chOff x="166956" y="184829"/>
            <a:chExt cx="17954625" cy="9604375"/>
          </a:xfrm>
        </p:grpSpPr>
        <p:sp>
          <p:nvSpPr>
            <p:cNvPr id="3" name="object 3"/>
            <p:cNvSpPr/>
            <p:nvPr/>
          </p:nvSpPr>
          <p:spPr>
            <a:xfrm>
              <a:off x="166956" y="1113691"/>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sp>
          <p:nvSpPr>
            <p:cNvPr id="5" name="object 5"/>
            <p:cNvSpPr/>
            <p:nvPr/>
          </p:nvSpPr>
          <p:spPr>
            <a:xfrm>
              <a:off x="1239900" y="4671431"/>
              <a:ext cx="16757015" cy="4830445"/>
            </a:xfrm>
            <a:custGeom>
              <a:avLst/>
              <a:gdLst/>
              <a:ahLst/>
              <a:cxnLst/>
              <a:rect l="l" t="t" r="r" b="b"/>
              <a:pathLst>
                <a:path w="16757015" h="4830445">
                  <a:moveTo>
                    <a:pt x="16756558" y="4830067"/>
                  </a:moveTo>
                  <a:lnTo>
                    <a:pt x="0" y="4830067"/>
                  </a:lnTo>
                  <a:lnTo>
                    <a:pt x="0" y="0"/>
                  </a:lnTo>
                  <a:lnTo>
                    <a:pt x="16756558" y="0"/>
                  </a:lnTo>
                  <a:lnTo>
                    <a:pt x="16756558" y="4830067"/>
                  </a:lnTo>
                  <a:close/>
                </a:path>
              </a:pathLst>
            </a:custGeom>
            <a:solidFill>
              <a:srgbClr val="FFFFFF"/>
            </a:solidFill>
          </p:spPr>
          <p:txBody>
            <a:bodyPr wrap="square" lIns="0" tIns="0" rIns="0" bIns="0" rtlCol="0"/>
            <a:lstStyle/>
            <a:p>
              <a:endParaRPr/>
            </a:p>
          </p:txBody>
        </p:sp>
        <p:sp>
          <p:nvSpPr>
            <p:cNvPr id="6" name="object 6"/>
            <p:cNvSpPr/>
            <p:nvPr/>
          </p:nvSpPr>
          <p:spPr>
            <a:xfrm>
              <a:off x="1240732" y="1996952"/>
              <a:ext cx="16757015" cy="2664460"/>
            </a:xfrm>
            <a:custGeom>
              <a:avLst/>
              <a:gdLst/>
              <a:ahLst/>
              <a:cxnLst/>
              <a:rect l="l" t="t" r="r" b="b"/>
              <a:pathLst>
                <a:path w="16757015" h="2664460">
                  <a:moveTo>
                    <a:pt x="16756754" y="2664441"/>
                  </a:moveTo>
                  <a:lnTo>
                    <a:pt x="0" y="2664441"/>
                  </a:lnTo>
                  <a:lnTo>
                    <a:pt x="8378377" y="0"/>
                  </a:lnTo>
                  <a:lnTo>
                    <a:pt x="16756754" y="2664441"/>
                  </a:lnTo>
                  <a:close/>
                </a:path>
              </a:pathLst>
            </a:custGeom>
            <a:solidFill>
              <a:srgbClr val="0090AE">
                <a:alpha val="53729"/>
              </a:srgbClr>
            </a:solidFill>
          </p:spPr>
          <p:txBody>
            <a:bodyPr wrap="square" lIns="0" tIns="0" rIns="0" bIns="0" rtlCol="0"/>
            <a:lstStyle/>
            <a:p>
              <a:endParaRPr/>
            </a:p>
          </p:txBody>
        </p:sp>
        <p:sp>
          <p:nvSpPr>
            <p:cNvPr id="7" name="object 7"/>
            <p:cNvSpPr/>
            <p:nvPr/>
          </p:nvSpPr>
          <p:spPr>
            <a:xfrm>
              <a:off x="1935924" y="1996960"/>
              <a:ext cx="12378055" cy="3206750"/>
            </a:xfrm>
            <a:custGeom>
              <a:avLst/>
              <a:gdLst/>
              <a:ahLst/>
              <a:cxnLst/>
              <a:rect l="l" t="t" r="r" b="b"/>
              <a:pathLst>
                <a:path w="12378055" h="3206750">
                  <a:moveTo>
                    <a:pt x="3246844" y="2550757"/>
                  </a:moveTo>
                  <a:lnTo>
                    <a:pt x="3229699" y="2467419"/>
                  </a:lnTo>
                  <a:lnTo>
                    <a:pt x="3213722" y="2422804"/>
                  </a:lnTo>
                  <a:lnTo>
                    <a:pt x="3193465" y="2379954"/>
                  </a:lnTo>
                  <a:lnTo>
                    <a:pt x="3169081" y="2339187"/>
                  </a:lnTo>
                  <a:lnTo>
                    <a:pt x="3140684" y="2300833"/>
                  </a:lnTo>
                  <a:lnTo>
                    <a:pt x="3108414" y="2265210"/>
                  </a:lnTo>
                  <a:lnTo>
                    <a:pt x="3072790" y="2232939"/>
                  </a:lnTo>
                  <a:lnTo>
                    <a:pt x="3034423" y="2204542"/>
                  </a:lnTo>
                  <a:lnTo>
                    <a:pt x="2993669" y="2180158"/>
                  </a:lnTo>
                  <a:lnTo>
                    <a:pt x="2950819" y="2159901"/>
                  </a:lnTo>
                  <a:lnTo>
                    <a:pt x="2906204" y="2143925"/>
                  </a:lnTo>
                  <a:lnTo>
                    <a:pt x="2860129" y="2132342"/>
                  </a:lnTo>
                  <a:lnTo>
                    <a:pt x="2812935" y="2125307"/>
                  </a:lnTo>
                  <a:lnTo>
                    <a:pt x="2764917" y="2122932"/>
                  </a:lnTo>
                  <a:lnTo>
                    <a:pt x="485775" y="2122932"/>
                  </a:lnTo>
                  <a:lnTo>
                    <a:pt x="437769" y="2125307"/>
                  </a:lnTo>
                  <a:lnTo>
                    <a:pt x="390563" y="2132342"/>
                  </a:lnTo>
                  <a:lnTo>
                    <a:pt x="344500" y="2143925"/>
                  </a:lnTo>
                  <a:lnTo>
                    <a:pt x="299885" y="2159901"/>
                  </a:lnTo>
                  <a:lnTo>
                    <a:pt x="257035" y="2180158"/>
                  </a:lnTo>
                  <a:lnTo>
                    <a:pt x="216268" y="2204542"/>
                  </a:lnTo>
                  <a:lnTo>
                    <a:pt x="177914" y="2232939"/>
                  </a:lnTo>
                  <a:lnTo>
                    <a:pt x="142278" y="2265210"/>
                  </a:lnTo>
                  <a:lnTo>
                    <a:pt x="110020" y="2300833"/>
                  </a:lnTo>
                  <a:lnTo>
                    <a:pt x="81622" y="2339187"/>
                  </a:lnTo>
                  <a:lnTo>
                    <a:pt x="57226" y="2379954"/>
                  </a:lnTo>
                  <a:lnTo>
                    <a:pt x="36982" y="2422804"/>
                  </a:lnTo>
                  <a:lnTo>
                    <a:pt x="21005" y="2467419"/>
                  </a:lnTo>
                  <a:lnTo>
                    <a:pt x="9423" y="2513495"/>
                  </a:lnTo>
                  <a:lnTo>
                    <a:pt x="2374" y="2560688"/>
                  </a:lnTo>
                  <a:lnTo>
                    <a:pt x="0" y="2608707"/>
                  </a:lnTo>
                  <a:lnTo>
                    <a:pt x="0" y="2720708"/>
                  </a:lnTo>
                  <a:lnTo>
                    <a:pt x="2374" y="2768727"/>
                  </a:lnTo>
                  <a:lnTo>
                    <a:pt x="9423" y="2815920"/>
                  </a:lnTo>
                  <a:lnTo>
                    <a:pt x="21005" y="2861983"/>
                  </a:lnTo>
                  <a:lnTo>
                    <a:pt x="36982" y="2906611"/>
                  </a:lnTo>
                  <a:lnTo>
                    <a:pt x="57226" y="2949460"/>
                  </a:lnTo>
                  <a:lnTo>
                    <a:pt x="81622" y="2990215"/>
                  </a:lnTo>
                  <a:lnTo>
                    <a:pt x="110020" y="3028569"/>
                  </a:lnTo>
                  <a:lnTo>
                    <a:pt x="142278" y="3064205"/>
                  </a:lnTo>
                  <a:lnTo>
                    <a:pt x="177914" y="3096476"/>
                  </a:lnTo>
                  <a:lnTo>
                    <a:pt x="216268" y="3124873"/>
                  </a:lnTo>
                  <a:lnTo>
                    <a:pt x="257035" y="3149257"/>
                  </a:lnTo>
                  <a:lnTo>
                    <a:pt x="299885" y="3169501"/>
                  </a:lnTo>
                  <a:lnTo>
                    <a:pt x="344500" y="3185490"/>
                  </a:lnTo>
                  <a:lnTo>
                    <a:pt x="390563" y="3197060"/>
                  </a:lnTo>
                  <a:lnTo>
                    <a:pt x="437769" y="3204108"/>
                  </a:lnTo>
                  <a:lnTo>
                    <a:pt x="485775" y="3206483"/>
                  </a:lnTo>
                  <a:lnTo>
                    <a:pt x="2764917" y="3206483"/>
                  </a:lnTo>
                  <a:lnTo>
                    <a:pt x="2812935" y="3204108"/>
                  </a:lnTo>
                  <a:lnTo>
                    <a:pt x="2860129" y="3197060"/>
                  </a:lnTo>
                  <a:lnTo>
                    <a:pt x="2906204" y="3185490"/>
                  </a:lnTo>
                  <a:lnTo>
                    <a:pt x="2950819" y="3169501"/>
                  </a:lnTo>
                  <a:lnTo>
                    <a:pt x="2993669" y="3149257"/>
                  </a:lnTo>
                  <a:lnTo>
                    <a:pt x="3034423" y="3124873"/>
                  </a:lnTo>
                  <a:lnTo>
                    <a:pt x="3072790" y="3096476"/>
                  </a:lnTo>
                  <a:lnTo>
                    <a:pt x="3108414" y="3064205"/>
                  </a:lnTo>
                  <a:lnTo>
                    <a:pt x="3140684" y="3028569"/>
                  </a:lnTo>
                  <a:lnTo>
                    <a:pt x="3169081" y="2990215"/>
                  </a:lnTo>
                  <a:lnTo>
                    <a:pt x="3193465" y="2949460"/>
                  </a:lnTo>
                  <a:lnTo>
                    <a:pt x="3213722" y="2906611"/>
                  </a:lnTo>
                  <a:lnTo>
                    <a:pt x="3229699" y="2861983"/>
                  </a:lnTo>
                  <a:lnTo>
                    <a:pt x="3241281" y="2815920"/>
                  </a:lnTo>
                  <a:lnTo>
                    <a:pt x="3246844" y="2778645"/>
                  </a:lnTo>
                  <a:lnTo>
                    <a:pt x="3246844" y="2550757"/>
                  </a:lnTo>
                  <a:close/>
                </a:path>
                <a:path w="12378055" h="3206750">
                  <a:moveTo>
                    <a:pt x="12377953" y="1488236"/>
                  </a:moveTo>
                  <a:lnTo>
                    <a:pt x="7701420" y="0"/>
                  </a:lnTo>
                  <a:lnTo>
                    <a:pt x="3024886" y="1488236"/>
                  </a:lnTo>
                  <a:lnTo>
                    <a:pt x="12377953" y="1488236"/>
                  </a:lnTo>
                  <a:close/>
                </a:path>
              </a:pathLst>
            </a:custGeom>
            <a:solidFill>
              <a:srgbClr val="21408B">
                <a:alpha val="53729"/>
              </a:srgbClr>
            </a:solidFill>
          </p:spPr>
          <p:txBody>
            <a:bodyPr wrap="square" lIns="0" tIns="0" rIns="0" bIns="0" rtlCol="0"/>
            <a:lstStyle/>
            <a:p>
              <a:endParaRPr/>
            </a:p>
          </p:txBody>
        </p:sp>
        <p:sp>
          <p:nvSpPr>
            <p:cNvPr id="8" name="object 8"/>
            <p:cNvSpPr/>
            <p:nvPr/>
          </p:nvSpPr>
          <p:spPr>
            <a:xfrm>
              <a:off x="3262905" y="3766221"/>
              <a:ext cx="539750" cy="539750"/>
            </a:xfrm>
            <a:custGeom>
              <a:avLst/>
              <a:gdLst/>
              <a:ahLst/>
              <a:cxnLst/>
              <a:rect l="l" t="t" r="r" b="b"/>
              <a:pathLst>
                <a:path w="539750" h="539750">
                  <a:moveTo>
                    <a:pt x="269808" y="539602"/>
                  </a:moveTo>
                  <a:lnTo>
                    <a:pt x="221304" y="535256"/>
                  </a:lnTo>
                  <a:lnTo>
                    <a:pt x="175658" y="522723"/>
                  </a:lnTo>
                  <a:lnTo>
                    <a:pt x="133627" y="502767"/>
                  </a:lnTo>
                  <a:lnTo>
                    <a:pt x="95971" y="476149"/>
                  </a:lnTo>
                  <a:lnTo>
                    <a:pt x="63453" y="443631"/>
                  </a:lnTo>
                  <a:lnTo>
                    <a:pt x="36835" y="405975"/>
                  </a:lnTo>
                  <a:lnTo>
                    <a:pt x="16879" y="363944"/>
                  </a:lnTo>
                  <a:lnTo>
                    <a:pt x="4346" y="318298"/>
                  </a:lnTo>
                  <a:lnTo>
                    <a:pt x="0" y="269800"/>
                  </a:lnTo>
                  <a:lnTo>
                    <a:pt x="4346" y="221304"/>
                  </a:lnTo>
                  <a:lnTo>
                    <a:pt x="16879" y="175659"/>
                  </a:lnTo>
                  <a:lnTo>
                    <a:pt x="36835" y="133627"/>
                  </a:lnTo>
                  <a:lnTo>
                    <a:pt x="63453" y="95971"/>
                  </a:lnTo>
                  <a:lnTo>
                    <a:pt x="95971" y="63453"/>
                  </a:lnTo>
                  <a:lnTo>
                    <a:pt x="133627" y="36835"/>
                  </a:lnTo>
                  <a:lnTo>
                    <a:pt x="175658" y="16879"/>
                  </a:lnTo>
                  <a:lnTo>
                    <a:pt x="221304" y="4346"/>
                  </a:lnTo>
                  <a:lnTo>
                    <a:pt x="269801" y="0"/>
                  </a:lnTo>
                  <a:lnTo>
                    <a:pt x="318298" y="4346"/>
                  </a:lnTo>
                  <a:lnTo>
                    <a:pt x="363944" y="16879"/>
                  </a:lnTo>
                  <a:lnTo>
                    <a:pt x="405975" y="36835"/>
                  </a:lnTo>
                  <a:lnTo>
                    <a:pt x="443631" y="63453"/>
                  </a:lnTo>
                  <a:lnTo>
                    <a:pt x="476149" y="95971"/>
                  </a:lnTo>
                  <a:lnTo>
                    <a:pt x="502767" y="133627"/>
                  </a:lnTo>
                  <a:lnTo>
                    <a:pt x="522723" y="175659"/>
                  </a:lnTo>
                  <a:lnTo>
                    <a:pt x="535256" y="221304"/>
                  </a:lnTo>
                  <a:lnTo>
                    <a:pt x="539602" y="269801"/>
                  </a:lnTo>
                  <a:lnTo>
                    <a:pt x="535256" y="318298"/>
                  </a:lnTo>
                  <a:lnTo>
                    <a:pt x="522723" y="363944"/>
                  </a:lnTo>
                  <a:lnTo>
                    <a:pt x="502767" y="405975"/>
                  </a:lnTo>
                  <a:lnTo>
                    <a:pt x="476149" y="443631"/>
                  </a:lnTo>
                  <a:lnTo>
                    <a:pt x="443631" y="476149"/>
                  </a:lnTo>
                  <a:lnTo>
                    <a:pt x="405975" y="502767"/>
                  </a:lnTo>
                  <a:lnTo>
                    <a:pt x="363944" y="522723"/>
                  </a:lnTo>
                  <a:lnTo>
                    <a:pt x="318298" y="535256"/>
                  </a:lnTo>
                  <a:lnTo>
                    <a:pt x="269808" y="539602"/>
                  </a:lnTo>
                  <a:close/>
                </a:path>
              </a:pathLst>
            </a:custGeom>
            <a:solidFill>
              <a:srgbClr val="FFFFFF">
                <a:alpha val="53729"/>
              </a:srgbClr>
            </a:solidFill>
          </p:spPr>
          <p:txBody>
            <a:bodyPr wrap="square" lIns="0" tIns="0" rIns="0" bIns="0" rtlCol="0"/>
            <a:lstStyle/>
            <a:p>
              <a:endParaRPr/>
            </a:p>
          </p:txBody>
        </p:sp>
        <p:sp>
          <p:nvSpPr>
            <p:cNvPr id="9" name="object 9"/>
            <p:cNvSpPr/>
            <p:nvPr/>
          </p:nvSpPr>
          <p:spPr>
            <a:xfrm>
              <a:off x="3364636" y="3845546"/>
              <a:ext cx="333375" cy="379730"/>
            </a:xfrm>
            <a:custGeom>
              <a:avLst/>
              <a:gdLst/>
              <a:ahLst/>
              <a:cxnLst/>
              <a:rect l="l" t="t" r="r" b="b"/>
              <a:pathLst>
                <a:path w="333375" h="379729">
                  <a:moveTo>
                    <a:pt x="4483" y="313651"/>
                  </a:moveTo>
                  <a:lnTo>
                    <a:pt x="4279" y="313867"/>
                  </a:lnTo>
                  <a:lnTo>
                    <a:pt x="3886" y="314325"/>
                  </a:lnTo>
                  <a:lnTo>
                    <a:pt x="4013" y="314566"/>
                  </a:lnTo>
                  <a:lnTo>
                    <a:pt x="4381" y="314566"/>
                  </a:lnTo>
                  <a:lnTo>
                    <a:pt x="4457" y="314134"/>
                  </a:lnTo>
                  <a:lnTo>
                    <a:pt x="4483" y="313651"/>
                  </a:lnTo>
                  <a:close/>
                </a:path>
                <a:path w="333375" h="379729">
                  <a:moveTo>
                    <a:pt x="9690" y="230314"/>
                  </a:moveTo>
                  <a:lnTo>
                    <a:pt x="9652" y="230124"/>
                  </a:lnTo>
                  <a:lnTo>
                    <a:pt x="9436" y="229920"/>
                  </a:lnTo>
                  <a:lnTo>
                    <a:pt x="9309" y="230009"/>
                  </a:lnTo>
                  <a:lnTo>
                    <a:pt x="9245" y="230187"/>
                  </a:lnTo>
                  <a:lnTo>
                    <a:pt x="9296" y="230327"/>
                  </a:lnTo>
                  <a:lnTo>
                    <a:pt x="9321" y="230492"/>
                  </a:lnTo>
                  <a:lnTo>
                    <a:pt x="9550" y="230733"/>
                  </a:lnTo>
                  <a:lnTo>
                    <a:pt x="9690" y="230670"/>
                  </a:lnTo>
                  <a:lnTo>
                    <a:pt x="9690" y="230454"/>
                  </a:lnTo>
                  <a:lnTo>
                    <a:pt x="9690" y="230314"/>
                  </a:lnTo>
                  <a:close/>
                </a:path>
                <a:path w="333375" h="379729">
                  <a:moveTo>
                    <a:pt x="23914" y="371017"/>
                  </a:moveTo>
                  <a:lnTo>
                    <a:pt x="23812" y="370611"/>
                  </a:lnTo>
                  <a:lnTo>
                    <a:pt x="23685" y="370700"/>
                  </a:lnTo>
                  <a:lnTo>
                    <a:pt x="23774" y="371094"/>
                  </a:lnTo>
                  <a:lnTo>
                    <a:pt x="23914" y="371017"/>
                  </a:lnTo>
                  <a:close/>
                </a:path>
                <a:path w="333375" h="379729">
                  <a:moveTo>
                    <a:pt x="38735" y="223278"/>
                  </a:moveTo>
                  <a:lnTo>
                    <a:pt x="38696" y="222948"/>
                  </a:lnTo>
                  <a:lnTo>
                    <a:pt x="38544" y="222872"/>
                  </a:lnTo>
                  <a:lnTo>
                    <a:pt x="38328" y="223062"/>
                  </a:lnTo>
                  <a:lnTo>
                    <a:pt x="38227" y="223266"/>
                  </a:lnTo>
                  <a:lnTo>
                    <a:pt x="38150" y="223685"/>
                  </a:lnTo>
                  <a:lnTo>
                    <a:pt x="38290" y="223951"/>
                  </a:lnTo>
                  <a:lnTo>
                    <a:pt x="38557" y="223761"/>
                  </a:lnTo>
                  <a:lnTo>
                    <a:pt x="38646" y="223456"/>
                  </a:lnTo>
                  <a:lnTo>
                    <a:pt x="38735" y="223278"/>
                  </a:lnTo>
                  <a:close/>
                </a:path>
                <a:path w="333375" h="379729">
                  <a:moveTo>
                    <a:pt x="41998" y="222072"/>
                  </a:moveTo>
                  <a:lnTo>
                    <a:pt x="41884" y="221488"/>
                  </a:lnTo>
                  <a:lnTo>
                    <a:pt x="41795" y="221297"/>
                  </a:lnTo>
                  <a:lnTo>
                    <a:pt x="41567" y="220941"/>
                  </a:lnTo>
                  <a:lnTo>
                    <a:pt x="41427" y="220980"/>
                  </a:lnTo>
                  <a:lnTo>
                    <a:pt x="41122" y="222224"/>
                  </a:lnTo>
                  <a:lnTo>
                    <a:pt x="40805" y="223139"/>
                  </a:lnTo>
                  <a:lnTo>
                    <a:pt x="40322" y="224180"/>
                  </a:lnTo>
                  <a:lnTo>
                    <a:pt x="40297" y="224370"/>
                  </a:lnTo>
                  <a:lnTo>
                    <a:pt x="40500" y="224434"/>
                  </a:lnTo>
                  <a:lnTo>
                    <a:pt x="40741" y="224447"/>
                  </a:lnTo>
                  <a:lnTo>
                    <a:pt x="41998" y="222072"/>
                  </a:lnTo>
                  <a:close/>
                </a:path>
                <a:path w="333375" h="379729">
                  <a:moveTo>
                    <a:pt x="44716" y="229870"/>
                  </a:moveTo>
                  <a:lnTo>
                    <a:pt x="43840" y="228600"/>
                  </a:lnTo>
                  <a:lnTo>
                    <a:pt x="42506" y="227330"/>
                  </a:lnTo>
                  <a:lnTo>
                    <a:pt x="41275" y="228600"/>
                  </a:lnTo>
                  <a:lnTo>
                    <a:pt x="40982" y="228600"/>
                  </a:lnTo>
                  <a:lnTo>
                    <a:pt x="40716" y="229870"/>
                  </a:lnTo>
                  <a:lnTo>
                    <a:pt x="40551" y="228600"/>
                  </a:lnTo>
                  <a:lnTo>
                    <a:pt x="40170" y="228600"/>
                  </a:lnTo>
                  <a:lnTo>
                    <a:pt x="40640" y="227330"/>
                  </a:lnTo>
                  <a:lnTo>
                    <a:pt x="40957" y="227330"/>
                  </a:lnTo>
                  <a:lnTo>
                    <a:pt x="40932" y="226060"/>
                  </a:lnTo>
                  <a:lnTo>
                    <a:pt x="41021" y="224790"/>
                  </a:lnTo>
                  <a:lnTo>
                    <a:pt x="39814" y="226060"/>
                  </a:lnTo>
                  <a:lnTo>
                    <a:pt x="39814" y="231140"/>
                  </a:lnTo>
                  <a:lnTo>
                    <a:pt x="39420" y="231140"/>
                  </a:lnTo>
                  <a:lnTo>
                    <a:pt x="39293" y="229870"/>
                  </a:lnTo>
                  <a:lnTo>
                    <a:pt x="39585" y="229870"/>
                  </a:lnTo>
                  <a:lnTo>
                    <a:pt x="39814" y="231140"/>
                  </a:lnTo>
                  <a:lnTo>
                    <a:pt x="39814" y="226060"/>
                  </a:lnTo>
                  <a:lnTo>
                    <a:pt x="39281" y="226060"/>
                  </a:lnTo>
                  <a:lnTo>
                    <a:pt x="38328" y="224523"/>
                  </a:lnTo>
                  <a:lnTo>
                    <a:pt x="38328" y="231140"/>
                  </a:lnTo>
                  <a:lnTo>
                    <a:pt x="38188" y="232410"/>
                  </a:lnTo>
                  <a:lnTo>
                    <a:pt x="37973" y="232410"/>
                  </a:lnTo>
                  <a:lnTo>
                    <a:pt x="37985" y="231140"/>
                  </a:lnTo>
                  <a:lnTo>
                    <a:pt x="38328" y="231140"/>
                  </a:lnTo>
                  <a:lnTo>
                    <a:pt x="38328" y="224523"/>
                  </a:lnTo>
                  <a:lnTo>
                    <a:pt x="37719" y="223520"/>
                  </a:lnTo>
                  <a:lnTo>
                    <a:pt x="37592" y="222250"/>
                  </a:lnTo>
                  <a:lnTo>
                    <a:pt x="37045" y="220980"/>
                  </a:lnTo>
                  <a:lnTo>
                    <a:pt x="36880" y="220980"/>
                  </a:lnTo>
                  <a:lnTo>
                    <a:pt x="37325" y="219710"/>
                  </a:lnTo>
                  <a:lnTo>
                    <a:pt x="37592" y="219710"/>
                  </a:lnTo>
                  <a:lnTo>
                    <a:pt x="38163" y="220980"/>
                  </a:lnTo>
                  <a:lnTo>
                    <a:pt x="38849" y="220980"/>
                  </a:lnTo>
                  <a:lnTo>
                    <a:pt x="39776" y="222250"/>
                  </a:lnTo>
                  <a:lnTo>
                    <a:pt x="40271" y="222250"/>
                  </a:lnTo>
                  <a:lnTo>
                    <a:pt x="40944" y="220980"/>
                  </a:lnTo>
                  <a:lnTo>
                    <a:pt x="40220" y="220980"/>
                  </a:lnTo>
                  <a:lnTo>
                    <a:pt x="39700" y="219710"/>
                  </a:lnTo>
                  <a:lnTo>
                    <a:pt x="38176" y="219710"/>
                  </a:lnTo>
                  <a:lnTo>
                    <a:pt x="38265" y="218440"/>
                  </a:lnTo>
                  <a:lnTo>
                    <a:pt x="38633" y="217170"/>
                  </a:lnTo>
                  <a:lnTo>
                    <a:pt x="39001" y="215900"/>
                  </a:lnTo>
                  <a:lnTo>
                    <a:pt x="38735" y="214630"/>
                  </a:lnTo>
                  <a:lnTo>
                    <a:pt x="37223" y="214630"/>
                  </a:lnTo>
                  <a:lnTo>
                    <a:pt x="36715" y="213360"/>
                  </a:lnTo>
                  <a:lnTo>
                    <a:pt x="36309" y="212090"/>
                  </a:lnTo>
                  <a:lnTo>
                    <a:pt x="35471" y="213360"/>
                  </a:lnTo>
                  <a:lnTo>
                    <a:pt x="35242" y="213360"/>
                  </a:lnTo>
                  <a:lnTo>
                    <a:pt x="35407"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63" y="213360"/>
                  </a:lnTo>
                  <a:lnTo>
                    <a:pt x="33832" y="213360"/>
                  </a:lnTo>
                  <a:lnTo>
                    <a:pt x="33832" y="226060"/>
                  </a:lnTo>
                  <a:lnTo>
                    <a:pt x="33388" y="226060"/>
                  </a:lnTo>
                  <a:lnTo>
                    <a:pt x="33172" y="224790"/>
                  </a:lnTo>
                  <a:lnTo>
                    <a:pt x="31496" y="224790"/>
                  </a:lnTo>
                  <a:lnTo>
                    <a:pt x="31229" y="223520"/>
                  </a:lnTo>
                  <a:lnTo>
                    <a:pt x="32118" y="223520"/>
                  </a:lnTo>
                  <a:lnTo>
                    <a:pt x="32550" y="222250"/>
                  </a:lnTo>
                  <a:lnTo>
                    <a:pt x="32981" y="223520"/>
                  </a:lnTo>
                  <a:lnTo>
                    <a:pt x="33464" y="223520"/>
                  </a:lnTo>
                  <a:lnTo>
                    <a:pt x="33604" y="224790"/>
                  </a:lnTo>
                  <a:lnTo>
                    <a:pt x="33832" y="226060"/>
                  </a:lnTo>
                  <a:lnTo>
                    <a:pt x="33832" y="213360"/>
                  </a:lnTo>
                  <a:lnTo>
                    <a:pt x="32778" y="213360"/>
                  </a:lnTo>
                  <a:lnTo>
                    <a:pt x="32054" y="214630"/>
                  </a:lnTo>
                  <a:lnTo>
                    <a:pt x="30010" y="214630"/>
                  </a:lnTo>
                  <a:lnTo>
                    <a:pt x="29794" y="213360"/>
                  </a:lnTo>
                  <a:lnTo>
                    <a:pt x="29222" y="213360"/>
                  </a:lnTo>
                  <a:lnTo>
                    <a:pt x="28613" y="212090"/>
                  </a:lnTo>
                  <a:lnTo>
                    <a:pt x="27355" y="213360"/>
                  </a:lnTo>
                  <a:lnTo>
                    <a:pt x="27038" y="213360"/>
                  </a:lnTo>
                  <a:lnTo>
                    <a:pt x="27292" y="214630"/>
                  </a:lnTo>
                  <a:lnTo>
                    <a:pt x="27762" y="215900"/>
                  </a:lnTo>
                  <a:lnTo>
                    <a:pt x="27152" y="215900"/>
                  </a:lnTo>
                  <a:lnTo>
                    <a:pt x="27038" y="217170"/>
                  </a:lnTo>
                  <a:lnTo>
                    <a:pt x="26263" y="217170"/>
                  </a:lnTo>
                  <a:lnTo>
                    <a:pt x="26327" y="215900"/>
                  </a:lnTo>
                  <a:lnTo>
                    <a:pt x="26314" y="214630"/>
                  </a:lnTo>
                  <a:lnTo>
                    <a:pt x="25412" y="213360"/>
                  </a:lnTo>
                  <a:lnTo>
                    <a:pt x="24650" y="213360"/>
                  </a:lnTo>
                  <a:lnTo>
                    <a:pt x="24650" y="224790"/>
                  </a:lnTo>
                  <a:lnTo>
                    <a:pt x="24384" y="224790"/>
                  </a:lnTo>
                  <a:lnTo>
                    <a:pt x="24638" y="226060"/>
                  </a:lnTo>
                  <a:lnTo>
                    <a:pt x="23977" y="226060"/>
                  </a:lnTo>
                  <a:lnTo>
                    <a:pt x="24066" y="224790"/>
                  </a:lnTo>
                  <a:lnTo>
                    <a:pt x="22796" y="224790"/>
                  </a:lnTo>
                  <a:lnTo>
                    <a:pt x="22593" y="226060"/>
                  </a:lnTo>
                  <a:lnTo>
                    <a:pt x="21234" y="226060"/>
                  </a:lnTo>
                  <a:lnTo>
                    <a:pt x="20891" y="224790"/>
                  </a:lnTo>
                  <a:lnTo>
                    <a:pt x="20447" y="224790"/>
                  </a:lnTo>
                  <a:lnTo>
                    <a:pt x="20993" y="223520"/>
                  </a:lnTo>
                  <a:lnTo>
                    <a:pt x="22415" y="223520"/>
                  </a:lnTo>
                  <a:lnTo>
                    <a:pt x="23075" y="222250"/>
                  </a:lnTo>
                  <a:lnTo>
                    <a:pt x="23723" y="223520"/>
                  </a:lnTo>
                  <a:lnTo>
                    <a:pt x="24434" y="223520"/>
                  </a:lnTo>
                  <a:lnTo>
                    <a:pt x="24650" y="224790"/>
                  </a:lnTo>
                  <a:lnTo>
                    <a:pt x="24650" y="213360"/>
                  </a:lnTo>
                  <a:lnTo>
                    <a:pt x="23329" y="213360"/>
                  </a:lnTo>
                  <a:lnTo>
                    <a:pt x="21869" y="214630"/>
                  </a:lnTo>
                  <a:lnTo>
                    <a:pt x="20955" y="215900"/>
                  </a:lnTo>
                  <a:lnTo>
                    <a:pt x="19748" y="217170"/>
                  </a:lnTo>
                  <a:lnTo>
                    <a:pt x="19545" y="217170"/>
                  </a:lnTo>
                  <a:lnTo>
                    <a:pt x="17907" y="214630"/>
                  </a:lnTo>
                  <a:lnTo>
                    <a:pt x="16802" y="215900"/>
                  </a:lnTo>
                  <a:lnTo>
                    <a:pt x="16471" y="218440"/>
                  </a:lnTo>
                  <a:lnTo>
                    <a:pt x="16408"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17" y="224790"/>
                  </a:lnTo>
                  <a:lnTo>
                    <a:pt x="10706" y="224790"/>
                  </a:lnTo>
                  <a:lnTo>
                    <a:pt x="11620" y="227330"/>
                  </a:lnTo>
                  <a:lnTo>
                    <a:pt x="11595" y="228600"/>
                  </a:lnTo>
                  <a:lnTo>
                    <a:pt x="11163" y="232410"/>
                  </a:lnTo>
                  <a:lnTo>
                    <a:pt x="9144" y="233680"/>
                  </a:lnTo>
                  <a:lnTo>
                    <a:pt x="7480" y="234950"/>
                  </a:lnTo>
                  <a:lnTo>
                    <a:pt x="7696" y="236220"/>
                  </a:lnTo>
                  <a:lnTo>
                    <a:pt x="6769" y="237490"/>
                  </a:lnTo>
                  <a:lnTo>
                    <a:pt x="5207" y="237490"/>
                  </a:lnTo>
                  <a:lnTo>
                    <a:pt x="4686" y="238760"/>
                  </a:lnTo>
                  <a:lnTo>
                    <a:pt x="3937" y="241300"/>
                  </a:lnTo>
                  <a:lnTo>
                    <a:pt x="1701" y="243840"/>
                  </a:lnTo>
                  <a:lnTo>
                    <a:pt x="800" y="243840"/>
                  </a:lnTo>
                  <a:lnTo>
                    <a:pt x="1193" y="245110"/>
                  </a:lnTo>
                  <a:lnTo>
                    <a:pt x="4064" y="245110"/>
                  </a:lnTo>
                  <a:lnTo>
                    <a:pt x="44500" y="245110"/>
                  </a:lnTo>
                  <a:lnTo>
                    <a:pt x="44500" y="243840"/>
                  </a:lnTo>
                  <a:lnTo>
                    <a:pt x="43903" y="241300"/>
                  </a:lnTo>
                  <a:lnTo>
                    <a:pt x="43726" y="240030"/>
                  </a:lnTo>
                  <a:lnTo>
                    <a:pt x="42646" y="240030"/>
                  </a:lnTo>
                  <a:lnTo>
                    <a:pt x="43167" y="238760"/>
                  </a:lnTo>
                  <a:lnTo>
                    <a:pt x="43662" y="238760"/>
                  </a:lnTo>
                  <a:lnTo>
                    <a:pt x="44030" y="236220"/>
                  </a:lnTo>
                  <a:lnTo>
                    <a:pt x="44018" y="234950"/>
                  </a:lnTo>
                  <a:lnTo>
                    <a:pt x="44132" y="233680"/>
                  </a:lnTo>
                  <a:lnTo>
                    <a:pt x="44259" y="232410"/>
                  </a:lnTo>
                  <a:lnTo>
                    <a:pt x="43624" y="232410"/>
                  </a:lnTo>
                  <a:lnTo>
                    <a:pt x="41135" y="232410"/>
                  </a:lnTo>
                  <a:lnTo>
                    <a:pt x="41135" y="234950"/>
                  </a:lnTo>
                  <a:lnTo>
                    <a:pt x="40525" y="234950"/>
                  </a:lnTo>
                  <a:lnTo>
                    <a:pt x="40551" y="233680"/>
                  </a:lnTo>
                  <a:lnTo>
                    <a:pt x="41071" y="233680"/>
                  </a:lnTo>
                  <a:lnTo>
                    <a:pt x="41135" y="234950"/>
                  </a:lnTo>
                  <a:lnTo>
                    <a:pt x="41135" y="232410"/>
                  </a:lnTo>
                  <a:lnTo>
                    <a:pt x="40640" y="232410"/>
                  </a:lnTo>
                  <a:lnTo>
                    <a:pt x="40894" y="231140"/>
                  </a:lnTo>
                  <a:lnTo>
                    <a:pt x="41363" y="231140"/>
                  </a:lnTo>
                  <a:lnTo>
                    <a:pt x="42506" y="229870"/>
                  </a:lnTo>
                  <a:lnTo>
                    <a:pt x="43167" y="229870"/>
                  </a:lnTo>
                  <a:lnTo>
                    <a:pt x="43853" y="231140"/>
                  </a:lnTo>
                  <a:lnTo>
                    <a:pt x="43624" y="232410"/>
                  </a:lnTo>
                  <a:lnTo>
                    <a:pt x="44704" y="231140"/>
                  </a:lnTo>
                  <a:lnTo>
                    <a:pt x="44716" y="229870"/>
                  </a:lnTo>
                  <a:close/>
                </a:path>
                <a:path w="333375" h="379729">
                  <a:moveTo>
                    <a:pt x="50495" y="279133"/>
                  </a:moveTo>
                  <a:lnTo>
                    <a:pt x="50355" y="278917"/>
                  </a:lnTo>
                  <a:lnTo>
                    <a:pt x="50152" y="278815"/>
                  </a:lnTo>
                  <a:lnTo>
                    <a:pt x="50139" y="279171"/>
                  </a:lnTo>
                  <a:lnTo>
                    <a:pt x="50266" y="279222"/>
                  </a:lnTo>
                  <a:lnTo>
                    <a:pt x="50482" y="279234"/>
                  </a:lnTo>
                  <a:close/>
                </a:path>
                <a:path w="333375" h="379729">
                  <a:moveTo>
                    <a:pt x="52171" y="294322"/>
                  </a:moveTo>
                  <a:lnTo>
                    <a:pt x="52019" y="294411"/>
                  </a:lnTo>
                  <a:lnTo>
                    <a:pt x="51790" y="294563"/>
                  </a:lnTo>
                  <a:lnTo>
                    <a:pt x="52070" y="294398"/>
                  </a:lnTo>
                  <a:close/>
                </a:path>
                <a:path w="333375" h="379729">
                  <a:moveTo>
                    <a:pt x="52717" y="294309"/>
                  </a:moveTo>
                  <a:close/>
                </a:path>
                <a:path w="333375" h="379729">
                  <a:moveTo>
                    <a:pt x="52755" y="294233"/>
                  </a:moveTo>
                  <a:close/>
                </a:path>
                <a:path w="333375" h="379729">
                  <a:moveTo>
                    <a:pt x="52870" y="294017"/>
                  </a:moveTo>
                  <a:lnTo>
                    <a:pt x="52781" y="294182"/>
                  </a:lnTo>
                  <a:lnTo>
                    <a:pt x="52870" y="294017"/>
                  </a:lnTo>
                  <a:close/>
                </a:path>
                <a:path w="333375" h="379729">
                  <a:moveTo>
                    <a:pt x="52895" y="295744"/>
                  </a:moveTo>
                  <a:lnTo>
                    <a:pt x="52844" y="296506"/>
                  </a:lnTo>
                  <a:lnTo>
                    <a:pt x="52844" y="296748"/>
                  </a:lnTo>
                  <a:lnTo>
                    <a:pt x="52870" y="296456"/>
                  </a:lnTo>
                  <a:lnTo>
                    <a:pt x="52895" y="295935"/>
                  </a:lnTo>
                  <a:lnTo>
                    <a:pt x="52895" y="295744"/>
                  </a:lnTo>
                  <a:close/>
                </a:path>
                <a:path w="333375" h="379729">
                  <a:moveTo>
                    <a:pt x="53060" y="294640"/>
                  </a:moveTo>
                  <a:lnTo>
                    <a:pt x="53035" y="295363"/>
                  </a:lnTo>
                  <a:lnTo>
                    <a:pt x="53060" y="294640"/>
                  </a:lnTo>
                  <a:close/>
                </a:path>
                <a:path w="333375" h="379729">
                  <a:moveTo>
                    <a:pt x="53213" y="297446"/>
                  </a:moveTo>
                  <a:lnTo>
                    <a:pt x="53200" y="297180"/>
                  </a:lnTo>
                  <a:lnTo>
                    <a:pt x="53213" y="297446"/>
                  </a:lnTo>
                  <a:close/>
                </a:path>
                <a:path w="333375" h="379729">
                  <a:moveTo>
                    <a:pt x="53263" y="296799"/>
                  </a:moveTo>
                  <a:lnTo>
                    <a:pt x="53200" y="295998"/>
                  </a:lnTo>
                  <a:lnTo>
                    <a:pt x="53174" y="295681"/>
                  </a:lnTo>
                  <a:lnTo>
                    <a:pt x="53136" y="295198"/>
                  </a:lnTo>
                  <a:lnTo>
                    <a:pt x="53174" y="295922"/>
                  </a:lnTo>
                  <a:lnTo>
                    <a:pt x="53200" y="296354"/>
                  </a:lnTo>
                  <a:lnTo>
                    <a:pt x="53225" y="296621"/>
                  </a:lnTo>
                  <a:lnTo>
                    <a:pt x="53263" y="296799"/>
                  </a:lnTo>
                  <a:close/>
                </a:path>
                <a:path w="333375" h="379729">
                  <a:moveTo>
                    <a:pt x="53530" y="297688"/>
                  </a:moveTo>
                  <a:lnTo>
                    <a:pt x="53517" y="297180"/>
                  </a:lnTo>
                  <a:lnTo>
                    <a:pt x="53530" y="297688"/>
                  </a:lnTo>
                  <a:close/>
                </a:path>
                <a:path w="333375" h="379729">
                  <a:moveTo>
                    <a:pt x="53619" y="295478"/>
                  </a:moveTo>
                  <a:lnTo>
                    <a:pt x="53581" y="295338"/>
                  </a:lnTo>
                  <a:lnTo>
                    <a:pt x="53467" y="295033"/>
                  </a:lnTo>
                  <a:lnTo>
                    <a:pt x="53555" y="295313"/>
                  </a:lnTo>
                  <a:lnTo>
                    <a:pt x="53619" y="295478"/>
                  </a:lnTo>
                  <a:close/>
                </a:path>
                <a:path w="333375" h="379729">
                  <a:moveTo>
                    <a:pt x="53682" y="372071"/>
                  </a:moveTo>
                  <a:close/>
                </a:path>
                <a:path w="333375" h="379729">
                  <a:moveTo>
                    <a:pt x="54051" y="294690"/>
                  </a:moveTo>
                  <a:close/>
                </a:path>
                <a:path w="333375" h="379729">
                  <a:moveTo>
                    <a:pt x="54838" y="294855"/>
                  </a:moveTo>
                  <a:lnTo>
                    <a:pt x="54775" y="294640"/>
                  </a:lnTo>
                  <a:lnTo>
                    <a:pt x="54838" y="294855"/>
                  </a:lnTo>
                  <a:close/>
                </a:path>
                <a:path w="333375" h="379729">
                  <a:moveTo>
                    <a:pt x="54965" y="294157"/>
                  </a:moveTo>
                  <a:lnTo>
                    <a:pt x="54825" y="294017"/>
                  </a:lnTo>
                  <a:lnTo>
                    <a:pt x="54914" y="294208"/>
                  </a:lnTo>
                  <a:close/>
                </a:path>
                <a:path w="333375" h="379729">
                  <a:moveTo>
                    <a:pt x="55270" y="295389"/>
                  </a:moveTo>
                  <a:close/>
                </a:path>
                <a:path w="333375" h="379729">
                  <a:moveTo>
                    <a:pt x="55295" y="295440"/>
                  </a:moveTo>
                  <a:close/>
                </a:path>
                <a:path w="333375" h="379729">
                  <a:moveTo>
                    <a:pt x="55308" y="295452"/>
                  </a:moveTo>
                  <a:close/>
                </a:path>
                <a:path w="333375" h="379729">
                  <a:moveTo>
                    <a:pt x="55880" y="292874"/>
                  </a:moveTo>
                  <a:lnTo>
                    <a:pt x="55346" y="292100"/>
                  </a:lnTo>
                  <a:lnTo>
                    <a:pt x="55880" y="292874"/>
                  </a:lnTo>
                  <a:close/>
                </a:path>
                <a:path w="333375" h="379729">
                  <a:moveTo>
                    <a:pt x="56261" y="293370"/>
                  </a:moveTo>
                  <a:lnTo>
                    <a:pt x="55880" y="292874"/>
                  </a:lnTo>
                  <a:lnTo>
                    <a:pt x="56222" y="293370"/>
                  </a:lnTo>
                  <a:close/>
                </a:path>
                <a:path w="333375" h="379729">
                  <a:moveTo>
                    <a:pt x="61607" y="280873"/>
                  </a:moveTo>
                  <a:lnTo>
                    <a:pt x="61252" y="280835"/>
                  </a:lnTo>
                  <a:lnTo>
                    <a:pt x="61226" y="280974"/>
                  </a:lnTo>
                  <a:lnTo>
                    <a:pt x="61163" y="281127"/>
                  </a:lnTo>
                  <a:lnTo>
                    <a:pt x="61239" y="281419"/>
                  </a:lnTo>
                  <a:lnTo>
                    <a:pt x="61391" y="281432"/>
                  </a:lnTo>
                  <a:lnTo>
                    <a:pt x="61493" y="281254"/>
                  </a:lnTo>
                  <a:lnTo>
                    <a:pt x="61569" y="281000"/>
                  </a:lnTo>
                  <a:lnTo>
                    <a:pt x="61607" y="280873"/>
                  </a:lnTo>
                  <a:close/>
                </a:path>
                <a:path w="333375" h="379729">
                  <a:moveTo>
                    <a:pt x="70370" y="266611"/>
                  </a:moveTo>
                  <a:lnTo>
                    <a:pt x="70281" y="266458"/>
                  </a:lnTo>
                  <a:lnTo>
                    <a:pt x="70256" y="266331"/>
                  </a:lnTo>
                  <a:lnTo>
                    <a:pt x="69964" y="266306"/>
                  </a:lnTo>
                  <a:lnTo>
                    <a:pt x="69850" y="266471"/>
                  </a:lnTo>
                  <a:lnTo>
                    <a:pt x="69799" y="266687"/>
                  </a:lnTo>
                  <a:lnTo>
                    <a:pt x="70002" y="266979"/>
                  </a:lnTo>
                  <a:lnTo>
                    <a:pt x="70205" y="266877"/>
                  </a:lnTo>
                  <a:lnTo>
                    <a:pt x="70332" y="266687"/>
                  </a:lnTo>
                  <a:close/>
                </a:path>
                <a:path w="333375" h="379729">
                  <a:moveTo>
                    <a:pt x="75057" y="260680"/>
                  </a:moveTo>
                  <a:lnTo>
                    <a:pt x="74942" y="260527"/>
                  </a:lnTo>
                  <a:lnTo>
                    <a:pt x="74752" y="260540"/>
                  </a:lnTo>
                  <a:lnTo>
                    <a:pt x="74625" y="260515"/>
                  </a:lnTo>
                  <a:lnTo>
                    <a:pt x="74599" y="260654"/>
                  </a:lnTo>
                  <a:lnTo>
                    <a:pt x="74536" y="260832"/>
                  </a:lnTo>
                  <a:lnTo>
                    <a:pt x="74625" y="260997"/>
                  </a:lnTo>
                  <a:lnTo>
                    <a:pt x="74828" y="260985"/>
                  </a:lnTo>
                  <a:lnTo>
                    <a:pt x="74955" y="260997"/>
                  </a:lnTo>
                  <a:lnTo>
                    <a:pt x="74968" y="260870"/>
                  </a:lnTo>
                  <a:lnTo>
                    <a:pt x="75057" y="260680"/>
                  </a:lnTo>
                  <a:close/>
                </a:path>
                <a:path w="333375" h="379729">
                  <a:moveTo>
                    <a:pt x="87096" y="240080"/>
                  </a:moveTo>
                  <a:lnTo>
                    <a:pt x="87007" y="239928"/>
                  </a:lnTo>
                  <a:lnTo>
                    <a:pt x="86702" y="239966"/>
                  </a:lnTo>
                  <a:lnTo>
                    <a:pt x="86588" y="240093"/>
                  </a:lnTo>
                  <a:lnTo>
                    <a:pt x="86461" y="240157"/>
                  </a:lnTo>
                  <a:lnTo>
                    <a:pt x="86601" y="240423"/>
                  </a:lnTo>
                  <a:lnTo>
                    <a:pt x="86868" y="240550"/>
                  </a:lnTo>
                  <a:lnTo>
                    <a:pt x="87020" y="240449"/>
                  </a:lnTo>
                  <a:lnTo>
                    <a:pt x="87096" y="240080"/>
                  </a:lnTo>
                  <a:close/>
                </a:path>
                <a:path w="333375" h="379729">
                  <a:moveTo>
                    <a:pt x="93243" y="229997"/>
                  </a:moveTo>
                  <a:lnTo>
                    <a:pt x="92976" y="229870"/>
                  </a:lnTo>
                  <a:lnTo>
                    <a:pt x="93218" y="230124"/>
                  </a:lnTo>
                  <a:lnTo>
                    <a:pt x="93243" y="229997"/>
                  </a:lnTo>
                  <a:close/>
                </a:path>
                <a:path w="333375" h="379729">
                  <a:moveTo>
                    <a:pt x="102323" y="215861"/>
                  </a:moveTo>
                  <a:lnTo>
                    <a:pt x="102184" y="215620"/>
                  </a:lnTo>
                  <a:lnTo>
                    <a:pt x="101930" y="215455"/>
                  </a:lnTo>
                  <a:lnTo>
                    <a:pt x="101803" y="215722"/>
                  </a:lnTo>
                  <a:lnTo>
                    <a:pt x="101917" y="215988"/>
                  </a:lnTo>
                  <a:lnTo>
                    <a:pt x="102082" y="216052"/>
                  </a:lnTo>
                  <a:lnTo>
                    <a:pt x="102209" y="215925"/>
                  </a:lnTo>
                  <a:close/>
                </a:path>
                <a:path w="333375" h="379729">
                  <a:moveTo>
                    <a:pt x="137248" y="255346"/>
                  </a:moveTo>
                  <a:lnTo>
                    <a:pt x="137198" y="254977"/>
                  </a:lnTo>
                  <a:lnTo>
                    <a:pt x="136969" y="254838"/>
                  </a:lnTo>
                  <a:lnTo>
                    <a:pt x="136779" y="254927"/>
                  </a:lnTo>
                  <a:lnTo>
                    <a:pt x="136652" y="255117"/>
                  </a:lnTo>
                  <a:lnTo>
                    <a:pt x="136550" y="255257"/>
                  </a:lnTo>
                  <a:lnTo>
                    <a:pt x="136652" y="255397"/>
                  </a:lnTo>
                  <a:lnTo>
                    <a:pt x="136969" y="255397"/>
                  </a:lnTo>
                  <a:lnTo>
                    <a:pt x="137109" y="255358"/>
                  </a:lnTo>
                  <a:lnTo>
                    <a:pt x="137248" y="255346"/>
                  </a:lnTo>
                  <a:close/>
                </a:path>
                <a:path w="333375" h="379729">
                  <a:moveTo>
                    <a:pt x="139903" y="250431"/>
                  </a:moveTo>
                  <a:lnTo>
                    <a:pt x="139750" y="250329"/>
                  </a:lnTo>
                  <a:lnTo>
                    <a:pt x="139598" y="250444"/>
                  </a:lnTo>
                  <a:lnTo>
                    <a:pt x="139471" y="250634"/>
                  </a:lnTo>
                  <a:lnTo>
                    <a:pt x="139369" y="250774"/>
                  </a:lnTo>
                  <a:lnTo>
                    <a:pt x="139661" y="250837"/>
                  </a:lnTo>
                  <a:lnTo>
                    <a:pt x="139890" y="250748"/>
                  </a:lnTo>
                  <a:lnTo>
                    <a:pt x="139903" y="250431"/>
                  </a:lnTo>
                  <a:close/>
                </a:path>
                <a:path w="333375" h="379729">
                  <a:moveTo>
                    <a:pt x="181317" y="109689"/>
                  </a:moveTo>
                  <a:lnTo>
                    <a:pt x="181254" y="109512"/>
                  </a:lnTo>
                  <a:lnTo>
                    <a:pt x="181076" y="109499"/>
                  </a:lnTo>
                  <a:lnTo>
                    <a:pt x="180936" y="109588"/>
                  </a:lnTo>
                  <a:lnTo>
                    <a:pt x="180898" y="109715"/>
                  </a:lnTo>
                  <a:lnTo>
                    <a:pt x="180898" y="110045"/>
                  </a:lnTo>
                  <a:lnTo>
                    <a:pt x="181165" y="109956"/>
                  </a:lnTo>
                  <a:lnTo>
                    <a:pt x="181317" y="109689"/>
                  </a:lnTo>
                  <a:close/>
                </a:path>
                <a:path w="333375" h="379729">
                  <a:moveTo>
                    <a:pt x="222999" y="128524"/>
                  </a:moveTo>
                  <a:close/>
                </a:path>
                <a:path w="333375" h="379729">
                  <a:moveTo>
                    <a:pt x="223659" y="128206"/>
                  </a:moveTo>
                  <a:lnTo>
                    <a:pt x="223469" y="128409"/>
                  </a:lnTo>
                  <a:lnTo>
                    <a:pt x="223227" y="128447"/>
                  </a:lnTo>
                  <a:lnTo>
                    <a:pt x="223012" y="128549"/>
                  </a:lnTo>
                  <a:lnTo>
                    <a:pt x="223342" y="129184"/>
                  </a:lnTo>
                  <a:lnTo>
                    <a:pt x="223481" y="128587"/>
                  </a:lnTo>
                  <a:lnTo>
                    <a:pt x="223659" y="128206"/>
                  </a:lnTo>
                  <a:close/>
                </a:path>
                <a:path w="333375" h="379729">
                  <a:moveTo>
                    <a:pt x="223812" y="127990"/>
                  </a:moveTo>
                  <a:lnTo>
                    <a:pt x="223697" y="128117"/>
                  </a:lnTo>
                  <a:lnTo>
                    <a:pt x="223812" y="127990"/>
                  </a:lnTo>
                  <a:close/>
                </a:path>
                <a:path w="333375" h="379729">
                  <a:moveTo>
                    <a:pt x="317665" y="1676"/>
                  </a:moveTo>
                  <a:lnTo>
                    <a:pt x="317588" y="1447"/>
                  </a:lnTo>
                  <a:lnTo>
                    <a:pt x="317449" y="1371"/>
                  </a:lnTo>
                  <a:lnTo>
                    <a:pt x="317284" y="1536"/>
                  </a:lnTo>
                  <a:lnTo>
                    <a:pt x="317360" y="1765"/>
                  </a:lnTo>
                  <a:lnTo>
                    <a:pt x="317500" y="1841"/>
                  </a:lnTo>
                  <a:lnTo>
                    <a:pt x="317665" y="1676"/>
                  </a:lnTo>
                  <a:close/>
                </a:path>
                <a:path w="333375" h="379729">
                  <a:moveTo>
                    <a:pt x="328155" y="3263"/>
                  </a:moveTo>
                  <a:lnTo>
                    <a:pt x="328104" y="3111"/>
                  </a:lnTo>
                  <a:lnTo>
                    <a:pt x="327901" y="3009"/>
                  </a:lnTo>
                  <a:lnTo>
                    <a:pt x="327799" y="3213"/>
                  </a:lnTo>
                  <a:lnTo>
                    <a:pt x="327863" y="3352"/>
                  </a:lnTo>
                  <a:lnTo>
                    <a:pt x="328053" y="3467"/>
                  </a:lnTo>
                  <a:lnTo>
                    <a:pt x="328155" y="3263"/>
                  </a:lnTo>
                  <a:close/>
                </a:path>
                <a:path w="333375" h="379729">
                  <a:moveTo>
                    <a:pt x="333375" y="9918"/>
                  </a:moveTo>
                  <a:lnTo>
                    <a:pt x="333336" y="9321"/>
                  </a:lnTo>
                  <a:lnTo>
                    <a:pt x="333133" y="9182"/>
                  </a:lnTo>
                  <a:lnTo>
                    <a:pt x="332828" y="9232"/>
                  </a:lnTo>
                  <a:lnTo>
                    <a:pt x="332308" y="9321"/>
                  </a:lnTo>
                  <a:lnTo>
                    <a:pt x="331724" y="9588"/>
                  </a:lnTo>
                  <a:lnTo>
                    <a:pt x="331812" y="10452"/>
                  </a:lnTo>
                  <a:lnTo>
                    <a:pt x="331558" y="10617"/>
                  </a:lnTo>
                  <a:lnTo>
                    <a:pt x="330161" y="10883"/>
                  </a:lnTo>
                  <a:lnTo>
                    <a:pt x="329793" y="11150"/>
                  </a:lnTo>
                  <a:lnTo>
                    <a:pt x="329692" y="11430"/>
                  </a:lnTo>
                  <a:lnTo>
                    <a:pt x="328396" y="11430"/>
                  </a:lnTo>
                  <a:lnTo>
                    <a:pt x="328955" y="10160"/>
                  </a:lnTo>
                  <a:lnTo>
                    <a:pt x="326402" y="10160"/>
                  </a:lnTo>
                  <a:lnTo>
                    <a:pt x="327418" y="8890"/>
                  </a:lnTo>
                  <a:lnTo>
                    <a:pt x="328993" y="7708"/>
                  </a:lnTo>
                  <a:lnTo>
                    <a:pt x="329247" y="8039"/>
                  </a:lnTo>
                  <a:lnTo>
                    <a:pt x="329349" y="8318"/>
                  </a:lnTo>
                  <a:lnTo>
                    <a:pt x="330060" y="7823"/>
                  </a:lnTo>
                  <a:lnTo>
                    <a:pt x="329971" y="7620"/>
                  </a:lnTo>
                  <a:lnTo>
                    <a:pt x="329704" y="7327"/>
                  </a:lnTo>
                  <a:lnTo>
                    <a:pt x="329501" y="7239"/>
                  </a:lnTo>
                  <a:lnTo>
                    <a:pt x="329171" y="7340"/>
                  </a:lnTo>
                  <a:lnTo>
                    <a:pt x="328968" y="7493"/>
                  </a:lnTo>
                  <a:lnTo>
                    <a:pt x="327774" y="6350"/>
                  </a:lnTo>
                  <a:lnTo>
                    <a:pt x="328993" y="6350"/>
                  </a:lnTo>
                  <a:lnTo>
                    <a:pt x="328536" y="5080"/>
                  </a:lnTo>
                  <a:lnTo>
                    <a:pt x="329044" y="3810"/>
                  </a:lnTo>
                  <a:lnTo>
                    <a:pt x="330758" y="3810"/>
                  </a:lnTo>
                  <a:lnTo>
                    <a:pt x="330454" y="2540"/>
                  </a:lnTo>
                  <a:lnTo>
                    <a:pt x="328726" y="3810"/>
                  </a:lnTo>
                  <a:lnTo>
                    <a:pt x="325678" y="3810"/>
                  </a:lnTo>
                  <a:lnTo>
                    <a:pt x="325005" y="2540"/>
                  </a:lnTo>
                  <a:lnTo>
                    <a:pt x="324726" y="2540"/>
                  </a:lnTo>
                  <a:lnTo>
                    <a:pt x="324726" y="15240"/>
                  </a:lnTo>
                  <a:lnTo>
                    <a:pt x="322986" y="15240"/>
                  </a:lnTo>
                  <a:lnTo>
                    <a:pt x="322897" y="16510"/>
                  </a:lnTo>
                  <a:lnTo>
                    <a:pt x="322491" y="16510"/>
                  </a:lnTo>
                  <a:lnTo>
                    <a:pt x="322643" y="15240"/>
                  </a:lnTo>
                  <a:lnTo>
                    <a:pt x="323329" y="13970"/>
                  </a:lnTo>
                  <a:lnTo>
                    <a:pt x="324205" y="13970"/>
                  </a:lnTo>
                  <a:lnTo>
                    <a:pt x="324726" y="15240"/>
                  </a:lnTo>
                  <a:lnTo>
                    <a:pt x="324726" y="2540"/>
                  </a:lnTo>
                  <a:lnTo>
                    <a:pt x="323303" y="2540"/>
                  </a:lnTo>
                  <a:lnTo>
                    <a:pt x="323303" y="5080"/>
                  </a:lnTo>
                  <a:lnTo>
                    <a:pt x="322872" y="5080"/>
                  </a:lnTo>
                  <a:lnTo>
                    <a:pt x="323011" y="3810"/>
                  </a:lnTo>
                  <a:lnTo>
                    <a:pt x="323253"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16" y="0"/>
                  </a:lnTo>
                  <a:lnTo>
                    <a:pt x="307035" y="0"/>
                  </a:lnTo>
                  <a:lnTo>
                    <a:pt x="304952" y="1270"/>
                  </a:lnTo>
                  <a:lnTo>
                    <a:pt x="303847" y="2540"/>
                  </a:lnTo>
                  <a:lnTo>
                    <a:pt x="302374" y="1270"/>
                  </a:lnTo>
                  <a:lnTo>
                    <a:pt x="301955" y="1270"/>
                  </a:lnTo>
                  <a:lnTo>
                    <a:pt x="300659" y="2540"/>
                  </a:lnTo>
                  <a:lnTo>
                    <a:pt x="297878" y="3810"/>
                  </a:lnTo>
                  <a:lnTo>
                    <a:pt x="296887" y="3810"/>
                  </a:lnTo>
                  <a:lnTo>
                    <a:pt x="294233" y="5080"/>
                  </a:lnTo>
                  <a:lnTo>
                    <a:pt x="292887" y="6350"/>
                  </a:lnTo>
                  <a:lnTo>
                    <a:pt x="291528"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75" y="29210"/>
                  </a:lnTo>
                  <a:lnTo>
                    <a:pt x="258876" y="31750"/>
                  </a:lnTo>
                  <a:lnTo>
                    <a:pt x="256552" y="31750"/>
                  </a:lnTo>
                  <a:lnTo>
                    <a:pt x="256120" y="34290"/>
                  </a:lnTo>
                  <a:lnTo>
                    <a:pt x="254292" y="35560"/>
                  </a:lnTo>
                  <a:lnTo>
                    <a:pt x="250215" y="39370"/>
                  </a:lnTo>
                  <a:lnTo>
                    <a:pt x="248462" y="39370"/>
                  </a:lnTo>
                  <a:lnTo>
                    <a:pt x="246354" y="43180"/>
                  </a:lnTo>
                  <a:lnTo>
                    <a:pt x="244881" y="44450"/>
                  </a:lnTo>
                  <a:lnTo>
                    <a:pt x="242341" y="45720"/>
                  </a:lnTo>
                  <a:lnTo>
                    <a:pt x="241503" y="45720"/>
                  </a:lnTo>
                  <a:lnTo>
                    <a:pt x="241922" y="48260"/>
                  </a:lnTo>
                  <a:lnTo>
                    <a:pt x="238975" y="48260"/>
                  </a:lnTo>
                  <a:lnTo>
                    <a:pt x="237312" y="52070"/>
                  </a:lnTo>
                  <a:lnTo>
                    <a:pt x="234772" y="53340"/>
                  </a:lnTo>
                  <a:lnTo>
                    <a:pt x="232397" y="55880"/>
                  </a:lnTo>
                  <a:lnTo>
                    <a:pt x="231381" y="57150"/>
                  </a:lnTo>
                  <a:lnTo>
                    <a:pt x="227761" y="58420"/>
                  </a:lnTo>
                  <a:lnTo>
                    <a:pt x="227533" y="60960"/>
                  </a:lnTo>
                  <a:lnTo>
                    <a:pt x="225412" y="62230"/>
                  </a:lnTo>
                  <a:lnTo>
                    <a:pt x="225425" y="63500"/>
                  </a:lnTo>
                  <a:lnTo>
                    <a:pt x="223367" y="63500"/>
                  </a:lnTo>
                  <a:lnTo>
                    <a:pt x="222910" y="64770"/>
                  </a:lnTo>
                  <a:lnTo>
                    <a:pt x="222681" y="66040"/>
                  </a:lnTo>
                  <a:lnTo>
                    <a:pt x="221957" y="67310"/>
                  </a:lnTo>
                  <a:lnTo>
                    <a:pt x="219989" y="68580"/>
                  </a:lnTo>
                  <a:lnTo>
                    <a:pt x="218490" y="68580"/>
                  </a:lnTo>
                  <a:lnTo>
                    <a:pt x="216928" y="71120"/>
                  </a:lnTo>
                  <a:lnTo>
                    <a:pt x="215734" y="72390"/>
                  </a:lnTo>
                  <a:lnTo>
                    <a:pt x="214960" y="74930"/>
                  </a:lnTo>
                  <a:lnTo>
                    <a:pt x="214058" y="74930"/>
                  </a:lnTo>
                  <a:lnTo>
                    <a:pt x="212229" y="76200"/>
                  </a:lnTo>
                  <a:lnTo>
                    <a:pt x="210172" y="78740"/>
                  </a:lnTo>
                  <a:lnTo>
                    <a:pt x="208470" y="80010"/>
                  </a:lnTo>
                  <a:lnTo>
                    <a:pt x="207327" y="81280"/>
                  </a:lnTo>
                  <a:lnTo>
                    <a:pt x="205409" y="83820"/>
                  </a:lnTo>
                  <a:lnTo>
                    <a:pt x="204876" y="85090"/>
                  </a:lnTo>
                  <a:lnTo>
                    <a:pt x="203962" y="86360"/>
                  </a:lnTo>
                  <a:lnTo>
                    <a:pt x="201498" y="87630"/>
                  </a:lnTo>
                  <a:lnTo>
                    <a:pt x="200304" y="88900"/>
                  </a:lnTo>
                  <a:lnTo>
                    <a:pt x="199796" y="90170"/>
                  </a:lnTo>
                  <a:lnTo>
                    <a:pt x="197345" y="90170"/>
                  </a:lnTo>
                  <a:lnTo>
                    <a:pt x="197993" y="91440"/>
                  </a:lnTo>
                  <a:lnTo>
                    <a:pt x="197904" y="93980"/>
                  </a:lnTo>
                  <a:lnTo>
                    <a:pt x="195478"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39" y="104140"/>
                  </a:lnTo>
                  <a:lnTo>
                    <a:pt x="186524" y="106680"/>
                  </a:lnTo>
                  <a:lnTo>
                    <a:pt x="182727" y="107950"/>
                  </a:lnTo>
                  <a:lnTo>
                    <a:pt x="181724" y="109220"/>
                  </a:lnTo>
                  <a:lnTo>
                    <a:pt x="182283" y="110490"/>
                  </a:lnTo>
                  <a:lnTo>
                    <a:pt x="180530" y="110490"/>
                  </a:lnTo>
                  <a:lnTo>
                    <a:pt x="179387" y="111760"/>
                  </a:lnTo>
                  <a:lnTo>
                    <a:pt x="180505" y="113030"/>
                  </a:lnTo>
                  <a:lnTo>
                    <a:pt x="180022" y="113030"/>
                  </a:lnTo>
                  <a:lnTo>
                    <a:pt x="176784"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28" y="133350"/>
                  </a:lnTo>
                  <a:lnTo>
                    <a:pt x="163144" y="134620"/>
                  </a:lnTo>
                  <a:lnTo>
                    <a:pt x="162712" y="135890"/>
                  </a:lnTo>
                  <a:lnTo>
                    <a:pt x="162864" y="137160"/>
                  </a:lnTo>
                  <a:lnTo>
                    <a:pt x="159270" y="137160"/>
                  </a:lnTo>
                  <a:lnTo>
                    <a:pt x="159270" y="148590"/>
                  </a:lnTo>
                  <a:lnTo>
                    <a:pt x="159194" y="149860"/>
                  </a:lnTo>
                  <a:lnTo>
                    <a:pt x="158229" y="149860"/>
                  </a:lnTo>
                  <a:lnTo>
                    <a:pt x="158394" y="148590"/>
                  </a:lnTo>
                  <a:lnTo>
                    <a:pt x="159270" y="148590"/>
                  </a:lnTo>
                  <a:lnTo>
                    <a:pt x="159270" y="137160"/>
                  </a:lnTo>
                  <a:lnTo>
                    <a:pt x="158851" y="137160"/>
                  </a:lnTo>
                  <a:lnTo>
                    <a:pt x="159092" y="140970"/>
                  </a:lnTo>
                  <a:lnTo>
                    <a:pt x="156210" y="140970"/>
                  </a:lnTo>
                  <a:lnTo>
                    <a:pt x="156032" y="144780"/>
                  </a:lnTo>
                  <a:lnTo>
                    <a:pt x="154787" y="146050"/>
                  </a:lnTo>
                  <a:lnTo>
                    <a:pt x="152057"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42"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56"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66" y="170180"/>
                  </a:lnTo>
                  <a:lnTo>
                    <a:pt x="134264" y="171450"/>
                  </a:lnTo>
                  <a:lnTo>
                    <a:pt x="133248" y="171450"/>
                  </a:lnTo>
                  <a:lnTo>
                    <a:pt x="134239" y="173990"/>
                  </a:lnTo>
                  <a:lnTo>
                    <a:pt x="133273" y="175260"/>
                  </a:lnTo>
                  <a:lnTo>
                    <a:pt x="130822" y="176530"/>
                  </a:lnTo>
                  <a:lnTo>
                    <a:pt x="129857" y="179070"/>
                  </a:lnTo>
                  <a:lnTo>
                    <a:pt x="127177" y="180340"/>
                  </a:lnTo>
                  <a:lnTo>
                    <a:pt x="126936" y="180340"/>
                  </a:lnTo>
                  <a:lnTo>
                    <a:pt x="126873" y="182880"/>
                  </a:lnTo>
                  <a:lnTo>
                    <a:pt x="125831" y="185420"/>
                  </a:lnTo>
                  <a:lnTo>
                    <a:pt x="126009" y="187960"/>
                  </a:lnTo>
                  <a:lnTo>
                    <a:pt x="124574" y="187960"/>
                  </a:lnTo>
                  <a:lnTo>
                    <a:pt x="124002" y="189230"/>
                  </a:lnTo>
                  <a:lnTo>
                    <a:pt x="123228" y="187960"/>
                  </a:lnTo>
                  <a:lnTo>
                    <a:pt x="123037" y="189865"/>
                  </a:lnTo>
                  <a:lnTo>
                    <a:pt x="123037" y="269240"/>
                  </a:lnTo>
                  <a:lnTo>
                    <a:pt x="122656" y="269240"/>
                  </a:lnTo>
                  <a:lnTo>
                    <a:pt x="122872" y="267970"/>
                  </a:lnTo>
                  <a:lnTo>
                    <a:pt x="123037" y="269240"/>
                  </a:lnTo>
                  <a:lnTo>
                    <a:pt x="123037" y="189865"/>
                  </a:lnTo>
                  <a:lnTo>
                    <a:pt x="122974" y="190500"/>
                  </a:lnTo>
                  <a:lnTo>
                    <a:pt x="121780" y="190500"/>
                  </a:lnTo>
                  <a:lnTo>
                    <a:pt x="120357" y="191770"/>
                  </a:lnTo>
                  <a:lnTo>
                    <a:pt x="119684" y="191770"/>
                  </a:lnTo>
                  <a:lnTo>
                    <a:pt x="118198" y="193040"/>
                  </a:lnTo>
                  <a:lnTo>
                    <a:pt x="119761" y="193040"/>
                  </a:lnTo>
                  <a:lnTo>
                    <a:pt x="119176" y="194310"/>
                  </a:lnTo>
                  <a:lnTo>
                    <a:pt x="118033" y="195580"/>
                  </a:lnTo>
                  <a:lnTo>
                    <a:pt x="117906" y="198120"/>
                  </a:lnTo>
                  <a:lnTo>
                    <a:pt x="115493" y="198120"/>
                  </a:lnTo>
                  <a:lnTo>
                    <a:pt x="116395" y="200660"/>
                  </a:lnTo>
                  <a:lnTo>
                    <a:pt x="115404" y="200660"/>
                  </a:lnTo>
                  <a:lnTo>
                    <a:pt x="113461" y="201930"/>
                  </a:lnTo>
                  <a:lnTo>
                    <a:pt x="113017" y="203200"/>
                  </a:lnTo>
                  <a:lnTo>
                    <a:pt x="111658" y="204470"/>
                  </a:lnTo>
                  <a:lnTo>
                    <a:pt x="110871" y="205740"/>
                  </a:lnTo>
                  <a:lnTo>
                    <a:pt x="110629" y="207010"/>
                  </a:lnTo>
                  <a:lnTo>
                    <a:pt x="108140" y="207010"/>
                  </a:lnTo>
                  <a:lnTo>
                    <a:pt x="108800" y="208280"/>
                  </a:lnTo>
                  <a:lnTo>
                    <a:pt x="107721" y="210820"/>
                  </a:lnTo>
                  <a:lnTo>
                    <a:pt x="107391" y="212090"/>
                  </a:lnTo>
                  <a:lnTo>
                    <a:pt x="105460" y="212090"/>
                  </a:lnTo>
                  <a:lnTo>
                    <a:pt x="105956" y="214630"/>
                  </a:lnTo>
                  <a:lnTo>
                    <a:pt x="104559" y="215900"/>
                  </a:lnTo>
                  <a:lnTo>
                    <a:pt x="104787" y="217170"/>
                  </a:lnTo>
                  <a:lnTo>
                    <a:pt x="100672" y="217170"/>
                  </a:lnTo>
                  <a:lnTo>
                    <a:pt x="100291" y="218440"/>
                  </a:lnTo>
                  <a:lnTo>
                    <a:pt x="101041" y="222250"/>
                  </a:lnTo>
                  <a:lnTo>
                    <a:pt x="99339" y="222250"/>
                  </a:lnTo>
                  <a:lnTo>
                    <a:pt x="99415" y="226060"/>
                  </a:lnTo>
                  <a:lnTo>
                    <a:pt x="94805" y="226060"/>
                  </a:lnTo>
                  <a:lnTo>
                    <a:pt x="96177" y="228600"/>
                  </a:lnTo>
                  <a:lnTo>
                    <a:pt x="96139" y="229870"/>
                  </a:lnTo>
                  <a:lnTo>
                    <a:pt x="95402" y="229870"/>
                  </a:lnTo>
                  <a:lnTo>
                    <a:pt x="95694" y="231140"/>
                  </a:lnTo>
                  <a:lnTo>
                    <a:pt x="93281" y="230009"/>
                  </a:lnTo>
                  <a:lnTo>
                    <a:pt x="93294" y="230212"/>
                  </a:lnTo>
                  <a:lnTo>
                    <a:pt x="94170" y="231140"/>
                  </a:lnTo>
                  <a:lnTo>
                    <a:pt x="93535" y="233680"/>
                  </a:lnTo>
                  <a:lnTo>
                    <a:pt x="93294" y="230212"/>
                  </a:lnTo>
                  <a:lnTo>
                    <a:pt x="92697" y="232410"/>
                  </a:lnTo>
                  <a:lnTo>
                    <a:pt x="92824" y="232410"/>
                  </a:lnTo>
                  <a:lnTo>
                    <a:pt x="93472"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92" y="248920"/>
                  </a:lnTo>
                  <a:lnTo>
                    <a:pt x="82804" y="251460"/>
                  </a:lnTo>
                  <a:lnTo>
                    <a:pt x="81254" y="251460"/>
                  </a:lnTo>
                  <a:lnTo>
                    <a:pt x="81241" y="251193"/>
                  </a:lnTo>
                  <a:lnTo>
                    <a:pt x="81216" y="251066"/>
                  </a:lnTo>
                  <a:lnTo>
                    <a:pt x="80848" y="251015"/>
                  </a:lnTo>
                  <a:lnTo>
                    <a:pt x="80835" y="251155"/>
                  </a:lnTo>
                  <a:lnTo>
                    <a:pt x="80797" y="251307"/>
                  </a:lnTo>
                  <a:lnTo>
                    <a:pt x="80962" y="251637"/>
                  </a:lnTo>
                  <a:lnTo>
                    <a:pt x="81153" y="251625"/>
                  </a:lnTo>
                  <a:lnTo>
                    <a:pt x="80645" y="254000"/>
                  </a:lnTo>
                  <a:lnTo>
                    <a:pt x="79502" y="252730"/>
                  </a:lnTo>
                  <a:lnTo>
                    <a:pt x="79489" y="254000"/>
                  </a:lnTo>
                  <a:lnTo>
                    <a:pt x="77330" y="255270"/>
                  </a:lnTo>
                  <a:lnTo>
                    <a:pt x="79019" y="256540"/>
                  </a:lnTo>
                  <a:lnTo>
                    <a:pt x="78879" y="256540"/>
                  </a:lnTo>
                  <a:lnTo>
                    <a:pt x="77470" y="257810"/>
                  </a:lnTo>
                  <a:lnTo>
                    <a:pt x="76771" y="259080"/>
                  </a:lnTo>
                  <a:lnTo>
                    <a:pt x="76288" y="261620"/>
                  </a:lnTo>
                  <a:lnTo>
                    <a:pt x="74790" y="261620"/>
                  </a:lnTo>
                  <a:lnTo>
                    <a:pt x="74523" y="262890"/>
                  </a:lnTo>
                  <a:lnTo>
                    <a:pt x="72936" y="265430"/>
                  </a:lnTo>
                  <a:lnTo>
                    <a:pt x="72453" y="266700"/>
                  </a:lnTo>
                  <a:lnTo>
                    <a:pt x="69494" y="269240"/>
                  </a:lnTo>
                  <a:lnTo>
                    <a:pt x="69532" y="271780"/>
                  </a:lnTo>
                  <a:lnTo>
                    <a:pt x="69151" y="270510"/>
                  </a:lnTo>
                  <a:lnTo>
                    <a:pt x="67894" y="273050"/>
                  </a:lnTo>
                  <a:lnTo>
                    <a:pt x="67398"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303" y="276860"/>
                  </a:lnTo>
                  <a:lnTo>
                    <a:pt x="65443" y="278130"/>
                  </a:lnTo>
                  <a:lnTo>
                    <a:pt x="64033" y="279400"/>
                  </a:lnTo>
                  <a:lnTo>
                    <a:pt x="64617" y="281940"/>
                  </a:lnTo>
                  <a:lnTo>
                    <a:pt x="64312" y="281940"/>
                  </a:lnTo>
                  <a:lnTo>
                    <a:pt x="62115" y="280670"/>
                  </a:lnTo>
                  <a:lnTo>
                    <a:pt x="60325" y="283210"/>
                  </a:lnTo>
                  <a:lnTo>
                    <a:pt x="61810" y="285750"/>
                  </a:lnTo>
                  <a:lnTo>
                    <a:pt x="60210" y="287020"/>
                  </a:lnTo>
                  <a:lnTo>
                    <a:pt x="60223" y="288290"/>
                  </a:lnTo>
                  <a:lnTo>
                    <a:pt x="59550" y="288290"/>
                  </a:lnTo>
                  <a:lnTo>
                    <a:pt x="58166" y="289560"/>
                  </a:lnTo>
                  <a:lnTo>
                    <a:pt x="57950" y="289560"/>
                  </a:lnTo>
                  <a:lnTo>
                    <a:pt x="58229" y="290830"/>
                  </a:lnTo>
                  <a:lnTo>
                    <a:pt x="58635" y="292100"/>
                  </a:lnTo>
                  <a:lnTo>
                    <a:pt x="56972" y="292100"/>
                  </a:lnTo>
                  <a:lnTo>
                    <a:pt x="56845" y="292544"/>
                  </a:lnTo>
                  <a:lnTo>
                    <a:pt x="56845" y="370840"/>
                  </a:lnTo>
                  <a:lnTo>
                    <a:pt x="56781" y="372110"/>
                  </a:lnTo>
                  <a:lnTo>
                    <a:pt x="55638" y="372110"/>
                  </a:lnTo>
                  <a:lnTo>
                    <a:pt x="54889" y="373380"/>
                  </a:lnTo>
                  <a:lnTo>
                    <a:pt x="53924" y="374650"/>
                  </a:lnTo>
                  <a:lnTo>
                    <a:pt x="52730" y="374650"/>
                  </a:lnTo>
                  <a:lnTo>
                    <a:pt x="52400" y="375920"/>
                  </a:lnTo>
                  <a:lnTo>
                    <a:pt x="51269" y="375920"/>
                  </a:lnTo>
                  <a:lnTo>
                    <a:pt x="51523" y="374650"/>
                  </a:lnTo>
                  <a:lnTo>
                    <a:pt x="50723" y="374650"/>
                  </a:lnTo>
                  <a:lnTo>
                    <a:pt x="51358" y="373380"/>
                  </a:lnTo>
                  <a:lnTo>
                    <a:pt x="51790" y="372110"/>
                  </a:lnTo>
                  <a:lnTo>
                    <a:pt x="52070" y="373380"/>
                  </a:lnTo>
                  <a:lnTo>
                    <a:pt x="53251" y="373380"/>
                  </a:lnTo>
                  <a:lnTo>
                    <a:pt x="53543" y="372110"/>
                  </a:lnTo>
                  <a:lnTo>
                    <a:pt x="53403" y="372110"/>
                  </a:lnTo>
                  <a:lnTo>
                    <a:pt x="53454" y="370840"/>
                  </a:lnTo>
                  <a:lnTo>
                    <a:pt x="53644" y="370840"/>
                  </a:lnTo>
                  <a:lnTo>
                    <a:pt x="53682" y="372071"/>
                  </a:lnTo>
                  <a:lnTo>
                    <a:pt x="54851" y="370840"/>
                  </a:lnTo>
                  <a:lnTo>
                    <a:pt x="56845" y="370840"/>
                  </a:lnTo>
                  <a:lnTo>
                    <a:pt x="56845" y="292544"/>
                  </a:lnTo>
                  <a:lnTo>
                    <a:pt x="56603" y="293370"/>
                  </a:lnTo>
                  <a:lnTo>
                    <a:pt x="56807" y="294640"/>
                  </a:lnTo>
                  <a:lnTo>
                    <a:pt x="55499" y="294640"/>
                  </a:lnTo>
                  <a:lnTo>
                    <a:pt x="55600" y="295440"/>
                  </a:lnTo>
                  <a:lnTo>
                    <a:pt x="55791" y="295910"/>
                  </a:lnTo>
                  <a:lnTo>
                    <a:pt x="55651" y="295910"/>
                  </a:lnTo>
                  <a:lnTo>
                    <a:pt x="55562" y="295363"/>
                  </a:lnTo>
                  <a:lnTo>
                    <a:pt x="55257" y="294640"/>
                  </a:lnTo>
                  <a:lnTo>
                    <a:pt x="55587" y="295910"/>
                  </a:lnTo>
                  <a:lnTo>
                    <a:pt x="55232" y="295427"/>
                  </a:lnTo>
                  <a:lnTo>
                    <a:pt x="55118" y="295211"/>
                  </a:lnTo>
                  <a:lnTo>
                    <a:pt x="54940" y="294982"/>
                  </a:lnTo>
                  <a:lnTo>
                    <a:pt x="54838" y="294855"/>
                  </a:lnTo>
                  <a:lnTo>
                    <a:pt x="55143" y="295910"/>
                  </a:lnTo>
                  <a:lnTo>
                    <a:pt x="55587" y="298450"/>
                  </a:lnTo>
                  <a:lnTo>
                    <a:pt x="54051" y="294690"/>
                  </a:lnTo>
                  <a:lnTo>
                    <a:pt x="54140" y="295249"/>
                  </a:lnTo>
                  <a:lnTo>
                    <a:pt x="54076" y="295097"/>
                  </a:lnTo>
                  <a:lnTo>
                    <a:pt x="53886" y="294767"/>
                  </a:lnTo>
                  <a:lnTo>
                    <a:pt x="53975" y="295021"/>
                  </a:lnTo>
                  <a:lnTo>
                    <a:pt x="54076" y="295211"/>
                  </a:lnTo>
                  <a:lnTo>
                    <a:pt x="54152" y="295338"/>
                  </a:lnTo>
                  <a:lnTo>
                    <a:pt x="54457" y="297180"/>
                  </a:lnTo>
                  <a:lnTo>
                    <a:pt x="53911" y="295910"/>
                  </a:lnTo>
                  <a:lnTo>
                    <a:pt x="54025" y="297180"/>
                  </a:lnTo>
                  <a:lnTo>
                    <a:pt x="53530" y="295910"/>
                  </a:lnTo>
                  <a:lnTo>
                    <a:pt x="53860" y="297180"/>
                  </a:lnTo>
                  <a:lnTo>
                    <a:pt x="53594" y="297180"/>
                  </a:lnTo>
                  <a:lnTo>
                    <a:pt x="53886" y="298450"/>
                  </a:lnTo>
                  <a:lnTo>
                    <a:pt x="53873" y="299720"/>
                  </a:lnTo>
                  <a:lnTo>
                    <a:pt x="53530" y="297688"/>
                  </a:lnTo>
                  <a:lnTo>
                    <a:pt x="53606" y="300990"/>
                  </a:lnTo>
                  <a:lnTo>
                    <a:pt x="53467" y="299720"/>
                  </a:lnTo>
                  <a:lnTo>
                    <a:pt x="53213" y="297446"/>
                  </a:lnTo>
                  <a:lnTo>
                    <a:pt x="53238" y="299720"/>
                  </a:lnTo>
                  <a:lnTo>
                    <a:pt x="53035" y="295363"/>
                  </a:lnTo>
                  <a:lnTo>
                    <a:pt x="52844" y="299720"/>
                  </a:lnTo>
                  <a:lnTo>
                    <a:pt x="52844" y="297180"/>
                  </a:lnTo>
                  <a:lnTo>
                    <a:pt x="52793" y="298450"/>
                  </a:lnTo>
                  <a:lnTo>
                    <a:pt x="52692" y="299720"/>
                  </a:lnTo>
                  <a:lnTo>
                    <a:pt x="52539" y="299720"/>
                  </a:lnTo>
                  <a:lnTo>
                    <a:pt x="52679" y="297180"/>
                  </a:lnTo>
                  <a:lnTo>
                    <a:pt x="52336" y="299720"/>
                  </a:lnTo>
                  <a:lnTo>
                    <a:pt x="52006" y="298450"/>
                  </a:lnTo>
                  <a:lnTo>
                    <a:pt x="51638" y="298450"/>
                  </a:lnTo>
                  <a:lnTo>
                    <a:pt x="51422" y="297180"/>
                  </a:lnTo>
                  <a:lnTo>
                    <a:pt x="51714" y="297180"/>
                  </a:lnTo>
                  <a:lnTo>
                    <a:pt x="52717" y="295910"/>
                  </a:lnTo>
                  <a:lnTo>
                    <a:pt x="52514" y="295910"/>
                  </a:lnTo>
                  <a:lnTo>
                    <a:pt x="51879" y="294640"/>
                  </a:lnTo>
                  <a:lnTo>
                    <a:pt x="51460" y="294640"/>
                  </a:lnTo>
                  <a:lnTo>
                    <a:pt x="50990"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46"/>
                  </a:lnTo>
                  <a:lnTo>
                    <a:pt x="50393" y="299720"/>
                  </a:lnTo>
                  <a:lnTo>
                    <a:pt x="50038" y="299720"/>
                  </a:lnTo>
                  <a:lnTo>
                    <a:pt x="50279" y="298450"/>
                  </a:lnTo>
                  <a:lnTo>
                    <a:pt x="50393" y="299720"/>
                  </a:lnTo>
                  <a:lnTo>
                    <a:pt x="50393" y="291846"/>
                  </a:lnTo>
                  <a:lnTo>
                    <a:pt x="50101" y="290830"/>
                  </a:lnTo>
                  <a:lnTo>
                    <a:pt x="51015" y="289560"/>
                  </a:lnTo>
                  <a:lnTo>
                    <a:pt x="50063" y="287020"/>
                  </a:lnTo>
                  <a:lnTo>
                    <a:pt x="51320" y="287020"/>
                  </a:lnTo>
                  <a:lnTo>
                    <a:pt x="51155" y="285750"/>
                  </a:lnTo>
                  <a:lnTo>
                    <a:pt x="51422" y="285750"/>
                  </a:lnTo>
                  <a:lnTo>
                    <a:pt x="50444" y="284480"/>
                  </a:lnTo>
                  <a:lnTo>
                    <a:pt x="49784" y="283210"/>
                  </a:lnTo>
                  <a:lnTo>
                    <a:pt x="49288" y="283210"/>
                  </a:lnTo>
                  <a:lnTo>
                    <a:pt x="50342" y="281940"/>
                  </a:lnTo>
                  <a:lnTo>
                    <a:pt x="50203" y="280670"/>
                  </a:lnTo>
                  <a:lnTo>
                    <a:pt x="48869" y="279400"/>
                  </a:lnTo>
                  <a:lnTo>
                    <a:pt x="48590" y="278130"/>
                  </a:lnTo>
                  <a:lnTo>
                    <a:pt x="49885" y="276860"/>
                  </a:lnTo>
                  <a:lnTo>
                    <a:pt x="49085" y="275590"/>
                  </a:lnTo>
                  <a:lnTo>
                    <a:pt x="48856" y="273050"/>
                  </a:lnTo>
                  <a:lnTo>
                    <a:pt x="48552" y="273050"/>
                  </a:lnTo>
                  <a:lnTo>
                    <a:pt x="47307" y="270510"/>
                  </a:lnTo>
                  <a:lnTo>
                    <a:pt x="47231" y="269240"/>
                  </a:lnTo>
                  <a:lnTo>
                    <a:pt x="49047" y="269240"/>
                  </a:lnTo>
                  <a:lnTo>
                    <a:pt x="48653" y="267970"/>
                  </a:lnTo>
                  <a:lnTo>
                    <a:pt x="47929" y="265430"/>
                  </a:lnTo>
                  <a:lnTo>
                    <a:pt x="45885" y="264160"/>
                  </a:lnTo>
                  <a:lnTo>
                    <a:pt x="47752" y="264160"/>
                  </a:lnTo>
                  <a:lnTo>
                    <a:pt x="48044" y="262890"/>
                  </a:lnTo>
                  <a:lnTo>
                    <a:pt x="48348" y="261620"/>
                  </a:lnTo>
                  <a:lnTo>
                    <a:pt x="47028" y="261620"/>
                  </a:lnTo>
                  <a:lnTo>
                    <a:pt x="47891" y="260350"/>
                  </a:lnTo>
                  <a:lnTo>
                    <a:pt x="46634" y="257810"/>
                  </a:lnTo>
                  <a:lnTo>
                    <a:pt x="45656" y="256654"/>
                  </a:lnTo>
                  <a:lnTo>
                    <a:pt x="45656" y="264160"/>
                  </a:lnTo>
                  <a:lnTo>
                    <a:pt x="45059" y="264160"/>
                  </a:lnTo>
                  <a:lnTo>
                    <a:pt x="44627" y="262991"/>
                  </a:lnTo>
                  <a:lnTo>
                    <a:pt x="44615" y="265430"/>
                  </a:lnTo>
                  <a:lnTo>
                    <a:pt x="44157" y="265430"/>
                  </a:lnTo>
                  <a:lnTo>
                    <a:pt x="43662" y="264160"/>
                  </a:lnTo>
                  <a:lnTo>
                    <a:pt x="43116" y="264160"/>
                  </a:lnTo>
                  <a:lnTo>
                    <a:pt x="44589" y="263017"/>
                  </a:lnTo>
                  <a:lnTo>
                    <a:pt x="44589" y="262890"/>
                  </a:lnTo>
                  <a:lnTo>
                    <a:pt x="44754" y="262890"/>
                  </a:lnTo>
                  <a:lnTo>
                    <a:pt x="45529" y="262890"/>
                  </a:lnTo>
                  <a:lnTo>
                    <a:pt x="45656" y="264160"/>
                  </a:lnTo>
                  <a:lnTo>
                    <a:pt x="45656" y="256654"/>
                  </a:lnTo>
                  <a:lnTo>
                    <a:pt x="46761" y="255270"/>
                  </a:lnTo>
                  <a:lnTo>
                    <a:pt x="46520" y="254000"/>
                  </a:lnTo>
                  <a:lnTo>
                    <a:pt x="46926" y="254000"/>
                  </a:lnTo>
                  <a:lnTo>
                    <a:pt x="46050" y="251460"/>
                  </a:lnTo>
                  <a:lnTo>
                    <a:pt x="44970" y="250190"/>
                  </a:lnTo>
                  <a:lnTo>
                    <a:pt x="44970" y="248920"/>
                  </a:lnTo>
                  <a:lnTo>
                    <a:pt x="46037" y="248920"/>
                  </a:lnTo>
                  <a:lnTo>
                    <a:pt x="46596" y="247650"/>
                  </a:lnTo>
                  <a:lnTo>
                    <a:pt x="44488" y="246380"/>
                  </a:lnTo>
                  <a:lnTo>
                    <a:pt x="18923" y="246380"/>
                  </a:lnTo>
                  <a:lnTo>
                    <a:pt x="18923" y="355600"/>
                  </a:lnTo>
                  <a:lnTo>
                    <a:pt x="18732" y="356870"/>
                  </a:lnTo>
                  <a:lnTo>
                    <a:pt x="17894" y="356870"/>
                  </a:lnTo>
                  <a:lnTo>
                    <a:pt x="18275" y="355600"/>
                  </a:lnTo>
                  <a:lnTo>
                    <a:pt x="18923" y="355600"/>
                  </a:lnTo>
                  <a:lnTo>
                    <a:pt x="18923" y="246380"/>
                  </a:lnTo>
                  <a:lnTo>
                    <a:pt x="14033" y="246380"/>
                  </a:lnTo>
                  <a:lnTo>
                    <a:pt x="14033" y="351790"/>
                  </a:lnTo>
                  <a:lnTo>
                    <a:pt x="13843" y="351790"/>
                  </a:lnTo>
                  <a:lnTo>
                    <a:pt x="13512" y="353060"/>
                  </a:lnTo>
                  <a:lnTo>
                    <a:pt x="13436"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40" y="246380"/>
                  </a:lnTo>
                  <a:lnTo>
                    <a:pt x="5740" y="247650"/>
                  </a:lnTo>
                  <a:lnTo>
                    <a:pt x="5664" y="248348"/>
                  </a:lnTo>
                  <a:lnTo>
                    <a:pt x="5664" y="283210"/>
                  </a:lnTo>
                  <a:lnTo>
                    <a:pt x="5499" y="284480"/>
                  </a:lnTo>
                  <a:lnTo>
                    <a:pt x="5207" y="284480"/>
                  </a:lnTo>
                  <a:lnTo>
                    <a:pt x="5118" y="283210"/>
                  </a:lnTo>
                  <a:lnTo>
                    <a:pt x="5664" y="283210"/>
                  </a:lnTo>
                  <a:lnTo>
                    <a:pt x="5664" y="248348"/>
                  </a:lnTo>
                  <a:lnTo>
                    <a:pt x="5600" y="248920"/>
                  </a:lnTo>
                  <a:lnTo>
                    <a:pt x="4203" y="248920"/>
                  </a:lnTo>
                  <a:lnTo>
                    <a:pt x="4114" y="247650"/>
                  </a:lnTo>
                  <a:lnTo>
                    <a:pt x="5740" y="247650"/>
                  </a:lnTo>
                  <a:lnTo>
                    <a:pt x="5740" y="246380"/>
                  </a:lnTo>
                  <a:lnTo>
                    <a:pt x="3048" y="246380"/>
                  </a:lnTo>
                  <a:lnTo>
                    <a:pt x="3225" y="247650"/>
                  </a:lnTo>
                  <a:lnTo>
                    <a:pt x="2781" y="247650"/>
                  </a:lnTo>
                  <a:lnTo>
                    <a:pt x="2273" y="247650"/>
                  </a:lnTo>
                  <a:lnTo>
                    <a:pt x="1333" y="248920"/>
                  </a:lnTo>
                  <a:lnTo>
                    <a:pt x="2743" y="252730"/>
                  </a:lnTo>
                  <a:lnTo>
                    <a:pt x="2019" y="254000"/>
                  </a:lnTo>
                  <a:lnTo>
                    <a:pt x="2578" y="256540"/>
                  </a:lnTo>
                  <a:lnTo>
                    <a:pt x="1549" y="256540"/>
                  </a:lnTo>
                  <a:lnTo>
                    <a:pt x="2362" y="257810"/>
                  </a:lnTo>
                  <a:lnTo>
                    <a:pt x="3263" y="257810"/>
                  </a:lnTo>
                  <a:lnTo>
                    <a:pt x="3365" y="259080"/>
                  </a:lnTo>
                  <a:lnTo>
                    <a:pt x="2438" y="259080"/>
                  </a:lnTo>
                  <a:lnTo>
                    <a:pt x="2997" y="262890"/>
                  </a:lnTo>
                  <a:lnTo>
                    <a:pt x="0" y="264160"/>
                  </a:lnTo>
                  <a:lnTo>
                    <a:pt x="101" y="265430"/>
                  </a:lnTo>
                  <a:lnTo>
                    <a:pt x="1028" y="265430"/>
                  </a:lnTo>
                  <a:lnTo>
                    <a:pt x="1587" y="266700"/>
                  </a:lnTo>
                  <a:lnTo>
                    <a:pt x="2565" y="265430"/>
                  </a:lnTo>
                  <a:lnTo>
                    <a:pt x="2870" y="265430"/>
                  </a:lnTo>
                  <a:lnTo>
                    <a:pt x="3225" y="266700"/>
                  </a:lnTo>
                  <a:lnTo>
                    <a:pt x="1587" y="266700"/>
                  </a:lnTo>
                  <a:lnTo>
                    <a:pt x="1295" y="266700"/>
                  </a:lnTo>
                  <a:lnTo>
                    <a:pt x="2667" y="269240"/>
                  </a:lnTo>
                  <a:lnTo>
                    <a:pt x="2019"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16" y="283210"/>
                  </a:lnTo>
                  <a:lnTo>
                    <a:pt x="2654" y="283210"/>
                  </a:lnTo>
                  <a:lnTo>
                    <a:pt x="1168" y="287020"/>
                  </a:lnTo>
                  <a:lnTo>
                    <a:pt x="1638" y="288290"/>
                  </a:lnTo>
                  <a:lnTo>
                    <a:pt x="3263" y="289560"/>
                  </a:lnTo>
                  <a:lnTo>
                    <a:pt x="3505" y="290830"/>
                  </a:lnTo>
                  <a:lnTo>
                    <a:pt x="2095" y="292100"/>
                  </a:lnTo>
                  <a:lnTo>
                    <a:pt x="3175" y="293370"/>
                  </a:lnTo>
                  <a:lnTo>
                    <a:pt x="2095" y="295910"/>
                  </a:lnTo>
                  <a:lnTo>
                    <a:pt x="2222" y="297180"/>
                  </a:lnTo>
                  <a:lnTo>
                    <a:pt x="3327" y="300990"/>
                  </a:lnTo>
                  <a:lnTo>
                    <a:pt x="4165" y="306070"/>
                  </a:lnTo>
                  <a:lnTo>
                    <a:pt x="3987" y="309880"/>
                  </a:lnTo>
                  <a:lnTo>
                    <a:pt x="4559" y="312420"/>
                  </a:lnTo>
                  <a:lnTo>
                    <a:pt x="5245" y="314960"/>
                  </a:lnTo>
                  <a:lnTo>
                    <a:pt x="5130" y="318770"/>
                  </a:lnTo>
                  <a:lnTo>
                    <a:pt x="6629" y="321310"/>
                  </a:lnTo>
                  <a:lnTo>
                    <a:pt x="6667" y="322580"/>
                  </a:lnTo>
                  <a:lnTo>
                    <a:pt x="6540" y="325120"/>
                  </a:lnTo>
                  <a:lnTo>
                    <a:pt x="6477" y="328930"/>
                  </a:lnTo>
                  <a:lnTo>
                    <a:pt x="7239" y="330200"/>
                  </a:lnTo>
                  <a:lnTo>
                    <a:pt x="6794" y="331470"/>
                  </a:lnTo>
                  <a:lnTo>
                    <a:pt x="7010" y="332740"/>
                  </a:lnTo>
                  <a:lnTo>
                    <a:pt x="7823" y="334010"/>
                  </a:lnTo>
                  <a:lnTo>
                    <a:pt x="10147" y="339090"/>
                  </a:lnTo>
                  <a:lnTo>
                    <a:pt x="10337" y="340360"/>
                  </a:lnTo>
                  <a:lnTo>
                    <a:pt x="9398" y="344170"/>
                  </a:lnTo>
                  <a:lnTo>
                    <a:pt x="9144" y="345440"/>
                  </a:lnTo>
                  <a:lnTo>
                    <a:pt x="8851" y="345440"/>
                  </a:lnTo>
                  <a:lnTo>
                    <a:pt x="8801" y="346710"/>
                  </a:lnTo>
                  <a:lnTo>
                    <a:pt x="9563" y="347980"/>
                  </a:lnTo>
                  <a:lnTo>
                    <a:pt x="10248" y="347980"/>
                  </a:lnTo>
                  <a:lnTo>
                    <a:pt x="11747" y="346710"/>
                  </a:lnTo>
                  <a:lnTo>
                    <a:pt x="11747" y="347980"/>
                  </a:lnTo>
                  <a:lnTo>
                    <a:pt x="11404" y="350520"/>
                  </a:lnTo>
                  <a:lnTo>
                    <a:pt x="10960" y="351790"/>
                  </a:lnTo>
                  <a:lnTo>
                    <a:pt x="12712" y="354330"/>
                  </a:lnTo>
                  <a:lnTo>
                    <a:pt x="12954" y="355600"/>
                  </a:lnTo>
                  <a:lnTo>
                    <a:pt x="13449" y="356870"/>
                  </a:lnTo>
                  <a:lnTo>
                    <a:pt x="13639" y="358140"/>
                  </a:lnTo>
                  <a:lnTo>
                    <a:pt x="14986" y="358140"/>
                  </a:lnTo>
                  <a:lnTo>
                    <a:pt x="14986" y="359410"/>
                  </a:lnTo>
                  <a:lnTo>
                    <a:pt x="15760" y="360680"/>
                  </a:lnTo>
                  <a:lnTo>
                    <a:pt x="16802" y="361950"/>
                  </a:lnTo>
                  <a:lnTo>
                    <a:pt x="18415"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55" y="370840"/>
                  </a:lnTo>
                  <a:lnTo>
                    <a:pt x="25158" y="373380"/>
                  </a:lnTo>
                  <a:lnTo>
                    <a:pt x="25260" y="374650"/>
                  </a:lnTo>
                  <a:lnTo>
                    <a:pt x="27178" y="374650"/>
                  </a:lnTo>
                  <a:lnTo>
                    <a:pt x="28409" y="375920"/>
                  </a:lnTo>
                  <a:lnTo>
                    <a:pt x="29603" y="373380"/>
                  </a:lnTo>
                  <a:lnTo>
                    <a:pt x="29921" y="373380"/>
                  </a:lnTo>
                  <a:lnTo>
                    <a:pt x="30594" y="374650"/>
                  </a:lnTo>
                  <a:lnTo>
                    <a:pt x="30149" y="375920"/>
                  </a:lnTo>
                  <a:lnTo>
                    <a:pt x="31013" y="377190"/>
                  </a:lnTo>
                  <a:lnTo>
                    <a:pt x="33909" y="377190"/>
                  </a:lnTo>
                  <a:lnTo>
                    <a:pt x="34937" y="378460"/>
                  </a:lnTo>
                  <a:lnTo>
                    <a:pt x="35560" y="378460"/>
                  </a:lnTo>
                  <a:lnTo>
                    <a:pt x="36360" y="379730"/>
                  </a:lnTo>
                  <a:lnTo>
                    <a:pt x="40640" y="379730"/>
                  </a:lnTo>
                  <a:lnTo>
                    <a:pt x="40474" y="378460"/>
                  </a:lnTo>
                  <a:lnTo>
                    <a:pt x="41211" y="377253"/>
                  </a:lnTo>
                  <a:lnTo>
                    <a:pt x="42468"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29" y="370840"/>
                  </a:lnTo>
                  <a:lnTo>
                    <a:pt x="62268" y="369570"/>
                  </a:lnTo>
                  <a:lnTo>
                    <a:pt x="62750"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92" y="356870"/>
                  </a:lnTo>
                  <a:lnTo>
                    <a:pt x="76212" y="355600"/>
                  </a:lnTo>
                  <a:lnTo>
                    <a:pt x="76492" y="355600"/>
                  </a:lnTo>
                  <a:lnTo>
                    <a:pt x="76987" y="354330"/>
                  </a:lnTo>
                  <a:lnTo>
                    <a:pt x="77647" y="353060"/>
                  </a:lnTo>
                  <a:lnTo>
                    <a:pt x="78955" y="350520"/>
                  </a:lnTo>
                  <a:lnTo>
                    <a:pt x="79908" y="349250"/>
                  </a:lnTo>
                  <a:lnTo>
                    <a:pt x="80302" y="346710"/>
                  </a:lnTo>
                  <a:lnTo>
                    <a:pt x="81165" y="346710"/>
                  </a:lnTo>
                  <a:lnTo>
                    <a:pt x="81457" y="347980"/>
                  </a:lnTo>
                  <a:lnTo>
                    <a:pt x="81991" y="346710"/>
                  </a:lnTo>
                  <a:lnTo>
                    <a:pt x="82511" y="345440"/>
                  </a:lnTo>
                  <a:lnTo>
                    <a:pt x="82791" y="344170"/>
                  </a:lnTo>
                  <a:lnTo>
                    <a:pt x="84340" y="345440"/>
                  </a:lnTo>
                  <a:lnTo>
                    <a:pt x="84391" y="344170"/>
                  </a:lnTo>
                  <a:lnTo>
                    <a:pt x="84467" y="341630"/>
                  </a:lnTo>
                  <a:lnTo>
                    <a:pt x="85026" y="339090"/>
                  </a:lnTo>
                  <a:lnTo>
                    <a:pt x="87172" y="339090"/>
                  </a:lnTo>
                  <a:lnTo>
                    <a:pt x="88506" y="335280"/>
                  </a:lnTo>
                  <a:lnTo>
                    <a:pt x="90208" y="335280"/>
                  </a:lnTo>
                  <a:lnTo>
                    <a:pt x="90208" y="332740"/>
                  </a:lnTo>
                  <a:lnTo>
                    <a:pt x="90881" y="331470"/>
                  </a:lnTo>
                  <a:lnTo>
                    <a:pt x="92760" y="328930"/>
                  </a:lnTo>
                  <a:lnTo>
                    <a:pt x="93395" y="327660"/>
                  </a:lnTo>
                  <a:lnTo>
                    <a:pt x="93624" y="327660"/>
                  </a:lnTo>
                  <a:lnTo>
                    <a:pt x="93675" y="326390"/>
                  </a:lnTo>
                  <a:lnTo>
                    <a:pt x="94259" y="326390"/>
                  </a:lnTo>
                  <a:lnTo>
                    <a:pt x="94818" y="325120"/>
                  </a:lnTo>
                  <a:lnTo>
                    <a:pt x="95351" y="323850"/>
                  </a:lnTo>
                  <a:lnTo>
                    <a:pt x="96253" y="322580"/>
                  </a:lnTo>
                  <a:lnTo>
                    <a:pt x="97015" y="322580"/>
                  </a:lnTo>
                  <a:lnTo>
                    <a:pt x="96761" y="321310"/>
                  </a:lnTo>
                  <a:lnTo>
                    <a:pt x="97116" y="320040"/>
                  </a:lnTo>
                  <a:lnTo>
                    <a:pt x="99250" y="317500"/>
                  </a:lnTo>
                  <a:lnTo>
                    <a:pt x="99796" y="316230"/>
                  </a:lnTo>
                  <a:lnTo>
                    <a:pt x="100342" y="314960"/>
                  </a:lnTo>
                  <a:lnTo>
                    <a:pt x="100888"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91" y="304800"/>
                  </a:lnTo>
                  <a:lnTo>
                    <a:pt x="107137" y="303530"/>
                  </a:lnTo>
                  <a:lnTo>
                    <a:pt x="107022" y="302260"/>
                  </a:lnTo>
                  <a:lnTo>
                    <a:pt x="107454" y="302260"/>
                  </a:lnTo>
                  <a:lnTo>
                    <a:pt x="107911" y="300990"/>
                  </a:lnTo>
                  <a:lnTo>
                    <a:pt x="109321" y="300990"/>
                  </a:lnTo>
                  <a:lnTo>
                    <a:pt x="109423" y="299720"/>
                  </a:lnTo>
                  <a:lnTo>
                    <a:pt x="109791" y="299720"/>
                  </a:lnTo>
                  <a:lnTo>
                    <a:pt x="109804" y="298450"/>
                  </a:lnTo>
                  <a:lnTo>
                    <a:pt x="109931" y="297180"/>
                  </a:lnTo>
                  <a:lnTo>
                    <a:pt x="110236" y="297180"/>
                  </a:lnTo>
                  <a:lnTo>
                    <a:pt x="110439" y="295910"/>
                  </a:lnTo>
                  <a:lnTo>
                    <a:pt x="112052" y="295910"/>
                  </a:lnTo>
                  <a:lnTo>
                    <a:pt x="112064" y="294640"/>
                  </a:lnTo>
                  <a:lnTo>
                    <a:pt x="113004" y="294640"/>
                  </a:lnTo>
                  <a:lnTo>
                    <a:pt x="112864" y="293370"/>
                  </a:lnTo>
                  <a:lnTo>
                    <a:pt x="113169" y="293370"/>
                  </a:lnTo>
                  <a:lnTo>
                    <a:pt x="113093" y="292874"/>
                  </a:lnTo>
                  <a:lnTo>
                    <a:pt x="113042" y="290830"/>
                  </a:lnTo>
                  <a:lnTo>
                    <a:pt x="114160" y="290830"/>
                  </a:lnTo>
                  <a:lnTo>
                    <a:pt x="115874" y="289560"/>
                  </a:lnTo>
                  <a:lnTo>
                    <a:pt x="115404" y="289560"/>
                  </a:lnTo>
                  <a:lnTo>
                    <a:pt x="115062" y="288290"/>
                  </a:lnTo>
                  <a:lnTo>
                    <a:pt x="115023" y="287020"/>
                  </a:lnTo>
                  <a:lnTo>
                    <a:pt x="115201" y="287020"/>
                  </a:lnTo>
                  <a:lnTo>
                    <a:pt x="115379" y="288290"/>
                  </a:lnTo>
                  <a:lnTo>
                    <a:pt x="116370" y="288290"/>
                  </a:lnTo>
                  <a:lnTo>
                    <a:pt x="116217" y="287020"/>
                  </a:lnTo>
                  <a:lnTo>
                    <a:pt x="116916" y="287020"/>
                  </a:lnTo>
                  <a:lnTo>
                    <a:pt x="116547" y="285750"/>
                  </a:lnTo>
                  <a:lnTo>
                    <a:pt x="117906" y="285750"/>
                  </a:lnTo>
                  <a:lnTo>
                    <a:pt x="118694" y="284480"/>
                  </a:lnTo>
                  <a:lnTo>
                    <a:pt x="118211" y="284480"/>
                  </a:lnTo>
                  <a:lnTo>
                    <a:pt x="118148" y="284302"/>
                  </a:lnTo>
                  <a:lnTo>
                    <a:pt x="117754" y="283210"/>
                  </a:lnTo>
                  <a:lnTo>
                    <a:pt x="118313" y="283210"/>
                  </a:lnTo>
                  <a:lnTo>
                    <a:pt x="118148" y="284302"/>
                  </a:lnTo>
                  <a:lnTo>
                    <a:pt x="118948" y="283210"/>
                  </a:lnTo>
                  <a:lnTo>
                    <a:pt x="119113" y="283210"/>
                  </a:lnTo>
                  <a:lnTo>
                    <a:pt x="119075" y="281940"/>
                  </a:lnTo>
                  <a:lnTo>
                    <a:pt x="120611" y="281940"/>
                  </a:lnTo>
                  <a:lnTo>
                    <a:pt x="120980" y="280670"/>
                  </a:lnTo>
                  <a:lnTo>
                    <a:pt x="122174" y="280670"/>
                  </a:lnTo>
                  <a:lnTo>
                    <a:pt x="122034" y="279400"/>
                  </a:lnTo>
                  <a:lnTo>
                    <a:pt x="121488" y="278130"/>
                  </a:lnTo>
                  <a:lnTo>
                    <a:pt x="121843"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92" y="269240"/>
                  </a:lnTo>
                  <a:lnTo>
                    <a:pt x="126606" y="267970"/>
                  </a:lnTo>
                  <a:lnTo>
                    <a:pt x="126568" y="269240"/>
                  </a:lnTo>
                  <a:lnTo>
                    <a:pt x="127050" y="269240"/>
                  </a:lnTo>
                  <a:lnTo>
                    <a:pt x="126873" y="270510"/>
                  </a:lnTo>
                  <a:lnTo>
                    <a:pt x="127228" y="270510"/>
                  </a:lnTo>
                  <a:lnTo>
                    <a:pt x="127342" y="269240"/>
                  </a:lnTo>
                  <a:lnTo>
                    <a:pt x="127393" y="267970"/>
                  </a:lnTo>
                  <a:lnTo>
                    <a:pt x="128231" y="267970"/>
                  </a:lnTo>
                  <a:lnTo>
                    <a:pt x="128790" y="266700"/>
                  </a:lnTo>
                  <a:lnTo>
                    <a:pt x="130187" y="266700"/>
                  </a:lnTo>
                  <a:lnTo>
                    <a:pt x="130594" y="265430"/>
                  </a:lnTo>
                  <a:lnTo>
                    <a:pt x="130289" y="264160"/>
                  </a:lnTo>
                  <a:lnTo>
                    <a:pt x="130517" y="262890"/>
                  </a:lnTo>
                  <a:lnTo>
                    <a:pt x="130886" y="262890"/>
                  </a:lnTo>
                  <a:lnTo>
                    <a:pt x="132969" y="261620"/>
                  </a:lnTo>
                  <a:lnTo>
                    <a:pt x="133477" y="260350"/>
                  </a:lnTo>
                  <a:lnTo>
                    <a:pt x="132943" y="259080"/>
                  </a:lnTo>
                  <a:lnTo>
                    <a:pt x="133273"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71" y="241300"/>
                  </a:lnTo>
                  <a:lnTo>
                    <a:pt x="144932" y="241300"/>
                  </a:lnTo>
                  <a:lnTo>
                    <a:pt x="145288" y="240030"/>
                  </a:lnTo>
                  <a:lnTo>
                    <a:pt x="146659" y="240030"/>
                  </a:lnTo>
                  <a:lnTo>
                    <a:pt x="146850" y="238760"/>
                  </a:lnTo>
                  <a:lnTo>
                    <a:pt x="146240" y="238760"/>
                  </a:lnTo>
                  <a:lnTo>
                    <a:pt x="146469" y="237490"/>
                  </a:lnTo>
                  <a:lnTo>
                    <a:pt x="146824" y="236220"/>
                  </a:lnTo>
                  <a:lnTo>
                    <a:pt x="147421" y="234950"/>
                  </a:lnTo>
                  <a:lnTo>
                    <a:pt x="149606" y="234950"/>
                  </a:lnTo>
                  <a:lnTo>
                    <a:pt x="149072" y="233680"/>
                  </a:lnTo>
                  <a:lnTo>
                    <a:pt x="149136" y="232410"/>
                  </a:lnTo>
                  <a:lnTo>
                    <a:pt x="150215" y="232410"/>
                  </a:lnTo>
                  <a:lnTo>
                    <a:pt x="152006" y="231140"/>
                  </a:lnTo>
                  <a:lnTo>
                    <a:pt x="152196" y="231140"/>
                  </a:lnTo>
                  <a:lnTo>
                    <a:pt x="151663" y="229870"/>
                  </a:lnTo>
                  <a:lnTo>
                    <a:pt x="151498" y="228600"/>
                  </a:lnTo>
                  <a:lnTo>
                    <a:pt x="152514" y="228600"/>
                  </a:lnTo>
                  <a:lnTo>
                    <a:pt x="153009" y="227330"/>
                  </a:lnTo>
                  <a:lnTo>
                    <a:pt x="154724" y="227330"/>
                  </a:lnTo>
                  <a:lnTo>
                    <a:pt x="154914" y="226060"/>
                  </a:lnTo>
                  <a:lnTo>
                    <a:pt x="154813" y="224790"/>
                  </a:lnTo>
                  <a:lnTo>
                    <a:pt x="155244" y="224790"/>
                  </a:lnTo>
                  <a:lnTo>
                    <a:pt x="155651" y="223520"/>
                  </a:lnTo>
                  <a:lnTo>
                    <a:pt x="156629" y="223520"/>
                  </a:lnTo>
                  <a:lnTo>
                    <a:pt x="156933" y="222250"/>
                  </a:lnTo>
                  <a:lnTo>
                    <a:pt x="157518" y="220980"/>
                  </a:lnTo>
                  <a:lnTo>
                    <a:pt x="158051" y="219710"/>
                  </a:lnTo>
                  <a:lnTo>
                    <a:pt x="158940" y="219710"/>
                  </a:lnTo>
                  <a:lnTo>
                    <a:pt x="160007" y="217170"/>
                  </a:lnTo>
                  <a:lnTo>
                    <a:pt x="160502" y="215900"/>
                  </a:lnTo>
                  <a:lnTo>
                    <a:pt x="161785" y="215900"/>
                  </a:lnTo>
                  <a:lnTo>
                    <a:pt x="162941" y="212090"/>
                  </a:lnTo>
                  <a:lnTo>
                    <a:pt x="164287" y="210820"/>
                  </a:lnTo>
                  <a:lnTo>
                    <a:pt x="165328" y="208280"/>
                  </a:lnTo>
                  <a:lnTo>
                    <a:pt x="167271" y="207010"/>
                  </a:lnTo>
                  <a:lnTo>
                    <a:pt x="166852" y="205740"/>
                  </a:lnTo>
                  <a:lnTo>
                    <a:pt x="167132" y="205740"/>
                  </a:lnTo>
                  <a:lnTo>
                    <a:pt x="167601" y="204470"/>
                  </a:lnTo>
                  <a:lnTo>
                    <a:pt x="169684" y="203200"/>
                  </a:lnTo>
                  <a:lnTo>
                    <a:pt x="170738" y="200660"/>
                  </a:lnTo>
                  <a:lnTo>
                    <a:pt x="171970" y="198120"/>
                  </a:lnTo>
                  <a:lnTo>
                    <a:pt x="172593" y="198120"/>
                  </a:lnTo>
                  <a:lnTo>
                    <a:pt x="173050" y="196850"/>
                  </a:lnTo>
                  <a:lnTo>
                    <a:pt x="172923" y="194310"/>
                  </a:lnTo>
                  <a:lnTo>
                    <a:pt x="173977" y="195580"/>
                  </a:lnTo>
                  <a:lnTo>
                    <a:pt x="175323" y="194310"/>
                  </a:lnTo>
                  <a:lnTo>
                    <a:pt x="176022" y="194310"/>
                  </a:lnTo>
                  <a:lnTo>
                    <a:pt x="175742" y="193040"/>
                  </a:lnTo>
                  <a:lnTo>
                    <a:pt x="177101"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26" y="182880"/>
                  </a:lnTo>
                  <a:lnTo>
                    <a:pt x="183400" y="181610"/>
                  </a:lnTo>
                  <a:lnTo>
                    <a:pt x="184861" y="181610"/>
                  </a:lnTo>
                  <a:lnTo>
                    <a:pt x="184899" y="180340"/>
                  </a:lnTo>
                  <a:lnTo>
                    <a:pt x="185140" y="179070"/>
                  </a:lnTo>
                  <a:lnTo>
                    <a:pt x="186855" y="179070"/>
                  </a:lnTo>
                  <a:lnTo>
                    <a:pt x="186905"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08" y="167640"/>
                  </a:lnTo>
                  <a:lnTo>
                    <a:pt x="194716" y="166370"/>
                  </a:lnTo>
                  <a:lnTo>
                    <a:pt x="193916" y="166370"/>
                  </a:lnTo>
                  <a:lnTo>
                    <a:pt x="194652" y="165100"/>
                  </a:lnTo>
                  <a:lnTo>
                    <a:pt x="194741" y="166370"/>
                  </a:lnTo>
                  <a:lnTo>
                    <a:pt x="195211" y="166370"/>
                  </a:lnTo>
                  <a:lnTo>
                    <a:pt x="196062" y="165100"/>
                  </a:lnTo>
                  <a:lnTo>
                    <a:pt x="195846" y="165100"/>
                  </a:lnTo>
                  <a:lnTo>
                    <a:pt x="196049" y="163830"/>
                  </a:lnTo>
                  <a:lnTo>
                    <a:pt x="196430" y="163830"/>
                  </a:lnTo>
                  <a:lnTo>
                    <a:pt x="196811" y="162560"/>
                  </a:lnTo>
                  <a:lnTo>
                    <a:pt x="197154" y="162560"/>
                  </a:lnTo>
                  <a:lnTo>
                    <a:pt x="197396" y="161290"/>
                  </a:lnTo>
                  <a:lnTo>
                    <a:pt x="198678" y="160020"/>
                  </a:lnTo>
                  <a:lnTo>
                    <a:pt x="199694" y="160020"/>
                  </a:lnTo>
                  <a:lnTo>
                    <a:pt x="199910" y="158750"/>
                  </a:lnTo>
                  <a:lnTo>
                    <a:pt x="200596" y="157480"/>
                  </a:lnTo>
                  <a:lnTo>
                    <a:pt x="201269" y="157480"/>
                  </a:lnTo>
                  <a:lnTo>
                    <a:pt x="201739" y="154940"/>
                  </a:lnTo>
                  <a:lnTo>
                    <a:pt x="203530" y="154940"/>
                  </a:lnTo>
                  <a:lnTo>
                    <a:pt x="203466" y="153670"/>
                  </a:lnTo>
                  <a:lnTo>
                    <a:pt x="204139" y="153670"/>
                  </a:lnTo>
                  <a:lnTo>
                    <a:pt x="204203" y="152400"/>
                  </a:lnTo>
                  <a:lnTo>
                    <a:pt x="205486" y="152400"/>
                  </a:lnTo>
                  <a:lnTo>
                    <a:pt x="205003"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82" y="139700"/>
                  </a:lnTo>
                  <a:lnTo>
                    <a:pt x="213271" y="139700"/>
                  </a:lnTo>
                  <a:lnTo>
                    <a:pt x="213779" y="138430"/>
                  </a:lnTo>
                  <a:lnTo>
                    <a:pt x="215798" y="138430"/>
                  </a:lnTo>
                  <a:lnTo>
                    <a:pt x="216166" y="137160"/>
                  </a:lnTo>
                  <a:lnTo>
                    <a:pt x="216662" y="135890"/>
                  </a:lnTo>
                  <a:lnTo>
                    <a:pt x="217093" y="134620"/>
                  </a:lnTo>
                  <a:lnTo>
                    <a:pt x="217678" y="133350"/>
                  </a:lnTo>
                  <a:lnTo>
                    <a:pt x="219760" y="133350"/>
                  </a:lnTo>
                  <a:lnTo>
                    <a:pt x="220319" y="132080"/>
                  </a:lnTo>
                  <a:lnTo>
                    <a:pt x="221767" y="129540"/>
                  </a:lnTo>
                  <a:lnTo>
                    <a:pt x="222148" y="128270"/>
                  </a:lnTo>
                  <a:lnTo>
                    <a:pt x="222885" y="128270"/>
                  </a:lnTo>
                  <a:lnTo>
                    <a:pt x="222885" y="127000"/>
                  </a:lnTo>
                  <a:lnTo>
                    <a:pt x="224688" y="127000"/>
                  </a:lnTo>
                  <a:lnTo>
                    <a:pt x="224828" y="125730"/>
                  </a:lnTo>
                  <a:lnTo>
                    <a:pt x="225056" y="125730"/>
                  </a:lnTo>
                  <a:lnTo>
                    <a:pt x="225348" y="124460"/>
                  </a:lnTo>
                  <a:lnTo>
                    <a:pt x="225590" y="124460"/>
                  </a:lnTo>
                  <a:lnTo>
                    <a:pt x="226504" y="123190"/>
                  </a:lnTo>
                  <a:lnTo>
                    <a:pt x="227863" y="121920"/>
                  </a:lnTo>
                  <a:lnTo>
                    <a:pt x="228422" y="120650"/>
                  </a:lnTo>
                  <a:lnTo>
                    <a:pt x="229590" y="120650"/>
                  </a:lnTo>
                  <a:lnTo>
                    <a:pt x="229793" y="119380"/>
                  </a:lnTo>
                  <a:lnTo>
                    <a:pt x="230174" y="118110"/>
                  </a:lnTo>
                  <a:lnTo>
                    <a:pt x="230809" y="118110"/>
                  </a:lnTo>
                  <a:lnTo>
                    <a:pt x="231063" y="116840"/>
                  </a:lnTo>
                  <a:lnTo>
                    <a:pt x="231597"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24" y="110490"/>
                  </a:lnTo>
                  <a:lnTo>
                    <a:pt x="237502" y="109220"/>
                  </a:lnTo>
                  <a:lnTo>
                    <a:pt x="237680" y="107950"/>
                  </a:lnTo>
                  <a:lnTo>
                    <a:pt x="238518" y="106680"/>
                  </a:lnTo>
                  <a:lnTo>
                    <a:pt x="239280" y="106680"/>
                  </a:lnTo>
                  <a:lnTo>
                    <a:pt x="239814" y="105410"/>
                  </a:lnTo>
                  <a:lnTo>
                    <a:pt x="239979"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20" y="91440"/>
                  </a:lnTo>
                  <a:lnTo>
                    <a:pt x="253098" y="90170"/>
                  </a:lnTo>
                  <a:lnTo>
                    <a:pt x="254063" y="88900"/>
                  </a:lnTo>
                  <a:lnTo>
                    <a:pt x="254901" y="87630"/>
                  </a:lnTo>
                  <a:lnTo>
                    <a:pt x="255524" y="88900"/>
                  </a:lnTo>
                  <a:lnTo>
                    <a:pt x="255638" y="87630"/>
                  </a:lnTo>
                  <a:lnTo>
                    <a:pt x="255854" y="86360"/>
                  </a:lnTo>
                  <a:lnTo>
                    <a:pt x="256616" y="86360"/>
                  </a:lnTo>
                  <a:lnTo>
                    <a:pt x="257670" y="85090"/>
                  </a:lnTo>
                  <a:lnTo>
                    <a:pt x="258343" y="85090"/>
                  </a:lnTo>
                  <a:lnTo>
                    <a:pt x="258445" y="83820"/>
                  </a:lnTo>
                  <a:lnTo>
                    <a:pt x="260108" y="83820"/>
                  </a:lnTo>
                  <a:lnTo>
                    <a:pt x="260286" y="82550"/>
                  </a:lnTo>
                  <a:lnTo>
                    <a:pt x="261264" y="81280"/>
                  </a:lnTo>
                  <a:lnTo>
                    <a:pt x="261327" y="80010"/>
                  </a:lnTo>
                  <a:lnTo>
                    <a:pt x="263588" y="78740"/>
                  </a:lnTo>
                  <a:lnTo>
                    <a:pt x="263829" y="78740"/>
                  </a:lnTo>
                  <a:lnTo>
                    <a:pt x="263664" y="77470"/>
                  </a:lnTo>
                  <a:lnTo>
                    <a:pt x="264985" y="77470"/>
                  </a:lnTo>
                  <a:lnTo>
                    <a:pt x="265353" y="76200"/>
                  </a:lnTo>
                  <a:lnTo>
                    <a:pt x="265480" y="76200"/>
                  </a:lnTo>
                  <a:lnTo>
                    <a:pt x="266014" y="74930"/>
                  </a:lnTo>
                  <a:lnTo>
                    <a:pt x="268185" y="74930"/>
                  </a:lnTo>
                  <a:lnTo>
                    <a:pt x="267639" y="73660"/>
                  </a:lnTo>
                  <a:lnTo>
                    <a:pt x="268173" y="72390"/>
                  </a:lnTo>
                  <a:lnTo>
                    <a:pt x="270167" y="72390"/>
                  </a:lnTo>
                  <a:lnTo>
                    <a:pt x="271335" y="69850"/>
                  </a:lnTo>
                  <a:lnTo>
                    <a:pt x="273329" y="68580"/>
                  </a:lnTo>
                  <a:lnTo>
                    <a:pt x="274980" y="66040"/>
                  </a:lnTo>
                  <a:lnTo>
                    <a:pt x="275475" y="66040"/>
                  </a:lnTo>
                  <a:lnTo>
                    <a:pt x="276263" y="64770"/>
                  </a:lnTo>
                  <a:lnTo>
                    <a:pt x="276529" y="64770"/>
                  </a:lnTo>
                  <a:lnTo>
                    <a:pt x="276402"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388" y="52070"/>
                  </a:lnTo>
                  <a:lnTo>
                    <a:pt x="287794" y="50800"/>
                  </a:lnTo>
                  <a:lnTo>
                    <a:pt x="288607" y="50800"/>
                  </a:lnTo>
                  <a:lnTo>
                    <a:pt x="289826" y="49530"/>
                  </a:lnTo>
                  <a:lnTo>
                    <a:pt x="288912" y="52070"/>
                  </a:lnTo>
                  <a:lnTo>
                    <a:pt x="290220" y="49530"/>
                  </a:lnTo>
                  <a:lnTo>
                    <a:pt x="292862" y="45720"/>
                  </a:lnTo>
                  <a:lnTo>
                    <a:pt x="293446" y="44450"/>
                  </a:lnTo>
                  <a:lnTo>
                    <a:pt x="293649" y="45720"/>
                  </a:lnTo>
                  <a:lnTo>
                    <a:pt x="294462" y="45720"/>
                  </a:lnTo>
                  <a:lnTo>
                    <a:pt x="294462" y="44450"/>
                  </a:lnTo>
                  <a:lnTo>
                    <a:pt x="294741" y="44450"/>
                  </a:lnTo>
                  <a:lnTo>
                    <a:pt x="295871" y="43180"/>
                  </a:lnTo>
                  <a:lnTo>
                    <a:pt x="296062" y="43180"/>
                  </a:lnTo>
                  <a:lnTo>
                    <a:pt x="295059" y="41910"/>
                  </a:lnTo>
                  <a:lnTo>
                    <a:pt x="297916" y="41910"/>
                  </a:lnTo>
                  <a:lnTo>
                    <a:pt x="297484" y="40640"/>
                  </a:lnTo>
                  <a:lnTo>
                    <a:pt x="296494" y="40640"/>
                  </a:lnTo>
                  <a:lnTo>
                    <a:pt x="297307" y="39370"/>
                  </a:lnTo>
                  <a:lnTo>
                    <a:pt x="297434"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24" y="30480"/>
                  </a:lnTo>
                  <a:lnTo>
                    <a:pt x="308775" y="30480"/>
                  </a:lnTo>
                  <a:lnTo>
                    <a:pt x="311721" y="27940"/>
                  </a:lnTo>
                  <a:lnTo>
                    <a:pt x="317385" y="22860"/>
                  </a:lnTo>
                  <a:lnTo>
                    <a:pt x="318757" y="22860"/>
                  </a:lnTo>
                  <a:lnTo>
                    <a:pt x="317474" y="21590"/>
                  </a:lnTo>
                  <a:lnTo>
                    <a:pt x="318731" y="21590"/>
                  </a:lnTo>
                  <a:lnTo>
                    <a:pt x="319176" y="22860"/>
                  </a:lnTo>
                  <a:lnTo>
                    <a:pt x="319671" y="21590"/>
                  </a:lnTo>
                  <a:lnTo>
                    <a:pt x="320179" y="20320"/>
                  </a:lnTo>
                  <a:lnTo>
                    <a:pt x="321970" y="19050"/>
                  </a:lnTo>
                  <a:lnTo>
                    <a:pt x="324878" y="17780"/>
                  </a:lnTo>
                  <a:lnTo>
                    <a:pt x="325742" y="17780"/>
                  </a:lnTo>
                  <a:lnTo>
                    <a:pt x="326644" y="16510"/>
                  </a:lnTo>
                  <a:lnTo>
                    <a:pt x="327545" y="15240"/>
                  </a:lnTo>
                  <a:lnTo>
                    <a:pt x="328434" y="15240"/>
                  </a:lnTo>
                  <a:lnTo>
                    <a:pt x="329704" y="13970"/>
                  </a:lnTo>
                  <a:lnTo>
                    <a:pt x="328244" y="13970"/>
                  </a:lnTo>
                  <a:lnTo>
                    <a:pt x="327850" y="14020"/>
                  </a:lnTo>
                  <a:lnTo>
                    <a:pt x="327507" y="14173"/>
                  </a:lnTo>
                  <a:lnTo>
                    <a:pt x="327660" y="14262"/>
                  </a:lnTo>
                  <a:lnTo>
                    <a:pt x="326110" y="15240"/>
                  </a:lnTo>
                  <a:lnTo>
                    <a:pt x="326326" y="13970"/>
                  </a:lnTo>
                  <a:lnTo>
                    <a:pt x="327469" y="13970"/>
                  </a:lnTo>
                  <a:lnTo>
                    <a:pt x="327977" y="12700"/>
                  </a:lnTo>
                  <a:lnTo>
                    <a:pt x="329996" y="12700"/>
                  </a:lnTo>
                  <a:lnTo>
                    <a:pt x="330377" y="13970"/>
                  </a:lnTo>
                  <a:lnTo>
                    <a:pt x="331533" y="12700"/>
                  </a:lnTo>
                  <a:lnTo>
                    <a:pt x="330441" y="12700"/>
                  </a:lnTo>
                  <a:lnTo>
                    <a:pt x="330352" y="12306"/>
                  </a:lnTo>
                  <a:lnTo>
                    <a:pt x="332041" y="11785"/>
                  </a:lnTo>
                  <a:lnTo>
                    <a:pt x="332587" y="9982"/>
                  </a:lnTo>
                  <a:lnTo>
                    <a:pt x="332994" y="9690"/>
                  </a:lnTo>
                  <a:lnTo>
                    <a:pt x="333375" y="9918"/>
                  </a:lnTo>
                  <a:close/>
                </a:path>
              </a:pathLst>
            </a:custGeom>
            <a:solidFill>
              <a:srgbClr val="D02929">
                <a:alpha val="53729"/>
              </a:srgbClr>
            </a:solidFill>
          </p:spPr>
          <p:txBody>
            <a:bodyPr wrap="square" lIns="0" tIns="0" rIns="0" bIns="0" rtlCol="0"/>
            <a:lstStyle/>
            <a:p>
              <a:endParaRPr/>
            </a:p>
          </p:txBody>
        </p:sp>
      </p:grpSp>
      <p:sp>
        <p:nvSpPr>
          <p:cNvPr id="10" name="object 10"/>
          <p:cNvSpPr txBox="1"/>
          <p:nvPr/>
        </p:nvSpPr>
        <p:spPr>
          <a:xfrm>
            <a:off x="2605042" y="4485661"/>
            <a:ext cx="1912620" cy="330835"/>
          </a:xfrm>
          <a:prstGeom prst="rect">
            <a:avLst/>
          </a:prstGeom>
        </p:spPr>
        <p:txBody>
          <a:bodyPr vert="horz" wrap="square" lIns="0" tIns="12700" rIns="0" bIns="0" rtlCol="0">
            <a:spAutoFit/>
          </a:bodyPr>
          <a:lstStyle/>
          <a:p>
            <a:pPr marL="12700">
              <a:lnSpc>
                <a:spcPct val="100000"/>
              </a:lnSpc>
              <a:spcBef>
                <a:spcPts val="100"/>
              </a:spcBef>
            </a:pPr>
            <a:r>
              <a:rPr sz="2000" b="1" spc="-10" dirty="0">
                <a:solidFill>
                  <a:srgbClr val="FFFFFF"/>
                </a:solidFill>
                <a:latin typeface="Roboto"/>
                <a:cs typeface="Roboto"/>
              </a:rPr>
              <a:t>CONOCIMIENTO</a:t>
            </a:r>
            <a:endParaRPr sz="2000">
              <a:latin typeface="Roboto"/>
              <a:cs typeface="Roboto"/>
            </a:endParaRPr>
          </a:p>
        </p:txBody>
      </p:sp>
      <p:grpSp>
        <p:nvGrpSpPr>
          <p:cNvPr id="11" name="object 11"/>
          <p:cNvGrpSpPr/>
          <p:nvPr/>
        </p:nvGrpSpPr>
        <p:grpSpPr>
          <a:xfrm>
            <a:off x="7147104" y="3766221"/>
            <a:ext cx="3247390" cy="1437640"/>
            <a:chOff x="7147104" y="3766221"/>
            <a:chExt cx="3247390" cy="1437640"/>
          </a:xfrm>
        </p:grpSpPr>
        <p:sp>
          <p:nvSpPr>
            <p:cNvPr id="12" name="object 12"/>
            <p:cNvSpPr/>
            <p:nvPr/>
          </p:nvSpPr>
          <p:spPr>
            <a:xfrm>
              <a:off x="7147104" y="4119880"/>
              <a:ext cx="3247390" cy="1083945"/>
            </a:xfrm>
            <a:custGeom>
              <a:avLst/>
              <a:gdLst/>
              <a:ahLst/>
              <a:cxnLst/>
              <a:rect l="l" t="t" r="r" b="b"/>
              <a:pathLst>
                <a:path w="3247390" h="1083945">
                  <a:moveTo>
                    <a:pt x="2764917" y="1083556"/>
                  </a:moveTo>
                  <a:lnTo>
                    <a:pt x="485774" y="1083556"/>
                  </a:lnTo>
                  <a:lnTo>
                    <a:pt x="437762" y="1081179"/>
                  </a:lnTo>
                  <a:lnTo>
                    <a:pt x="390562" y="1074135"/>
                  </a:lnTo>
                  <a:lnTo>
                    <a:pt x="344494" y="1062558"/>
                  </a:lnTo>
                  <a:lnTo>
                    <a:pt x="299877" y="1046578"/>
                  </a:lnTo>
                  <a:lnTo>
                    <a:pt x="257028" y="1026328"/>
                  </a:lnTo>
                  <a:lnTo>
                    <a:pt x="216266" y="1001940"/>
                  </a:lnTo>
                  <a:lnTo>
                    <a:pt x="177911" y="973545"/>
                  </a:lnTo>
                  <a:lnTo>
                    <a:pt x="142280" y="941275"/>
                  </a:lnTo>
                  <a:lnTo>
                    <a:pt x="110010" y="905644"/>
                  </a:lnTo>
                  <a:lnTo>
                    <a:pt x="81616" y="867289"/>
                  </a:lnTo>
                  <a:lnTo>
                    <a:pt x="57227" y="826527"/>
                  </a:lnTo>
                  <a:lnTo>
                    <a:pt x="36977" y="783679"/>
                  </a:lnTo>
                  <a:lnTo>
                    <a:pt x="20997" y="739061"/>
                  </a:lnTo>
                  <a:lnTo>
                    <a:pt x="9420" y="692993"/>
                  </a:lnTo>
                  <a:lnTo>
                    <a:pt x="2377" y="645794"/>
                  </a:lnTo>
                  <a:lnTo>
                    <a:pt x="0" y="597781"/>
                  </a:lnTo>
                  <a:lnTo>
                    <a:pt x="0" y="485774"/>
                  </a:lnTo>
                  <a:lnTo>
                    <a:pt x="2377" y="437762"/>
                  </a:lnTo>
                  <a:lnTo>
                    <a:pt x="9420" y="390562"/>
                  </a:lnTo>
                  <a:lnTo>
                    <a:pt x="20997" y="344494"/>
                  </a:lnTo>
                  <a:lnTo>
                    <a:pt x="36977" y="299876"/>
                  </a:lnTo>
                  <a:lnTo>
                    <a:pt x="57227" y="257028"/>
                  </a:lnTo>
                  <a:lnTo>
                    <a:pt x="81616" y="216266"/>
                  </a:lnTo>
                  <a:lnTo>
                    <a:pt x="110010" y="177911"/>
                  </a:lnTo>
                  <a:lnTo>
                    <a:pt x="142280" y="142280"/>
                  </a:lnTo>
                  <a:lnTo>
                    <a:pt x="177911" y="110010"/>
                  </a:lnTo>
                  <a:lnTo>
                    <a:pt x="216266" y="81615"/>
                  </a:lnTo>
                  <a:lnTo>
                    <a:pt x="257028" y="57227"/>
                  </a:lnTo>
                  <a:lnTo>
                    <a:pt x="299877" y="36977"/>
                  </a:lnTo>
                  <a:lnTo>
                    <a:pt x="344494" y="20997"/>
                  </a:lnTo>
                  <a:lnTo>
                    <a:pt x="390562" y="9420"/>
                  </a:lnTo>
                  <a:lnTo>
                    <a:pt x="437762" y="2377"/>
                  </a:lnTo>
                  <a:lnTo>
                    <a:pt x="485774" y="0"/>
                  </a:lnTo>
                  <a:lnTo>
                    <a:pt x="2764917" y="0"/>
                  </a:lnTo>
                  <a:lnTo>
                    <a:pt x="2812930" y="2377"/>
                  </a:lnTo>
                  <a:lnTo>
                    <a:pt x="2860130" y="9420"/>
                  </a:lnTo>
                  <a:lnTo>
                    <a:pt x="2906198" y="20997"/>
                  </a:lnTo>
                  <a:lnTo>
                    <a:pt x="2950815" y="36977"/>
                  </a:lnTo>
                  <a:lnTo>
                    <a:pt x="2993664" y="57227"/>
                  </a:lnTo>
                  <a:lnTo>
                    <a:pt x="3034425" y="81615"/>
                  </a:lnTo>
                  <a:lnTo>
                    <a:pt x="3072781" y="110010"/>
                  </a:lnTo>
                  <a:lnTo>
                    <a:pt x="3108412" y="142280"/>
                  </a:lnTo>
                  <a:lnTo>
                    <a:pt x="3140681" y="177911"/>
                  </a:lnTo>
                  <a:lnTo>
                    <a:pt x="3169076" y="216266"/>
                  </a:lnTo>
                  <a:lnTo>
                    <a:pt x="3193465" y="257028"/>
                  </a:lnTo>
                  <a:lnTo>
                    <a:pt x="3213715" y="299876"/>
                  </a:lnTo>
                  <a:lnTo>
                    <a:pt x="3229695" y="344494"/>
                  </a:lnTo>
                  <a:lnTo>
                    <a:pt x="3241272" y="390562"/>
                  </a:lnTo>
                  <a:lnTo>
                    <a:pt x="3246834" y="427832"/>
                  </a:lnTo>
                  <a:lnTo>
                    <a:pt x="3246834" y="655724"/>
                  </a:lnTo>
                  <a:lnTo>
                    <a:pt x="3229695" y="739061"/>
                  </a:lnTo>
                  <a:lnTo>
                    <a:pt x="3213715" y="783679"/>
                  </a:lnTo>
                  <a:lnTo>
                    <a:pt x="3193465" y="826527"/>
                  </a:lnTo>
                  <a:lnTo>
                    <a:pt x="3169076" y="867289"/>
                  </a:lnTo>
                  <a:lnTo>
                    <a:pt x="3140681" y="905644"/>
                  </a:lnTo>
                  <a:lnTo>
                    <a:pt x="3108412" y="941275"/>
                  </a:lnTo>
                  <a:lnTo>
                    <a:pt x="3072781" y="973545"/>
                  </a:lnTo>
                  <a:lnTo>
                    <a:pt x="3034425" y="1001940"/>
                  </a:lnTo>
                  <a:lnTo>
                    <a:pt x="2993664" y="1026328"/>
                  </a:lnTo>
                  <a:lnTo>
                    <a:pt x="2950815" y="1046578"/>
                  </a:lnTo>
                  <a:lnTo>
                    <a:pt x="2906198" y="1062558"/>
                  </a:lnTo>
                  <a:lnTo>
                    <a:pt x="2860130" y="1074135"/>
                  </a:lnTo>
                  <a:lnTo>
                    <a:pt x="2812930" y="1081179"/>
                  </a:lnTo>
                  <a:lnTo>
                    <a:pt x="2764917" y="1083556"/>
                  </a:lnTo>
                  <a:close/>
                </a:path>
              </a:pathLst>
            </a:custGeom>
            <a:solidFill>
              <a:srgbClr val="21408B">
                <a:alpha val="53729"/>
              </a:srgbClr>
            </a:solidFill>
          </p:spPr>
          <p:txBody>
            <a:bodyPr wrap="square" lIns="0" tIns="0" rIns="0" bIns="0" rtlCol="0"/>
            <a:lstStyle/>
            <a:p>
              <a:endParaRPr/>
            </a:p>
          </p:txBody>
        </p:sp>
        <p:sp>
          <p:nvSpPr>
            <p:cNvPr id="13" name="object 13"/>
            <p:cNvSpPr/>
            <p:nvPr/>
          </p:nvSpPr>
          <p:spPr>
            <a:xfrm>
              <a:off x="8474074" y="3766221"/>
              <a:ext cx="539750" cy="539750"/>
            </a:xfrm>
            <a:custGeom>
              <a:avLst/>
              <a:gdLst/>
              <a:ahLst/>
              <a:cxnLst/>
              <a:rect l="l" t="t" r="r" b="b"/>
              <a:pathLst>
                <a:path w="539750" h="539750">
                  <a:moveTo>
                    <a:pt x="269808" y="539602"/>
                  </a:moveTo>
                  <a:lnTo>
                    <a:pt x="221304" y="535256"/>
                  </a:lnTo>
                  <a:lnTo>
                    <a:pt x="175658" y="522723"/>
                  </a:lnTo>
                  <a:lnTo>
                    <a:pt x="133627" y="502767"/>
                  </a:lnTo>
                  <a:lnTo>
                    <a:pt x="95971" y="476149"/>
                  </a:lnTo>
                  <a:lnTo>
                    <a:pt x="63453" y="443631"/>
                  </a:lnTo>
                  <a:lnTo>
                    <a:pt x="36835" y="405975"/>
                  </a:lnTo>
                  <a:lnTo>
                    <a:pt x="16879" y="363944"/>
                  </a:lnTo>
                  <a:lnTo>
                    <a:pt x="4346" y="318298"/>
                  </a:lnTo>
                  <a:lnTo>
                    <a:pt x="0" y="269800"/>
                  </a:lnTo>
                  <a:lnTo>
                    <a:pt x="4346" y="221304"/>
                  </a:lnTo>
                  <a:lnTo>
                    <a:pt x="16879" y="175659"/>
                  </a:lnTo>
                  <a:lnTo>
                    <a:pt x="36835" y="133627"/>
                  </a:lnTo>
                  <a:lnTo>
                    <a:pt x="63453" y="95971"/>
                  </a:lnTo>
                  <a:lnTo>
                    <a:pt x="95971" y="63453"/>
                  </a:lnTo>
                  <a:lnTo>
                    <a:pt x="133627" y="36835"/>
                  </a:lnTo>
                  <a:lnTo>
                    <a:pt x="175658" y="16879"/>
                  </a:lnTo>
                  <a:lnTo>
                    <a:pt x="221304" y="4346"/>
                  </a:lnTo>
                  <a:lnTo>
                    <a:pt x="269801" y="0"/>
                  </a:lnTo>
                  <a:lnTo>
                    <a:pt x="318298" y="4346"/>
                  </a:lnTo>
                  <a:lnTo>
                    <a:pt x="363944" y="16879"/>
                  </a:lnTo>
                  <a:lnTo>
                    <a:pt x="405975" y="36835"/>
                  </a:lnTo>
                  <a:lnTo>
                    <a:pt x="443631" y="63453"/>
                  </a:lnTo>
                  <a:lnTo>
                    <a:pt x="476149" y="95971"/>
                  </a:lnTo>
                  <a:lnTo>
                    <a:pt x="502767" y="133627"/>
                  </a:lnTo>
                  <a:lnTo>
                    <a:pt x="522723" y="175659"/>
                  </a:lnTo>
                  <a:lnTo>
                    <a:pt x="535256" y="221304"/>
                  </a:lnTo>
                  <a:lnTo>
                    <a:pt x="539602" y="269801"/>
                  </a:lnTo>
                  <a:lnTo>
                    <a:pt x="535256" y="318298"/>
                  </a:lnTo>
                  <a:lnTo>
                    <a:pt x="522723" y="363944"/>
                  </a:lnTo>
                  <a:lnTo>
                    <a:pt x="502767" y="405975"/>
                  </a:lnTo>
                  <a:lnTo>
                    <a:pt x="476149" y="443631"/>
                  </a:lnTo>
                  <a:lnTo>
                    <a:pt x="443631" y="476149"/>
                  </a:lnTo>
                  <a:lnTo>
                    <a:pt x="405975" y="502767"/>
                  </a:lnTo>
                  <a:lnTo>
                    <a:pt x="363944" y="522723"/>
                  </a:lnTo>
                  <a:lnTo>
                    <a:pt x="318298" y="535256"/>
                  </a:lnTo>
                  <a:lnTo>
                    <a:pt x="269808" y="539602"/>
                  </a:lnTo>
                  <a:close/>
                </a:path>
              </a:pathLst>
            </a:custGeom>
            <a:solidFill>
              <a:srgbClr val="FFFFFF">
                <a:alpha val="53729"/>
              </a:srgbClr>
            </a:solidFill>
          </p:spPr>
          <p:txBody>
            <a:bodyPr wrap="square" lIns="0" tIns="0" rIns="0" bIns="0" rtlCol="0"/>
            <a:lstStyle/>
            <a:p>
              <a:endParaRPr/>
            </a:p>
          </p:txBody>
        </p:sp>
        <p:sp>
          <p:nvSpPr>
            <p:cNvPr id="14" name="object 14"/>
            <p:cNvSpPr/>
            <p:nvPr/>
          </p:nvSpPr>
          <p:spPr>
            <a:xfrm>
              <a:off x="8575802" y="3845546"/>
              <a:ext cx="333375" cy="379730"/>
            </a:xfrm>
            <a:custGeom>
              <a:avLst/>
              <a:gdLst/>
              <a:ahLst/>
              <a:cxnLst/>
              <a:rect l="l" t="t" r="r" b="b"/>
              <a:pathLst>
                <a:path w="333375" h="379729">
                  <a:moveTo>
                    <a:pt x="4495" y="313651"/>
                  </a:moveTo>
                  <a:lnTo>
                    <a:pt x="4279" y="313867"/>
                  </a:lnTo>
                  <a:lnTo>
                    <a:pt x="3886" y="314325"/>
                  </a:lnTo>
                  <a:lnTo>
                    <a:pt x="4013" y="314566"/>
                  </a:lnTo>
                  <a:lnTo>
                    <a:pt x="4381" y="314566"/>
                  </a:lnTo>
                  <a:lnTo>
                    <a:pt x="4457" y="314134"/>
                  </a:lnTo>
                  <a:lnTo>
                    <a:pt x="4495" y="313651"/>
                  </a:lnTo>
                  <a:close/>
                </a:path>
                <a:path w="333375" h="379729">
                  <a:moveTo>
                    <a:pt x="9702" y="230454"/>
                  </a:moveTo>
                  <a:lnTo>
                    <a:pt x="9690" y="230314"/>
                  </a:lnTo>
                  <a:lnTo>
                    <a:pt x="9652" y="230124"/>
                  </a:lnTo>
                  <a:lnTo>
                    <a:pt x="9448" y="229920"/>
                  </a:lnTo>
                  <a:lnTo>
                    <a:pt x="9309" y="230009"/>
                  </a:lnTo>
                  <a:lnTo>
                    <a:pt x="9245" y="230187"/>
                  </a:lnTo>
                  <a:lnTo>
                    <a:pt x="9296" y="230327"/>
                  </a:lnTo>
                  <a:lnTo>
                    <a:pt x="9321" y="230492"/>
                  </a:lnTo>
                  <a:lnTo>
                    <a:pt x="9563" y="230733"/>
                  </a:lnTo>
                  <a:lnTo>
                    <a:pt x="9702" y="230670"/>
                  </a:lnTo>
                  <a:lnTo>
                    <a:pt x="9702" y="230454"/>
                  </a:lnTo>
                  <a:close/>
                </a:path>
                <a:path w="333375" h="379729">
                  <a:moveTo>
                    <a:pt x="23914" y="371017"/>
                  </a:moveTo>
                  <a:lnTo>
                    <a:pt x="23825" y="370611"/>
                  </a:lnTo>
                  <a:lnTo>
                    <a:pt x="23685" y="370700"/>
                  </a:lnTo>
                  <a:lnTo>
                    <a:pt x="23774" y="371094"/>
                  </a:lnTo>
                  <a:lnTo>
                    <a:pt x="23914" y="371017"/>
                  </a:lnTo>
                  <a:close/>
                </a:path>
                <a:path w="333375" h="379729">
                  <a:moveTo>
                    <a:pt x="38735" y="223278"/>
                  </a:moveTo>
                  <a:lnTo>
                    <a:pt x="38696" y="222948"/>
                  </a:lnTo>
                  <a:lnTo>
                    <a:pt x="38557" y="222872"/>
                  </a:lnTo>
                  <a:lnTo>
                    <a:pt x="38328" y="223062"/>
                  </a:lnTo>
                  <a:lnTo>
                    <a:pt x="38227" y="223266"/>
                  </a:lnTo>
                  <a:lnTo>
                    <a:pt x="38150" y="223685"/>
                  </a:lnTo>
                  <a:lnTo>
                    <a:pt x="38303" y="223951"/>
                  </a:lnTo>
                  <a:lnTo>
                    <a:pt x="38557" y="223761"/>
                  </a:lnTo>
                  <a:lnTo>
                    <a:pt x="38646" y="223456"/>
                  </a:lnTo>
                  <a:lnTo>
                    <a:pt x="38735" y="223278"/>
                  </a:lnTo>
                  <a:close/>
                </a:path>
                <a:path w="333375" h="379729">
                  <a:moveTo>
                    <a:pt x="41998" y="222072"/>
                  </a:moveTo>
                  <a:lnTo>
                    <a:pt x="41884" y="221488"/>
                  </a:lnTo>
                  <a:lnTo>
                    <a:pt x="41795" y="221297"/>
                  </a:lnTo>
                  <a:lnTo>
                    <a:pt x="41579" y="220941"/>
                  </a:lnTo>
                  <a:lnTo>
                    <a:pt x="41427" y="220980"/>
                  </a:lnTo>
                  <a:lnTo>
                    <a:pt x="41122" y="222224"/>
                  </a:lnTo>
                  <a:lnTo>
                    <a:pt x="40817" y="223139"/>
                  </a:lnTo>
                  <a:lnTo>
                    <a:pt x="40322" y="224180"/>
                  </a:lnTo>
                  <a:lnTo>
                    <a:pt x="40309" y="224370"/>
                  </a:lnTo>
                  <a:lnTo>
                    <a:pt x="40500" y="224434"/>
                  </a:lnTo>
                  <a:lnTo>
                    <a:pt x="40754" y="224447"/>
                  </a:lnTo>
                  <a:lnTo>
                    <a:pt x="41998" y="222072"/>
                  </a:lnTo>
                  <a:close/>
                </a:path>
                <a:path w="333375" h="379729">
                  <a:moveTo>
                    <a:pt x="44716" y="229870"/>
                  </a:moveTo>
                  <a:lnTo>
                    <a:pt x="43853" y="228600"/>
                  </a:lnTo>
                  <a:lnTo>
                    <a:pt x="42506" y="227330"/>
                  </a:lnTo>
                  <a:lnTo>
                    <a:pt x="41287" y="228600"/>
                  </a:lnTo>
                  <a:lnTo>
                    <a:pt x="40982" y="228600"/>
                  </a:lnTo>
                  <a:lnTo>
                    <a:pt x="40716" y="229870"/>
                  </a:lnTo>
                  <a:lnTo>
                    <a:pt x="40551" y="228600"/>
                  </a:lnTo>
                  <a:lnTo>
                    <a:pt x="40170" y="228600"/>
                  </a:lnTo>
                  <a:lnTo>
                    <a:pt x="40640" y="227330"/>
                  </a:lnTo>
                  <a:lnTo>
                    <a:pt x="40957" y="227330"/>
                  </a:lnTo>
                  <a:lnTo>
                    <a:pt x="40932" y="226060"/>
                  </a:lnTo>
                  <a:lnTo>
                    <a:pt x="41021" y="224790"/>
                  </a:lnTo>
                  <a:lnTo>
                    <a:pt x="39814" y="226060"/>
                  </a:lnTo>
                  <a:lnTo>
                    <a:pt x="39814" y="231140"/>
                  </a:lnTo>
                  <a:lnTo>
                    <a:pt x="39433" y="231140"/>
                  </a:lnTo>
                  <a:lnTo>
                    <a:pt x="39293" y="229870"/>
                  </a:lnTo>
                  <a:lnTo>
                    <a:pt x="39598" y="229870"/>
                  </a:lnTo>
                  <a:lnTo>
                    <a:pt x="39814" y="231140"/>
                  </a:lnTo>
                  <a:lnTo>
                    <a:pt x="39814" y="226060"/>
                  </a:lnTo>
                  <a:lnTo>
                    <a:pt x="39293" y="226060"/>
                  </a:lnTo>
                  <a:lnTo>
                    <a:pt x="38328" y="224510"/>
                  </a:lnTo>
                  <a:lnTo>
                    <a:pt x="38328" y="231140"/>
                  </a:lnTo>
                  <a:lnTo>
                    <a:pt x="38188" y="232410"/>
                  </a:lnTo>
                  <a:lnTo>
                    <a:pt x="37985" y="232410"/>
                  </a:lnTo>
                  <a:lnTo>
                    <a:pt x="37985" y="231140"/>
                  </a:lnTo>
                  <a:lnTo>
                    <a:pt x="38328" y="231140"/>
                  </a:lnTo>
                  <a:lnTo>
                    <a:pt x="38328" y="224510"/>
                  </a:lnTo>
                  <a:lnTo>
                    <a:pt x="37719" y="223520"/>
                  </a:lnTo>
                  <a:lnTo>
                    <a:pt x="37592" y="222250"/>
                  </a:lnTo>
                  <a:lnTo>
                    <a:pt x="37058" y="220980"/>
                  </a:lnTo>
                  <a:lnTo>
                    <a:pt x="36893" y="220980"/>
                  </a:lnTo>
                  <a:lnTo>
                    <a:pt x="37325" y="219710"/>
                  </a:lnTo>
                  <a:lnTo>
                    <a:pt x="37592" y="219710"/>
                  </a:lnTo>
                  <a:lnTo>
                    <a:pt x="38163" y="220980"/>
                  </a:lnTo>
                  <a:lnTo>
                    <a:pt x="38862" y="220980"/>
                  </a:lnTo>
                  <a:lnTo>
                    <a:pt x="39776" y="222250"/>
                  </a:lnTo>
                  <a:lnTo>
                    <a:pt x="40271" y="222250"/>
                  </a:lnTo>
                  <a:lnTo>
                    <a:pt x="40944" y="220980"/>
                  </a:lnTo>
                  <a:lnTo>
                    <a:pt x="40220" y="220980"/>
                  </a:lnTo>
                  <a:lnTo>
                    <a:pt x="39712" y="219710"/>
                  </a:lnTo>
                  <a:lnTo>
                    <a:pt x="38176" y="219710"/>
                  </a:lnTo>
                  <a:lnTo>
                    <a:pt x="38265" y="218440"/>
                  </a:lnTo>
                  <a:lnTo>
                    <a:pt x="38633" y="217170"/>
                  </a:lnTo>
                  <a:lnTo>
                    <a:pt x="39001" y="215900"/>
                  </a:lnTo>
                  <a:lnTo>
                    <a:pt x="38735" y="214630"/>
                  </a:lnTo>
                  <a:lnTo>
                    <a:pt x="37236" y="214630"/>
                  </a:lnTo>
                  <a:lnTo>
                    <a:pt x="36715" y="213360"/>
                  </a:lnTo>
                  <a:lnTo>
                    <a:pt x="36309" y="212090"/>
                  </a:lnTo>
                  <a:lnTo>
                    <a:pt x="35471" y="213360"/>
                  </a:lnTo>
                  <a:lnTo>
                    <a:pt x="35255" y="213360"/>
                  </a:lnTo>
                  <a:lnTo>
                    <a:pt x="35407" y="214630"/>
                  </a:lnTo>
                  <a:lnTo>
                    <a:pt x="35725" y="215900"/>
                  </a:lnTo>
                  <a:lnTo>
                    <a:pt x="35712" y="224790"/>
                  </a:lnTo>
                  <a:lnTo>
                    <a:pt x="35712" y="226060"/>
                  </a:lnTo>
                  <a:lnTo>
                    <a:pt x="35661" y="224790"/>
                  </a:lnTo>
                  <a:lnTo>
                    <a:pt x="35712" y="215900"/>
                  </a:lnTo>
                  <a:lnTo>
                    <a:pt x="35318" y="215900"/>
                  </a:lnTo>
                  <a:lnTo>
                    <a:pt x="35229" y="217170"/>
                  </a:lnTo>
                  <a:lnTo>
                    <a:pt x="34709" y="217170"/>
                  </a:lnTo>
                  <a:lnTo>
                    <a:pt x="34759" y="215900"/>
                  </a:lnTo>
                  <a:lnTo>
                    <a:pt x="34772" y="214630"/>
                  </a:lnTo>
                  <a:lnTo>
                    <a:pt x="34163" y="213360"/>
                  </a:lnTo>
                  <a:lnTo>
                    <a:pt x="33832" y="213360"/>
                  </a:lnTo>
                  <a:lnTo>
                    <a:pt x="33832" y="226060"/>
                  </a:lnTo>
                  <a:lnTo>
                    <a:pt x="33388" y="226060"/>
                  </a:lnTo>
                  <a:lnTo>
                    <a:pt x="33172" y="224790"/>
                  </a:lnTo>
                  <a:lnTo>
                    <a:pt x="31496" y="224790"/>
                  </a:lnTo>
                  <a:lnTo>
                    <a:pt x="31242" y="223520"/>
                  </a:lnTo>
                  <a:lnTo>
                    <a:pt x="32118" y="223520"/>
                  </a:lnTo>
                  <a:lnTo>
                    <a:pt x="32550" y="222250"/>
                  </a:lnTo>
                  <a:lnTo>
                    <a:pt x="32994" y="223520"/>
                  </a:lnTo>
                  <a:lnTo>
                    <a:pt x="33464" y="223520"/>
                  </a:lnTo>
                  <a:lnTo>
                    <a:pt x="33604" y="224790"/>
                  </a:lnTo>
                  <a:lnTo>
                    <a:pt x="33832" y="226060"/>
                  </a:lnTo>
                  <a:lnTo>
                    <a:pt x="33832" y="213360"/>
                  </a:lnTo>
                  <a:lnTo>
                    <a:pt x="32791" y="213360"/>
                  </a:lnTo>
                  <a:lnTo>
                    <a:pt x="32054" y="214630"/>
                  </a:lnTo>
                  <a:lnTo>
                    <a:pt x="30010" y="214630"/>
                  </a:lnTo>
                  <a:lnTo>
                    <a:pt x="29806" y="213360"/>
                  </a:lnTo>
                  <a:lnTo>
                    <a:pt x="29222" y="213360"/>
                  </a:lnTo>
                  <a:lnTo>
                    <a:pt x="28613" y="212090"/>
                  </a:lnTo>
                  <a:lnTo>
                    <a:pt x="27355" y="213360"/>
                  </a:lnTo>
                  <a:lnTo>
                    <a:pt x="27038" y="213360"/>
                  </a:lnTo>
                  <a:lnTo>
                    <a:pt x="27292" y="214630"/>
                  </a:lnTo>
                  <a:lnTo>
                    <a:pt x="27762" y="215900"/>
                  </a:lnTo>
                  <a:lnTo>
                    <a:pt x="27165" y="215900"/>
                  </a:lnTo>
                  <a:lnTo>
                    <a:pt x="27051" y="217170"/>
                  </a:lnTo>
                  <a:lnTo>
                    <a:pt x="26263" y="217170"/>
                  </a:lnTo>
                  <a:lnTo>
                    <a:pt x="26327" y="215900"/>
                  </a:lnTo>
                  <a:lnTo>
                    <a:pt x="26314" y="214630"/>
                  </a:lnTo>
                  <a:lnTo>
                    <a:pt x="25412" y="213360"/>
                  </a:lnTo>
                  <a:lnTo>
                    <a:pt x="24650" y="213360"/>
                  </a:lnTo>
                  <a:lnTo>
                    <a:pt x="24650" y="224790"/>
                  </a:lnTo>
                  <a:lnTo>
                    <a:pt x="24384" y="224790"/>
                  </a:lnTo>
                  <a:lnTo>
                    <a:pt x="24638" y="226060"/>
                  </a:lnTo>
                  <a:lnTo>
                    <a:pt x="23990" y="226060"/>
                  </a:lnTo>
                  <a:lnTo>
                    <a:pt x="24066" y="224790"/>
                  </a:lnTo>
                  <a:lnTo>
                    <a:pt x="22796" y="224790"/>
                  </a:lnTo>
                  <a:lnTo>
                    <a:pt x="22606" y="226060"/>
                  </a:lnTo>
                  <a:lnTo>
                    <a:pt x="21234" y="226060"/>
                  </a:lnTo>
                  <a:lnTo>
                    <a:pt x="20891" y="224790"/>
                  </a:lnTo>
                  <a:lnTo>
                    <a:pt x="20447" y="224790"/>
                  </a:lnTo>
                  <a:lnTo>
                    <a:pt x="20993" y="223520"/>
                  </a:lnTo>
                  <a:lnTo>
                    <a:pt x="22415" y="223520"/>
                  </a:lnTo>
                  <a:lnTo>
                    <a:pt x="23075" y="222250"/>
                  </a:lnTo>
                  <a:lnTo>
                    <a:pt x="23723" y="223520"/>
                  </a:lnTo>
                  <a:lnTo>
                    <a:pt x="24447" y="223520"/>
                  </a:lnTo>
                  <a:lnTo>
                    <a:pt x="24650" y="224790"/>
                  </a:lnTo>
                  <a:lnTo>
                    <a:pt x="24650" y="213360"/>
                  </a:lnTo>
                  <a:lnTo>
                    <a:pt x="23329" y="213360"/>
                  </a:lnTo>
                  <a:lnTo>
                    <a:pt x="21869" y="214630"/>
                  </a:lnTo>
                  <a:lnTo>
                    <a:pt x="20967" y="215900"/>
                  </a:lnTo>
                  <a:lnTo>
                    <a:pt x="19748" y="217170"/>
                  </a:lnTo>
                  <a:lnTo>
                    <a:pt x="19545" y="217170"/>
                  </a:lnTo>
                  <a:lnTo>
                    <a:pt x="17907" y="214630"/>
                  </a:lnTo>
                  <a:lnTo>
                    <a:pt x="16802" y="215900"/>
                  </a:lnTo>
                  <a:lnTo>
                    <a:pt x="16471" y="218440"/>
                  </a:lnTo>
                  <a:lnTo>
                    <a:pt x="16421" y="219710"/>
                  </a:lnTo>
                  <a:lnTo>
                    <a:pt x="13830" y="218440"/>
                  </a:lnTo>
                  <a:lnTo>
                    <a:pt x="13970" y="219710"/>
                  </a:lnTo>
                  <a:lnTo>
                    <a:pt x="14757" y="220980"/>
                  </a:lnTo>
                  <a:lnTo>
                    <a:pt x="15468" y="223520"/>
                  </a:lnTo>
                  <a:lnTo>
                    <a:pt x="15341" y="224790"/>
                  </a:lnTo>
                  <a:lnTo>
                    <a:pt x="14617" y="224790"/>
                  </a:lnTo>
                  <a:lnTo>
                    <a:pt x="14401" y="223520"/>
                  </a:lnTo>
                  <a:lnTo>
                    <a:pt x="14122" y="222250"/>
                  </a:lnTo>
                  <a:lnTo>
                    <a:pt x="12827" y="220980"/>
                  </a:lnTo>
                  <a:lnTo>
                    <a:pt x="11645" y="220980"/>
                  </a:lnTo>
                  <a:lnTo>
                    <a:pt x="11518" y="223520"/>
                  </a:lnTo>
                  <a:lnTo>
                    <a:pt x="13627" y="223520"/>
                  </a:lnTo>
                  <a:lnTo>
                    <a:pt x="12230" y="224790"/>
                  </a:lnTo>
                  <a:lnTo>
                    <a:pt x="10706" y="224790"/>
                  </a:lnTo>
                  <a:lnTo>
                    <a:pt x="11620" y="227330"/>
                  </a:lnTo>
                  <a:lnTo>
                    <a:pt x="11595" y="228600"/>
                  </a:lnTo>
                  <a:lnTo>
                    <a:pt x="11163" y="232410"/>
                  </a:lnTo>
                  <a:lnTo>
                    <a:pt x="9156" y="233680"/>
                  </a:lnTo>
                  <a:lnTo>
                    <a:pt x="7480" y="234950"/>
                  </a:lnTo>
                  <a:lnTo>
                    <a:pt x="7696" y="236220"/>
                  </a:lnTo>
                  <a:lnTo>
                    <a:pt x="6769" y="237490"/>
                  </a:lnTo>
                  <a:lnTo>
                    <a:pt x="5207" y="237490"/>
                  </a:lnTo>
                  <a:lnTo>
                    <a:pt x="4699" y="238760"/>
                  </a:lnTo>
                  <a:lnTo>
                    <a:pt x="3937" y="241300"/>
                  </a:lnTo>
                  <a:lnTo>
                    <a:pt x="1714" y="243840"/>
                  </a:lnTo>
                  <a:lnTo>
                    <a:pt x="800" y="243840"/>
                  </a:lnTo>
                  <a:lnTo>
                    <a:pt x="1193" y="245110"/>
                  </a:lnTo>
                  <a:lnTo>
                    <a:pt x="4064" y="245110"/>
                  </a:lnTo>
                  <a:lnTo>
                    <a:pt x="44500" y="245110"/>
                  </a:lnTo>
                  <a:lnTo>
                    <a:pt x="44500" y="243840"/>
                  </a:lnTo>
                  <a:lnTo>
                    <a:pt x="43903" y="241300"/>
                  </a:lnTo>
                  <a:lnTo>
                    <a:pt x="43738" y="240030"/>
                  </a:lnTo>
                  <a:lnTo>
                    <a:pt x="42659" y="240030"/>
                  </a:lnTo>
                  <a:lnTo>
                    <a:pt x="43180" y="238760"/>
                  </a:lnTo>
                  <a:lnTo>
                    <a:pt x="43662" y="238760"/>
                  </a:lnTo>
                  <a:lnTo>
                    <a:pt x="44030" y="236220"/>
                  </a:lnTo>
                  <a:lnTo>
                    <a:pt x="44018" y="234950"/>
                  </a:lnTo>
                  <a:lnTo>
                    <a:pt x="44145" y="233680"/>
                  </a:lnTo>
                  <a:lnTo>
                    <a:pt x="44259" y="232410"/>
                  </a:lnTo>
                  <a:lnTo>
                    <a:pt x="43624" y="232410"/>
                  </a:lnTo>
                  <a:lnTo>
                    <a:pt x="41135" y="232410"/>
                  </a:lnTo>
                  <a:lnTo>
                    <a:pt x="41135" y="234950"/>
                  </a:lnTo>
                  <a:lnTo>
                    <a:pt x="40538" y="234950"/>
                  </a:lnTo>
                  <a:lnTo>
                    <a:pt x="40551" y="233680"/>
                  </a:lnTo>
                  <a:lnTo>
                    <a:pt x="41071" y="233680"/>
                  </a:lnTo>
                  <a:lnTo>
                    <a:pt x="41135" y="234950"/>
                  </a:lnTo>
                  <a:lnTo>
                    <a:pt x="41135" y="232410"/>
                  </a:lnTo>
                  <a:lnTo>
                    <a:pt x="40640" y="232410"/>
                  </a:lnTo>
                  <a:lnTo>
                    <a:pt x="40894" y="231140"/>
                  </a:lnTo>
                  <a:lnTo>
                    <a:pt x="41363" y="231140"/>
                  </a:lnTo>
                  <a:lnTo>
                    <a:pt x="42506" y="229870"/>
                  </a:lnTo>
                  <a:lnTo>
                    <a:pt x="43180" y="229870"/>
                  </a:lnTo>
                  <a:lnTo>
                    <a:pt x="43865" y="231140"/>
                  </a:lnTo>
                  <a:lnTo>
                    <a:pt x="43624" y="232410"/>
                  </a:lnTo>
                  <a:lnTo>
                    <a:pt x="44716" y="231140"/>
                  </a:lnTo>
                  <a:lnTo>
                    <a:pt x="44716" y="229870"/>
                  </a:lnTo>
                  <a:close/>
                </a:path>
                <a:path w="333375" h="379729">
                  <a:moveTo>
                    <a:pt x="50507" y="279133"/>
                  </a:moveTo>
                  <a:lnTo>
                    <a:pt x="50355" y="278917"/>
                  </a:lnTo>
                  <a:lnTo>
                    <a:pt x="50152" y="278815"/>
                  </a:lnTo>
                  <a:lnTo>
                    <a:pt x="50139" y="279171"/>
                  </a:lnTo>
                  <a:lnTo>
                    <a:pt x="50266" y="279222"/>
                  </a:lnTo>
                  <a:lnTo>
                    <a:pt x="50482" y="279234"/>
                  </a:lnTo>
                  <a:close/>
                </a:path>
                <a:path w="333375" h="379729">
                  <a:moveTo>
                    <a:pt x="52184" y="294322"/>
                  </a:moveTo>
                  <a:lnTo>
                    <a:pt x="52019" y="294411"/>
                  </a:lnTo>
                  <a:lnTo>
                    <a:pt x="51790" y="294563"/>
                  </a:lnTo>
                  <a:lnTo>
                    <a:pt x="52082" y="294398"/>
                  </a:lnTo>
                  <a:close/>
                </a:path>
                <a:path w="333375" h="379729">
                  <a:moveTo>
                    <a:pt x="52895" y="295744"/>
                  </a:moveTo>
                  <a:lnTo>
                    <a:pt x="52857" y="296506"/>
                  </a:lnTo>
                  <a:lnTo>
                    <a:pt x="52895" y="295935"/>
                  </a:lnTo>
                  <a:lnTo>
                    <a:pt x="52895" y="295744"/>
                  </a:lnTo>
                  <a:close/>
                </a:path>
                <a:path w="333375" h="379729">
                  <a:moveTo>
                    <a:pt x="53073" y="294640"/>
                  </a:moveTo>
                  <a:lnTo>
                    <a:pt x="53035" y="295363"/>
                  </a:lnTo>
                  <a:lnTo>
                    <a:pt x="53073" y="294640"/>
                  </a:lnTo>
                  <a:close/>
                </a:path>
                <a:path w="333375" h="379729">
                  <a:moveTo>
                    <a:pt x="53213" y="297180"/>
                  </a:moveTo>
                  <a:lnTo>
                    <a:pt x="53213" y="297446"/>
                  </a:lnTo>
                  <a:lnTo>
                    <a:pt x="53213" y="297180"/>
                  </a:lnTo>
                  <a:close/>
                </a:path>
                <a:path w="333375" h="379729">
                  <a:moveTo>
                    <a:pt x="53213" y="296354"/>
                  </a:moveTo>
                  <a:lnTo>
                    <a:pt x="53200" y="295998"/>
                  </a:lnTo>
                  <a:lnTo>
                    <a:pt x="53174" y="295681"/>
                  </a:lnTo>
                  <a:lnTo>
                    <a:pt x="53136" y="295198"/>
                  </a:lnTo>
                  <a:lnTo>
                    <a:pt x="53174" y="295922"/>
                  </a:lnTo>
                  <a:lnTo>
                    <a:pt x="53213" y="296354"/>
                  </a:lnTo>
                  <a:close/>
                </a:path>
                <a:path w="333375" h="379729">
                  <a:moveTo>
                    <a:pt x="53530" y="297688"/>
                  </a:moveTo>
                  <a:lnTo>
                    <a:pt x="53517" y="297180"/>
                  </a:lnTo>
                  <a:lnTo>
                    <a:pt x="53530" y="297688"/>
                  </a:lnTo>
                  <a:close/>
                </a:path>
                <a:path w="333375" h="379729">
                  <a:moveTo>
                    <a:pt x="53619" y="295478"/>
                  </a:moveTo>
                  <a:lnTo>
                    <a:pt x="53581" y="295338"/>
                  </a:lnTo>
                  <a:lnTo>
                    <a:pt x="53403" y="294792"/>
                  </a:lnTo>
                  <a:lnTo>
                    <a:pt x="53467" y="295033"/>
                  </a:lnTo>
                  <a:lnTo>
                    <a:pt x="53555" y="295313"/>
                  </a:lnTo>
                  <a:lnTo>
                    <a:pt x="53619" y="295478"/>
                  </a:lnTo>
                  <a:close/>
                </a:path>
                <a:path w="333375" h="379729">
                  <a:moveTo>
                    <a:pt x="53682" y="372071"/>
                  </a:moveTo>
                  <a:close/>
                </a:path>
                <a:path w="333375" h="379729">
                  <a:moveTo>
                    <a:pt x="54051" y="294640"/>
                  </a:moveTo>
                  <a:close/>
                </a:path>
                <a:path w="333375" h="379729">
                  <a:moveTo>
                    <a:pt x="54838" y="294855"/>
                  </a:moveTo>
                  <a:lnTo>
                    <a:pt x="54775" y="294640"/>
                  </a:lnTo>
                  <a:lnTo>
                    <a:pt x="54838" y="294855"/>
                  </a:lnTo>
                  <a:close/>
                </a:path>
                <a:path w="333375" h="379729">
                  <a:moveTo>
                    <a:pt x="54965" y="294157"/>
                  </a:moveTo>
                  <a:lnTo>
                    <a:pt x="54825" y="294017"/>
                  </a:lnTo>
                  <a:lnTo>
                    <a:pt x="54927" y="294208"/>
                  </a:lnTo>
                  <a:close/>
                </a:path>
                <a:path w="333375" h="379729">
                  <a:moveTo>
                    <a:pt x="55308" y="295452"/>
                  </a:moveTo>
                  <a:close/>
                </a:path>
                <a:path w="333375" h="379729">
                  <a:moveTo>
                    <a:pt x="55892" y="292874"/>
                  </a:moveTo>
                  <a:lnTo>
                    <a:pt x="55346" y="292100"/>
                  </a:lnTo>
                  <a:lnTo>
                    <a:pt x="55892" y="292874"/>
                  </a:lnTo>
                  <a:close/>
                </a:path>
                <a:path w="333375" h="379729">
                  <a:moveTo>
                    <a:pt x="56273" y="293370"/>
                  </a:moveTo>
                  <a:lnTo>
                    <a:pt x="55892" y="292874"/>
                  </a:lnTo>
                  <a:lnTo>
                    <a:pt x="56235" y="293370"/>
                  </a:lnTo>
                  <a:close/>
                </a:path>
                <a:path w="333375" h="379729">
                  <a:moveTo>
                    <a:pt x="61607" y="280873"/>
                  </a:moveTo>
                  <a:lnTo>
                    <a:pt x="61252" y="280835"/>
                  </a:lnTo>
                  <a:lnTo>
                    <a:pt x="61226" y="280974"/>
                  </a:lnTo>
                  <a:lnTo>
                    <a:pt x="61163" y="281127"/>
                  </a:lnTo>
                  <a:lnTo>
                    <a:pt x="61239" y="281419"/>
                  </a:lnTo>
                  <a:lnTo>
                    <a:pt x="61391" y="281432"/>
                  </a:lnTo>
                  <a:lnTo>
                    <a:pt x="61493" y="281254"/>
                  </a:lnTo>
                  <a:lnTo>
                    <a:pt x="61582" y="281000"/>
                  </a:lnTo>
                  <a:lnTo>
                    <a:pt x="61607" y="280873"/>
                  </a:lnTo>
                  <a:close/>
                </a:path>
                <a:path w="333375" h="379729">
                  <a:moveTo>
                    <a:pt x="70383" y="266611"/>
                  </a:moveTo>
                  <a:lnTo>
                    <a:pt x="70281" y="266458"/>
                  </a:lnTo>
                  <a:lnTo>
                    <a:pt x="70256" y="266331"/>
                  </a:lnTo>
                  <a:lnTo>
                    <a:pt x="69964" y="266306"/>
                  </a:lnTo>
                  <a:lnTo>
                    <a:pt x="69850" y="266471"/>
                  </a:lnTo>
                  <a:lnTo>
                    <a:pt x="69799" y="266687"/>
                  </a:lnTo>
                  <a:lnTo>
                    <a:pt x="70002" y="266979"/>
                  </a:lnTo>
                  <a:lnTo>
                    <a:pt x="70218" y="266877"/>
                  </a:lnTo>
                  <a:lnTo>
                    <a:pt x="70332" y="266687"/>
                  </a:lnTo>
                  <a:close/>
                </a:path>
                <a:path w="333375" h="379729">
                  <a:moveTo>
                    <a:pt x="75057" y="260680"/>
                  </a:moveTo>
                  <a:lnTo>
                    <a:pt x="74942" y="260527"/>
                  </a:lnTo>
                  <a:lnTo>
                    <a:pt x="74752" y="260540"/>
                  </a:lnTo>
                  <a:lnTo>
                    <a:pt x="74625" y="260515"/>
                  </a:lnTo>
                  <a:lnTo>
                    <a:pt x="74612" y="260654"/>
                  </a:lnTo>
                  <a:lnTo>
                    <a:pt x="74536" y="260832"/>
                  </a:lnTo>
                  <a:lnTo>
                    <a:pt x="74637" y="260997"/>
                  </a:lnTo>
                  <a:lnTo>
                    <a:pt x="74828" y="260985"/>
                  </a:lnTo>
                  <a:lnTo>
                    <a:pt x="74955" y="260997"/>
                  </a:lnTo>
                  <a:lnTo>
                    <a:pt x="74980" y="260870"/>
                  </a:lnTo>
                  <a:lnTo>
                    <a:pt x="75057" y="260680"/>
                  </a:lnTo>
                  <a:close/>
                </a:path>
                <a:path w="333375" h="379729">
                  <a:moveTo>
                    <a:pt x="87109" y="240080"/>
                  </a:moveTo>
                  <a:lnTo>
                    <a:pt x="87007" y="239928"/>
                  </a:lnTo>
                  <a:lnTo>
                    <a:pt x="86715" y="239966"/>
                  </a:lnTo>
                  <a:lnTo>
                    <a:pt x="86588" y="240093"/>
                  </a:lnTo>
                  <a:lnTo>
                    <a:pt x="86461" y="240157"/>
                  </a:lnTo>
                  <a:lnTo>
                    <a:pt x="86614" y="240423"/>
                  </a:lnTo>
                  <a:lnTo>
                    <a:pt x="86880" y="240550"/>
                  </a:lnTo>
                  <a:lnTo>
                    <a:pt x="87020" y="240449"/>
                  </a:lnTo>
                  <a:lnTo>
                    <a:pt x="87109" y="240080"/>
                  </a:lnTo>
                  <a:close/>
                </a:path>
                <a:path w="333375" h="379729">
                  <a:moveTo>
                    <a:pt x="93243" y="229997"/>
                  </a:moveTo>
                  <a:lnTo>
                    <a:pt x="92976" y="229870"/>
                  </a:lnTo>
                  <a:lnTo>
                    <a:pt x="93218" y="230124"/>
                  </a:lnTo>
                  <a:lnTo>
                    <a:pt x="93243" y="229997"/>
                  </a:lnTo>
                  <a:close/>
                </a:path>
                <a:path w="333375" h="379729">
                  <a:moveTo>
                    <a:pt x="102323" y="215861"/>
                  </a:moveTo>
                  <a:lnTo>
                    <a:pt x="102184" y="215620"/>
                  </a:lnTo>
                  <a:lnTo>
                    <a:pt x="101930" y="215455"/>
                  </a:lnTo>
                  <a:lnTo>
                    <a:pt x="101803" y="215722"/>
                  </a:lnTo>
                  <a:lnTo>
                    <a:pt x="101917" y="215988"/>
                  </a:lnTo>
                  <a:lnTo>
                    <a:pt x="102082" y="216052"/>
                  </a:lnTo>
                  <a:lnTo>
                    <a:pt x="102222" y="215925"/>
                  </a:lnTo>
                  <a:close/>
                </a:path>
                <a:path w="333375" h="379729">
                  <a:moveTo>
                    <a:pt x="137248" y="255346"/>
                  </a:moveTo>
                  <a:lnTo>
                    <a:pt x="137198" y="254977"/>
                  </a:lnTo>
                  <a:lnTo>
                    <a:pt x="136982" y="254838"/>
                  </a:lnTo>
                  <a:lnTo>
                    <a:pt x="136779" y="254927"/>
                  </a:lnTo>
                  <a:lnTo>
                    <a:pt x="136652" y="255117"/>
                  </a:lnTo>
                  <a:lnTo>
                    <a:pt x="136563" y="255257"/>
                  </a:lnTo>
                  <a:lnTo>
                    <a:pt x="136652" y="255397"/>
                  </a:lnTo>
                  <a:lnTo>
                    <a:pt x="136969" y="255397"/>
                  </a:lnTo>
                  <a:lnTo>
                    <a:pt x="137109" y="255358"/>
                  </a:lnTo>
                  <a:lnTo>
                    <a:pt x="137248" y="255346"/>
                  </a:lnTo>
                  <a:close/>
                </a:path>
                <a:path w="333375" h="379729">
                  <a:moveTo>
                    <a:pt x="139915" y="250431"/>
                  </a:moveTo>
                  <a:lnTo>
                    <a:pt x="139763" y="250329"/>
                  </a:lnTo>
                  <a:lnTo>
                    <a:pt x="139598" y="250444"/>
                  </a:lnTo>
                  <a:lnTo>
                    <a:pt x="139471" y="250634"/>
                  </a:lnTo>
                  <a:lnTo>
                    <a:pt x="139369" y="250774"/>
                  </a:lnTo>
                  <a:lnTo>
                    <a:pt x="139661" y="250837"/>
                  </a:lnTo>
                  <a:lnTo>
                    <a:pt x="139890" y="250748"/>
                  </a:lnTo>
                  <a:lnTo>
                    <a:pt x="139915" y="250431"/>
                  </a:lnTo>
                  <a:close/>
                </a:path>
                <a:path w="333375" h="379729">
                  <a:moveTo>
                    <a:pt x="181317" y="109689"/>
                  </a:moveTo>
                  <a:lnTo>
                    <a:pt x="181254" y="109512"/>
                  </a:lnTo>
                  <a:lnTo>
                    <a:pt x="181076" y="109499"/>
                  </a:lnTo>
                  <a:lnTo>
                    <a:pt x="180936" y="109588"/>
                  </a:lnTo>
                  <a:lnTo>
                    <a:pt x="180898" y="109715"/>
                  </a:lnTo>
                  <a:lnTo>
                    <a:pt x="180898" y="110045"/>
                  </a:lnTo>
                  <a:lnTo>
                    <a:pt x="181025" y="110096"/>
                  </a:lnTo>
                  <a:lnTo>
                    <a:pt x="181165" y="109956"/>
                  </a:lnTo>
                  <a:lnTo>
                    <a:pt x="181317" y="109689"/>
                  </a:lnTo>
                  <a:close/>
                </a:path>
                <a:path w="333375" h="379729">
                  <a:moveTo>
                    <a:pt x="222999" y="128524"/>
                  </a:moveTo>
                  <a:close/>
                </a:path>
                <a:path w="333375" h="379729">
                  <a:moveTo>
                    <a:pt x="223659" y="128206"/>
                  </a:moveTo>
                  <a:lnTo>
                    <a:pt x="223469" y="128409"/>
                  </a:lnTo>
                  <a:lnTo>
                    <a:pt x="223240" y="128447"/>
                  </a:lnTo>
                  <a:lnTo>
                    <a:pt x="223012" y="128549"/>
                  </a:lnTo>
                  <a:lnTo>
                    <a:pt x="223342" y="129184"/>
                  </a:lnTo>
                  <a:lnTo>
                    <a:pt x="223481" y="128587"/>
                  </a:lnTo>
                  <a:lnTo>
                    <a:pt x="223659" y="128206"/>
                  </a:lnTo>
                  <a:close/>
                </a:path>
                <a:path w="333375" h="379729">
                  <a:moveTo>
                    <a:pt x="223812" y="127990"/>
                  </a:moveTo>
                  <a:lnTo>
                    <a:pt x="223697" y="128117"/>
                  </a:lnTo>
                  <a:lnTo>
                    <a:pt x="223812" y="127990"/>
                  </a:lnTo>
                  <a:close/>
                </a:path>
                <a:path w="333375" h="379729">
                  <a:moveTo>
                    <a:pt x="317665" y="1676"/>
                  </a:moveTo>
                  <a:lnTo>
                    <a:pt x="317588" y="1447"/>
                  </a:lnTo>
                  <a:lnTo>
                    <a:pt x="317461" y="1371"/>
                  </a:lnTo>
                  <a:lnTo>
                    <a:pt x="317284" y="1536"/>
                  </a:lnTo>
                  <a:lnTo>
                    <a:pt x="317373" y="1765"/>
                  </a:lnTo>
                  <a:lnTo>
                    <a:pt x="317500" y="1841"/>
                  </a:lnTo>
                  <a:lnTo>
                    <a:pt x="317665" y="1676"/>
                  </a:lnTo>
                  <a:close/>
                </a:path>
                <a:path w="333375" h="379729">
                  <a:moveTo>
                    <a:pt x="328155" y="3263"/>
                  </a:moveTo>
                  <a:lnTo>
                    <a:pt x="328104" y="3111"/>
                  </a:lnTo>
                  <a:lnTo>
                    <a:pt x="327914" y="3009"/>
                  </a:lnTo>
                  <a:lnTo>
                    <a:pt x="327812" y="3213"/>
                  </a:lnTo>
                  <a:lnTo>
                    <a:pt x="327863" y="3352"/>
                  </a:lnTo>
                  <a:lnTo>
                    <a:pt x="328053" y="3467"/>
                  </a:lnTo>
                  <a:lnTo>
                    <a:pt x="328155" y="3263"/>
                  </a:lnTo>
                  <a:close/>
                </a:path>
                <a:path w="333375" h="379729">
                  <a:moveTo>
                    <a:pt x="333375" y="9918"/>
                  </a:moveTo>
                  <a:lnTo>
                    <a:pt x="333336" y="9321"/>
                  </a:lnTo>
                  <a:lnTo>
                    <a:pt x="333133" y="9182"/>
                  </a:lnTo>
                  <a:lnTo>
                    <a:pt x="332828" y="9232"/>
                  </a:lnTo>
                  <a:lnTo>
                    <a:pt x="332308" y="9321"/>
                  </a:lnTo>
                  <a:lnTo>
                    <a:pt x="331724" y="9588"/>
                  </a:lnTo>
                  <a:lnTo>
                    <a:pt x="331812" y="10452"/>
                  </a:lnTo>
                  <a:lnTo>
                    <a:pt x="331558" y="10617"/>
                  </a:lnTo>
                  <a:lnTo>
                    <a:pt x="330174" y="10883"/>
                  </a:lnTo>
                  <a:lnTo>
                    <a:pt x="329793" y="11150"/>
                  </a:lnTo>
                  <a:lnTo>
                    <a:pt x="329692" y="11430"/>
                  </a:lnTo>
                  <a:lnTo>
                    <a:pt x="328396" y="11430"/>
                  </a:lnTo>
                  <a:lnTo>
                    <a:pt x="328968" y="10160"/>
                  </a:lnTo>
                  <a:lnTo>
                    <a:pt x="326415" y="10160"/>
                  </a:lnTo>
                  <a:lnTo>
                    <a:pt x="327418" y="8890"/>
                  </a:lnTo>
                  <a:lnTo>
                    <a:pt x="329006" y="7708"/>
                  </a:lnTo>
                  <a:lnTo>
                    <a:pt x="329247" y="8039"/>
                  </a:lnTo>
                  <a:lnTo>
                    <a:pt x="329349" y="8318"/>
                  </a:lnTo>
                  <a:lnTo>
                    <a:pt x="330060" y="7823"/>
                  </a:lnTo>
                  <a:lnTo>
                    <a:pt x="329971" y="7620"/>
                  </a:lnTo>
                  <a:lnTo>
                    <a:pt x="329704" y="7327"/>
                  </a:lnTo>
                  <a:lnTo>
                    <a:pt x="329501" y="7239"/>
                  </a:lnTo>
                  <a:lnTo>
                    <a:pt x="329184" y="7340"/>
                  </a:lnTo>
                  <a:lnTo>
                    <a:pt x="328968" y="7493"/>
                  </a:lnTo>
                  <a:lnTo>
                    <a:pt x="327787" y="6350"/>
                  </a:lnTo>
                  <a:lnTo>
                    <a:pt x="329006" y="6350"/>
                  </a:lnTo>
                  <a:lnTo>
                    <a:pt x="328536" y="5080"/>
                  </a:lnTo>
                  <a:lnTo>
                    <a:pt x="329044" y="3810"/>
                  </a:lnTo>
                  <a:lnTo>
                    <a:pt x="330771" y="3810"/>
                  </a:lnTo>
                  <a:lnTo>
                    <a:pt x="330454" y="2540"/>
                  </a:lnTo>
                  <a:lnTo>
                    <a:pt x="328739" y="3810"/>
                  </a:lnTo>
                  <a:lnTo>
                    <a:pt x="325678" y="3810"/>
                  </a:lnTo>
                  <a:lnTo>
                    <a:pt x="325018" y="2540"/>
                  </a:lnTo>
                  <a:lnTo>
                    <a:pt x="324726" y="2540"/>
                  </a:lnTo>
                  <a:lnTo>
                    <a:pt x="324726" y="15240"/>
                  </a:lnTo>
                  <a:lnTo>
                    <a:pt x="322986" y="15240"/>
                  </a:lnTo>
                  <a:lnTo>
                    <a:pt x="322897" y="16510"/>
                  </a:lnTo>
                  <a:lnTo>
                    <a:pt x="322491" y="16510"/>
                  </a:lnTo>
                  <a:lnTo>
                    <a:pt x="322643" y="15240"/>
                  </a:lnTo>
                  <a:lnTo>
                    <a:pt x="323329" y="13970"/>
                  </a:lnTo>
                  <a:lnTo>
                    <a:pt x="324218" y="13970"/>
                  </a:lnTo>
                  <a:lnTo>
                    <a:pt x="324726" y="15240"/>
                  </a:lnTo>
                  <a:lnTo>
                    <a:pt x="324726" y="2540"/>
                  </a:lnTo>
                  <a:lnTo>
                    <a:pt x="323303" y="2540"/>
                  </a:lnTo>
                  <a:lnTo>
                    <a:pt x="323303" y="5080"/>
                  </a:lnTo>
                  <a:lnTo>
                    <a:pt x="322884" y="5080"/>
                  </a:lnTo>
                  <a:lnTo>
                    <a:pt x="323011" y="3810"/>
                  </a:lnTo>
                  <a:lnTo>
                    <a:pt x="323265" y="3810"/>
                  </a:lnTo>
                  <a:lnTo>
                    <a:pt x="323303" y="5080"/>
                  </a:lnTo>
                  <a:lnTo>
                    <a:pt x="323303" y="2540"/>
                  </a:lnTo>
                  <a:lnTo>
                    <a:pt x="315214" y="2540"/>
                  </a:lnTo>
                  <a:lnTo>
                    <a:pt x="314261" y="1270"/>
                  </a:lnTo>
                  <a:lnTo>
                    <a:pt x="312699" y="1270"/>
                  </a:lnTo>
                  <a:lnTo>
                    <a:pt x="312699" y="2540"/>
                  </a:lnTo>
                  <a:lnTo>
                    <a:pt x="312585" y="3810"/>
                  </a:lnTo>
                  <a:lnTo>
                    <a:pt x="312127" y="3810"/>
                  </a:lnTo>
                  <a:lnTo>
                    <a:pt x="312166" y="2540"/>
                  </a:lnTo>
                  <a:lnTo>
                    <a:pt x="312699" y="2540"/>
                  </a:lnTo>
                  <a:lnTo>
                    <a:pt x="312699" y="1270"/>
                  </a:lnTo>
                  <a:lnTo>
                    <a:pt x="312140" y="1270"/>
                  </a:lnTo>
                  <a:lnTo>
                    <a:pt x="310629" y="0"/>
                  </a:lnTo>
                  <a:lnTo>
                    <a:pt x="307047" y="0"/>
                  </a:lnTo>
                  <a:lnTo>
                    <a:pt x="304952" y="1270"/>
                  </a:lnTo>
                  <a:lnTo>
                    <a:pt x="303860" y="2540"/>
                  </a:lnTo>
                  <a:lnTo>
                    <a:pt x="302374" y="1270"/>
                  </a:lnTo>
                  <a:lnTo>
                    <a:pt x="301955" y="1270"/>
                  </a:lnTo>
                  <a:lnTo>
                    <a:pt x="300672" y="2540"/>
                  </a:lnTo>
                  <a:lnTo>
                    <a:pt x="297878" y="3810"/>
                  </a:lnTo>
                  <a:lnTo>
                    <a:pt x="296900" y="3810"/>
                  </a:lnTo>
                  <a:lnTo>
                    <a:pt x="294246" y="5080"/>
                  </a:lnTo>
                  <a:lnTo>
                    <a:pt x="292887" y="6350"/>
                  </a:lnTo>
                  <a:lnTo>
                    <a:pt x="291541" y="6350"/>
                  </a:lnTo>
                  <a:lnTo>
                    <a:pt x="288874" y="8890"/>
                  </a:lnTo>
                  <a:lnTo>
                    <a:pt x="284962" y="10160"/>
                  </a:lnTo>
                  <a:lnTo>
                    <a:pt x="282943" y="12700"/>
                  </a:lnTo>
                  <a:lnTo>
                    <a:pt x="278828" y="15240"/>
                  </a:lnTo>
                  <a:lnTo>
                    <a:pt x="276809" y="15240"/>
                  </a:lnTo>
                  <a:lnTo>
                    <a:pt x="275386" y="17780"/>
                  </a:lnTo>
                  <a:lnTo>
                    <a:pt x="274434" y="19050"/>
                  </a:lnTo>
                  <a:lnTo>
                    <a:pt x="271411" y="20320"/>
                  </a:lnTo>
                  <a:lnTo>
                    <a:pt x="269913" y="22860"/>
                  </a:lnTo>
                  <a:lnTo>
                    <a:pt x="267830" y="24130"/>
                  </a:lnTo>
                  <a:lnTo>
                    <a:pt x="265836" y="24130"/>
                  </a:lnTo>
                  <a:lnTo>
                    <a:pt x="265176" y="26670"/>
                  </a:lnTo>
                  <a:lnTo>
                    <a:pt x="264350" y="26670"/>
                  </a:lnTo>
                  <a:lnTo>
                    <a:pt x="262470" y="29210"/>
                  </a:lnTo>
                  <a:lnTo>
                    <a:pt x="261188" y="29210"/>
                  </a:lnTo>
                  <a:lnTo>
                    <a:pt x="258889" y="31750"/>
                  </a:lnTo>
                  <a:lnTo>
                    <a:pt x="256552" y="31750"/>
                  </a:lnTo>
                  <a:lnTo>
                    <a:pt x="256120" y="34290"/>
                  </a:lnTo>
                  <a:lnTo>
                    <a:pt x="254304" y="35560"/>
                  </a:lnTo>
                  <a:lnTo>
                    <a:pt x="250215" y="39370"/>
                  </a:lnTo>
                  <a:lnTo>
                    <a:pt x="248462" y="39370"/>
                  </a:lnTo>
                  <a:lnTo>
                    <a:pt x="246354" y="43180"/>
                  </a:lnTo>
                  <a:lnTo>
                    <a:pt x="244881" y="44450"/>
                  </a:lnTo>
                  <a:lnTo>
                    <a:pt x="242354" y="45720"/>
                  </a:lnTo>
                  <a:lnTo>
                    <a:pt x="241503" y="45720"/>
                  </a:lnTo>
                  <a:lnTo>
                    <a:pt x="241922" y="48260"/>
                  </a:lnTo>
                  <a:lnTo>
                    <a:pt x="238975" y="48260"/>
                  </a:lnTo>
                  <a:lnTo>
                    <a:pt x="237324" y="52070"/>
                  </a:lnTo>
                  <a:lnTo>
                    <a:pt x="234772" y="53340"/>
                  </a:lnTo>
                  <a:lnTo>
                    <a:pt x="232410" y="55880"/>
                  </a:lnTo>
                  <a:lnTo>
                    <a:pt x="231381" y="57150"/>
                  </a:lnTo>
                  <a:lnTo>
                    <a:pt x="227774" y="58420"/>
                  </a:lnTo>
                  <a:lnTo>
                    <a:pt x="227545" y="60960"/>
                  </a:lnTo>
                  <a:lnTo>
                    <a:pt x="225425" y="62230"/>
                  </a:lnTo>
                  <a:lnTo>
                    <a:pt x="225425" y="63500"/>
                  </a:lnTo>
                  <a:lnTo>
                    <a:pt x="223367" y="63500"/>
                  </a:lnTo>
                  <a:lnTo>
                    <a:pt x="222910" y="64770"/>
                  </a:lnTo>
                  <a:lnTo>
                    <a:pt x="222681" y="66040"/>
                  </a:lnTo>
                  <a:lnTo>
                    <a:pt x="221957" y="67310"/>
                  </a:lnTo>
                  <a:lnTo>
                    <a:pt x="219989" y="68580"/>
                  </a:lnTo>
                  <a:lnTo>
                    <a:pt x="218490" y="68580"/>
                  </a:lnTo>
                  <a:lnTo>
                    <a:pt x="216941" y="71120"/>
                  </a:lnTo>
                  <a:lnTo>
                    <a:pt x="215734" y="72390"/>
                  </a:lnTo>
                  <a:lnTo>
                    <a:pt x="214972" y="74930"/>
                  </a:lnTo>
                  <a:lnTo>
                    <a:pt x="214071" y="74930"/>
                  </a:lnTo>
                  <a:lnTo>
                    <a:pt x="212229" y="76200"/>
                  </a:lnTo>
                  <a:lnTo>
                    <a:pt x="210172" y="78740"/>
                  </a:lnTo>
                  <a:lnTo>
                    <a:pt x="208470" y="80010"/>
                  </a:lnTo>
                  <a:lnTo>
                    <a:pt x="207340" y="81280"/>
                  </a:lnTo>
                  <a:lnTo>
                    <a:pt x="205422" y="83820"/>
                  </a:lnTo>
                  <a:lnTo>
                    <a:pt x="204876" y="85090"/>
                  </a:lnTo>
                  <a:lnTo>
                    <a:pt x="203962" y="86360"/>
                  </a:lnTo>
                  <a:lnTo>
                    <a:pt x="201498" y="87630"/>
                  </a:lnTo>
                  <a:lnTo>
                    <a:pt x="200304" y="88900"/>
                  </a:lnTo>
                  <a:lnTo>
                    <a:pt x="199796" y="90170"/>
                  </a:lnTo>
                  <a:lnTo>
                    <a:pt x="197358" y="90170"/>
                  </a:lnTo>
                  <a:lnTo>
                    <a:pt x="197993" y="91440"/>
                  </a:lnTo>
                  <a:lnTo>
                    <a:pt x="197904" y="93980"/>
                  </a:lnTo>
                  <a:lnTo>
                    <a:pt x="195478" y="93980"/>
                  </a:lnTo>
                  <a:lnTo>
                    <a:pt x="195262" y="95250"/>
                  </a:lnTo>
                  <a:lnTo>
                    <a:pt x="193408" y="96520"/>
                  </a:lnTo>
                  <a:lnTo>
                    <a:pt x="192760" y="97790"/>
                  </a:lnTo>
                  <a:lnTo>
                    <a:pt x="192366" y="99060"/>
                  </a:lnTo>
                  <a:lnTo>
                    <a:pt x="190068" y="100330"/>
                  </a:lnTo>
                  <a:lnTo>
                    <a:pt x="188785" y="100330"/>
                  </a:lnTo>
                  <a:lnTo>
                    <a:pt x="189623" y="101600"/>
                  </a:lnTo>
                  <a:lnTo>
                    <a:pt x="189496" y="102870"/>
                  </a:lnTo>
                  <a:lnTo>
                    <a:pt x="187439" y="104140"/>
                  </a:lnTo>
                  <a:lnTo>
                    <a:pt x="186524" y="106680"/>
                  </a:lnTo>
                  <a:lnTo>
                    <a:pt x="182727" y="107950"/>
                  </a:lnTo>
                  <a:lnTo>
                    <a:pt x="181724" y="109220"/>
                  </a:lnTo>
                  <a:lnTo>
                    <a:pt x="182283" y="110490"/>
                  </a:lnTo>
                  <a:lnTo>
                    <a:pt x="180530" y="110490"/>
                  </a:lnTo>
                  <a:lnTo>
                    <a:pt x="179400" y="111760"/>
                  </a:lnTo>
                  <a:lnTo>
                    <a:pt x="180505" y="113030"/>
                  </a:lnTo>
                  <a:lnTo>
                    <a:pt x="180022" y="113030"/>
                  </a:lnTo>
                  <a:lnTo>
                    <a:pt x="176796" y="116840"/>
                  </a:lnTo>
                  <a:lnTo>
                    <a:pt x="175018" y="116840"/>
                  </a:lnTo>
                  <a:lnTo>
                    <a:pt x="174904" y="120650"/>
                  </a:lnTo>
                  <a:lnTo>
                    <a:pt x="172935" y="120650"/>
                  </a:lnTo>
                  <a:lnTo>
                    <a:pt x="172935" y="139700"/>
                  </a:lnTo>
                  <a:lnTo>
                    <a:pt x="171691" y="139700"/>
                  </a:lnTo>
                  <a:lnTo>
                    <a:pt x="171742" y="138430"/>
                  </a:lnTo>
                  <a:lnTo>
                    <a:pt x="172707" y="138430"/>
                  </a:lnTo>
                  <a:lnTo>
                    <a:pt x="172935" y="139700"/>
                  </a:lnTo>
                  <a:lnTo>
                    <a:pt x="172935" y="120650"/>
                  </a:lnTo>
                  <a:lnTo>
                    <a:pt x="172046" y="120650"/>
                  </a:lnTo>
                  <a:lnTo>
                    <a:pt x="171970" y="124460"/>
                  </a:lnTo>
                  <a:lnTo>
                    <a:pt x="170726" y="125234"/>
                  </a:lnTo>
                  <a:lnTo>
                    <a:pt x="170726" y="137160"/>
                  </a:lnTo>
                  <a:lnTo>
                    <a:pt x="170434" y="137160"/>
                  </a:lnTo>
                  <a:lnTo>
                    <a:pt x="170053" y="138430"/>
                  </a:lnTo>
                  <a:lnTo>
                    <a:pt x="169799" y="138430"/>
                  </a:lnTo>
                  <a:lnTo>
                    <a:pt x="169799" y="144780"/>
                  </a:lnTo>
                  <a:lnTo>
                    <a:pt x="169265" y="146050"/>
                  </a:lnTo>
                  <a:lnTo>
                    <a:pt x="169024" y="146050"/>
                  </a:lnTo>
                  <a:lnTo>
                    <a:pt x="168744" y="144780"/>
                  </a:lnTo>
                  <a:lnTo>
                    <a:pt x="169799" y="144780"/>
                  </a:lnTo>
                  <a:lnTo>
                    <a:pt x="169799" y="138430"/>
                  </a:lnTo>
                  <a:lnTo>
                    <a:pt x="169494" y="138430"/>
                  </a:lnTo>
                  <a:lnTo>
                    <a:pt x="170053" y="137160"/>
                  </a:lnTo>
                  <a:lnTo>
                    <a:pt x="170268" y="137160"/>
                  </a:lnTo>
                  <a:lnTo>
                    <a:pt x="170408" y="135890"/>
                  </a:lnTo>
                  <a:lnTo>
                    <a:pt x="170726" y="137160"/>
                  </a:lnTo>
                  <a:lnTo>
                    <a:pt x="170726" y="125234"/>
                  </a:lnTo>
                  <a:lnTo>
                    <a:pt x="167881" y="127000"/>
                  </a:lnTo>
                  <a:lnTo>
                    <a:pt x="167411" y="127000"/>
                  </a:lnTo>
                  <a:lnTo>
                    <a:pt x="167627" y="129540"/>
                  </a:lnTo>
                  <a:lnTo>
                    <a:pt x="164376" y="129540"/>
                  </a:lnTo>
                  <a:lnTo>
                    <a:pt x="165138" y="132080"/>
                  </a:lnTo>
                  <a:lnTo>
                    <a:pt x="163741" y="133350"/>
                  </a:lnTo>
                  <a:lnTo>
                    <a:pt x="163144" y="134620"/>
                  </a:lnTo>
                  <a:lnTo>
                    <a:pt x="162725" y="135890"/>
                  </a:lnTo>
                  <a:lnTo>
                    <a:pt x="162864" y="137160"/>
                  </a:lnTo>
                  <a:lnTo>
                    <a:pt x="159270" y="137160"/>
                  </a:lnTo>
                  <a:lnTo>
                    <a:pt x="159270" y="148590"/>
                  </a:lnTo>
                  <a:lnTo>
                    <a:pt x="159207" y="149860"/>
                  </a:lnTo>
                  <a:lnTo>
                    <a:pt x="158229" y="149860"/>
                  </a:lnTo>
                  <a:lnTo>
                    <a:pt x="158394" y="148590"/>
                  </a:lnTo>
                  <a:lnTo>
                    <a:pt x="159270" y="148590"/>
                  </a:lnTo>
                  <a:lnTo>
                    <a:pt x="159270" y="137160"/>
                  </a:lnTo>
                  <a:lnTo>
                    <a:pt x="158851" y="137160"/>
                  </a:lnTo>
                  <a:lnTo>
                    <a:pt x="159105" y="140970"/>
                  </a:lnTo>
                  <a:lnTo>
                    <a:pt x="156210" y="140970"/>
                  </a:lnTo>
                  <a:lnTo>
                    <a:pt x="156032" y="144780"/>
                  </a:lnTo>
                  <a:lnTo>
                    <a:pt x="154787" y="146050"/>
                  </a:lnTo>
                  <a:lnTo>
                    <a:pt x="152069" y="147320"/>
                  </a:lnTo>
                  <a:lnTo>
                    <a:pt x="151803" y="148590"/>
                  </a:lnTo>
                  <a:lnTo>
                    <a:pt x="152552" y="148590"/>
                  </a:lnTo>
                  <a:lnTo>
                    <a:pt x="151968" y="149860"/>
                  </a:lnTo>
                  <a:lnTo>
                    <a:pt x="150952" y="151130"/>
                  </a:lnTo>
                  <a:lnTo>
                    <a:pt x="149415" y="153670"/>
                  </a:lnTo>
                  <a:lnTo>
                    <a:pt x="149758" y="154940"/>
                  </a:lnTo>
                  <a:lnTo>
                    <a:pt x="151549" y="154940"/>
                  </a:lnTo>
                  <a:lnTo>
                    <a:pt x="151130" y="153670"/>
                  </a:lnTo>
                  <a:lnTo>
                    <a:pt x="151968" y="153670"/>
                  </a:lnTo>
                  <a:lnTo>
                    <a:pt x="153047" y="153670"/>
                  </a:lnTo>
                  <a:lnTo>
                    <a:pt x="152755" y="152400"/>
                  </a:lnTo>
                  <a:lnTo>
                    <a:pt x="153746" y="152400"/>
                  </a:lnTo>
                  <a:lnTo>
                    <a:pt x="153377" y="153670"/>
                  </a:lnTo>
                  <a:lnTo>
                    <a:pt x="153123" y="154940"/>
                  </a:lnTo>
                  <a:lnTo>
                    <a:pt x="151968" y="153670"/>
                  </a:lnTo>
                  <a:lnTo>
                    <a:pt x="152692" y="154940"/>
                  </a:lnTo>
                  <a:lnTo>
                    <a:pt x="151193" y="156210"/>
                  </a:lnTo>
                  <a:lnTo>
                    <a:pt x="150291" y="157480"/>
                  </a:lnTo>
                  <a:lnTo>
                    <a:pt x="147866" y="157480"/>
                  </a:lnTo>
                  <a:lnTo>
                    <a:pt x="147777" y="156210"/>
                  </a:lnTo>
                  <a:lnTo>
                    <a:pt x="147205" y="154940"/>
                  </a:lnTo>
                  <a:lnTo>
                    <a:pt x="145478" y="154940"/>
                  </a:lnTo>
                  <a:lnTo>
                    <a:pt x="145669" y="157480"/>
                  </a:lnTo>
                  <a:lnTo>
                    <a:pt x="144703" y="157480"/>
                  </a:lnTo>
                  <a:lnTo>
                    <a:pt x="143141" y="160020"/>
                  </a:lnTo>
                  <a:lnTo>
                    <a:pt x="141478" y="160020"/>
                  </a:lnTo>
                  <a:lnTo>
                    <a:pt x="142582" y="162560"/>
                  </a:lnTo>
                  <a:lnTo>
                    <a:pt x="142367" y="162560"/>
                  </a:lnTo>
                  <a:lnTo>
                    <a:pt x="140195" y="163830"/>
                  </a:lnTo>
                  <a:lnTo>
                    <a:pt x="138709" y="166370"/>
                  </a:lnTo>
                  <a:lnTo>
                    <a:pt x="136931" y="168910"/>
                  </a:lnTo>
                  <a:lnTo>
                    <a:pt x="135978" y="170180"/>
                  </a:lnTo>
                  <a:lnTo>
                    <a:pt x="134277" y="171450"/>
                  </a:lnTo>
                  <a:lnTo>
                    <a:pt x="133248" y="171450"/>
                  </a:lnTo>
                  <a:lnTo>
                    <a:pt x="134239" y="173990"/>
                  </a:lnTo>
                  <a:lnTo>
                    <a:pt x="133273" y="175260"/>
                  </a:lnTo>
                  <a:lnTo>
                    <a:pt x="130822" y="176530"/>
                  </a:lnTo>
                  <a:lnTo>
                    <a:pt x="129857" y="179070"/>
                  </a:lnTo>
                  <a:lnTo>
                    <a:pt x="127190" y="180340"/>
                  </a:lnTo>
                  <a:lnTo>
                    <a:pt x="126936" y="180340"/>
                  </a:lnTo>
                  <a:lnTo>
                    <a:pt x="126873" y="182880"/>
                  </a:lnTo>
                  <a:lnTo>
                    <a:pt x="125844" y="185420"/>
                  </a:lnTo>
                  <a:lnTo>
                    <a:pt x="126009" y="187960"/>
                  </a:lnTo>
                  <a:lnTo>
                    <a:pt x="124587" y="187960"/>
                  </a:lnTo>
                  <a:lnTo>
                    <a:pt x="124015" y="189230"/>
                  </a:lnTo>
                  <a:lnTo>
                    <a:pt x="123228" y="187960"/>
                  </a:lnTo>
                  <a:lnTo>
                    <a:pt x="123037" y="189865"/>
                  </a:lnTo>
                  <a:lnTo>
                    <a:pt x="123037" y="269240"/>
                  </a:lnTo>
                  <a:lnTo>
                    <a:pt x="122669" y="269240"/>
                  </a:lnTo>
                  <a:lnTo>
                    <a:pt x="122885" y="267970"/>
                  </a:lnTo>
                  <a:lnTo>
                    <a:pt x="123037" y="269240"/>
                  </a:lnTo>
                  <a:lnTo>
                    <a:pt x="123037" y="189865"/>
                  </a:lnTo>
                  <a:lnTo>
                    <a:pt x="122974" y="190500"/>
                  </a:lnTo>
                  <a:lnTo>
                    <a:pt x="121793" y="190500"/>
                  </a:lnTo>
                  <a:lnTo>
                    <a:pt x="120370" y="191770"/>
                  </a:lnTo>
                  <a:lnTo>
                    <a:pt x="119684" y="191770"/>
                  </a:lnTo>
                  <a:lnTo>
                    <a:pt x="118211" y="193040"/>
                  </a:lnTo>
                  <a:lnTo>
                    <a:pt x="119773" y="193040"/>
                  </a:lnTo>
                  <a:lnTo>
                    <a:pt x="119176" y="194310"/>
                  </a:lnTo>
                  <a:lnTo>
                    <a:pt x="118033" y="195580"/>
                  </a:lnTo>
                  <a:lnTo>
                    <a:pt x="117919" y="198120"/>
                  </a:lnTo>
                  <a:lnTo>
                    <a:pt x="115493" y="198120"/>
                  </a:lnTo>
                  <a:lnTo>
                    <a:pt x="116395" y="200660"/>
                  </a:lnTo>
                  <a:lnTo>
                    <a:pt x="115404" y="200660"/>
                  </a:lnTo>
                  <a:lnTo>
                    <a:pt x="113461" y="201930"/>
                  </a:lnTo>
                  <a:lnTo>
                    <a:pt x="113017" y="203200"/>
                  </a:lnTo>
                  <a:lnTo>
                    <a:pt x="111671" y="204470"/>
                  </a:lnTo>
                  <a:lnTo>
                    <a:pt x="110871" y="205740"/>
                  </a:lnTo>
                  <a:lnTo>
                    <a:pt x="110642" y="207010"/>
                  </a:lnTo>
                  <a:lnTo>
                    <a:pt x="108140" y="207010"/>
                  </a:lnTo>
                  <a:lnTo>
                    <a:pt x="108813" y="208280"/>
                  </a:lnTo>
                  <a:lnTo>
                    <a:pt x="107721" y="210820"/>
                  </a:lnTo>
                  <a:lnTo>
                    <a:pt x="107391" y="212090"/>
                  </a:lnTo>
                  <a:lnTo>
                    <a:pt x="105460" y="212090"/>
                  </a:lnTo>
                  <a:lnTo>
                    <a:pt x="105956" y="214630"/>
                  </a:lnTo>
                  <a:lnTo>
                    <a:pt x="104571" y="215900"/>
                  </a:lnTo>
                  <a:lnTo>
                    <a:pt x="104800" y="217170"/>
                  </a:lnTo>
                  <a:lnTo>
                    <a:pt x="100672" y="217170"/>
                  </a:lnTo>
                  <a:lnTo>
                    <a:pt x="100304" y="218440"/>
                  </a:lnTo>
                  <a:lnTo>
                    <a:pt x="101041" y="222250"/>
                  </a:lnTo>
                  <a:lnTo>
                    <a:pt x="99352" y="222250"/>
                  </a:lnTo>
                  <a:lnTo>
                    <a:pt x="99415" y="226060"/>
                  </a:lnTo>
                  <a:lnTo>
                    <a:pt x="94805" y="226060"/>
                  </a:lnTo>
                  <a:lnTo>
                    <a:pt x="96177" y="228600"/>
                  </a:lnTo>
                  <a:lnTo>
                    <a:pt x="96151" y="229870"/>
                  </a:lnTo>
                  <a:lnTo>
                    <a:pt x="95402" y="229870"/>
                  </a:lnTo>
                  <a:lnTo>
                    <a:pt x="95694" y="231140"/>
                  </a:lnTo>
                  <a:lnTo>
                    <a:pt x="93281" y="230009"/>
                  </a:lnTo>
                  <a:lnTo>
                    <a:pt x="93294" y="230212"/>
                  </a:lnTo>
                  <a:lnTo>
                    <a:pt x="94170" y="231140"/>
                  </a:lnTo>
                  <a:lnTo>
                    <a:pt x="93535" y="233680"/>
                  </a:lnTo>
                  <a:lnTo>
                    <a:pt x="93294" y="230212"/>
                  </a:lnTo>
                  <a:lnTo>
                    <a:pt x="92697" y="232410"/>
                  </a:lnTo>
                  <a:lnTo>
                    <a:pt x="92824" y="232410"/>
                  </a:lnTo>
                  <a:lnTo>
                    <a:pt x="93472" y="234950"/>
                  </a:lnTo>
                  <a:lnTo>
                    <a:pt x="93510" y="236220"/>
                  </a:lnTo>
                  <a:lnTo>
                    <a:pt x="89966" y="237490"/>
                  </a:lnTo>
                  <a:lnTo>
                    <a:pt x="89509" y="237490"/>
                  </a:lnTo>
                  <a:lnTo>
                    <a:pt x="89052" y="242570"/>
                  </a:lnTo>
                  <a:lnTo>
                    <a:pt x="86563" y="241300"/>
                  </a:lnTo>
                  <a:lnTo>
                    <a:pt x="85801" y="242570"/>
                  </a:lnTo>
                  <a:lnTo>
                    <a:pt x="86004" y="243840"/>
                  </a:lnTo>
                  <a:lnTo>
                    <a:pt x="85318" y="245110"/>
                  </a:lnTo>
                  <a:lnTo>
                    <a:pt x="85191" y="247650"/>
                  </a:lnTo>
                  <a:lnTo>
                    <a:pt x="84251" y="248920"/>
                  </a:lnTo>
                  <a:lnTo>
                    <a:pt x="82092" y="248920"/>
                  </a:lnTo>
                  <a:lnTo>
                    <a:pt x="82804" y="251460"/>
                  </a:lnTo>
                  <a:lnTo>
                    <a:pt x="81267" y="251460"/>
                  </a:lnTo>
                  <a:lnTo>
                    <a:pt x="81254" y="251193"/>
                  </a:lnTo>
                  <a:lnTo>
                    <a:pt x="81216" y="251066"/>
                  </a:lnTo>
                  <a:lnTo>
                    <a:pt x="80848" y="251015"/>
                  </a:lnTo>
                  <a:lnTo>
                    <a:pt x="80848" y="251155"/>
                  </a:lnTo>
                  <a:lnTo>
                    <a:pt x="80797" y="251307"/>
                  </a:lnTo>
                  <a:lnTo>
                    <a:pt x="80962" y="251637"/>
                  </a:lnTo>
                  <a:lnTo>
                    <a:pt x="81165" y="251625"/>
                  </a:lnTo>
                  <a:lnTo>
                    <a:pt x="80645" y="254000"/>
                  </a:lnTo>
                  <a:lnTo>
                    <a:pt x="79502" y="252730"/>
                  </a:lnTo>
                  <a:lnTo>
                    <a:pt x="79502" y="254000"/>
                  </a:lnTo>
                  <a:lnTo>
                    <a:pt x="77330" y="255270"/>
                  </a:lnTo>
                  <a:lnTo>
                    <a:pt x="79019" y="256540"/>
                  </a:lnTo>
                  <a:lnTo>
                    <a:pt x="78892" y="256540"/>
                  </a:lnTo>
                  <a:lnTo>
                    <a:pt x="77482" y="257810"/>
                  </a:lnTo>
                  <a:lnTo>
                    <a:pt x="76771" y="259080"/>
                  </a:lnTo>
                  <a:lnTo>
                    <a:pt x="76288" y="261620"/>
                  </a:lnTo>
                  <a:lnTo>
                    <a:pt x="74803" y="261620"/>
                  </a:lnTo>
                  <a:lnTo>
                    <a:pt x="74523" y="262890"/>
                  </a:lnTo>
                  <a:lnTo>
                    <a:pt x="72936" y="265430"/>
                  </a:lnTo>
                  <a:lnTo>
                    <a:pt x="72453" y="266700"/>
                  </a:lnTo>
                  <a:lnTo>
                    <a:pt x="69494" y="269240"/>
                  </a:lnTo>
                  <a:lnTo>
                    <a:pt x="69532" y="271780"/>
                  </a:lnTo>
                  <a:lnTo>
                    <a:pt x="69151" y="270510"/>
                  </a:lnTo>
                  <a:lnTo>
                    <a:pt x="67906" y="273050"/>
                  </a:lnTo>
                  <a:lnTo>
                    <a:pt x="67398" y="274320"/>
                  </a:lnTo>
                  <a:lnTo>
                    <a:pt x="66319" y="274320"/>
                  </a:lnTo>
                  <a:lnTo>
                    <a:pt x="68237" y="275590"/>
                  </a:lnTo>
                  <a:lnTo>
                    <a:pt x="66446" y="275590"/>
                  </a:lnTo>
                  <a:lnTo>
                    <a:pt x="66446" y="364490"/>
                  </a:lnTo>
                  <a:lnTo>
                    <a:pt x="65697" y="365760"/>
                  </a:lnTo>
                  <a:lnTo>
                    <a:pt x="65049" y="365760"/>
                  </a:lnTo>
                  <a:lnTo>
                    <a:pt x="65786" y="364490"/>
                  </a:lnTo>
                  <a:lnTo>
                    <a:pt x="66446" y="364490"/>
                  </a:lnTo>
                  <a:lnTo>
                    <a:pt x="66446" y="275590"/>
                  </a:lnTo>
                  <a:lnTo>
                    <a:pt x="65836" y="275590"/>
                  </a:lnTo>
                  <a:lnTo>
                    <a:pt x="65303" y="276860"/>
                  </a:lnTo>
                  <a:lnTo>
                    <a:pt x="65455" y="278130"/>
                  </a:lnTo>
                  <a:lnTo>
                    <a:pt x="64033" y="279400"/>
                  </a:lnTo>
                  <a:lnTo>
                    <a:pt x="64630" y="281940"/>
                  </a:lnTo>
                  <a:lnTo>
                    <a:pt x="64325" y="281940"/>
                  </a:lnTo>
                  <a:lnTo>
                    <a:pt x="62128" y="280670"/>
                  </a:lnTo>
                  <a:lnTo>
                    <a:pt x="60325" y="283210"/>
                  </a:lnTo>
                  <a:lnTo>
                    <a:pt x="61810" y="285750"/>
                  </a:lnTo>
                  <a:lnTo>
                    <a:pt x="60210" y="287020"/>
                  </a:lnTo>
                  <a:lnTo>
                    <a:pt x="60236" y="288290"/>
                  </a:lnTo>
                  <a:lnTo>
                    <a:pt x="59563" y="288290"/>
                  </a:lnTo>
                  <a:lnTo>
                    <a:pt x="58166" y="289560"/>
                  </a:lnTo>
                  <a:lnTo>
                    <a:pt x="57950" y="289560"/>
                  </a:lnTo>
                  <a:lnTo>
                    <a:pt x="58229" y="290830"/>
                  </a:lnTo>
                  <a:lnTo>
                    <a:pt x="58648" y="292100"/>
                  </a:lnTo>
                  <a:lnTo>
                    <a:pt x="56972" y="292100"/>
                  </a:lnTo>
                  <a:lnTo>
                    <a:pt x="56845" y="292544"/>
                  </a:lnTo>
                  <a:lnTo>
                    <a:pt x="56845" y="370840"/>
                  </a:lnTo>
                  <a:lnTo>
                    <a:pt x="56781" y="372110"/>
                  </a:lnTo>
                  <a:lnTo>
                    <a:pt x="55638" y="372110"/>
                  </a:lnTo>
                  <a:lnTo>
                    <a:pt x="54889" y="373380"/>
                  </a:lnTo>
                  <a:lnTo>
                    <a:pt x="53936" y="374650"/>
                  </a:lnTo>
                  <a:lnTo>
                    <a:pt x="52743" y="374650"/>
                  </a:lnTo>
                  <a:lnTo>
                    <a:pt x="52400" y="375920"/>
                  </a:lnTo>
                  <a:lnTo>
                    <a:pt x="51282" y="375920"/>
                  </a:lnTo>
                  <a:lnTo>
                    <a:pt x="51523" y="374650"/>
                  </a:lnTo>
                  <a:lnTo>
                    <a:pt x="50736" y="374650"/>
                  </a:lnTo>
                  <a:lnTo>
                    <a:pt x="51358" y="373380"/>
                  </a:lnTo>
                  <a:lnTo>
                    <a:pt x="51803" y="372110"/>
                  </a:lnTo>
                  <a:lnTo>
                    <a:pt x="52070" y="373380"/>
                  </a:lnTo>
                  <a:lnTo>
                    <a:pt x="53251" y="373380"/>
                  </a:lnTo>
                  <a:lnTo>
                    <a:pt x="53543" y="372110"/>
                  </a:lnTo>
                  <a:lnTo>
                    <a:pt x="53403" y="372110"/>
                  </a:lnTo>
                  <a:lnTo>
                    <a:pt x="53454" y="370840"/>
                  </a:lnTo>
                  <a:lnTo>
                    <a:pt x="53644" y="370840"/>
                  </a:lnTo>
                  <a:lnTo>
                    <a:pt x="53682" y="372071"/>
                  </a:lnTo>
                  <a:lnTo>
                    <a:pt x="54864" y="370840"/>
                  </a:lnTo>
                  <a:lnTo>
                    <a:pt x="56845" y="370840"/>
                  </a:lnTo>
                  <a:lnTo>
                    <a:pt x="56845" y="292544"/>
                  </a:lnTo>
                  <a:lnTo>
                    <a:pt x="56603" y="293370"/>
                  </a:lnTo>
                  <a:lnTo>
                    <a:pt x="56819" y="294640"/>
                  </a:lnTo>
                  <a:lnTo>
                    <a:pt x="55499" y="294640"/>
                  </a:lnTo>
                  <a:lnTo>
                    <a:pt x="55600" y="295440"/>
                  </a:lnTo>
                  <a:lnTo>
                    <a:pt x="55791" y="295910"/>
                  </a:lnTo>
                  <a:lnTo>
                    <a:pt x="55651" y="295910"/>
                  </a:lnTo>
                  <a:lnTo>
                    <a:pt x="55562" y="295363"/>
                  </a:lnTo>
                  <a:lnTo>
                    <a:pt x="55270" y="294640"/>
                  </a:lnTo>
                  <a:lnTo>
                    <a:pt x="55587" y="295910"/>
                  </a:lnTo>
                  <a:lnTo>
                    <a:pt x="55245" y="295440"/>
                  </a:lnTo>
                  <a:lnTo>
                    <a:pt x="55118" y="295211"/>
                  </a:lnTo>
                  <a:lnTo>
                    <a:pt x="54940" y="294982"/>
                  </a:lnTo>
                  <a:lnTo>
                    <a:pt x="54838" y="294855"/>
                  </a:lnTo>
                  <a:lnTo>
                    <a:pt x="55143" y="295910"/>
                  </a:lnTo>
                  <a:lnTo>
                    <a:pt x="55587" y="298450"/>
                  </a:lnTo>
                  <a:lnTo>
                    <a:pt x="54051" y="294690"/>
                  </a:lnTo>
                  <a:lnTo>
                    <a:pt x="54127" y="295224"/>
                  </a:lnTo>
                  <a:lnTo>
                    <a:pt x="54076" y="295097"/>
                  </a:lnTo>
                  <a:lnTo>
                    <a:pt x="53886" y="294767"/>
                  </a:lnTo>
                  <a:lnTo>
                    <a:pt x="53987" y="295021"/>
                  </a:lnTo>
                  <a:lnTo>
                    <a:pt x="54076" y="295211"/>
                  </a:lnTo>
                  <a:lnTo>
                    <a:pt x="54152" y="295338"/>
                  </a:lnTo>
                  <a:lnTo>
                    <a:pt x="54457" y="297180"/>
                  </a:lnTo>
                  <a:lnTo>
                    <a:pt x="53911" y="295910"/>
                  </a:lnTo>
                  <a:lnTo>
                    <a:pt x="54038" y="297180"/>
                  </a:lnTo>
                  <a:lnTo>
                    <a:pt x="53543" y="295910"/>
                  </a:lnTo>
                  <a:lnTo>
                    <a:pt x="53860" y="297180"/>
                  </a:lnTo>
                  <a:lnTo>
                    <a:pt x="53594" y="297180"/>
                  </a:lnTo>
                  <a:lnTo>
                    <a:pt x="53886" y="298450"/>
                  </a:lnTo>
                  <a:lnTo>
                    <a:pt x="53873" y="299720"/>
                  </a:lnTo>
                  <a:lnTo>
                    <a:pt x="53530" y="297688"/>
                  </a:lnTo>
                  <a:lnTo>
                    <a:pt x="53606" y="300990"/>
                  </a:lnTo>
                  <a:lnTo>
                    <a:pt x="53479" y="299720"/>
                  </a:lnTo>
                  <a:lnTo>
                    <a:pt x="53213" y="297446"/>
                  </a:lnTo>
                  <a:lnTo>
                    <a:pt x="53251" y="299720"/>
                  </a:lnTo>
                  <a:lnTo>
                    <a:pt x="53035" y="295363"/>
                  </a:lnTo>
                  <a:lnTo>
                    <a:pt x="52844" y="299720"/>
                  </a:lnTo>
                  <a:lnTo>
                    <a:pt x="52844" y="297180"/>
                  </a:lnTo>
                  <a:lnTo>
                    <a:pt x="52793" y="298450"/>
                  </a:lnTo>
                  <a:lnTo>
                    <a:pt x="52692" y="299720"/>
                  </a:lnTo>
                  <a:lnTo>
                    <a:pt x="52539" y="299720"/>
                  </a:lnTo>
                  <a:lnTo>
                    <a:pt x="52692" y="297180"/>
                  </a:lnTo>
                  <a:lnTo>
                    <a:pt x="52349" y="299720"/>
                  </a:lnTo>
                  <a:lnTo>
                    <a:pt x="52006" y="298450"/>
                  </a:lnTo>
                  <a:lnTo>
                    <a:pt x="51650" y="298450"/>
                  </a:lnTo>
                  <a:lnTo>
                    <a:pt x="51422" y="297180"/>
                  </a:lnTo>
                  <a:lnTo>
                    <a:pt x="51727" y="297180"/>
                  </a:lnTo>
                  <a:lnTo>
                    <a:pt x="52717" y="295910"/>
                  </a:lnTo>
                  <a:lnTo>
                    <a:pt x="52514" y="295910"/>
                  </a:lnTo>
                  <a:lnTo>
                    <a:pt x="51879" y="294640"/>
                  </a:lnTo>
                  <a:lnTo>
                    <a:pt x="51460" y="294640"/>
                  </a:lnTo>
                  <a:lnTo>
                    <a:pt x="50990" y="293370"/>
                  </a:lnTo>
                  <a:lnTo>
                    <a:pt x="51181" y="292100"/>
                  </a:lnTo>
                  <a:lnTo>
                    <a:pt x="51371" y="290830"/>
                  </a:lnTo>
                  <a:lnTo>
                    <a:pt x="50622" y="290830"/>
                  </a:lnTo>
                  <a:lnTo>
                    <a:pt x="50558" y="292100"/>
                  </a:lnTo>
                  <a:lnTo>
                    <a:pt x="50520" y="377190"/>
                  </a:lnTo>
                  <a:lnTo>
                    <a:pt x="50393" y="377190"/>
                  </a:lnTo>
                  <a:lnTo>
                    <a:pt x="50406" y="375920"/>
                  </a:lnTo>
                  <a:lnTo>
                    <a:pt x="50520" y="377190"/>
                  </a:lnTo>
                  <a:lnTo>
                    <a:pt x="50520" y="292100"/>
                  </a:lnTo>
                  <a:lnTo>
                    <a:pt x="50406" y="291884"/>
                  </a:lnTo>
                  <a:lnTo>
                    <a:pt x="50406" y="299720"/>
                  </a:lnTo>
                  <a:lnTo>
                    <a:pt x="50038" y="299720"/>
                  </a:lnTo>
                  <a:lnTo>
                    <a:pt x="50279" y="298450"/>
                  </a:lnTo>
                  <a:lnTo>
                    <a:pt x="50406" y="299720"/>
                  </a:lnTo>
                  <a:lnTo>
                    <a:pt x="50406" y="291884"/>
                  </a:lnTo>
                  <a:lnTo>
                    <a:pt x="50114" y="290830"/>
                  </a:lnTo>
                  <a:lnTo>
                    <a:pt x="51015" y="289560"/>
                  </a:lnTo>
                  <a:lnTo>
                    <a:pt x="50076" y="287020"/>
                  </a:lnTo>
                  <a:lnTo>
                    <a:pt x="51320" y="287020"/>
                  </a:lnTo>
                  <a:lnTo>
                    <a:pt x="51155" y="285750"/>
                  </a:lnTo>
                  <a:lnTo>
                    <a:pt x="51422" y="285750"/>
                  </a:lnTo>
                  <a:lnTo>
                    <a:pt x="50444" y="284480"/>
                  </a:lnTo>
                  <a:lnTo>
                    <a:pt x="49784" y="283210"/>
                  </a:lnTo>
                  <a:lnTo>
                    <a:pt x="49301" y="283210"/>
                  </a:lnTo>
                  <a:lnTo>
                    <a:pt x="50342" y="281940"/>
                  </a:lnTo>
                  <a:lnTo>
                    <a:pt x="50203" y="280670"/>
                  </a:lnTo>
                  <a:lnTo>
                    <a:pt x="48869" y="279400"/>
                  </a:lnTo>
                  <a:lnTo>
                    <a:pt x="48602" y="278130"/>
                  </a:lnTo>
                  <a:lnTo>
                    <a:pt x="49885" y="276860"/>
                  </a:lnTo>
                  <a:lnTo>
                    <a:pt x="49085" y="275590"/>
                  </a:lnTo>
                  <a:lnTo>
                    <a:pt x="48856" y="273050"/>
                  </a:lnTo>
                  <a:lnTo>
                    <a:pt x="48552" y="273050"/>
                  </a:lnTo>
                  <a:lnTo>
                    <a:pt x="47320" y="270510"/>
                  </a:lnTo>
                  <a:lnTo>
                    <a:pt x="47244" y="269240"/>
                  </a:lnTo>
                  <a:lnTo>
                    <a:pt x="49047" y="269240"/>
                  </a:lnTo>
                  <a:lnTo>
                    <a:pt x="48666" y="267970"/>
                  </a:lnTo>
                  <a:lnTo>
                    <a:pt x="47942" y="265430"/>
                  </a:lnTo>
                  <a:lnTo>
                    <a:pt x="45897" y="264160"/>
                  </a:lnTo>
                  <a:lnTo>
                    <a:pt x="47752" y="264160"/>
                  </a:lnTo>
                  <a:lnTo>
                    <a:pt x="48056" y="262890"/>
                  </a:lnTo>
                  <a:lnTo>
                    <a:pt x="48361" y="261620"/>
                  </a:lnTo>
                  <a:lnTo>
                    <a:pt x="47040" y="261620"/>
                  </a:lnTo>
                  <a:lnTo>
                    <a:pt x="47891" y="260350"/>
                  </a:lnTo>
                  <a:lnTo>
                    <a:pt x="46634" y="257810"/>
                  </a:lnTo>
                  <a:lnTo>
                    <a:pt x="45656" y="256654"/>
                  </a:lnTo>
                  <a:lnTo>
                    <a:pt x="45656" y="264160"/>
                  </a:lnTo>
                  <a:lnTo>
                    <a:pt x="45072" y="264160"/>
                  </a:lnTo>
                  <a:lnTo>
                    <a:pt x="44627" y="262991"/>
                  </a:lnTo>
                  <a:lnTo>
                    <a:pt x="44615" y="265430"/>
                  </a:lnTo>
                  <a:lnTo>
                    <a:pt x="44157" y="265430"/>
                  </a:lnTo>
                  <a:lnTo>
                    <a:pt x="43662" y="264160"/>
                  </a:lnTo>
                  <a:lnTo>
                    <a:pt x="43116" y="264160"/>
                  </a:lnTo>
                  <a:lnTo>
                    <a:pt x="44589" y="263017"/>
                  </a:lnTo>
                  <a:lnTo>
                    <a:pt x="44589" y="262890"/>
                  </a:lnTo>
                  <a:lnTo>
                    <a:pt x="44767" y="262890"/>
                  </a:lnTo>
                  <a:lnTo>
                    <a:pt x="45542" y="262890"/>
                  </a:lnTo>
                  <a:lnTo>
                    <a:pt x="45656" y="264160"/>
                  </a:lnTo>
                  <a:lnTo>
                    <a:pt x="45656" y="256654"/>
                  </a:lnTo>
                  <a:lnTo>
                    <a:pt x="46774" y="255270"/>
                  </a:lnTo>
                  <a:lnTo>
                    <a:pt x="46532" y="254000"/>
                  </a:lnTo>
                  <a:lnTo>
                    <a:pt x="46926" y="254000"/>
                  </a:lnTo>
                  <a:lnTo>
                    <a:pt x="46050" y="251460"/>
                  </a:lnTo>
                  <a:lnTo>
                    <a:pt x="44970" y="250190"/>
                  </a:lnTo>
                  <a:lnTo>
                    <a:pt x="44970" y="248920"/>
                  </a:lnTo>
                  <a:lnTo>
                    <a:pt x="46037" y="248920"/>
                  </a:lnTo>
                  <a:lnTo>
                    <a:pt x="46609" y="247650"/>
                  </a:lnTo>
                  <a:lnTo>
                    <a:pt x="44488" y="246380"/>
                  </a:lnTo>
                  <a:lnTo>
                    <a:pt x="18935" y="246380"/>
                  </a:lnTo>
                  <a:lnTo>
                    <a:pt x="18935" y="355600"/>
                  </a:lnTo>
                  <a:lnTo>
                    <a:pt x="18732" y="356870"/>
                  </a:lnTo>
                  <a:lnTo>
                    <a:pt x="17894" y="356870"/>
                  </a:lnTo>
                  <a:lnTo>
                    <a:pt x="18275" y="355600"/>
                  </a:lnTo>
                  <a:lnTo>
                    <a:pt x="18935" y="355600"/>
                  </a:lnTo>
                  <a:lnTo>
                    <a:pt x="18935" y="246380"/>
                  </a:lnTo>
                  <a:lnTo>
                    <a:pt x="14033" y="246380"/>
                  </a:lnTo>
                  <a:lnTo>
                    <a:pt x="14033" y="350520"/>
                  </a:lnTo>
                  <a:lnTo>
                    <a:pt x="14033" y="351790"/>
                  </a:lnTo>
                  <a:lnTo>
                    <a:pt x="13843" y="351790"/>
                  </a:lnTo>
                  <a:lnTo>
                    <a:pt x="13512" y="353060"/>
                  </a:lnTo>
                  <a:lnTo>
                    <a:pt x="13436" y="351790"/>
                  </a:lnTo>
                  <a:lnTo>
                    <a:pt x="12954" y="350520"/>
                  </a:lnTo>
                  <a:lnTo>
                    <a:pt x="13550" y="349250"/>
                  </a:lnTo>
                  <a:lnTo>
                    <a:pt x="13766" y="350520"/>
                  </a:lnTo>
                  <a:lnTo>
                    <a:pt x="14033" y="350520"/>
                  </a:lnTo>
                  <a:lnTo>
                    <a:pt x="14033" y="246380"/>
                  </a:lnTo>
                  <a:lnTo>
                    <a:pt x="7721" y="246380"/>
                  </a:lnTo>
                  <a:lnTo>
                    <a:pt x="7721" y="316230"/>
                  </a:lnTo>
                  <a:lnTo>
                    <a:pt x="7200" y="316230"/>
                  </a:lnTo>
                  <a:lnTo>
                    <a:pt x="7048" y="314960"/>
                  </a:lnTo>
                  <a:lnTo>
                    <a:pt x="7708" y="314960"/>
                  </a:lnTo>
                  <a:lnTo>
                    <a:pt x="7721" y="316230"/>
                  </a:lnTo>
                  <a:lnTo>
                    <a:pt x="7721" y="246380"/>
                  </a:lnTo>
                  <a:lnTo>
                    <a:pt x="5740" y="246380"/>
                  </a:lnTo>
                  <a:lnTo>
                    <a:pt x="5740" y="247650"/>
                  </a:lnTo>
                  <a:lnTo>
                    <a:pt x="5664" y="248348"/>
                  </a:lnTo>
                  <a:lnTo>
                    <a:pt x="5664" y="283210"/>
                  </a:lnTo>
                  <a:lnTo>
                    <a:pt x="5511" y="284480"/>
                  </a:lnTo>
                  <a:lnTo>
                    <a:pt x="5207" y="284480"/>
                  </a:lnTo>
                  <a:lnTo>
                    <a:pt x="5130" y="283210"/>
                  </a:lnTo>
                  <a:lnTo>
                    <a:pt x="5664" y="283210"/>
                  </a:lnTo>
                  <a:lnTo>
                    <a:pt x="5664" y="248348"/>
                  </a:lnTo>
                  <a:lnTo>
                    <a:pt x="5600" y="248920"/>
                  </a:lnTo>
                  <a:lnTo>
                    <a:pt x="4216" y="248920"/>
                  </a:lnTo>
                  <a:lnTo>
                    <a:pt x="4114" y="247650"/>
                  </a:lnTo>
                  <a:lnTo>
                    <a:pt x="5740" y="247650"/>
                  </a:lnTo>
                  <a:lnTo>
                    <a:pt x="5740" y="246380"/>
                  </a:lnTo>
                  <a:lnTo>
                    <a:pt x="3048" y="246380"/>
                  </a:lnTo>
                  <a:lnTo>
                    <a:pt x="3225" y="247650"/>
                  </a:lnTo>
                  <a:lnTo>
                    <a:pt x="2781" y="247650"/>
                  </a:lnTo>
                  <a:lnTo>
                    <a:pt x="2273" y="247650"/>
                  </a:lnTo>
                  <a:lnTo>
                    <a:pt x="1346" y="248920"/>
                  </a:lnTo>
                  <a:lnTo>
                    <a:pt x="2743" y="252730"/>
                  </a:lnTo>
                  <a:lnTo>
                    <a:pt x="2032" y="254000"/>
                  </a:lnTo>
                  <a:lnTo>
                    <a:pt x="2590" y="256540"/>
                  </a:lnTo>
                  <a:lnTo>
                    <a:pt x="1549" y="256540"/>
                  </a:lnTo>
                  <a:lnTo>
                    <a:pt x="2374" y="257810"/>
                  </a:lnTo>
                  <a:lnTo>
                    <a:pt x="3263" y="257810"/>
                  </a:lnTo>
                  <a:lnTo>
                    <a:pt x="3378" y="259080"/>
                  </a:lnTo>
                  <a:lnTo>
                    <a:pt x="2438" y="259080"/>
                  </a:lnTo>
                  <a:lnTo>
                    <a:pt x="2997" y="262890"/>
                  </a:lnTo>
                  <a:lnTo>
                    <a:pt x="0" y="264160"/>
                  </a:lnTo>
                  <a:lnTo>
                    <a:pt x="101" y="265430"/>
                  </a:lnTo>
                  <a:lnTo>
                    <a:pt x="1028" y="265430"/>
                  </a:lnTo>
                  <a:lnTo>
                    <a:pt x="1587" y="266700"/>
                  </a:lnTo>
                  <a:lnTo>
                    <a:pt x="2565" y="265430"/>
                  </a:lnTo>
                  <a:lnTo>
                    <a:pt x="2882" y="265430"/>
                  </a:lnTo>
                  <a:lnTo>
                    <a:pt x="3225" y="266700"/>
                  </a:lnTo>
                  <a:lnTo>
                    <a:pt x="1587" y="266700"/>
                  </a:lnTo>
                  <a:lnTo>
                    <a:pt x="1295" y="266700"/>
                  </a:lnTo>
                  <a:lnTo>
                    <a:pt x="2667" y="269240"/>
                  </a:lnTo>
                  <a:lnTo>
                    <a:pt x="2019" y="269240"/>
                  </a:lnTo>
                  <a:lnTo>
                    <a:pt x="1054" y="271780"/>
                  </a:lnTo>
                  <a:lnTo>
                    <a:pt x="749" y="273050"/>
                  </a:lnTo>
                  <a:lnTo>
                    <a:pt x="2730" y="274320"/>
                  </a:lnTo>
                  <a:lnTo>
                    <a:pt x="1460" y="274320"/>
                  </a:lnTo>
                  <a:lnTo>
                    <a:pt x="1435" y="276860"/>
                  </a:lnTo>
                  <a:lnTo>
                    <a:pt x="1600" y="278130"/>
                  </a:lnTo>
                  <a:lnTo>
                    <a:pt x="25" y="278130"/>
                  </a:lnTo>
                  <a:lnTo>
                    <a:pt x="520" y="279400"/>
                  </a:lnTo>
                  <a:lnTo>
                    <a:pt x="1574" y="279400"/>
                  </a:lnTo>
                  <a:lnTo>
                    <a:pt x="2603" y="281940"/>
                  </a:lnTo>
                  <a:lnTo>
                    <a:pt x="393" y="281940"/>
                  </a:lnTo>
                  <a:lnTo>
                    <a:pt x="1016" y="283210"/>
                  </a:lnTo>
                  <a:lnTo>
                    <a:pt x="2667" y="283210"/>
                  </a:lnTo>
                  <a:lnTo>
                    <a:pt x="1168" y="287020"/>
                  </a:lnTo>
                  <a:lnTo>
                    <a:pt x="1651" y="288290"/>
                  </a:lnTo>
                  <a:lnTo>
                    <a:pt x="3276" y="289560"/>
                  </a:lnTo>
                  <a:lnTo>
                    <a:pt x="3505" y="290830"/>
                  </a:lnTo>
                  <a:lnTo>
                    <a:pt x="2108" y="292100"/>
                  </a:lnTo>
                  <a:lnTo>
                    <a:pt x="3187" y="293370"/>
                  </a:lnTo>
                  <a:lnTo>
                    <a:pt x="2095" y="295910"/>
                  </a:lnTo>
                  <a:lnTo>
                    <a:pt x="2222" y="297180"/>
                  </a:lnTo>
                  <a:lnTo>
                    <a:pt x="3340" y="300990"/>
                  </a:lnTo>
                  <a:lnTo>
                    <a:pt x="4165" y="306070"/>
                  </a:lnTo>
                  <a:lnTo>
                    <a:pt x="3987" y="309880"/>
                  </a:lnTo>
                  <a:lnTo>
                    <a:pt x="4572" y="312420"/>
                  </a:lnTo>
                  <a:lnTo>
                    <a:pt x="5257" y="314960"/>
                  </a:lnTo>
                  <a:lnTo>
                    <a:pt x="5130" y="318770"/>
                  </a:lnTo>
                  <a:lnTo>
                    <a:pt x="6629" y="321310"/>
                  </a:lnTo>
                  <a:lnTo>
                    <a:pt x="6667" y="322580"/>
                  </a:lnTo>
                  <a:lnTo>
                    <a:pt x="6553" y="325120"/>
                  </a:lnTo>
                  <a:lnTo>
                    <a:pt x="6477" y="328930"/>
                  </a:lnTo>
                  <a:lnTo>
                    <a:pt x="7251" y="330200"/>
                  </a:lnTo>
                  <a:lnTo>
                    <a:pt x="6794" y="331470"/>
                  </a:lnTo>
                  <a:lnTo>
                    <a:pt x="7023" y="332740"/>
                  </a:lnTo>
                  <a:lnTo>
                    <a:pt x="7823" y="334010"/>
                  </a:lnTo>
                  <a:lnTo>
                    <a:pt x="10160" y="339090"/>
                  </a:lnTo>
                  <a:lnTo>
                    <a:pt x="10350" y="340360"/>
                  </a:lnTo>
                  <a:lnTo>
                    <a:pt x="9410" y="344170"/>
                  </a:lnTo>
                  <a:lnTo>
                    <a:pt x="9156" y="345440"/>
                  </a:lnTo>
                  <a:lnTo>
                    <a:pt x="8851" y="345440"/>
                  </a:lnTo>
                  <a:lnTo>
                    <a:pt x="8801" y="346710"/>
                  </a:lnTo>
                  <a:lnTo>
                    <a:pt x="9563" y="347980"/>
                  </a:lnTo>
                  <a:lnTo>
                    <a:pt x="10248" y="347980"/>
                  </a:lnTo>
                  <a:lnTo>
                    <a:pt x="11760" y="346710"/>
                  </a:lnTo>
                  <a:lnTo>
                    <a:pt x="11760" y="347980"/>
                  </a:lnTo>
                  <a:lnTo>
                    <a:pt x="11404" y="350520"/>
                  </a:lnTo>
                  <a:lnTo>
                    <a:pt x="10960" y="351790"/>
                  </a:lnTo>
                  <a:lnTo>
                    <a:pt x="12712" y="354330"/>
                  </a:lnTo>
                  <a:lnTo>
                    <a:pt x="12954" y="355600"/>
                  </a:lnTo>
                  <a:lnTo>
                    <a:pt x="13449" y="356870"/>
                  </a:lnTo>
                  <a:lnTo>
                    <a:pt x="13639" y="358140"/>
                  </a:lnTo>
                  <a:lnTo>
                    <a:pt x="14986" y="358140"/>
                  </a:lnTo>
                  <a:lnTo>
                    <a:pt x="14998" y="359410"/>
                  </a:lnTo>
                  <a:lnTo>
                    <a:pt x="15760" y="360680"/>
                  </a:lnTo>
                  <a:lnTo>
                    <a:pt x="16802" y="361950"/>
                  </a:lnTo>
                  <a:lnTo>
                    <a:pt x="18427" y="363220"/>
                  </a:lnTo>
                  <a:lnTo>
                    <a:pt x="18910" y="363220"/>
                  </a:lnTo>
                  <a:lnTo>
                    <a:pt x="19519" y="364490"/>
                  </a:lnTo>
                  <a:lnTo>
                    <a:pt x="19710" y="364490"/>
                  </a:lnTo>
                  <a:lnTo>
                    <a:pt x="20040" y="365760"/>
                  </a:lnTo>
                  <a:lnTo>
                    <a:pt x="20561" y="367030"/>
                  </a:lnTo>
                  <a:lnTo>
                    <a:pt x="20739" y="369570"/>
                  </a:lnTo>
                  <a:lnTo>
                    <a:pt x="23088" y="369570"/>
                  </a:lnTo>
                  <a:lnTo>
                    <a:pt x="22898" y="368300"/>
                  </a:lnTo>
                  <a:lnTo>
                    <a:pt x="23444" y="367030"/>
                  </a:lnTo>
                  <a:lnTo>
                    <a:pt x="23558" y="365760"/>
                  </a:lnTo>
                  <a:lnTo>
                    <a:pt x="25107" y="367030"/>
                  </a:lnTo>
                  <a:lnTo>
                    <a:pt x="25768" y="370840"/>
                  </a:lnTo>
                  <a:lnTo>
                    <a:pt x="25158" y="373380"/>
                  </a:lnTo>
                  <a:lnTo>
                    <a:pt x="25260" y="374650"/>
                  </a:lnTo>
                  <a:lnTo>
                    <a:pt x="27190" y="374650"/>
                  </a:lnTo>
                  <a:lnTo>
                    <a:pt x="28422" y="375920"/>
                  </a:lnTo>
                  <a:lnTo>
                    <a:pt x="29616" y="373380"/>
                  </a:lnTo>
                  <a:lnTo>
                    <a:pt x="29921" y="373380"/>
                  </a:lnTo>
                  <a:lnTo>
                    <a:pt x="30607" y="374650"/>
                  </a:lnTo>
                  <a:lnTo>
                    <a:pt x="30149" y="375920"/>
                  </a:lnTo>
                  <a:lnTo>
                    <a:pt x="31026" y="377190"/>
                  </a:lnTo>
                  <a:lnTo>
                    <a:pt x="33909" y="377190"/>
                  </a:lnTo>
                  <a:lnTo>
                    <a:pt x="34937" y="378460"/>
                  </a:lnTo>
                  <a:lnTo>
                    <a:pt x="35560" y="378460"/>
                  </a:lnTo>
                  <a:lnTo>
                    <a:pt x="36360" y="379730"/>
                  </a:lnTo>
                  <a:lnTo>
                    <a:pt x="40652" y="379730"/>
                  </a:lnTo>
                  <a:lnTo>
                    <a:pt x="40487" y="378460"/>
                  </a:lnTo>
                  <a:lnTo>
                    <a:pt x="41211" y="377253"/>
                  </a:lnTo>
                  <a:lnTo>
                    <a:pt x="42481" y="378460"/>
                  </a:lnTo>
                  <a:lnTo>
                    <a:pt x="45453" y="378460"/>
                  </a:lnTo>
                  <a:lnTo>
                    <a:pt x="45110" y="377190"/>
                  </a:lnTo>
                  <a:lnTo>
                    <a:pt x="46101" y="377190"/>
                  </a:lnTo>
                  <a:lnTo>
                    <a:pt x="46367" y="378460"/>
                  </a:lnTo>
                  <a:lnTo>
                    <a:pt x="46228" y="379730"/>
                  </a:lnTo>
                  <a:lnTo>
                    <a:pt x="48539" y="378460"/>
                  </a:lnTo>
                  <a:lnTo>
                    <a:pt x="49707" y="378460"/>
                  </a:lnTo>
                  <a:lnTo>
                    <a:pt x="51422" y="377190"/>
                  </a:lnTo>
                  <a:lnTo>
                    <a:pt x="55549" y="377190"/>
                  </a:lnTo>
                  <a:lnTo>
                    <a:pt x="56807" y="373380"/>
                  </a:lnTo>
                  <a:lnTo>
                    <a:pt x="59245" y="370840"/>
                  </a:lnTo>
                  <a:lnTo>
                    <a:pt x="61137" y="372110"/>
                  </a:lnTo>
                  <a:lnTo>
                    <a:pt x="61442" y="370840"/>
                  </a:lnTo>
                  <a:lnTo>
                    <a:pt x="62268" y="369570"/>
                  </a:lnTo>
                  <a:lnTo>
                    <a:pt x="62750" y="369570"/>
                  </a:lnTo>
                  <a:lnTo>
                    <a:pt x="63233" y="368300"/>
                  </a:lnTo>
                  <a:lnTo>
                    <a:pt x="65036" y="367030"/>
                  </a:lnTo>
                  <a:lnTo>
                    <a:pt x="66611" y="365760"/>
                  </a:lnTo>
                  <a:lnTo>
                    <a:pt x="68491" y="365760"/>
                  </a:lnTo>
                  <a:lnTo>
                    <a:pt x="69481" y="363220"/>
                  </a:lnTo>
                  <a:lnTo>
                    <a:pt x="70027" y="363220"/>
                  </a:lnTo>
                  <a:lnTo>
                    <a:pt x="69659" y="361950"/>
                  </a:lnTo>
                  <a:lnTo>
                    <a:pt x="70154" y="360680"/>
                  </a:lnTo>
                  <a:lnTo>
                    <a:pt x="71234" y="359410"/>
                  </a:lnTo>
                  <a:lnTo>
                    <a:pt x="72199" y="358140"/>
                  </a:lnTo>
                  <a:lnTo>
                    <a:pt x="75082" y="358140"/>
                  </a:lnTo>
                  <a:lnTo>
                    <a:pt x="75514" y="356870"/>
                  </a:lnTo>
                  <a:lnTo>
                    <a:pt x="75692" y="356870"/>
                  </a:lnTo>
                  <a:lnTo>
                    <a:pt x="76212" y="355600"/>
                  </a:lnTo>
                  <a:lnTo>
                    <a:pt x="76492" y="355600"/>
                  </a:lnTo>
                  <a:lnTo>
                    <a:pt x="76987" y="354330"/>
                  </a:lnTo>
                  <a:lnTo>
                    <a:pt x="77647" y="353060"/>
                  </a:lnTo>
                  <a:lnTo>
                    <a:pt x="78955" y="350520"/>
                  </a:lnTo>
                  <a:lnTo>
                    <a:pt x="79908" y="349250"/>
                  </a:lnTo>
                  <a:lnTo>
                    <a:pt x="80314" y="346710"/>
                  </a:lnTo>
                  <a:lnTo>
                    <a:pt x="81165" y="346710"/>
                  </a:lnTo>
                  <a:lnTo>
                    <a:pt x="81457" y="347980"/>
                  </a:lnTo>
                  <a:lnTo>
                    <a:pt x="81991" y="346710"/>
                  </a:lnTo>
                  <a:lnTo>
                    <a:pt x="82511" y="345440"/>
                  </a:lnTo>
                  <a:lnTo>
                    <a:pt x="82791" y="344170"/>
                  </a:lnTo>
                  <a:lnTo>
                    <a:pt x="84353" y="345440"/>
                  </a:lnTo>
                  <a:lnTo>
                    <a:pt x="84391" y="344170"/>
                  </a:lnTo>
                  <a:lnTo>
                    <a:pt x="84467" y="341630"/>
                  </a:lnTo>
                  <a:lnTo>
                    <a:pt x="85026" y="339090"/>
                  </a:lnTo>
                  <a:lnTo>
                    <a:pt x="87172" y="339090"/>
                  </a:lnTo>
                  <a:lnTo>
                    <a:pt x="88519" y="335280"/>
                  </a:lnTo>
                  <a:lnTo>
                    <a:pt x="90208" y="335280"/>
                  </a:lnTo>
                  <a:lnTo>
                    <a:pt x="90220" y="332740"/>
                  </a:lnTo>
                  <a:lnTo>
                    <a:pt x="90881" y="331470"/>
                  </a:lnTo>
                  <a:lnTo>
                    <a:pt x="92760" y="328930"/>
                  </a:lnTo>
                  <a:lnTo>
                    <a:pt x="93395" y="327660"/>
                  </a:lnTo>
                  <a:lnTo>
                    <a:pt x="93637" y="327660"/>
                  </a:lnTo>
                  <a:lnTo>
                    <a:pt x="93675" y="326390"/>
                  </a:lnTo>
                  <a:lnTo>
                    <a:pt x="94272" y="326390"/>
                  </a:lnTo>
                  <a:lnTo>
                    <a:pt x="94830" y="325120"/>
                  </a:lnTo>
                  <a:lnTo>
                    <a:pt x="95351" y="323850"/>
                  </a:lnTo>
                  <a:lnTo>
                    <a:pt x="96253" y="322580"/>
                  </a:lnTo>
                  <a:lnTo>
                    <a:pt x="97015" y="322580"/>
                  </a:lnTo>
                  <a:lnTo>
                    <a:pt x="96761" y="321310"/>
                  </a:lnTo>
                  <a:lnTo>
                    <a:pt x="97116" y="320040"/>
                  </a:lnTo>
                  <a:lnTo>
                    <a:pt x="99263" y="317500"/>
                  </a:lnTo>
                  <a:lnTo>
                    <a:pt x="99796" y="316230"/>
                  </a:lnTo>
                  <a:lnTo>
                    <a:pt x="100342" y="314960"/>
                  </a:lnTo>
                  <a:lnTo>
                    <a:pt x="100888" y="313690"/>
                  </a:lnTo>
                  <a:lnTo>
                    <a:pt x="101460" y="312420"/>
                  </a:lnTo>
                  <a:lnTo>
                    <a:pt x="102362" y="311150"/>
                  </a:lnTo>
                  <a:lnTo>
                    <a:pt x="101879" y="309880"/>
                  </a:lnTo>
                  <a:lnTo>
                    <a:pt x="103822" y="309880"/>
                  </a:lnTo>
                  <a:lnTo>
                    <a:pt x="103555" y="307340"/>
                  </a:lnTo>
                  <a:lnTo>
                    <a:pt x="104076" y="307340"/>
                  </a:lnTo>
                  <a:lnTo>
                    <a:pt x="105105" y="306070"/>
                  </a:lnTo>
                  <a:lnTo>
                    <a:pt x="105537" y="306070"/>
                  </a:lnTo>
                  <a:lnTo>
                    <a:pt x="105778" y="304800"/>
                  </a:lnTo>
                  <a:lnTo>
                    <a:pt x="107391" y="304800"/>
                  </a:lnTo>
                  <a:lnTo>
                    <a:pt x="107137" y="303530"/>
                  </a:lnTo>
                  <a:lnTo>
                    <a:pt x="107035" y="302260"/>
                  </a:lnTo>
                  <a:lnTo>
                    <a:pt x="107454" y="302260"/>
                  </a:lnTo>
                  <a:lnTo>
                    <a:pt x="107911" y="300990"/>
                  </a:lnTo>
                  <a:lnTo>
                    <a:pt x="109334" y="300990"/>
                  </a:lnTo>
                  <a:lnTo>
                    <a:pt x="109423" y="299720"/>
                  </a:lnTo>
                  <a:lnTo>
                    <a:pt x="109791" y="299720"/>
                  </a:lnTo>
                  <a:lnTo>
                    <a:pt x="109816" y="298450"/>
                  </a:lnTo>
                  <a:lnTo>
                    <a:pt x="109943" y="297180"/>
                  </a:lnTo>
                  <a:lnTo>
                    <a:pt x="110236" y="297180"/>
                  </a:lnTo>
                  <a:lnTo>
                    <a:pt x="110439" y="295910"/>
                  </a:lnTo>
                  <a:lnTo>
                    <a:pt x="112052" y="295910"/>
                  </a:lnTo>
                  <a:lnTo>
                    <a:pt x="112064" y="294640"/>
                  </a:lnTo>
                  <a:lnTo>
                    <a:pt x="113017" y="294640"/>
                  </a:lnTo>
                  <a:lnTo>
                    <a:pt x="112877" y="293370"/>
                  </a:lnTo>
                  <a:lnTo>
                    <a:pt x="113182" y="293370"/>
                  </a:lnTo>
                  <a:lnTo>
                    <a:pt x="113106" y="292874"/>
                  </a:lnTo>
                  <a:lnTo>
                    <a:pt x="113042" y="290830"/>
                  </a:lnTo>
                  <a:lnTo>
                    <a:pt x="114173" y="290830"/>
                  </a:lnTo>
                  <a:lnTo>
                    <a:pt x="115887" y="289560"/>
                  </a:lnTo>
                  <a:lnTo>
                    <a:pt x="115404" y="289560"/>
                  </a:lnTo>
                  <a:lnTo>
                    <a:pt x="115074" y="288290"/>
                  </a:lnTo>
                  <a:lnTo>
                    <a:pt x="115036" y="287020"/>
                  </a:lnTo>
                  <a:lnTo>
                    <a:pt x="115201" y="287020"/>
                  </a:lnTo>
                  <a:lnTo>
                    <a:pt x="115392" y="288290"/>
                  </a:lnTo>
                  <a:lnTo>
                    <a:pt x="116370" y="288290"/>
                  </a:lnTo>
                  <a:lnTo>
                    <a:pt x="116217" y="287020"/>
                  </a:lnTo>
                  <a:lnTo>
                    <a:pt x="116928" y="287020"/>
                  </a:lnTo>
                  <a:lnTo>
                    <a:pt x="116547" y="285750"/>
                  </a:lnTo>
                  <a:lnTo>
                    <a:pt x="117906" y="285750"/>
                  </a:lnTo>
                  <a:lnTo>
                    <a:pt x="118694" y="284480"/>
                  </a:lnTo>
                  <a:lnTo>
                    <a:pt x="118211" y="284480"/>
                  </a:lnTo>
                  <a:lnTo>
                    <a:pt x="118148" y="284302"/>
                  </a:lnTo>
                  <a:lnTo>
                    <a:pt x="117754" y="283210"/>
                  </a:lnTo>
                  <a:lnTo>
                    <a:pt x="118325" y="283210"/>
                  </a:lnTo>
                  <a:lnTo>
                    <a:pt x="118148" y="284302"/>
                  </a:lnTo>
                  <a:lnTo>
                    <a:pt x="118948" y="283210"/>
                  </a:lnTo>
                  <a:lnTo>
                    <a:pt x="119113" y="283210"/>
                  </a:lnTo>
                  <a:lnTo>
                    <a:pt x="119087" y="281940"/>
                  </a:lnTo>
                  <a:lnTo>
                    <a:pt x="120624" y="281940"/>
                  </a:lnTo>
                  <a:lnTo>
                    <a:pt x="120992" y="280670"/>
                  </a:lnTo>
                  <a:lnTo>
                    <a:pt x="122174" y="280670"/>
                  </a:lnTo>
                  <a:lnTo>
                    <a:pt x="122034" y="279400"/>
                  </a:lnTo>
                  <a:lnTo>
                    <a:pt x="121488" y="278130"/>
                  </a:lnTo>
                  <a:lnTo>
                    <a:pt x="121843" y="278130"/>
                  </a:lnTo>
                  <a:lnTo>
                    <a:pt x="122466" y="276860"/>
                  </a:lnTo>
                  <a:lnTo>
                    <a:pt x="123266" y="276860"/>
                  </a:lnTo>
                  <a:lnTo>
                    <a:pt x="124548" y="275590"/>
                  </a:lnTo>
                  <a:lnTo>
                    <a:pt x="124333" y="274320"/>
                  </a:lnTo>
                  <a:lnTo>
                    <a:pt x="124269" y="273050"/>
                  </a:lnTo>
                  <a:lnTo>
                    <a:pt x="125984" y="273050"/>
                  </a:lnTo>
                  <a:lnTo>
                    <a:pt x="125641" y="271780"/>
                  </a:lnTo>
                  <a:lnTo>
                    <a:pt x="125831" y="271780"/>
                  </a:lnTo>
                  <a:lnTo>
                    <a:pt x="126847" y="270510"/>
                  </a:lnTo>
                  <a:lnTo>
                    <a:pt x="126492" y="269240"/>
                  </a:lnTo>
                  <a:lnTo>
                    <a:pt x="126606" y="267970"/>
                  </a:lnTo>
                  <a:lnTo>
                    <a:pt x="126580" y="269240"/>
                  </a:lnTo>
                  <a:lnTo>
                    <a:pt x="127050" y="269240"/>
                  </a:lnTo>
                  <a:lnTo>
                    <a:pt x="126873" y="270510"/>
                  </a:lnTo>
                  <a:lnTo>
                    <a:pt x="127241" y="270510"/>
                  </a:lnTo>
                  <a:lnTo>
                    <a:pt x="127342" y="269240"/>
                  </a:lnTo>
                  <a:lnTo>
                    <a:pt x="127393" y="267970"/>
                  </a:lnTo>
                  <a:lnTo>
                    <a:pt x="128231" y="267970"/>
                  </a:lnTo>
                  <a:lnTo>
                    <a:pt x="128790" y="266700"/>
                  </a:lnTo>
                  <a:lnTo>
                    <a:pt x="130200" y="266700"/>
                  </a:lnTo>
                  <a:lnTo>
                    <a:pt x="130594" y="265430"/>
                  </a:lnTo>
                  <a:lnTo>
                    <a:pt x="130289" y="264160"/>
                  </a:lnTo>
                  <a:lnTo>
                    <a:pt x="130517" y="262890"/>
                  </a:lnTo>
                  <a:lnTo>
                    <a:pt x="130898" y="262890"/>
                  </a:lnTo>
                  <a:lnTo>
                    <a:pt x="132981" y="261620"/>
                  </a:lnTo>
                  <a:lnTo>
                    <a:pt x="133477" y="260350"/>
                  </a:lnTo>
                  <a:lnTo>
                    <a:pt x="132956" y="259080"/>
                  </a:lnTo>
                  <a:lnTo>
                    <a:pt x="133273" y="259080"/>
                  </a:lnTo>
                  <a:lnTo>
                    <a:pt x="133159" y="257810"/>
                  </a:lnTo>
                  <a:lnTo>
                    <a:pt x="133350" y="257810"/>
                  </a:lnTo>
                  <a:lnTo>
                    <a:pt x="134912" y="256540"/>
                  </a:lnTo>
                  <a:lnTo>
                    <a:pt x="135432" y="255270"/>
                  </a:lnTo>
                  <a:lnTo>
                    <a:pt x="136309" y="254000"/>
                  </a:lnTo>
                  <a:lnTo>
                    <a:pt x="135496" y="254000"/>
                  </a:lnTo>
                  <a:lnTo>
                    <a:pt x="135839" y="252730"/>
                  </a:lnTo>
                  <a:lnTo>
                    <a:pt x="136982" y="252730"/>
                  </a:lnTo>
                  <a:lnTo>
                    <a:pt x="137515" y="251460"/>
                  </a:lnTo>
                  <a:lnTo>
                    <a:pt x="137922" y="251460"/>
                  </a:lnTo>
                  <a:lnTo>
                    <a:pt x="139522" y="250190"/>
                  </a:lnTo>
                  <a:lnTo>
                    <a:pt x="140881" y="248920"/>
                  </a:lnTo>
                  <a:lnTo>
                    <a:pt x="140296" y="247650"/>
                  </a:lnTo>
                  <a:lnTo>
                    <a:pt x="140728" y="246380"/>
                  </a:lnTo>
                  <a:lnTo>
                    <a:pt x="142443" y="245110"/>
                  </a:lnTo>
                  <a:lnTo>
                    <a:pt x="143738" y="243840"/>
                  </a:lnTo>
                  <a:lnTo>
                    <a:pt x="143256" y="242570"/>
                  </a:lnTo>
                  <a:lnTo>
                    <a:pt x="143383" y="242570"/>
                  </a:lnTo>
                  <a:lnTo>
                    <a:pt x="143471" y="241300"/>
                  </a:lnTo>
                  <a:lnTo>
                    <a:pt x="144932" y="241300"/>
                  </a:lnTo>
                  <a:lnTo>
                    <a:pt x="145300" y="240030"/>
                  </a:lnTo>
                  <a:lnTo>
                    <a:pt x="146672" y="240030"/>
                  </a:lnTo>
                  <a:lnTo>
                    <a:pt x="146850" y="238760"/>
                  </a:lnTo>
                  <a:lnTo>
                    <a:pt x="146240" y="238760"/>
                  </a:lnTo>
                  <a:lnTo>
                    <a:pt x="146469" y="237490"/>
                  </a:lnTo>
                  <a:lnTo>
                    <a:pt x="146824" y="236220"/>
                  </a:lnTo>
                  <a:lnTo>
                    <a:pt x="147434" y="234950"/>
                  </a:lnTo>
                  <a:lnTo>
                    <a:pt x="149618" y="234950"/>
                  </a:lnTo>
                  <a:lnTo>
                    <a:pt x="149072" y="233680"/>
                  </a:lnTo>
                  <a:lnTo>
                    <a:pt x="149136" y="232410"/>
                  </a:lnTo>
                  <a:lnTo>
                    <a:pt x="150215" y="232410"/>
                  </a:lnTo>
                  <a:lnTo>
                    <a:pt x="152006" y="231140"/>
                  </a:lnTo>
                  <a:lnTo>
                    <a:pt x="152196" y="231140"/>
                  </a:lnTo>
                  <a:lnTo>
                    <a:pt x="151663" y="229870"/>
                  </a:lnTo>
                  <a:lnTo>
                    <a:pt x="151498" y="228600"/>
                  </a:lnTo>
                  <a:lnTo>
                    <a:pt x="152514" y="228600"/>
                  </a:lnTo>
                  <a:lnTo>
                    <a:pt x="153009" y="227330"/>
                  </a:lnTo>
                  <a:lnTo>
                    <a:pt x="154736" y="227330"/>
                  </a:lnTo>
                  <a:lnTo>
                    <a:pt x="154914" y="226060"/>
                  </a:lnTo>
                  <a:lnTo>
                    <a:pt x="154813" y="224790"/>
                  </a:lnTo>
                  <a:lnTo>
                    <a:pt x="155244" y="224790"/>
                  </a:lnTo>
                  <a:lnTo>
                    <a:pt x="155651" y="223520"/>
                  </a:lnTo>
                  <a:lnTo>
                    <a:pt x="156629" y="223520"/>
                  </a:lnTo>
                  <a:lnTo>
                    <a:pt x="156933" y="222250"/>
                  </a:lnTo>
                  <a:lnTo>
                    <a:pt x="157530" y="220980"/>
                  </a:lnTo>
                  <a:lnTo>
                    <a:pt x="158051" y="219710"/>
                  </a:lnTo>
                  <a:lnTo>
                    <a:pt x="158940" y="219710"/>
                  </a:lnTo>
                  <a:lnTo>
                    <a:pt x="160007" y="217170"/>
                  </a:lnTo>
                  <a:lnTo>
                    <a:pt x="160502" y="215900"/>
                  </a:lnTo>
                  <a:lnTo>
                    <a:pt x="161785" y="215900"/>
                  </a:lnTo>
                  <a:lnTo>
                    <a:pt x="162941" y="212090"/>
                  </a:lnTo>
                  <a:lnTo>
                    <a:pt x="164299" y="210820"/>
                  </a:lnTo>
                  <a:lnTo>
                    <a:pt x="165328" y="208280"/>
                  </a:lnTo>
                  <a:lnTo>
                    <a:pt x="167284" y="207010"/>
                  </a:lnTo>
                  <a:lnTo>
                    <a:pt x="166865" y="205740"/>
                  </a:lnTo>
                  <a:lnTo>
                    <a:pt x="167132" y="205740"/>
                  </a:lnTo>
                  <a:lnTo>
                    <a:pt x="167601" y="204470"/>
                  </a:lnTo>
                  <a:lnTo>
                    <a:pt x="169684" y="203200"/>
                  </a:lnTo>
                  <a:lnTo>
                    <a:pt x="170738" y="200660"/>
                  </a:lnTo>
                  <a:lnTo>
                    <a:pt x="171970" y="198120"/>
                  </a:lnTo>
                  <a:lnTo>
                    <a:pt x="172593" y="198120"/>
                  </a:lnTo>
                  <a:lnTo>
                    <a:pt x="173062" y="196850"/>
                  </a:lnTo>
                  <a:lnTo>
                    <a:pt x="172923" y="194310"/>
                  </a:lnTo>
                  <a:lnTo>
                    <a:pt x="173990" y="195580"/>
                  </a:lnTo>
                  <a:lnTo>
                    <a:pt x="175323" y="194310"/>
                  </a:lnTo>
                  <a:lnTo>
                    <a:pt x="176022" y="194310"/>
                  </a:lnTo>
                  <a:lnTo>
                    <a:pt x="175755" y="193040"/>
                  </a:lnTo>
                  <a:lnTo>
                    <a:pt x="177114" y="191770"/>
                  </a:lnTo>
                  <a:lnTo>
                    <a:pt x="176898" y="190500"/>
                  </a:lnTo>
                  <a:lnTo>
                    <a:pt x="179044" y="190500"/>
                  </a:lnTo>
                  <a:lnTo>
                    <a:pt x="179095" y="189230"/>
                  </a:lnTo>
                  <a:lnTo>
                    <a:pt x="179146" y="187960"/>
                  </a:lnTo>
                  <a:lnTo>
                    <a:pt x="180314" y="187960"/>
                  </a:lnTo>
                  <a:lnTo>
                    <a:pt x="180365" y="186690"/>
                  </a:lnTo>
                  <a:lnTo>
                    <a:pt x="180467" y="185420"/>
                  </a:lnTo>
                  <a:lnTo>
                    <a:pt x="180822" y="185420"/>
                  </a:lnTo>
                  <a:lnTo>
                    <a:pt x="181711" y="186690"/>
                  </a:lnTo>
                  <a:lnTo>
                    <a:pt x="181571" y="185420"/>
                  </a:lnTo>
                  <a:lnTo>
                    <a:pt x="181622" y="184150"/>
                  </a:lnTo>
                  <a:lnTo>
                    <a:pt x="182511" y="184150"/>
                  </a:lnTo>
                  <a:lnTo>
                    <a:pt x="182308" y="182880"/>
                  </a:lnTo>
                  <a:lnTo>
                    <a:pt x="183438" y="182880"/>
                  </a:lnTo>
                  <a:lnTo>
                    <a:pt x="183400" y="181610"/>
                  </a:lnTo>
                  <a:lnTo>
                    <a:pt x="184861" y="181610"/>
                  </a:lnTo>
                  <a:lnTo>
                    <a:pt x="184899" y="180340"/>
                  </a:lnTo>
                  <a:lnTo>
                    <a:pt x="185140" y="179070"/>
                  </a:lnTo>
                  <a:lnTo>
                    <a:pt x="186867" y="179070"/>
                  </a:lnTo>
                  <a:lnTo>
                    <a:pt x="186918" y="176530"/>
                  </a:lnTo>
                  <a:lnTo>
                    <a:pt x="187947" y="176530"/>
                  </a:lnTo>
                  <a:lnTo>
                    <a:pt x="188290" y="175260"/>
                  </a:lnTo>
                  <a:lnTo>
                    <a:pt x="188595" y="175260"/>
                  </a:lnTo>
                  <a:lnTo>
                    <a:pt x="189598" y="173990"/>
                  </a:lnTo>
                  <a:lnTo>
                    <a:pt x="189750" y="172720"/>
                  </a:lnTo>
                  <a:lnTo>
                    <a:pt x="191135" y="171450"/>
                  </a:lnTo>
                  <a:lnTo>
                    <a:pt x="190398" y="171450"/>
                  </a:lnTo>
                  <a:lnTo>
                    <a:pt x="190411" y="170180"/>
                  </a:lnTo>
                  <a:lnTo>
                    <a:pt x="192430" y="170180"/>
                  </a:lnTo>
                  <a:lnTo>
                    <a:pt x="193065" y="168910"/>
                  </a:lnTo>
                  <a:lnTo>
                    <a:pt x="193421" y="167640"/>
                  </a:lnTo>
                  <a:lnTo>
                    <a:pt x="194716" y="166370"/>
                  </a:lnTo>
                  <a:lnTo>
                    <a:pt x="193916" y="166370"/>
                  </a:lnTo>
                  <a:lnTo>
                    <a:pt x="194652" y="165100"/>
                  </a:lnTo>
                  <a:lnTo>
                    <a:pt x="194741" y="166370"/>
                  </a:lnTo>
                  <a:lnTo>
                    <a:pt x="195211" y="166370"/>
                  </a:lnTo>
                  <a:lnTo>
                    <a:pt x="196062" y="165100"/>
                  </a:lnTo>
                  <a:lnTo>
                    <a:pt x="195859" y="165100"/>
                  </a:lnTo>
                  <a:lnTo>
                    <a:pt x="196049" y="163830"/>
                  </a:lnTo>
                  <a:lnTo>
                    <a:pt x="196430" y="163830"/>
                  </a:lnTo>
                  <a:lnTo>
                    <a:pt x="196811" y="162560"/>
                  </a:lnTo>
                  <a:lnTo>
                    <a:pt x="197154" y="162560"/>
                  </a:lnTo>
                  <a:lnTo>
                    <a:pt x="197408" y="161290"/>
                  </a:lnTo>
                  <a:lnTo>
                    <a:pt x="198691" y="160020"/>
                  </a:lnTo>
                  <a:lnTo>
                    <a:pt x="199694" y="160020"/>
                  </a:lnTo>
                  <a:lnTo>
                    <a:pt x="199923" y="158750"/>
                  </a:lnTo>
                  <a:lnTo>
                    <a:pt x="200596" y="157480"/>
                  </a:lnTo>
                  <a:lnTo>
                    <a:pt x="201269" y="157480"/>
                  </a:lnTo>
                  <a:lnTo>
                    <a:pt x="201739" y="154940"/>
                  </a:lnTo>
                  <a:lnTo>
                    <a:pt x="203530" y="154940"/>
                  </a:lnTo>
                  <a:lnTo>
                    <a:pt x="203466" y="153670"/>
                  </a:lnTo>
                  <a:lnTo>
                    <a:pt x="204139" y="153670"/>
                  </a:lnTo>
                  <a:lnTo>
                    <a:pt x="204203" y="152400"/>
                  </a:lnTo>
                  <a:lnTo>
                    <a:pt x="205498" y="152400"/>
                  </a:lnTo>
                  <a:lnTo>
                    <a:pt x="205003" y="151130"/>
                  </a:lnTo>
                  <a:lnTo>
                    <a:pt x="205092" y="149860"/>
                  </a:lnTo>
                  <a:lnTo>
                    <a:pt x="206527" y="149860"/>
                  </a:lnTo>
                  <a:lnTo>
                    <a:pt x="206971" y="148590"/>
                  </a:lnTo>
                  <a:lnTo>
                    <a:pt x="207848" y="148590"/>
                  </a:lnTo>
                  <a:lnTo>
                    <a:pt x="208026" y="147320"/>
                  </a:lnTo>
                  <a:lnTo>
                    <a:pt x="209067" y="147320"/>
                  </a:lnTo>
                  <a:lnTo>
                    <a:pt x="208876" y="146050"/>
                  </a:lnTo>
                  <a:lnTo>
                    <a:pt x="210146" y="146050"/>
                  </a:lnTo>
                  <a:lnTo>
                    <a:pt x="210146" y="144780"/>
                  </a:lnTo>
                  <a:lnTo>
                    <a:pt x="209677" y="144780"/>
                  </a:lnTo>
                  <a:lnTo>
                    <a:pt x="209956" y="143510"/>
                  </a:lnTo>
                  <a:lnTo>
                    <a:pt x="211937" y="143510"/>
                  </a:lnTo>
                  <a:lnTo>
                    <a:pt x="212255" y="142240"/>
                  </a:lnTo>
                  <a:lnTo>
                    <a:pt x="212445" y="142240"/>
                  </a:lnTo>
                  <a:lnTo>
                    <a:pt x="212826" y="140970"/>
                  </a:lnTo>
                  <a:lnTo>
                    <a:pt x="213880" y="140970"/>
                  </a:lnTo>
                  <a:lnTo>
                    <a:pt x="213982" y="139700"/>
                  </a:lnTo>
                  <a:lnTo>
                    <a:pt x="213271" y="139700"/>
                  </a:lnTo>
                  <a:lnTo>
                    <a:pt x="213791" y="138430"/>
                  </a:lnTo>
                  <a:lnTo>
                    <a:pt x="215798" y="138430"/>
                  </a:lnTo>
                  <a:lnTo>
                    <a:pt x="216166" y="137160"/>
                  </a:lnTo>
                  <a:lnTo>
                    <a:pt x="216662" y="135890"/>
                  </a:lnTo>
                  <a:lnTo>
                    <a:pt x="217093" y="134620"/>
                  </a:lnTo>
                  <a:lnTo>
                    <a:pt x="217678" y="133350"/>
                  </a:lnTo>
                  <a:lnTo>
                    <a:pt x="219773" y="133350"/>
                  </a:lnTo>
                  <a:lnTo>
                    <a:pt x="220332" y="132080"/>
                  </a:lnTo>
                  <a:lnTo>
                    <a:pt x="221767" y="129540"/>
                  </a:lnTo>
                  <a:lnTo>
                    <a:pt x="222148" y="128270"/>
                  </a:lnTo>
                  <a:lnTo>
                    <a:pt x="222885" y="128270"/>
                  </a:lnTo>
                  <a:lnTo>
                    <a:pt x="222885" y="127000"/>
                  </a:lnTo>
                  <a:lnTo>
                    <a:pt x="224688" y="127000"/>
                  </a:lnTo>
                  <a:lnTo>
                    <a:pt x="224828" y="125730"/>
                  </a:lnTo>
                  <a:lnTo>
                    <a:pt x="225056" y="125730"/>
                  </a:lnTo>
                  <a:lnTo>
                    <a:pt x="225361" y="124460"/>
                  </a:lnTo>
                  <a:lnTo>
                    <a:pt x="225602" y="124460"/>
                  </a:lnTo>
                  <a:lnTo>
                    <a:pt x="226504" y="123190"/>
                  </a:lnTo>
                  <a:lnTo>
                    <a:pt x="227876" y="121920"/>
                  </a:lnTo>
                  <a:lnTo>
                    <a:pt x="228422" y="120650"/>
                  </a:lnTo>
                  <a:lnTo>
                    <a:pt x="229590" y="120650"/>
                  </a:lnTo>
                  <a:lnTo>
                    <a:pt x="229793" y="119380"/>
                  </a:lnTo>
                  <a:lnTo>
                    <a:pt x="230174" y="118110"/>
                  </a:lnTo>
                  <a:lnTo>
                    <a:pt x="230822" y="118110"/>
                  </a:lnTo>
                  <a:lnTo>
                    <a:pt x="231076" y="116840"/>
                  </a:lnTo>
                  <a:lnTo>
                    <a:pt x="231597" y="116840"/>
                  </a:lnTo>
                  <a:lnTo>
                    <a:pt x="231470" y="115570"/>
                  </a:lnTo>
                  <a:lnTo>
                    <a:pt x="233311" y="115570"/>
                  </a:lnTo>
                  <a:lnTo>
                    <a:pt x="233502" y="114300"/>
                  </a:lnTo>
                  <a:lnTo>
                    <a:pt x="234315" y="111760"/>
                  </a:lnTo>
                  <a:lnTo>
                    <a:pt x="236156" y="111760"/>
                  </a:lnTo>
                  <a:lnTo>
                    <a:pt x="235496" y="110490"/>
                  </a:lnTo>
                  <a:lnTo>
                    <a:pt x="235648" y="109220"/>
                  </a:lnTo>
                  <a:lnTo>
                    <a:pt x="236880" y="110490"/>
                  </a:lnTo>
                  <a:lnTo>
                    <a:pt x="237324" y="110490"/>
                  </a:lnTo>
                  <a:lnTo>
                    <a:pt x="237502" y="109220"/>
                  </a:lnTo>
                  <a:lnTo>
                    <a:pt x="237680" y="107950"/>
                  </a:lnTo>
                  <a:lnTo>
                    <a:pt x="238518" y="106680"/>
                  </a:lnTo>
                  <a:lnTo>
                    <a:pt x="239280" y="106680"/>
                  </a:lnTo>
                  <a:lnTo>
                    <a:pt x="239814" y="105410"/>
                  </a:lnTo>
                  <a:lnTo>
                    <a:pt x="239991" y="105410"/>
                  </a:lnTo>
                  <a:lnTo>
                    <a:pt x="240207" y="102870"/>
                  </a:lnTo>
                  <a:lnTo>
                    <a:pt x="240944" y="102870"/>
                  </a:lnTo>
                  <a:lnTo>
                    <a:pt x="241134" y="101600"/>
                  </a:lnTo>
                  <a:lnTo>
                    <a:pt x="241871" y="104140"/>
                  </a:lnTo>
                  <a:lnTo>
                    <a:pt x="242836" y="101600"/>
                  </a:lnTo>
                  <a:lnTo>
                    <a:pt x="244856" y="101600"/>
                  </a:lnTo>
                  <a:lnTo>
                    <a:pt x="244652" y="100330"/>
                  </a:lnTo>
                  <a:lnTo>
                    <a:pt x="245046" y="99060"/>
                  </a:lnTo>
                  <a:lnTo>
                    <a:pt x="245833" y="99060"/>
                  </a:lnTo>
                  <a:lnTo>
                    <a:pt x="246189" y="97790"/>
                  </a:lnTo>
                  <a:lnTo>
                    <a:pt x="245770" y="96520"/>
                  </a:lnTo>
                  <a:lnTo>
                    <a:pt x="246684" y="96520"/>
                  </a:lnTo>
                  <a:lnTo>
                    <a:pt x="247294" y="95250"/>
                  </a:lnTo>
                  <a:lnTo>
                    <a:pt x="248399" y="95250"/>
                  </a:lnTo>
                  <a:lnTo>
                    <a:pt x="248881" y="93980"/>
                  </a:lnTo>
                  <a:lnTo>
                    <a:pt x="249529" y="93980"/>
                  </a:lnTo>
                  <a:lnTo>
                    <a:pt x="249885" y="95250"/>
                  </a:lnTo>
                  <a:lnTo>
                    <a:pt x="250393" y="93980"/>
                  </a:lnTo>
                  <a:lnTo>
                    <a:pt x="250926" y="92710"/>
                  </a:lnTo>
                  <a:lnTo>
                    <a:pt x="250736" y="92710"/>
                  </a:lnTo>
                  <a:lnTo>
                    <a:pt x="251091" y="91440"/>
                  </a:lnTo>
                  <a:lnTo>
                    <a:pt x="251320" y="91440"/>
                  </a:lnTo>
                  <a:lnTo>
                    <a:pt x="253098" y="90170"/>
                  </a:lnTo>
                  <a:lnTo>
                    <a:pt x="254063" y="88900"/>
                  </a:lnTo>
                  <a:lnTo>
                    <a:pt x="254901" y="87630"/>
                  </a:lnTo>
                  <a:lnTo>
                    <a:pt x="255524" y="88900"/>
                  </a:lnTo>
                  <a:lnTo>
                    <a:pt x="255638" y="87630"/>
                  </a:lnTo>
                  <a:lnTo>
                    <a:pt x="255866" y="86360"/>
                  </a:lnTo>
                  <a:lnTo>
                    <a:pt x="256616" y="86360"/>
                  </a:lnTo>
                  <a:lnTo>
                    <a:pt x="257670" y="85090"/>
                  </a:lnTo>
                  <a:lnTo>
                    <a:pt x="258356" y="85090"/>
                  </a:lnTo>
                  <a:lnTo>
                    <a:pt x="258445" y="83820"/>
                  </a:lnTo>
                  <a:lnTo>
                    <a:pt x="260108" y="83820"/>
                  </a:lnTo>
                  <a:lnTo>
                    <a:pt x="260299" y="82550"/>
                  </a:lnTo>
                  <a:lnTo>
                    <a:pt x="261264" y="81280"/>
                  </a:lnTo>
                  <a:lnTo>
                    <a:pt x="261327" y="80010"/>
                  </a:lnTo>
                  <a:lnTo>
                    <a:pt x="263601" y="78740"/>
                  </a:lnTo>
                  <a:lnTo>
                    <a:pt x="263829" y="78740"/>
                  </a:lnTo>
                  <a:lnTo>
                    <a:pt x="263664" y="77470"/>
                  </a:lnTo>
                  <a:lnTo>
                    <a:pt x="264985" y="77470"/>
                  </a:lnTo>
                  <a:lnTo>
                    <a:pt x="265353" y="76200"/>
                  </a:lnTo>
                  <a:lnTo>
                    <a:pt x="265480" y="76200"/>
                  </a:lnTo>
                  <a:lnTo>
                    <a:pt x="266014" y="74930"/>
                  </a:lnTo>
                  <a:lnTo>
                    <a:pt x="268185" y="74930"/>
                  </a:lnTo>
                  <a:lnTo>
                    <a:pt x="267639" y="73660"/>
                  </a:lnTo>
                  <a:lnTo>
                    <a:pt x="268185" y="72390"/>
                  </a:lnTo>
                  <a:lnTo>
                    <a:pt x="270167" y="72390"/>
                  </a:lnTo>
                  <a:lnTo>
                    <a:pt x="271335" y="69850"/>
                  </a:lnTo>
                  <a:lnTo>
                    <a:pt x="273329" y="68580"/>
                  </a:lnTo>
                  <a:lnTo>
                    <a:pt x="274980" y="66040"/>
                  </a:lnTo>
                  <a:lnTo>
                    <a:pt x="275488" y="66040"/>
                  </a:lnTo>
                  <a:lnTo>
                    <a:pt x="276263" y="64770"/>
                  </a:lnTo>
                  <a:lnTo>
                    <a:pt x="276529" y="64770"/>
                  </a:lnTo>
                  <a:lnTo>
                    <a:pt x="276415" y="63500"/>
                  </a:lnTo>
                  <a:lnTo>
                    <a:pt x="277139" y="63500"/>
                  </a:lnTo>
                  <a:lnTo>
                    <a:pt x="277329" y="62230"/>
                  </a:lnTo>
                  <a:lnTo>
                    <a:pt x="278701" y="62230"/>
                  </a:lnTo>
                  <a:lnTo>
                    <a:pt x="279260" y="60960"/>
                  </a:lnTo>
                  <a:lnTo>
                    <a:pt x="280606" y="58420"/>
                  </a:lnTo>
                  <a:lnTo>
                    <a:pt x="282359" y="59690"/>
                  </a:lnTo>
                  <a:lnTo>
                    <a:pt x="282587" y="58420"/>
                  </a:lnTo>
                  <a:lnTo>
                    <a:pt x="283692" y="55880"/>
                  </a:lnTo>
                  <a:lnTo>
                    <a:pt x="283578" y="54610"/>
                  </a:lnTo>
                  <a:lnTo>
                    <a:pt x="285318" y="54610"/>
                  </a:lnTo>
                  <a:lnTo>
                    <a:pt x="285915" y="53340"/>
                  </a:lnTo>
                  <a:lnTo>
                    <a:pt x="287540" y="53340"/>
                  </a:lnTo>
                  <a:lnTo>
                    <a:pt x="287401" y="52070"/>
                  </a:lnTo>
                  <a:lnTo>
                    <a:pt x="287794" y="50800"/>
                  </a:lnTo>
                  <a:lnTo>
                    <a:pt x="288607" y="50800"/>
                  </a:lnTo>
                  <a:lnTo>
                    <a:pt x="289826" y="49530"/>
                  </a:lnTo>
                  <a:lnTo>
                    <a:pt x="288912" y="52070"/>
                  </a:lnTo>
                  <a:lnTo>
                    <a:pt x="290220" y="49530"/>
                  </a:lnTo>
                  <a:lnTo>
                    <a:pt x="292874" y="45720"/>
                  </a:lnTo>
                  <a:lnTo>
                    <a:pt x="293458" y="44450"/>
                  </a:lnTo>
                  <a:lnTo>
                    <a:pt x="293649" y="45720"/>
                  </a:lnTo>
                  <a:lnTo>
                    <a:pt x="294474" y="45720"/>
                  </a:lnTo>
                  <a:lnTo>
                    <a:pt x="294462" y="44450"/>
                  </a:lnTo>
                  <a:lnTo>
                    <a:pt x="294741" y="44450"/>
                  </a:lnTo>
                  <a:lnTo>
                    <a:pt x="295871" y="43180"/>
                  </a:lnTo>
                  <a:lnTo>
                    <a:pt x="296062" y="43180"/>
                  </a:lnTo>
                  <a:lnTo>
                    <a:pt x="295059" y="41910"/>
                  </a:lnTo>
                  <a:lnTo>
                    <a:pt x="297916" y="41910"/>
                  </a:lnTo>
                  <a:lnTo>
                    <a:pt x="297484" y="40640"/>
                  </a:lnTo>
                  <a:lnTo>
                    <a:pt x="296494" y="40640"/>
                  </a:lnTo>
                  <a:lnTo>
                    <a:pt x="297319" y="39370"/>
                  </a:lnTo>
                  <a:lnTo>
                    <a:pt x="297510" y="40640"/>
                  </a:lnTo>
                  <a:lnTo>
                    <a:pt x="297675" y="40640"/>
                  </a:lnTo>
                  <a:lnTo>
                    <a:pt x="297802" y="39370"/>
                  </a:lnTo>
                  <a:lnTo>
                    <a:pt x="298208" y="39370"/>
                  </a:lnTo>
                  <a:lnTo>
                    <a:pt x="298310" y="40640"/>
                  </a:lnTo>
                  <a:lnTo>
                    <a:pt x="300037" y="39370"/>
                  </a:lnTo>
                  <a:lnTo>
                    <a:pt x="301447" y="38100"/>
                  </a:lnTo>
                  <a:lnTo>
                    <a:pt x="303885" y="35560"/>
                  </a:lnTo>
                  <a:lnTo>
                    <a:pt x="305269" y="34290"/>
                  </a:lnTo>
                  <a:lnTo>
                    <a:pt x="307924" y="30480"/>
                  </a:lnTo>
                  <a:lnTo>
                    <a:pt x="308775" y="30480"/>
                  </a:lnTo>
                  <a:lnTo>
                    <a:pt x="311734" y="27940"/>
                  </a:lnTo>
                  <a:lnTo>
                    <a:pt x="317385" y="22860"/>
                  </a:lnTo>
                  <a:lnTo>
                    <a:pt x="318757" y="22860"/>
                  </a:lnTo>
                  <a:lnTo>
                    <a:pt x="317474" y="21590"/>
                  </a:lnTo>
                  <a:lnTo>
                    <a:pt x="318744" y="21590"/>
                  </a:lnTo>
                  <a:lnTo>
                    <a:pt x="319176" y="22860"/>
                  </a:lnTo>
                  <a:lnTo>
                    <a:pt x="319684" y="21590"/>
                  </a:lnTo>
                  <a:lnTo>
                    <a:pt x="320179" y="20320"/>
                  </a:lnTo>
                  <a:lnTo>
                    <a:pt x="321970" y="19050"/>
                  </a:lnTo>
                  <a:lnTo>
                    <a:pt x="324878" y="17780"/>
                  </a:lnTo>
                  <a:lnTo>
                    <a:pt x="325755" y="17780"/>
                  </a:lnTo>
                  <a:lnTo>
                    <a:pt x="326644" y="16510"/>
                  </a:lnTo>
                  <a:lnTo>
                    <a:pt x="327545" y="15240"/>
                  </a:lnTo>
                  <a:lnTo>
                    <a:pt x="328434" y="15240"/>
                  </a:lnTo>
                  <a:lnTo>
                    <a:pt x="329717" y="13970"/>
                  </a:lnTo>
                  <a:lnTo>
                    <a:pt x="328256" y="13970"/>
                  </a:lnTo>
                  <a:lnTo>
                    <a:pt x="327863" y="14020"/>
                  </a:lnTo>
                  <a:lnTo>
                    <a:pt x="327507" y="14173"/>
                  </a:lnTo>
                  <a:lnTo>
                    <a:pt x="327672" y="14262"/>
                  </a:lnTo>
                  <a:lnTo>
                    <a:pt x="326110" y="15240"/>
                  </a:lnTo>
                  <a:lnTo>
                    <a:pt x="326326" y="13970"/>
                  </a:lnTo>
                  <a:lnTo>
                    <a:pt x="327469" y="13970"/>
                  </a:lnTo>
                  <a:lnTo>
                    <a:pt x="327977" y="12700"/>
                  </a:lnTo>
                  <a:lnTo>
                    <a:pt x="329996" y="12700"/>
                  </a:lnTo>
                  <a:lnTo>
                    <a:pt x="330377" y="13970"/>
                  </a:lnTo>
                  <a:lnTo>
                    <a:pt x="331533" y="12700"/>
                  </a:lnTo>
                  <a:lnTo>
                    <a:pt x="330441" y="12700"/>
                  </a:lnTo>
                  <a:lnTo>
                    <a:pt x="330352" y="12306"/>
                  </a:lnTo>
                  <a:lnTo>
                    <a:pt x="332054" y="11785"/>
                  </a:lnTo>
                  <a:lnTo>
                    <a:pt x="332587" y="9982"/>
                  </a:lnTo>
                  <a:lnTo>
                    <a:pt x="332994" y="9690"/>
                  </a:lnTo>
                  <a:lnTo>
                    <a:pt x="333375" y="9918"/>
                  </a:lnTo>
                  <a:close/>
                </a:path>
              </a:pathLst>
            </a:custGeom>
            <a:solidFill>
              <a:srgbClr val="D02929">
                <a:alpha val="53729"/>
              </a:srgbClr>
            </a:solidFill>
          </p:spPr>
          <p:txBody>
            <a:bodyPr wrap="square" lIns="0" tIns="0" rIns="0" bIns="0" rtlCol="0"/>
            <a:lstStyle/>
            <a:p>
              <a:endParaRPr/>
            </a:p>
          </p:txBody>
        </p:sp>
      </p:grpSp>
      <p:sp>
        <p:nvSpPr>
          <p:cNvPr id="15" name="object 15"/>
          <p:cNvSpPr txBox="1"/>
          <p:nvPr/>
        </p:nvSpPr>
        <p:spPr>
          <a:xfrm>
            <a:off x="7759572" y="4485661"/>
            <a:ext cx="2099310" cy="330835"/>
          </a:xfrm>
          <a:prstGeom prst="rect">
            <a:avLst/>
          </a:prstGeom>
        </p:spPr>
        <p:txBody>
          <a:bodyPr vert="horz" wrap="square" lIns="0" tIns="12700" rIns="0" bIns="0" rtlCol="0">
            <a:spAutoFit/>
          </a:bodyPr>
          <a:lstStyle/>
          <a:p>
            <a:pPr marL="12700">
              <a:lnSpc>
                <a:spcPct val="100000"/>
              </a:lnSpc>
              <a:spcBef>
                <a:spcPts val="100"/>
              </a:spcBef>
            </a:pPr>
            <a:r>
              <a:rPr sz="2000" b="1" spc="-10" dirty="0">
                <a:solidFill>
                  <a:srgbClr val="FFFFFF"/>
                </a:solidFill>
                <a:latin typeface="Roboto"/>
                <a:cs typeface="Roboto"/>
              </a:rPr>
              <a:t>COMPETITIVIDAD</a:t>
            </a:r>
            <a:endParaRPr sz="2000">
              <a:latin typeface="Roboto"/>
              <a:cs typeface="Roboto"/>
            </a:endParaRPr>
          </a:p>
        </p:txBody>
      </p:sp>
      <p:grpSp>
        <p:nvGrpSpPr>
          <p:cNvPr id="16" name="object 16"/>
          <p:cNvGrpSpPr/>
          <p:nvPr/>
        </p:nvGrpSpPr>
        <p:grpSpPr>
          <a:xfrm>
            <a:off x="12915276" y="3766221"/>
            <a:ext cx="3850004" cy="1437640"/>
            <a:chOff x="12915276" y="3766221"/>
            <a:chExt cx="3850004" cy="1437640"/>
          </a:xfrm>
        </p:grpSpPr>
        <p:sp>
          <p:nvSpPr>
            <p:cNvPr id="17" name="object 17"/>
            <p:cNvSpPr/>
            <p:nvPr/>
          </p:nvSpPr>
          <p:spPr>
            <a:xfrm>
              <a:off x="12915276" y="4119880"/>
              <a:ext cx="3850004" cy="1083945"/>
            </a:xfrm>
            <a:custGeom>
              <a:avLst/>
              <a:gdLst/>
              <a:ahLst/>
              <a:cxnLst/>
              <a:rect l="l" t="t" r="r" b="b"/>
              <a:pathLst>
                <a:path w="3850005" h="1083945">
                  <a:moveTo>
                    <a:pt x="3366003" y="1083556"/>
                  </a:moveTo>
                  <a:lnTo>
                    <a:pt x="485774" y="1083556"/>
                  </a:lnTo>
                  <a:lnTo>
                    <a:pt x="437761" y="1081179"/>
                  </a:lnTo>
                  <a:lnTo>
                    <a:pt x="390562" y="1074135"/>
                  </a:lnTo>
                  <a:lnTo>
                    <a:pt x="344494" y="1062558"/>
                  </a:lnTo>
                  <a:lnTo>
                    <a:pt x="299876" y="1046578"/>
                  </a:lnTo>
                  <a:lnTo>
                    <a:pt x="257027" y="1026328"/>
                  </a:lnTo>
                  <a:lnTo>
                    <a:pt x="216266" y="1001940"/>
                  </a:lnTo>
                  <a:lnTo>
                    <a:pt x="177910" y="973545"/>
                  </a:lnTo>
                  <a:lnTo>
                    <a:pt x="142279" y="941275"/>
                  </a:lnTo>
                  <a:lnTo>
                    <a:pt x="110010" y="905644"/>
                  </a:lnTo>
                  <a:lnTo>
                    <a:pt x="81615" y="867289"/>
                  </a:lnTo>
                  <a:lnTo>
                    <a:pt x="57227" y="826527"/>
                  </a:lnTo>
                  <a:lnTo>
                    <a:pt x="36977" y="783679"/>
                  </a:lnTo>
                  <a:lnTo>
                    <a:pt x="20997" y="739061"/>
                  </a:lnTo>
                  <a:lnTo>
                    <a:pt x="9419" y="692993"/>
                  </a:lnTo>
                  <a:lnTo>
                    <a:pt x="2376" y="645794"/>
                  </a:lnTo>
                  <a:lnTo>
                    <a:pt x="0" y="597788"/>
                  </a:lnTo>
                  <a:lnTo>
                    <a:pt x="0" y="485767"/>
                  </a:lnTo>
                  <a:lnTo>
                    <a:pt x="2376" y="437762"/>
                  </a:lnTo>
                  <a:lnTo>
                    <a:pt x="9419" y="390562"/>
                  </a:lnTo>
                  <a:lnTo>
                    <a:pt x="20997" y="344494"/>
                  </a:lnTo>
                  <a:lnTo>
                    <a:pt x="36977" y="299876"/>
                  </a:lnTo>
                  <a:lnTo>
                    <a:pt x="57227" y="257028"/>
                  </a:lnTo>
                  <a:lnTo>
                    <a:pt x="81615" y="216266"/>
                  </a:lnTo>
                  <a:lnTo>
                    <a:pt x="110010" y="177911"/>
                  </a:lnTo>
                  <a:lnTo>
                    <a:pt x="142279" y="142280"/>
                  </a:lnTo>
                  <a:lnTo>
                    <a:pt x="177910" y="110010"/>
                  </a:lnTo>
                  <a:lnTo>
                    <a:pt x="216266" y="81615"/>
                  </a:lnTo>
                  <a:lnTo>
                    <a:pt x="257027" y="57227"/>
                  </a:lnTo>
                  <a:lnTo>
                    <a:pt x="299876" y="36977"/>
                  </a:lnTo>
                  <a:lnTo>
                    <a:pt x="344494" y="20997"/>
                  </a:lnTo>
                  <a:lnTo>
                    <a:pt x="390562" y="9420"/>
                  </a:lnTo>
                  <a:lnTo>
                    <a:pt x="437761" y="2377"/>
                  </a:lnTo>
                  <a:lnTo>
                    <a:pt x="485774" y="0"/>
                  </a:lnTo>
                  <a:lnTo>
                    <a:pt x="3366003" y="0"/>
                  </a:lnTo>
                  <a:lnTo>
                    <a:pt x="3414016" y="2377"/>
                  </a:lnTo>
                  <a:lnTo>
                    <a:pt x="3461216" y="9420"/>
                  </a:lnTo>
                  <a:lnTo>
                    <a:pt x="3507284" y="20997"/>
                  </a:lnTo>
                  <a:lnTo>
                    <a:pt x="3551902" y="36977"/>
                  </a:lnTo>
                  <a:lnTo>
                    <a:pt x="3594750" y="57227"/>
                  </a:lnTo>
                  <a:lnTo>
                    <a:pt x="3635512" y="81615"/>
                  </a:lnTo>
                  <a:lnTo>
                    <a:pt x="3673867" y="110010"/>
                  </a:lnTo>
                  <a:lnTo>
                    <a:pt x="3709499" y="142280"/>
                  </a:lnTo>
                  <a:lnTo>
                    <a:pt x="3741768" y="177911"/>
                  </a:lnTo>
                  <a:lnTo>
                    <a:pt x="3770163" y="216266"/>
                  </a:lnTo>
                  <a:lnTo>
                    <a:pt x="3794551" y="257028"/>
                  </a:lnTo>
                  <a:lnTo>
                    <a:pt x="3814801" y="299876"/>
                  </a:lnTo>
                  <a:lnTo>
                    <a:pt x="3830781" y="344494"/>
                  </a:lnTo>
                  <a:lnTo>
                    <a:pt x="3842358" y="390562"/>
                  </a:lnTo>
                  <a:lnTo>
                    <a:pt x="3849401" y="437762"/>
                  </a:lnTo>
                  <a:lnTo>
                    <a:pt x="3849588" y="441534"/>
                  </a:lnTo>
                  <a:lnTo>
                    <a:pt x="3849588" y="642021"/>
                  </a:lnTo>
                  <a:lnTo>
                    <a:pt x="3842358" y="692993"/>
                  </a:lnTo>
                  <a:lnTo>
                    <a:pt x="3830781" y="739061"/>
                  </a:lnTo>
                  <a:lnTo>
                    <a:pt x="3814801" y="783679"/>
                  </a:lnTo>
                  <a:lnTo>
                    <a:pt x="3794551" y="826527"/>
                  </a:lnTo>
                  <a:lnTo>
                    <a:pt x="3770163" y="867289"/>
                  </a:lnTo>
                  <a:lnTo>
                    <a:pt x="3741768" y="905644"/>
                  </a:lnTo>
                  <a:lnTo>
                    <a:pt x="3709499" y="941275"/>
                  </a:lnTo>
                  <a:lnTo>
                    <a:pt x="3673867" y="973545"/>
                  </a:lnTo>
                  <a:lnTo>
                    <a:pt x="3635512" y="1001940"/>
                  </a:lnTo>
                  <a:lnTo>
                    <a:pt x="3594750" y="1026328"/>
                  </a:lnTo>
                  <a:lnTo>
                    <a:pt x="3551902" y="1046578"/>
                  </a:lnTo>
                  <a:lnTo>
                    <a:pt x="3507284" y="1062558"/>
                  </a:lnTo>
                  <a:lnTo>
                    <a:pt x="3461216" y="1074135"/>
                  </a:lnTo>
                  <a:lnTo>
                    <a:pt x="3414016" y="1081179"/>
                  </a:lnTo>
                  <a:lnTo>
                    <a:pt x="3366003" y="1083556"/>
                  </a:lnTo>
                  <a:close/>
                </a:path>
              </a:pathLst>
            </a:custGeom>
            <a:solidFill>
              <a:srgbClr val="21408B">
                <a:alpha val="53729"/>
              </a:srgbClr>
            </a:solidFill>
          </p:spPr>
          <p:txBody>
            <a:bodyPr wrap="square" lIns="0" tIns="0" rIns="0" bIns="0" rtlCol="0"/>
            <a:lstStyle/>
            <a:p>
              <a:endParaRPr/>
            </a:p>
          </p:txBody>
        </p:sp>
        <p:sp>
          <p:nvSpPr>
            <p:cNvPr id="18" name="object 18"/>
            <p:cNvSpPr/>
            <p:nvPr/>
          </p:nvSpPr>
          <p:spPr>
            <a:xfrm>
              <a:off x="14555296" y="3766221"/>
              <a:ext cx="539750" cy="539750"/>
            </a:xfrm>
            <a:custGeom>
              <a:avLst/>
              <a:gdLst/>
              <a:ahLst/>
              <a:cxnLst/>
              <a:rect l="l" t="t" r="r" b="b"/>
              <a:pathLst>
                <a:path w="539750" h="539750">
                  <a:moveTo>
                    <a:pt x="269808" y="539602"/>
                  </a:moveTo>
                  <a:lnTo>
                    <a:pt x="221304" y="535256"/>
                  </a:lnTo>
                  <a:lnTo>
                    <a:pt x="175659" y="522723"/>
                  </a:lnTo>
                  <a:lnTo>
                    <a:pt x="133627" y="502767"/>
                  </a:lnTo>
                  <a:lnTo>
                    <a:pt x="95971" y="476149"/>
                  </a:lnTo>
                  <a:lnTo>
                    <a:pt x="63454" y="443631"/>
                  </a:lnTo>
                  <a:lnTo>
                    <a:pt x="36835" y="405975"/>
                  </a:lnTo>
                  <a:lnTo>
                    <a:pt x="16879" y="363944"/>
                  </a:lnTo>
                  <a:lnTo>
                    <a:pt x="4346" y="318298"/>
                  </a:lnTo>
                  <a:lnTo>
                    <a:pt x="0" y="269801"/>
                  </a:lnTo>
                  <a:lnTo>
                    <a:pt x="4346" y="221304"/>
                  </a:lnTo>
                  <a:lnTo>
                    <a:pt x="16879" y="175659"/>
                  </a:lnTo>
                  <a:lnTo>
                    <a:pt x="36835" y="133627"/>
                  </a:lnTo>
                  <a:lnTo>
                    <a:pt x="63454" y="95971"/>
                  </a:lnTo>
                  <a:lnTo>
                    <a:pt x="95971" y="63453"/>
                  </a:lnTo>
                  <a:lnTo>
                    <a:pt x="133627" y="36835"/>
                  </a:lnTo>
                  <a:lnTo>
                    <a:pt x="175659" y="16879"/>
                  </a:lnTo>
                  <a:lnTo>
                    <a:pt x="221304" y="4346"/>
                  </a:lnTo>
                  <a:lnTo>
                    <a:pt x="269801" y="0"/>
                  </a:lnTo>
                  <a:lnTo>
                    <a:pt x="318298" y="4346"/>
                  </a:lnTo>
                  <a:lnTo>
                    <a:pt x="363943" y="16879"/>
                  </a:lnTo>
                  <a:lnTo>
                    <a:pt x="405975" y="36835"/>
                  </a:lnTo>
                  <a:lnTo>
                    <a:pt x="443630" y="63453"/>
                  </a:lnTo>
                  <a:lnTo>
                    <a:pt x="476148" y="95971"/>
                  </a:lnTo>
                  <a:lnTo>
                    <a:pt x="502767" y="133627"/>
                  </a:lnTo>
                  <a:lnTo>
                    <a:pt x="522723" y="175659"/>
                  </a:lnTo>
                  <a:lnTo>
                    <a:pt x="535256" y="221304"/>
                  </a:lnTo>
                  <a:lnTo>
                    <a:pt x="539602" y="269801"/>
                  </a:lnTo>
                  <a:lnTo>
                    <a:pt x="535256" y="318298"/>
                  </a:lnTo>
                  <a:lnTo>
                    <a:pt x="522723" y="363944"/>
                  </a:lnTo>
                  <a:lnTo>
                    <a:pt x="502767" y="405975"/>
                  </a:lnTo>
                  <a:lnTo>
                    <a:pt x="476148" y="443631"/>
                  </a:lnTo>
                  <a:lnTo>
                    <a:pt x="443630" y="476149"/>
                  </a:lnTo>
                  <a:lnTo>
                    <a:pt x="405975" y="502767"/>
                  </a:lnTo>
                  <a:lnTo>
                    <a:pt x="363943" y="522723"/>
                  </a:lnTo>
                  <a:lnTo>
                    <a:pt x="318298" y="535256"/>
                  </a:lnTo>
                  <a:lnTo>
                    <a:pt x="269808" y="539602"/>
                  </a:lnTo>
                  <a:close/>
                </a:path>
              </a:pathLst>
            </a:custGeom>
            <a:solidFill>
              <a:srgbClr val="FFFFFF">
                <a:alpha val="53729"/>
              </a:srgbClr>
            </a:solidFill>
          </p:spPr>
          <p:txBody>
            <a:bodyPr wrap="square" lIns="0" tIns="0" rIns="0" bIns="0" rtlCol="0"/>
            <a:lstStyle/>
            <a:p>
              <a:endParaRPr/>
            </a:p>
          </p:txBody>
        </p:sp>
        <p:sp>
          <p:nvSpPr>
            <p:cNvPr id="19" name="object 19"/>
            <p:cNvSpPr/>
            <p:nvPr/>
          </p:nvSpPr>
          <p:spPr>
            <a:xfrm>
              <a:off x="14657032" y="3845546"/>
              <a:ext cx="333375" cy="379730"/>
            </a:xfrm>
            <a:custGeom>
              <a:avLst/>
              <a:gdLst/>
              <a:ahLst/>
              <a:cxnLst/>
              <a:rect l="l" t="t" r="r" b="b"/>
              <a:pathLst>
                <a:path w="333375" h="379729">
                  <a:moveTo>
                    <a:pt x="4483" y="313651"/>
                  </a:moveTo>
                  <a:lnTo>
                    <a:pt x="4279" y="313867"/>
                  </a:lnTo>
                  <a:lnTo>
                    <a:pt x="3873" y="314325"/>
                  </a:lnTo>
                  <a:lnTo>
                    <a:pt x="4000" y="314566"/>
                  </a:lnTo>
                  <a:lnTo>
                    <a:pt x="4368" y="314566"/>
                  </a:lnTo>
                  <a:lnTo>
                    <a:pt x="4445" y="314134"/>
                  </a:lnTo>
                  <a:lnTo>
                    <a:pt x="4483" y="313651"/>
                  </a:lnTo>
                  <a:close/>
                </a:path>
                <a:path w="333375" h="379729">
                  <a:moveTo>
                    <a:pt x="9690" y="230314"/>
                  </a:moveTo>
                  <a:lnTo>
                    <a:pt x="9652" y="230124"/>
                  </a:lnTo>
                  <a:lnTo>
                    <a:pt x="9436" y="229920"/>
                  </a:lnTo>
                  <a:lnTo>
                    <a:pt x="9296" y="230009"/>
                  </a:lnTo>
                  <a:lnTo>
                    <a:pt x="9245" y="230187"/>
                  </a:lnTo>
                  <a:lnTo>
                    <a:pt x="9296" y="230327"/>
                  </a:lnTo>
                  <a:lnTo>
                    <a:pt x="9321" y="230492"/>
                  </a:lnTo>
                  <a:lnTo>
                    <a:pt x="9550" y="230733"/>
                  </a:lnTo>
                  <a:lnTo>
                    <a:pt x="9690" y="230670"/>
                  </a:lnTo>
                  <a:lnTo>
                    <a:pt x="9690" y="230454"/>
                  </a:lnTo>
                  <a:lnTo>
                    <a:pt x="9690" y="230314"/>
                  </a:lnTo>
                  <a:close/>
                </a:path>
                <a:path w="333375" h="379729">
                  <a:moveTo>
                    <a:pt x="23901" y="371017"/>
                  </a:moveTo>
                  <a:lnTo>
                    <a:pt x="23812" y="370611"/>
                  </a:lnTo>
                  <a:lnTo>
                    <a:pt x="23672" y="370700"/>
                  </a:lnTo>
                  <a:lnTo>
                    <a:pt x="23761" y="371094"/>
                  </a:lnTo>
                  <a:lnTo>
                    <a:pt x="23901" y="371017"/>
                  </a:lnTo>
                  <a:close/>
                </a:path>
                <a:path w="333375" h="379729">
                  <a:moveTo>
                    <a:pt x="38735" y="223278"/>
                  </a:moveTo>
                  <a:lnTo>
                    <a:pt x="38684" y="222948"/>
                  </a:lnTo>
                  <a:lnTo>
                    <a:pt x="38544" y="222872"/>
                  </a:lnTo>
                  <a:lnTo>
                    <a:pt x="38328" y="223062"/>
                  </a:lnTo>
                  <a:lnTo>
                    <a:pt x="38214" y="223266"/>
                  </a:lnTo>
                  <a:lnTo>
                    <a:pt x="38138" y="223685"/>
                  </a:lnTo>
                  <a:lnTo>
                    <a:pt x="38290" y="223951"/>
                  </a:lnTo>
                  <a:lnTo>
                    <a:pt x="38544" y="223761"/>
                  </a:lnTo>
                  <a:lnTo>
                    <a:pt x="38633" y="223456"/>
                  </a:lnTo>
                  <a:lnTo>
                    <a:pt x="38735" y="223278"/>
                  </a:lnTo>
                  <a:close/>
                </a:path>
                <a:path w="333375" h="379729">
                  <a:moveTo>
                    <a:pt x="41986" y="222072"/>
                  </a:moveTo>
                  <a:lnTo>
                    <a:pt x="41884" y="221488"/>
                  </a:lnTo>
                  <a:lnTo>
                    <a:pt x="41783" y="221297"/>
                  </a:lnTo>
                  <a:lnTo>
                    <a:pt x="41567" y="220941"/>
                  </a:lnTo>
                  <a:lnTo>
                    <a:pt x="41427" y="220980"/>
                  </a:lnTo>
                  <a:lnTo>
                    <a:pt x="41122" y="222224"/>
                  </a:lnTo>
                  <a:lnTo>
                    <a:pt x="40805" y="223139"/>
                  </a:lnTo>
                  <a:lnTo>
                    <a:pt x="40322" y="224180"/>
                  </a:lnTo>
                  <a:lnTo>
                    <a:pt x="40297" y="224370"/>
                  </a:lnTo>
                  <a:lnTo>
                    <a:pt x="40500" y="224434"/>
                  </a:lnTo>
                  <a:lnTo>
                    <a:pt x="40741" y="224447"/>
                  </a:lnTo>
                  <a:lnTo>
                    <a:pt x="41986" y="222072"/>
                  </a:lnTo>
                  <a:close/>
                </a:path>
                <a:path w="333375" h="379729">
                  <a:moveTo>
                    <a:pt x="44704" y="229870"/>
                  </a:moveTo>
                  <a:lnTo>
                    <a:pt x="43840" y="228600"/>
                  </a:lnTo>
                  <a:lnTo>
                    <a:pt x="42506" y="227330"/>
                  </a:lnTo>
                  <a:lnTo>
                    <a:pt x="41275" y="228600"/>
                  </a:lnTo>
                  <a:lnTo>
                    <a:pt x="40970" y="228600"/>
                  </a:lnTo>
                  <a:lnTo>
                    <a:pt x="40703" y="229870"/>
                  </a:lnTo>
                  <a:lnTo>
                    <a:pt x="40538" y="228600"/>
                  </a:lnTo>
                  <a:lnTo>
                    <a:pt x="40157" y="228600"/>
                  </a:lnTo>
                  <a:lnTo>
                    <a:pt x="40627" y="227330"/>
                  </a:lnTo>
                  <a:lnTo>
                    <a:pt x="40944" y="227330"/>
                  </a:lnTo>
                  <a:lnTo>
                    <a:pt x="40932" y="226060"/>
                  </a:lnTo>
                  <a:lnTo>
                    <a:pt x="41008" y="224790"/>
                  </a:lnTo>
                  <a:lnTo>
                    <a:pt x="39814" y="226060"/>
                  </a:lnTo>
                  <a:lnTo>
                    <a:pt x="39814" y="231140"/>
                  </a:lnTo>
                  <a:lnTo>
                    <a:pt x="39420" y="231140"/>
                  </a:lnTo>
                  <a:lnTo>
                    <a:pt x="39281" y="229870"/>
                  </a:lnTo>
                  <a:lnTo>
                    <a:pt x="39585" y="229870"/>
                  </a:lnTo>
                  <a:lnTo>
                    <a:pt x="39814" y="231140"/>
                  </a:lnTo>
                  <a:lnTo>
                    <a:pt x="39814" y="226060"/>
                  </a:lnTo>
                  <a:lnTo>
                    <a:pt x="39281" y="226060"/>
                  </a:lnTo>
                  <a:lnTo>
                    <a:pt x="38328" y="224523"/>
                  </a:lnTo>
                  <a:lnTo>
                    <a:pt x="38328" y="231140"/>
                  </a:lnTo>
                  <a:lnTo>
                    <a:pt x="38188" y="232410"/>
                  </a:lnTo>
                  <a:lnTo>
                    <a:pt x="37973" y="232410"/>
                  </a:lnTo>
                  <a:lnTo>
                    <a:pt x="37973" y="231140"/>
                  </a:lnTo>
                  <a:lnTo>
                    <a:pt x="38328" y="231140"/>
                  </a:lnTo>
                  <a:lnTo>
                    <a:pt x="38328" y="224523"/>
                  </a:lnTo>
                  <a:lnTo>
                    <a:pt x="37719" y="223520"/>
                  </a:lnTo>
                  <a:lnTo>
                    <a:pt x="37592" y="222250"/>
                  </a:lnTo>
                  <a:lnTo>
                    <a:pt x="37045" y="220980"/>
                  </a:lnTo>
                  <a:lnTo>
                    <a:pt x="36880" y="220980"/>
                  </a:lnTo>
                  <a:lnTo>
                    <a:pt x="37325" y="219710"/>
                  </a:lnTo>
                  <a:lnTo>
                    <a:pt x="37579" y="219710"/>
                  </a:lnTo>
                  <a:lnTo>
                    <a:pt x="38163" y="220980"/>
                  </a:lnTo>
                  <a:lnTo>
                    <a:pt x="38849" y="220980"/>
                  </a:lnTo>
                  <a:lnTo>
                    <a:pt x="39776" y="222250"/>
                  </a:lnTo>
                  <a:lnTo>
                    <a:pt x="40271" y="222250"/>
                  </a:lnTo>
                  <a:lnTo>
                    <a:pt x="40944" y="220980"/>
                  </a:lnTo>
                  <a:lnTo>
                    <a:pt x="40208" y="220980"/>
                  </a:lnTo>
                  <a:lnTo>
                    <a:pt x="39700" y="219710"/>
                  </a:lnTo>
                  <a:lnTo>
                    <a:pt x="38163" y="219710"/>
                  </a:lnTo>
                  <a:lnTo>
                    <a:pt x="38265" y="218440"/>
                  </a:lnTo>
                  <a:lnTo>
                    <a:pt x="38633" y="217170"/>
                  </a:lnTo>
                  <a:lnTo>
                    <a:pt x="38989" y="215900"/>
                  </a:lnTo>
                  <a:lnTo>
                    <a:pt x="38735" y="214630"/>
                  </a:lnTo>
                  <a:lnTo>
                    <a:pt x="37223" y="214630"/>
                  </a:lnTo>
                  <a:lnTo>
                    <a:pt x="36703" y="213360"/>
                  </a:lnTo>
                  <a:lnTo>
                    <a:pt x="36309" y="212090"/>
                  </a:lnTo>
                  <a:lnTo>
                    <a:pt x="35458" y="213360"/>
                  </a:lnTo>
                  <a:lnTo>
                    <a:pt x="35242" y="213360"/>
                  </a:lnTo>
                  <a:lnTo>
                    <a:pt x="35394" y="214630"/>
                  </a:lnTo>
                  <a:lnTo>
                    <a:pt x="35712" y="215900"/>
                  </a:lnTo>
                  <a:lnTo>
                    <a:pt x="35712" y="224790"/>
                  </a:lnTo>
                  <a:lnTo>
                    <a:pt x="35699" y="226060"/>
                  </a:lnTo>
                  <a:lnTo>
                    <a:pt x="35661" y="224790"/>
                  </a:lnTo>
                  <a:lnTo>
                    <a:pt x="35712" y="215900"/>
                  </a:lnTo>
                  <a:lnTo>
                    <a:pt x="35306" y="215900"/>
                  </a:lnTo>
                  <a:lnTo>
                    <a:pt x="35229" y="217170"/>
                  </a:lnTo>
                  <a:lnTo>
                    <a:pt x="34709" y="217170"/>
                  </a:lnTo>
                  <a:lnTo>
                    <a:pt x="34747" y="215900"/>
                  </a:lnTo>
                  <a:lnTo>
                    <a:pt x="34759" y="214630"/>
                  </a:lnTo>
                  <a:lnTo>
                    <a:pt x="34150" y="213360"/>
                  </a:lnTo>
                  <a:lnTo>
                    <a:pt x="33820" y="213360"/>
                  </a:lnTo>
                  <a:lnTo>
                    <a:pt x="33820" y="226060"/>
                  </a:lnTo>
                  <a:lnTo>
                    <a:pt x="33388" y="226060"/>
                  </a:lnTo>
                  <a:lnTo>
                    <a:pt x="33172" y="224790"/>
                  </a:lnTo>
                  <a:lnTo>
                    <a:pt x="31483" y="224790"/>
                  </a:lnTo>
                  <a:lnTo>
                    <a:pt x="31229" y="223520"/>
                  </a:lnTo>
                  <a:lnTo>
                    <a:pt x="32105" y="223520"/>
                  </a:lnTo>
                  <a:lnTo>
                    <a:pt x="32550" y="222250"/>
                  </a:lnTo>
                  <a:lnTo>
                    <a:pt x="32981" y="223520"/>
                  </a:lnTo>
                  <a:lnTo>
                    <a:pt x="33451" y="223520"/>
                  </a:lnTo>
                  <a:lnTo>
                    <a:pt x="33591" y="224790"/>
                  </a:lnTo>
                  <a:lnTo>
                    <a:pt x="33820" y="226060"/>
                  </a:lnTo>
                  <a:lnTo>
                    <a:pt x="33820" y="213360"/>
                  </a:lnTo>
                  <a:lnTo>
                    <a:pt x="32778" y="213360"/>
                  </a:lnTo>
                  <a:lnTo>
                    <a:pt x="32054" y="214630"/>
                  </a:lnTo>
                  <a:lnTo>
                    <a:pt x="30010" y="214630"/>
                  </a:lnTo>
                  <a:lnTo>
                    <a:pt x="29794" y="213360"/>
                  </a:lnTo>
                  <a:lnTo>
                    <a:pt x="29222" y="213360"/>
                  </a:lnTo>
                  <a:lnTo>
                    <a:pt x="28613" y="212090"/>
                  </a:lnTo>
                  <a:lnTo>
                    <a:pt x="27343" y="213360"/>
                  </a:lnTo>
                  <a:lnTo>
                    <a:pt x="27025" y="213360"/>
                  </a:lnTo>
                  <a:lnTo>
                    <a:pt x="27279" y="214630"/>
                  </a:lnTo>
                  <a:lnTo>
                    <a:pt x="27762" y="215900"/>
                  </a:lnTo>
                  <a:lnTo>
                    <a:pt x="27152" y="215900"/>
                  </a:lnTo>
                  <a:lnTo>
                    <a:pt x="27038" y="217170"/>
                  </a:lnTo>
                  <a:lnTo>
                    <a:pt x="26250" y="217170"/>
                  </a:lnTo>
                  <a:lnTo>
                    <a:pt x="26314" y="215900"/>
                  </a:lnTo>
                  <a:lnTo>
                    <a:pt x="26314" y="214630"/>
                  </a:lnTo>
                  <a:lnTo>
                    <a:pt x="25400" y="213360"/>
                  </a:lnTo>
                  <a:lnTo>
                    <a:pt x="24650" y="213360"/>
                  </a:lnTo>
                  <a:lnTo>
                    <a:pt x="24650" y="224790"/>
                  </a:lnTo>
                  <a:lnTo>
                    <a:pt x="24371" y="224790"/>
                  </a:lnTo>
                  <a:lnTo>
                    <a:pt x="24625" y="226060"/>
                  </a:lnTo>
                  <a:lnTo>
                    <a:pt x="23977" y="226060"/>
                  </a:lnTo>
                  <a:lnTo>
                    <a:pt x="24053" y="224790"/>
                  </a:lnTo>
                  <a:lnTo>
                    <a:pt x="22796" y="224790"/>
                  </a:lnTo>
                  <a:lnTo>
                    <a:pt x="22593" y="226060"/>
                  </a:lnTo>
                  <a:lnTo>
                    <a:pt x="21234" y="226060"/>
                  </a:lnTo>
                  <a:lnTo>
                    <a:pt x="20891" y="224790"/>
                  </a:lnTo>
                  <a:lnTo>
                    <a:pt x="20447" y="224790"/>
                  </a:lnTo>
                  <a:lnTo>
                    <a:pt x="20993" y="223520"/>
                  </a:lnTo>
                  <a:lnTo>
                    <a:pt x="22415" y="223520"/>
                  </a:lnTo>
                  <a:lnTo>
                    <a:pt x="23063" y="222250"/>
                  </a:lnTo>
                  <a:lnTo>
                    <a:pt x="23723" y="223520"/>
                  </a:lnTo>
                  <a:lnTo>
                    <a:pt x="24434" y="223520"/>
                  </a:lnTo>
                  <a:lnTo>
                    <a:pt x="24650" y="224790"/>
                  </a:lnTo>
                  <a:lnTo>
                    <a:pt x="24650" y="213360"/>
                  </a:lnTo>
                  <a:lnTo>
                    <a:pt x="23329" y="213360"/>
                  </a:lnTo>
                  <a:lnTo>
                    <a:pt x="21869" y="214630"/>
                  </a:lnTo>
                  <a:lnTo>
                    <a:pt x="20955" y="215900"/>
                  </a:lnTo>
                  <a:lnTo>
                    <a:pt x="19735" y="217170"/>
                  </a:lnTo>
                  <a:lnTo>
                    <a:pt x="19545" y="217170"/>
                  </a:lnTo>
                  <a:lnTo>
                    <a:pt x="17907" y="214630"/>
                  </a:lnTo>
                  <a:lnTo>
                    <a:pt x="16789" y="215900"/>
                  </a:lnTo>
                  <a:lnTo>
                    <a:pt x="16471" y="218440"/>
                  </a:lnTo>
                  <a:lnTo>
                    <a:pt x="16408" y="219710"/>
                  </a:lnTo>
                  <a:lnTo>
                    <a:pt x="13817" y="218440"/>
                  </a:lnTo>
                  <a:lnTo>
                    <a:pt x="13957" y="219710"/>
                  </a:lnTo>
                  <a:lnTo>
                    <a:pt x="14757" y="220980"/>
                  </a:lnTo>
                  <a:lnTo>
                    <a:pt x="15455" y="223520"/>
                  </a:lnTo>
                  <a:lnTo>
                    <a:pt x="15328" y="224790"/>
                  </a:lnTo>
                  <a:lnTo>
                    <a:pt x="14617" y="224790"/>
                  </a:lnTo>
                  <a:lnTo>
                    <a:pt x="14389" y="223520"/>
                  </a:lnTo>
                  <a:lnTo>
                    <a:pt x="14122" y="222250"/>
                  </a:lnTo>
                  <a:lnTo>
                    <a:pt x="12827" y="220980"/>
                  </a:lnTo>
                  <a:lnTo>
                    <a:pt x="11645" y="220980"/>
                  </a:lnTo>
                  <a:lnTo>
                    <a:pt x="11506" y="223520"/>
                  </a:lnTo>
                  <a:lnTo>
                    <a:pt x="13627" y="223520"/>
                  </a:lnTo>
                  <a:lnTo>
                    <a:pt x="12217" y="224790"/>
                  </a:lnTo>
                  <a:lnTo>
                    <a:pt x="10706" y="224790"/>
                  </a:lnTo>
                  <a:lnTo>
                    <a:pt x="11607" y="227330"/>
                  </a:lnTo>
                  <a:lnTo>
                    <a:pt x="11582" y="228600"/>
                  </a:lnTo>
                  <a:lnTo>
                    <a:pt x="11150" y="232410"/>
                  </a:lnTo>
                  <a:lnTo>
                    <a:pt x="9144" y="233680"/>
                  </a:lnTo>
                  <a:lnTo>
                    <a:pt x="7467" y="234950"/>
                  </a:lnTo>
                  <a:lnTo>
                    <a:pt x="7683" y="236220"/>
                  </a:lnTo>
                  <a:lnTo>
                    <a:pt x="6769" y="237490"/>
                  </a:lnTo>
                  <a:lnTo>
                    <a:pt x="5194" y="237490"/>
                  </a:lnTo>
                  <a:lnTo>
                    <a:pt x="4686" y="238760"/>
                  </a:lnTo>
                  <a:lnTo>
                    <a:pt x="3937" y="241300"/>
                  </a:lnTo>
                  <a:lnTo>
                    <a:pt x="1701" y="243840"/>
                  </a:lnTo>
                  <a:lnTo>
                    <a:pt x="787" y="243840"/>
                  </a:lnTo>
                  <a:lnTo>
                    <a:pt x="1193" y="245110"/>
                  </a:lnTo>
                  <a:lnTo>
                    <a:pt x="4051" y="245110"/>
                  </a:lnTo>
                  <a:lnTo>
                    <a:pt x="44488" y="245110"/>
                  </a:lnTo>
                  <a:lnTo>
                    <a:pt x="44500" y="243840"/>
                  </a:lnTo>
                  <a:lnTo>
                    <a:pt x="43891" y="241300"/>
                  </a:lnTo>
                  <a:lnTo>
                    <a:pt x="43726" y="240030"/>
                  </a:lnTo>
                  <a:lnTo>
                    <a:pt x="42646" y="240030"/>
                  </a:lnTo>
                  <a:lnTo>
                    <a:pt x="43167" y="238760"/>
                  </a:lnTo>
                  <a:lnTo>
                    <a:pt x="43662" y="238760"/>
                  </a:lnTo>
                  <a:lnTo>
                    <a:pt x="44018" y="236220"/>
                  </a:lnTo>
                  <a:lnTo>
                    <a:pt x="44018" y="234950"/>
                  </a:lnTo>
                  <a:lnTo>
                    <a:pt x="44132" y="233680"/>
                  </a:lnTo>
                  <a:lnTo>
                    <a:pt x="44259" y="232410"/>
                  </a:lnTo>
                  <a:lnTo>
                    <a:pt x="43624" y="232410"/>
                  </a:lnTo>
                  <a:lnTo>
                    <a:pt x="41122" y="232410"/>
                  </a:lnTo>
                  <a:lnTo>
                    <a:pt x="41122" y="234950"/>
                  </a:lnTo>
                  <a:lnTo>
                    <a:pt x="40525" y="234950"/>
                  </a:lnTo>
                  <a:lnTo>
                    <a:pt x="40538" y="233680"/>
                  </a:lnTo>
                  <a:lnTo>
                    <a:pt x="41059" y="233680"/>
                  </a:lnTo>
                  <a:lnTo>
                    <a:pt x="41122" y="234950"/>
                  </a:lnTo>
                  <a:lnTo>
                    <a:pt x="41122" y="232410"/>
                  </a:lnTo>
                  <a:lnTo>
                    <a:pt x="40627" y="232410"/>
                  </a:lnTo>
                  <a:lnTo>
                    <a:pt x="40881" y="231140"/>
                  </a:lnTo>
                  <a:lnTo>
                    <a:pt x="41363" y="231140"/>
                  </a:lnTo>
                  <a:lnTo>
                    <a:pt x="42494" y="229870"/>
                  </a:lnTo>
                  <a:lnTo>
                    <a:pt x="43167" y="229870"/>
                  </a:lnTo>
                  <a:lnTo>
                    <a:pt x="43853" y="231140"/>
                  </a:lnTo>
                  <a:lnTo>
                    <a:pt x="43624" y="232410"/>
                  </a:lnTo>
                  <a:lnTo>
                    <a:pt x="44704" y="231140"/>
                  </a:lnTo>
                  <a:lnTo>
                    <a:pt x="44704" y="229870"/>
                  </a:lnTo>
                  <a:close/>
                </a:path>
                <a:path w="333375" h="379729">
                  <a:moveTo>
                    <a:pt x="50495" y="279133"/>
                  </a:moveTo>
                  <a:lnTo>
                    <a:pt x="50355" y="278917"/>
                  </a:lnTo>
                  <a:lnTo>
                    <a:pt x="50139" y="278815"/>
                  </a:lnTo>
                  <a:lnTo>
                    <a:pt x="50139" y="279171"/>
                  </a:lnTo>
                  <a:lnTo>
                    <a:pt x="50330" y="279285"/>
                  </a:lnTo>
                  <a:lnTo>
                    <a:pt x="50469" y="279234"/>
                  </a:lnTo>
                  <a:close/>
                </a:path>
                <a:path w="333375" h="379729">
                  <a:moveTo>
                    <a:pt x="52171" y="294322"/>
                  </a:moveTo>
                  <a:lnTo>
                    <a:pt x="52006" y="294411"/>
                  </a:lnTo>
                  <a:lnTo>
                    <a:pt x="51790" y="294563"/>
                  </a:lnTo>
                  <a:lnTo>
                    <a:pt x="52070" y="294398"/>
                  </a:lnTo>
                  <a:close/>
                </a:path>
                <a:path w="333375" h="379729">
                  <a:moveTo>
                    <a:pt x="52920" y="295338"/>
                  </a:moveTo>
                  <a:lnTo>
                    <a:pt x="52882" y="295744"/>
                  </a:lnTo>
                  <a:lnTo>
                    <a:pt x="52844" y="296506"/>
                  </a:lnTo>
                  <a:lnTo>
                    <a:pt x="52895" y="295935"/>
                  </a:lnTo>
                  <a:lnTo>
                    <a:pt x="52920" y="295338"/>
                  </a:lnTo>
                  <a:close/>
                </a:path>
                <a:path w="333375" h="379729">
                  <a:moveTo>
                    <a:pt x="53060" y="294640"/>
                  </a:moveTo>
                  <a:lnTo>
                    <a:pt x="53035" y="295363"/>
                  </a:lnTo>
                  <a:lnTo>
                    <a:pt x="53060" y="294640"/>
                  </a:lnTo>
                  <a:close/>
                </a:path>
                <a:path w="333375" h="379729">
                  <a:moveTo>
                    <a:pt x="53200" y="297180"/>
                  </a:moveTo>
                  <a:lnTo>
                    <a:pt x="53200" y="297446"/>
                  </a:lnTo>
                  <a:lnTo>
                    <a:pt x="53200" y="297180"/>
                  </a:lnTo>
                  <a:close/>
                </a:path>
                <a:path w="333375" h="379729">
                  <a:moveTo>
                    <a:pt x="53251" y="296799"/>
                  </a:moveTo>
                  <a:lnTo>
                    <a:pt x="53200" y="295998"/>
                  </a:lnTo>
                  <a:lnTo>
                    <a:pt x="53174" y="295681"/>
                  </a:lnTo>
                  <a:lnTo>
                    <a:pt x="53136" y="295198"/>
                  </a:lnTo>
                  <a:lnTo>
                    <a:pt x="53174" y="295922"/>
                  </a:lnTo>
                  <a:lnTo>
                    <a:pt x="53200" y="296354"/>
                  </a:lnTo>
                  <a:lnTo>
                    <a:pt x="53225" y="296621"/>
                  </a:lnTo>
                  <a:lnTo>
                    <a:pt x="53251" y="296799"/>
                  </a:lnTo>
                  <a:close/>
                </a:path>
                <a:path w="333375" h="379729">
                  <a:moveTo>
                    <a:pt x="53517" y="297180"/>
                  </a:moveTo>
                  <a:lnTo>
                    <a:pt x="53517" y="297688"/>
                  </a:lnTo>
                  <a:lnTo>
                    <a:pt x="53517" y="297180"/>
                  </a:lnTo>
                  <a:close/>
                </a:path>
                <a:path w="333375" h="379729">
                  <a:moveTo>
                    <a:pt x="53606" y="295478"/>
                  </a:moveTo>
                  <a:lnTo>
                    <a:pt x="53581" y="295338"/>
                  </a:lnTo>
                  <a:lnTo>
                    <a:pt x="53467" y="295033"/>
                  </a:lnTo>
                  <a:lnTo>
                    <a:pt x="53543" y="295313"/>
                  </a:lnTo>
                  <a:lnTo>
                    <a:pt x="53606" y="295478"/>
                  </a:lnTo>
                  <a:close/>
                </a:path>
                <a:path w="333375" h="379729">
                  <a:moveTo>
                    <a:pt x="53670" y="372071"/>
                  </a:moveTo>
                  <a:close/>
                </a:path>
                <a:path w="333375" h="379729">
                  <a:moveTo>
                    <a:pt x="54051" y="294690"/>
                  </a:moveTo>
                  <a:close/>
                </a:path>
                <a:path w="333375" h="379729">
                  <a:moveTo>
                    <a:pt x="54838" y="294855"/>
                  </a:moveTo>
                  <a:lnTo>
                    <a:pt x="54775" y="294640"/>
                  </a:lnTo>
                  <a:lnTo>
                    <a:pt x="54838" y="294855"/>
                  </a:lnTo>
                  <a:close/>
                </a:path>
                <a:path w="333375" h="379729">
                  <a:moveTo>
                    <a:pt x="54952" y="294157"/>
                  </a:moveTo>
                  <a:lnTo>
                    <a:pt x="54825" y="294017"/>
                  </a:lnTo>
                  <a:lnTo>
                    <a:pt x="54914" y="294208"/>
                  </a:lnTo>
                  <a:close/>
                </a:path>
                <a:path w="333375" h="379729">
                  <a:moveTo>
                    <a:pt x="55308" y="295452"/>
                  </a:moveTo>
                  <a:close/>
                </a:path>
                <a:path w="333375" h="379729">
                  <a:moveTo>
                    <a:pt x="55880" y="292874"/>
                  </a:moveTo>
                  <a:lnTo>
                    <a:pt x="55346" y="292100"/>
                  </a:lnTo>
                  <a:lnTo>
                    <a:pt x="55880" y="292874"/>
                  </a:lnTo>
                  <a:close/>
                </a:path>
                <a:path w="333375" h="379729">
                  <a:moveTo>
                    <a:pt x="56261" y="293370"/>
                  </a:moveTo>
                  <a:lnTo>
                    <a:pt x="55880" y="292874"/>
                  </a:lnTo>
                  <a:lnTo>
                    <a:pt x="56222" y="293370"/>
                  </a:lnTo>
                  <a:close/>
                </a:path>
                <a:path w="333375" h="379729">
                  <a:moveTo>
                    <a:pt x="61607" y="280873"/>
                  </a:moveTo>
                  <a:lnTo>
                    <a:pt x="61239" y="280835"/>
                  </a:lnTo>
                  <a:lnTo>
                    <a:pt x="61214" y="280974"/>
                  </a:lnTo>
                  <a:lnTo>
                    <a:pt x="61150" y="281127"/>
                  </a:lnTo>
                  <a:lnTo>
                    <a:pt x="61239" y="281419"/>
                  </a:lnTo>
                  <a:lnTo>
                    <a:pt x="61391" y="281432"/>
                  </a:lnTo>
                  <a:lnTo>
                    <a:pt x="61493" y="281254"/>
                  </a:lnTo>
                  <a:lnTo>
                    <a:pt x="61569" y="281000"/>
                  </a:lnTo>
                  <a:lnTo>
                    <a:pt x="61607" y="280873"/>
                  </a:lnTo>
                  <a:close/>
                </a:path>
                <a:path w="333375" h="379729">
                  <a:moveTo>
                    <a:pt x="70370" y="266611"/>
                  </a:moveTo>
                  <a:lnTo>
                    <a:pt x="70281" y="266458"/>
                  </a:lnTo>
                  <a:lnTo>
                    <a:pt x="70243" y="266331"/>
                  </a:lnTo>
                  <a:lnTo>
                    <a:pt x="69964" y="266306"/>
                  </a:lnTo>
                  <a:lnTo>
                    <a:pt x="69850" y="266471"/>
                  </a:lnTo>
                  <a:lnTo>
                    <a:pt x="69786" y="266687"/>
                  </a:lnTo>
                  <a:lnTo>
                    <a:pt x="70002" y="266979"/>
                  </a:lnTo>
                  <a:lnTo>
                    <a:pt x="70205" y="266877"/>
                  </a:lnTo>
                  <a:lnTo>
                    <a:pt x="70332" y="266687"/>
                  </a:lnTo>
                  <a:close/>
                </a:path>
                <a:path w="333375" h="379729">
                  <a:moveTo>
                    <a:pt x="75044" y="260680"/>
                  </a:moveTo>
                  <a:lnTo>
                    <a:pt x="74930" y="260527"/>
                  </a:lnTo>
                  <a:lnTo>
                    <a:pt x="74752" y="260540"/>
                  </a:lnTo>
                  <a:lnTo>
                    <a:pt x="74625" y="260515"/>
                  </a:lnTo>
                  <a:lnTo>
                    <a:pt x="74599" y="260654"/>
                  </a:lnTo>
                  <a:lnTo>
                    <a:pt x="74523" y="260832"/>
                  </a:lnTo>
                  <a:lnTo>
                    <a:pt x="74625" y="260997"/>
                  </a:lnTo>
                  <a:lnTo>
                    <a:pt x="74815" y="260985"/>
                  </a:lnTo>
                  <a:lnTo>
                    <a:pt x="74942" y="260997"/>
                  </a:lnTo>
                  <a:lnTo>
                    <a:pt x="74968" y="260870"/>
                  </a:lnTo>
                  <a:lnTo>
                    <a:pt x="75044" y="260680"/>
                  </a:lnTo>
                  <a:close/>
                </a:path>
                <a:path w="333375" h="379729">
                  <a:moveTo>
                    <a:pt x="87096" y="240080"/>
                  </a:moveTo>
                  <a:lnTo>
                    <a:pt x="87007" y="239928"/>
                  </a:lnTo>
                  <a:lnTo>
                    <a:pt x="86702" y="239966"/>
                  </a:lnTo>
                  <a:lnTo>
                    <a:pt x="86588" y="240093"/>
                  </a:lnTo>
                  <a:lnTo>
                    <a:pt x="86461" y="240157"/>
                  </a:lnTo>
                  <a:lnTo>
                    <a:pt x="86601" y="240423"/>
                  </a:lnTo>
                  <a:lnTo>
                    <a:pt x="86868" y="240550"/>
                  </a:lnTo>
                  <a:lnTo>
                    <a:pt x="87007" y="240449"/>
                  </a:lnTo>
                  <a:lnTo>
                    <a:pt x="87096" y="240080"/>
                  </a:lnTo>
                  <a:close/>
                </a:path>
                <a:path w="333375" h="379729">
                  <a:moveTo>
                    <a:pt x="93243" y="229997"/>
                  </a:moveTo>
                  <a:lnTo>
                    <a:pt x="92964" y="229870"/>
                  </a:lnTo>
                  <a:lnTo>
                    <a:pt x="93205" y="230124"/>
                  </a:lnTo>
                  <a:lnTo>
                    <a:pt x="93243" y="229997"/>
                  </a:lnTo>
                  <a:close/>
                </a:path>
                <a:path w="333375" h="379729">
                  <a:moveTo>
                    <a:pt x="102311" y="215861"/>
                  </a:moveTo>
                  <a:lnTo>
                    <a:pt x="102184" y="215620"/>
                  </a:lnTo>
                  <a:lnTo>
                    <a:pt x="101930" y="215455"/>
                  </a:lnTo>
                  <a:lnTo>
                    <a:pt x="101803" y="215722"/>
                  </a:lnTo>
                  <a:lnTo>
                    <a:pt x="101904" y="215988"/>
                  </a:lnTo>
                  <a:lnTo>
                    <a:pt x="102082" y="216052"/>
                  </a:lnTo>
                  <a:lnTo>
                    <a:pt x="102209" y="215925"/>
                  </a:lnTo>
                  <a:close/>
                </a:path>
                <a:path w="333375" h="379729">
                  <a:moveTo>
                    <a:pt x="137236" y="255346"/>
                  </a:moveTo>
                  <a:lnTo>
                    <a:pt x="137198" y="254977"/>
                  </a:lnTo>
                  <a:lnTo>
                    <a:pt x="136969" y="254838"/>
                  </a:lnTo>
                  <a:lnTo>
                    <a:pt x="136779" y="254927"/>
                  </a:lnTo>
                  <a:lnTo>
                    <a:pt x="136652" y="255117"/>
                  </a:lnTo>
                  <a:lnTo>
                    <a:pt x="136550" y="255257"/>
                  </a:lnTo>
                  <a:lnTo>
                    <a:pt x="136639" y="255397"/>
                  </a:lnTo>
                  <a:lnTo>
                    <a:pt x="136956" y="255397"/>
                  </a:lnTo>
                  <a:lnTo>
                    <a:pt x="137096" y="255358"/>
                  </a:lnTo>
                  <a:lnTo>
                    <a:pt x="137236" y="255346"/>
                  </a:lnTo>
                  <a:close/>
                </a:path>
                <a:path w="333375" h="379729">
                  <a:moveTo>
                    <a:pt x="139903" y="250431"/>
                  </a:moveTo>
                  <a:lnTo>
                    <a:pt x="139750" y="250329"/>
                  </a:lnTo>
                  <a:lnTo>
                    <a:pt x="139585" y="250444"/>
                  </a:lnTo>
                  <a:lnTo>
                    <a:pt x="139458" y="250634"/>
                  </a:lnTo>
                  <a:lnTo>
                    <a:pt x="139369" y="250774"/>
                  </a:lnTo>
                  <a:lnTo>
                    <a:pt x="139661" y="250837"/>
                  </a:lnTo>
                  <a:lnTo>
                    <a:pt x="139877" y="250748"/>
                  </a:lnTo>
                  <a:lnTo>
                    <a:pt x="139903" y="250431"/>
                  </a:lnTo>
                  <a:close/>
                </a:path>
                <a:path w="333375" h="379729">
                  <a:moveTo>
                    <a:pt x="181305" y="109689"/>
                  </a:moveTo>
                  <a:lnTo>
                    <a:pt x="181254" y="109512"/>
                  </a:lnTo>
                  <a:lnTo>
                    <a:pt x="181076" y="109499"/>
                  </a:lnTo>
                  <a:lnTo>
                    <a:pt x="180936" y="109588"/>
                  </a:lnTo>
                  <a:lnTo>
                    <a:pt x="180886" y="109715"/>
                  </a:lnTo>
                  <a:lnTo>
                    <a:pt x="180886" y="110045"/>
                  </a:lnTo>
                  <a:lnTo>
                    <a:pt x="181013" y="110096"/>
                  </a:lnTo>
                  <a:lnTo>
                    <a:pt x="181152" y="109956"/>
                  </a:lnTo>
                  <a:lnTo>
                    <a:pt x="181305" y="109689"/>
                  </a:lnTo>
                  <a:close/>
                </a:path>
                <a:path w="333375" h="379729">
                  <a:moveTo>
                    <a:pt x="223012" y="128549"/>
                  </a:moveTo>
                  <a:close/>
                </a:path>
                <a:path w="333375" h="379729">
                  <a:moveTo>
                    <a:pt x="223647" y="128206"/>
                  </a:moveTo>
                  <a:lnTo>
                    <a:pt x="223456" y="128409"/>
                  </a:lnTo>
                  <a:lnTo>
                    <a:pt x="223227" y="128447"/>
                  </a:lnTo>
                  <a:lnTo>
                    <a:pt x="223012" y="128549"/>
                  </a:lnTo>
                  <a:lnTo>
                    <a:pt x="223342" y="129184"/>
                  </a:lnTo>
                  <a:lnTo>
                    <a:pt x="223481" y="128587"/>
                  </a:lnTo>
                  <a:lnTo>
                    <a:pt x="223647" y="128206"/>
                  </a:lnTo>
                  <a:close/>
                </a:path>
                <a:path w="333375" h="379729">
                  <a:moveTo>
                    <a:pt x="223812" y="128003"/>
                  </a:moveTo>
                  <a:lnTo>
                    <a:pt x="223647" y="128206"/>
                  </a:lnTo>
                  <a:lnTo>
                    <a:pt x="223812" y="128003"/>
                  </a:lnTo>
                  <a:close/>
                </a:path>
                <a:path w="333375" h="379729">
                  <a:moveTo>
                    <a:pt x="317665" y="1676"/>
                  </a:moveTo>
                  <a:lnTo>
                    <a:pt x="317588" y="1447"/>
                  </a:lnTo>
                  <a:lnTo>
                    <a:pt x="317449" y="1371"/>
                  </a:lnTo>
                  <a:lnTo>
                    <a:pt x="317271" y="1536"/>
                  </a:lnTo>
                  <a:lnTo>
                    <a:pt x="317360" y="1765"/>
                  </a:lnTo>
                  <a:lnTo>
                    <a:pt x="317487" y="1841"/>
                  </a:lnTo>
                  <a:lnTo>
                    <a:pt x="317665" y="1676"/>
                  </a:lnTo>
                  <a:close/>
                </a:path>
                <a:path w="333375" h="379729">
                  <a:moveTo>
                    <a:pt x="328155" y="3263"/>
                  </a:moveTo>
                  <a:lnTo>
                    <a:pt x="328104" y="3111"/>
                  </a:lnTo>
                  <a:lnTo>
                    <a:pt x="327977" y="3073"/>
                  </a:lnTo>
                  <a:lnTo>
                    <a:pt x="327799" y="3213"/>
                  </a:lnTo>
                  <a:lnTo>
                    <a:pt x="327850" y="3352"/>
                  </a:lnTo>
                  <a:lnTo>
                    <a:pt x="328041" y="3467"/>
                  </a:lnTo>
                  <a:lnTo>
                    <a:pt x="328155" y="3263"/>
                  </a:lnTo>
                  <a:close/>
                </a:path>
                <a:path w="333375" h="379729">
                  <a:moveTo>
                    <a:pt x="333375" y="9918"/>
                  </a:moveTo>
                  <a:lnTo>
                    <a:pt x="333324" y="9321"/>
                  </a:lnTo>
                  <a:lnTo>
                    <a:pt x="333133" y="9182"/>
                  </a:lnTo>
                  <a:lnTo>
                    <a:pt x="332828" y="9232"/>
                  </a:lnTo>
                  <a:lnTo>
                    <a:pt x="332308" y="9321"/>
                  </a:lnTo>
                  <a:lnTo>
                    <a:pt x="331724" y="9588"/>
                  </a:lnTo>
                  <a:lnTo>
                    <a:pt x="331800" y="10452"/>
                  </a:lnTo>
                  <a:lnTo>
                    <a:pt x="331558" y="10617"/>
                  </a:lnTo>
                  <a:lnTo>
                    <a:pt x="330161" y="10883"/>
                  </a:lnTo>
                  <a:lnTo>
                    <a:pt x="329793" y="11150"/>
                  </a:lnTo>
                  <a:lnTo>
                    <a:pt x="329692" y="11430"/>
                  </a:lnTo>
                  <a:lnTo>
                    <a:pt x="328396" y="11430"/>
                  </a:lnTo>
                  <a:lnTo>
                    <a:pt x="328955" y="10160"/>
                  </a:lnTo>
                  <a:lnTo>
                    <a:pt x="326402" y="10160"/>
                  </a:lnTo>
                  <a:lnTo>
                    <a:pt x="327406" y="8890"/>
                  </a:lnTo>
                  <a:lnTo>
                    <a:pt x="328993" y="7708"/>
                  </a:lnTo>
                  <a:lnTo>
                    <a:pt x="329234" y="8039"/>
                  </a:lnTo>
                  <a:lnTo>
                    <a:pt x="329336" y="8318"/>
                  </a:lnTo>
                  <a:lnTo>
                    <a:pt x="330047" y="7823"/>
                  </a:lnTo>
                  <a:lnTo>
                    <a:pt x="329971" y="7620"/>
                  </a:lnTo>
                  <a:lnTo>
                    <a:pt x="329692" y="7327"/>
                  </a:lnTo>
                  <a:lnTo>
                    <a:pt x="329501" y="7239"/>
                  </a:lnTo>
                  <a:lnTo>
                    <a:pt x="329171" y="7340"/>
                  </a:lnTo>
                  <a:lnTo>
                    <a:pt x="328968" y="7493"/>
                  </a:lnTo>
                  <a:lnTo>
                    <a:pt x="327774" y="6350"/>
                  </a:lnTo>
                  <a:lnTo>
                    <a:pt x="328993" y="6350"/>
                  </a:lnTo>
                  <a:lnTo>
                    <a:pt x="328523" y="5080"/>
                  </a:lnTo>
                  <a:lnTo>
                    <a:pt x="329044" y="3810"/>
                  </a:lnTo>
                  <a:lnTo>
                    <a:pt x="330758" y="3810"/>
                  </a:lnTo>
                  <a:lnTo>
                    <a:pt x="330454" y="2540"/>
                  </a:lnTo>
                  <a:lnTo>
                    <a:pt x="328726" y="3810"/>
                  </a:lnTo>
                  <a:lnTo>
                    <a:pt x="325678" y="3810"/>
                  </a:lnTo>
                  <a:lnTo>
                    <a:pt x="325005" y="2540"/>
                  </a:lnTo>
                  <a:lnTo>
                    <a:pt x="324713" y="2540"/>
                  </a:lnTo>
                  <a:lnTo>
                    <a:pt x="324713" y="15240"/>
                  </a:lnTo>
                  <a:lnTo>
                    <a:pt x="322973" y="15240"/>
                  </a:lnTo>
                  <a:lnTo>
                    <a:pt x="322897" y="16510"/>
                  </a:lnTo>
                  <a:lnTo>
                    <a:pt x="322478" y="16510"/>
                  </a:lnTo>
                  <a:lnTo>
                    <a:pt x="322643" y="15240"/>
                  </a:lnTo>
                  <a:lnTo>
                    <a:pt x="323316" y="13970"/>
                  </a:lnTo>
                  <a:lnTo>
                    <a:pt x="324205" y="13970"/>
                  </a:lnTo>
                  <a:lnTo>
                    <a:pt x="324713" y="15240"/>
                  </a:lnTo>
                  <a:lnTo>
                    <a:pt x="324713" y="2540"/>
                  </a:lnTo>
                  <a:lnTo>
                    <a:pt x="323291" y="2540"/>
                  </a:lnTo>
                  <a:lnTo>
                    <a:pt x="323291" y="5080"/>
                  </a:lnTo>
                  <a:lnTo>
                    <a:pt x="322872" y="5080"/>
                  </a:lnTo>
                  <a:lnTo>
                    <a:pt x="323011" y="3810"/>
                  </a:lnTo>
                  <a:lnTo>
                    <a:pt x="323253" y="3810"/>
                  </a:lnTo>
                  <a:lnTo>
                    <a:pt x="323291" y="5080"/>
                  </a:lnTo>
                  <a:lnTo>
                    <a:pt x="323291" y="2540"/>
                  </a:lnTo>
                  <a:lnTo>
                    <a:pt x="315201" y="2540"/>
                  </a:lnTo>
                  <a:lnTo>
                    <a:pt x="314248" y="1270"/>
                  </a:lnTo>
                  <a:lnTo>
                    <a:pt x="312699" y="1270"/>
                  </a:lnTo>
                  <a:lnTo>
                    <a:pt x="312699" y="2540"/>
                  </a:lnTo>
                  <a:lnTo>
                    <a:pt x="312585" y="3810"/>
                  </a:lnTo>
                  <a:lnTo>
                    <a:pt x="312115" y="3810"/>
                  </a:lnTo>
                  <a:lnTo>
                    <a:pt x="312166" y="2540"/>
                  </a:lnTo>
                  <a:lnTo>
                    <a:pt x="312699" y="2540"/>
                  </a:lnTo>
                  <a:lnTo>
                    <a:pt x="312699" y="1270"/>
                  </a:lnTo>
                  <a:lnTo>
                    <a:pt x="312140" y="1270"/>
                  </a:lnTo>
                  <a:lnTo>
                    <a:pt x="310616" y="0"/>
                  </a:lnTo>
                  <a:lnTo>
                    <a:pt x="307035" y="0"/>
                  </a:lnTo>
                  <a:lnTo>
                    <a:pt x="304952" y="1270"/>
                  </a:lnTo>
                  <a:lnTo>
                    <a:pt x="303847" y="2540"/>
                  </a:lnTo>
                  <a:lnTo>
                    <a:pt x="302361" y="1270"/>
                  </a:lnTo>
                  <a:lnTo>
                    <a:pt x="301955" y="1270"/>
                  </a:lnTo>
                  <a:lnTo>
                    <a:pt x="300659" y="2540"/>
                  </a:lnTo>
                  <a:lnTo>
                    <a:pt x="297865" y="3810"/>
                  </a:lnTo>
                  <a:lnTo>
                    <a:pt x="296887" y="3810"/>
                  </a:lnTo>
                  <a:lnTo>
                    <a:pt x="294233" y="5080"/>
                  </a:lnTo>
                  <a:lnTo>
                    <a:pt x="292887" y="6350"/>
                  </a:lnTo>
                  <a:lnTo>
                    <a:pt x="291528" y="6350"/>
                  </a:lnTo>
                  <a:lnTo>
                    <a:pt x="288861" y="8890"/>
                  </a:lnTo>
                  <a:lnTo>
                    <a:pt x="284962" y="10160"/>
                  </a:lnTo>
                  <a:lnTo>
                    <a:pt x="282943" y="12700"/>
                  </a:lnTo>
                  <a:lnTo>
                    <a:pt x="278828" y="15240"/>
                  </a:lnTo>
                  <a:lnTo>
                    <a:pt x="276809" y="15240"/>
                  </a:lnTo>
                  <a:lnTo>
                    <a:pt x="275386" y="17780"/>
                  </a:lnTo>
                  <a:lnTo>
                    <a:pt x="274421" y="19050"/>
                  </a:lnTo>
                  <a:lnTo>
                    <a:pt x="271399" y="20320"/>
                  </a:lnTo>
                  <a:lnTo>
                    <a:pt x="269900" y="22860"/>
                  </a:lnTo>
                  <a:lnTo>
                    <a:pt x="267817" y="24130"/>
                  </a:lnTo>
                  <a:lnTo>
                    <a:pt x="265823" y="24130"/>
                  </a:lnTo>
                  <a:lnTo>
                    <a:pt x="265176" y="26670"/>
                  </a:lnTo>
                  <a:lnTo>
                    <a:pt x="264337" y="26670"/>
                  </a:lnTo>
                  <a:lnTo>
                    <a:pt x="262458" y="29210"/>
                  </a:lnTo>
                  <a:lnTo>
                    <a:pt x="261175" y="29210"/>
                  </a:lnTo>
                  <a:lnTo>
                    <a:pt x="258876" y="31750"/>
                  </a:lnTo>
                  <a:lnTo>
                    <a:pt x="256552" y="31750"/>
                  </a:lnTo>
                  <a:lnTo>
                    <a:pt x="256120" y="34290"/>
                  </a:lnTo>
                  <a:lnTo>
                    <a:pt x="254292" y="35560"/>
                  </a:lnTo>
                  <a:lnTo>
                    <a:pt x="250215" y="39370"/>
                  </a:lnTo>
                  <a:lnTo>
                    <a:pt x="248462" y="39370"/>
                  </a:lnTo>
                  <a:lnTo>
                    <a:pt x="246341" y="43180"/>
                  </a:lnTo>
                  <a:lnTo>
                    <a:pt x="244868" y="44450"/>
                  </a:lnTo>
                  <a:lnTo>
                    <a:pt x="242341" y="45720"/>
                  </a:lnTo>
                  <a:lnTo>
                    <a:pt x="241490" y="45720"/>
                  </a:lnTo>
                  <a:lnTo>
                    <a:pt x="241909" y="48260"/>
                  </a:lnTo>
                  <a:lnTo>
                    <a:pt x="238963" y="48260"/>
                  </a:lnTo>
                  <a:lnTo>
                    <a:pt x="237312" y="52070"/>
                  </a:lnTo>
                  <a:lnTo>
                    <a:pt x="234772" y="53340"/>
                  </a:lnTo>
                  <a:lnTo>
                    <a:pt x="232397" y="55880"/>
                  </a:lnTo>
                  <a:lnTo>
                    <a:pt x="231381" y="57150"/>
                  </a:lnTo>
                  <a:lnTo>
                    <a:pt x="227761" y="58420"/>
                  </a:lnTo>
                  <a:lnTo>
                    <a:pt x="227533" y="60960"/>
                  </a:lnTo>
                  <a:lnTo>
                    <a:pt x="225412" y="62230"/>
                  </a:lnTo>
                  <a:lnTo>
                    <a:pt x="225412" y="63500"/>
                  </a:lnTo>
                  <a:lnTo>
                    <a:pt x="223354" y="63500"/>
                  </a:lnTo>
                  <a:lnTo>
                    <a:pt x="222897" y="64770"/>
                  </a:lnTo>
                  <a:lnTo>
                    <a:pt x="222681" y="66040"/>
                  </a:lnTo>
                  <a:lnTo>
                    <a:pt x="221945" y="67310"/>
                  </a:lnTo>
                  <a:lnTo>
                    <a:pt x="219989" y="68580"/>
                  </a:lnTo>
                  <a:lnTo>
                    <a:pt x="218490" y="68580"/>
                  </a:lnTo>
                  <a:lnTo>
                    <a:pt x="216928" y="71120"/>
                  </a:lnTo>
                  <a:lnTo>
                    <a:pt x="215722" y="72390"/>
                  </a:lnTo>
                  <a:lnTo>
                    <a:pt x="214960" y="74930"/>
                  </a:lnTo>
                  <a:lnTo>
                    <a:pt x="214058" y="74930"/>
                  </a:lnTo>
                  <a:lnTo>
                    <a:pt x="212229" y="76200"/>
                  </a:lnTo>
                  <a:lnTo>
                    <a:pt x="210172" y="78740"/>
                  </a:lnTo>
                  <a:lnTo>
                    <a:pt x="208457" y="80010"/>
                  </a:lnTo>
                  <a:lnTo>
                    <a:pt x="207327" y="81280"/>
                  </a:lnTo>
                  <a:lnTo>
                    <a:pt x="205409" y="83820"/>
                  </a:lnTo>
                  <a:lnTo>
                    <a:pt x="204863" y="85090"/>
                  </a:lnTo>
                  <a:lnTo>
                    <a:pt x="203949" y="86360"/>
                  </a:lnTo>
                  <a:lnTo>
                    <a:pt x="201485" y="87630"/>
                  </a:lnTo>
                  <a:lnTo>
                    <a:pt x="200291" y="88900"/>
                  </a:lnTo>
                  <a:lnTo>
                    <a:pt x="199796" y="90170"/>
                  </a:lnTo>
                  <a:lnTo>
                    <a:pt x="197345" y="90170"/>
                  </a:lnTo>
                  <a:lnTo>
                    <a:pt x="197980" y="91440"/>
                  </a:lnTo>
                  <a:lnTo>
                    <a:pt x="197904" y="93980"/>
                  </a:lnTo>
                  <a:lnTo>
                    <a:pt x="195465" y="93980"/>
                  </a:lnTo>
                  <a:lnTo>
                    <a:pt x="195262" y="95250"/>
                  </a:lnTo>
                  <a:lnTo>
                    <a:pt x="193395" y="96520"/>
                  </a:lnTo>
                  <a:lnTo>
                    <a:pt x="192760" y="97790"/>
                  </a:lnTo>
                  <a:lnTo>
                    <a:pt x="192354" y="99060"/>
                  </a:lnTo>
                  <a:lnTo>
                    <a:pt x="190055" y="100330"/>
                  </a:lnTo>
                  <a:lnTo>
                    <a:pt x="188785" y="100330"/>
                  </a:lnTo>
                  <a:lnTo>
                    <a:pt x="189611" y="101600"/>
                  </a:lnTo>
                  <a:lnTo>
                    <a:pt x="189484" y="102870"/>
                  </a:lnTo>
                  <a:lnTo>
                    <a:pt x="187426" y="104140"/>
                  </a:lnTo>
                  <a:lnTo>
                    <a:pt x="186524" y="106680"/>
                  </a:lnTo>
                  <a:lnTo>
                    <a:pt x="182727" y="107950"/>
                  </a:lnTo>
                  <a:lnTo>
                    <a:pt x="181724" y="109220"/>
                  </a:lnTo>
                  <a:lnTo>
                    <a:pt x="182283" y="110490"/>
                  </a:lnTo>
                  <a:lnTo>
                    <a:pt x="180517" y="110490"/>
                  </a:lnTo>
                  <a:lnTo>
                    <a:pt x="179387" y="111760"/>
                  </a:lnTo>
                  <a:lnTo>
                    <a:pt x="180505" y="113030"/>
                  </a:lnTo>
                  <a:lnTo>
                    <a:pt x="180009" y="113030"/>
                  </a:lnTo>
                  <a:lnTo>
                    <a:pt x="176784" y="116840"/>
                  </a:lnTo>
                  <a:lnTo>
                    <a:pt x="175018" y="116840"/>
                  </a:lnTo>
                  <a:lnTo>
                    <a:pt x="174891" y="120650"/>
                  </a:lnTo>
                  <a:lnTo>
                    <a:pt x="172935" y="120650"/>
                  </a:lnTo>
                  <a:lnTo>
                    <a:pt x="172935" y="139700"/>
                  </a:lnTo>
                  <a:lnTo>
                    <a:pt x="171678" y="139700"/>
                  </a:lnTo>
                  <a:lnTo>
                    <a:pt x="171729" y="138430"/>
                  </a:lnTo>
                  <a:lnTo>
                    <a:pt x="172694" y="138430"/>
                  </a:lnTo>
                  <a:lnTo>
                    <a:pt x="172935" y="139700"/>
                  </a:lnTo>
                  <a:lnTo>
                    <a:pt x="172935" y="120650"/>
                  </a:lnTo>
                  <a:lnTo>
                    <a:pt x="172046" y="120650"/>
                  </a:lnTo>
                  <a:lnTo>
                    <a:pt x="171970" y="124460"/>
                  </a:lnTo>
                  <a:lnTo>
                    <a:pt x="170713" y="125247"/>
                  </a:lnTo>
                  <a:lnTo>
                    <a:pt x="170713" y="137160"/>
                  </a:lnTo>
                  <a:lnTo>
                    <a:pt x="170421" y="137160"/>
                  </a:lnTo>
                  <a:lnTo>
                    <a:pt x="170053" y="138430"/>
                  </a:lnTo>
                  <a:lnTo>
                    <a:pt x="169786" y="138430"/>
                  </a:lnTo>
                  <a:lnTo>
                    <a:pt x="169786" y="144780"/>
                  </a:lnTo>
                  <a:lnTo>
                    <a:pt x="169252" y="146050"/>
                  </a:lnTo>
                  <a:lnTo>
                    <a:pt x="169024" y="146050"/>
                  </a:lnTo>
                  <a:lnTo>
                    <a:pt x="168732" y="144780"/>
                  </a:lnTo>
                  <a:lnTo>
                    <a:pt x="169786" y="144780"/>
                  </a:lnTo>
                  <a:lnTo>
                    <a:pt x="169786" y="138430"/>
                  </a:lnTo>
                  <a:lnTo>
                    <a:pt x="169494" y="138430"/>
                  </a:lnTo>
                  <a:lnTo>
                    <a:pt x="170053" y="137160"/>
                  </a:lnTo>
                  <a:lnTo>
                    <a:pt x="170256" y="137160"/>
                  </a:lnTo>
                  <a:lnTo>
                    <a:pt x="170408" y="135890"/>
                  </a:lnTo>
                  <a:lnTo>
                    <a:pt x="170713" y="137160"/>
                  </a:lnTo>
                  <a:lnTo>
                    <a:pt x="170713" y="125247"/>
                  </a:lnTo>
                  <a:lnTo>
                    <a:pt x="167868" y="127000"/>
                  </a:lnTo>
                  <a:lnTo>
                    <a:pt x="167411" y="127000"/>
                  </a:lnTo>
                  <a:lnTo>
                    <a:pt x="167614" y="129540"/>
                  </a:lnTo>
                  <a:lnTo>
                    <a:pt x="164376" y="129540"/>
                  </a:lnTo>
                  <a:lnTo>
                    <a:pt x="165138" y="132080"/>
                  </a:lnTo>
                  <a:lnTo>
                    <a:pt x="163728" y="133350"/>
                  </a:lnTo>
                  <a:lnTo>
                    <a:pt x="163131" y="134620"/>
                  </a:lnTo>
                  <a:lnTo>
                    <a:pt x="162712" y="135890"/>
                  </a:lnTo>
                  <a:lnTo>
                    <a:pt x="162864" y="137160"/>
                  </a:lnTo>
                  <a:lnTo>
                    <a:pt x="159270" y="137160"/>
                  </a:lnTo>
                  <a:lnTo>
                    <a:pt x="159270" y="148590"/>
                  </a:lnTo>
                  <a:lnTo>
                    <a:pt x="159194" y="149860"/>
                  </a:lnTo>
                  <a:lnTo>
                    <a:pt x="158216" y="149860"/>
                  </a:lnTo>
                  <a:lnTo>
                    <a:pt x="158394" y="148590"/>
                  </a:lnTo>
                  <a:lnTo>
                    <a:pt x="159270" y="148590"/>
                  </a:lnTo>
                  <a:lnTo>
                    <a:pt x="159270" y="137160"/>
                  </a:lnTo>
                  <a:lnTo>
                    <a:pt x="158838" y="137160"/>
                  </a:lnTo>
                  <a:lnTo>
                    <a:pt x="159092" y="140970"/>
                  </a:lnTo>
                  <a:lnTo>
                    <a:pt x="156197" y="140970"/>
                  </a:lnTo>
                  <a:lnTo>
                    <a:pt x="156019" y="144780"/>
                  </a:lnTo>
                  <a:lnTo>
                    <a:pt x="154774" y="146050"/>
                  </a:lnTo>
                  <a:lnTo>
                    <a:pt x="152057" y="147320"/>
                  </a:lnTo>
                  <a:lnTo>
                    <a:pt x="151790" y="148590"/>
                  </a:lnTo>
                  <a:lnTo>
                    <a:pt x="152552" y="148590"/>
                  </a:lnTo>
                  <a:lnTo>
                    <a:pt x="151955" y="149860"/>
                  </a:lnTo>
                  <a:lnTo>
                    <a:pt x="150952" y="151130"/>
                  </a:lnTo>
                  <a:lnTo>
                    <a:pt x="150825" y="151130"/>
                  </a:lnTo>
                  <a:lnTo>
                    <a:pt x="149415" y="153670"/>
                  </a:lnTo>
                  <a:lnTo>
                    <a:pt x="149745" y="154940"/>
                  </a:lnTo>
                  <a:lnTo>
                    <a:pt x="151536" y="154940"/>
                  </a:lnTo>
                  <a:lnTo>
                    <a:pt x="151130" y="153670"/>
                  </a:lnTo>
                  <a:lnTo>
                    <a:pt x="151968" y="153670"/>
                  </a:lnTo>
                  <a:lnTo>
                    <a:pt x="153035" y="153670"/>
                  </a:lnTo>
                  <a:lnTo>
                    <a:pt x="152742" y="152400"/>
                  </a:lnTo>
                  <a:lnTo>
                    <a:pt x="153746" y="152400"/>
                  </a:lnTo>
                  <a:lnTo>
                    <a:pt x="153365" y="153670"/>
                  </a:lnTo>
                  <a:lnTo>
                    <a:pt x="153123" y="154940"/>
                  </a:lnTo>
                  <a:lnTo>
                    <a:pt x="151968" y="153670"/>
                  </a:lnTo>
                  <a:lnTo>
                    <a:pt x="152692" y="154940"/>
                  </a:lnTo>
                  <a:lnTo>
                    <a:pt x="151193" y="156210"/>
                  </a:lnTo>
                  <a:lnTo>
                    <a:pt x="150291" y="157480"/>
                  </a:lnTo>
                  <a:lnTo>
                    <a:pt x="147853" y="157480"/>
                  </a:lnTo>
                  <a:lnTo>
                    <a:pt x="147777" y="156210"/>
                  </a:lnTo>
                  <a:lnTo>
                    <a:pt x="147205" y="154940"/>
                  </a:lnTo>
                  <a:lnTo>
                    <a:pt x="145465" y="154940"/>
                  </a:lnTo>
                  <a:lnTo>
                    <a:pt x="145656" y="157480"/>
                  </a:lnTo>
                  <a:lnTo>
                    <a:pt x="144691" y="157480"/>
                  </a:lnTo>
                  <a:lnTo>
                    <a:pt x="143141" y="160020"/>
                  </a:lnTo>
                  <a:lnTo>
                    <a:pt x="141478" y="160020"/>
                  </a:lnTo>
                  <a:lnTo>
                    <a:pt x="142582" y="162560"/>
                  </a:lnTo>
                  <a:lnTo>
                    <a:pt x="142354" y="162560"/>
                  </a:lnTo>
                  <a:lnTo>
                    <a:pt x="140182" y="163830"/>
                  </a:lnTo>
                  <a:lnTo>
                    <a:pt x="138709" y="166370"/>
                  </a:lnTo>
                  <a:lnTo>
                    <a:pt x="136918" y="168910"/>
                  </a:lnTo>
                  <a:lnTo>
                    <a:pt x="135966" y="170180"/>
                  </a:lnTo>
                  <a:lnTo>
                    <a:pt x="134264" y="171450"/>
                  </a:lnTo>
                  <a:lnTo>
                    <a:pt x="133235" y="171450"/>
                  </a:lnTo>
                  <a:lnTo>
                    <a:pt x="134226" y="173990"/>
                  </a:lnTo>
                  <a:lnTo>
                    <a:pt x="133273" y="175260"/>
                  </a:lnTo>
                  <a:lnTo>
                    <a:pt x="130822" y="176530"/>
                  </a:lnTo>
                  <a:lnTo>
                    <a:pt x="129857" y="179070"/>
                  </a:lnTo>
                  <a:lnTo>
                    <a:pt x="127177" y="180340"/>
                  </a:lnTo>
                  <a:lnTo>
                    <a:pt x="126923" y="180340"/>
                  </a:lnTo>
                  <a:lnTo>
                    <a:pt x="126860" y="182880"/>
                  </a:lnTo>
                  <a:lnTo>
                    <a:pt x="125831" y="185420"/>
                  </a:lnTo>
                  <a:lnTo>
                    <a:pt x="125996" y="187960"/>
                  </a:lnTo>
                  <a:lnTo>
                    <a:pt x="124574" y="187960"/>
                  </a:lnTo>
                  <a:lnTo>
                    <a:pt x="124002" y="189230"/>
                  </a:lnTo>
                  <a:lnTo>
                    <a:pt x="123215" y="187960"/>
                  </a:lnTo>
                  <a:lnTo>
                    <a:pt x="123037" y="189839"/>
                  </a:lnTo>
                  <a:lnTo>
                    <a:pt x="123037" y="269240"/>
                  </a:lnTo>
                  <a:lnTo>
                    <a:pt x="122656" y="269240"/>
                  </a:lnTo>
                  <a:lnTo>
                    <a:pt x="122872" y="267970"/>
                  </a:lnTo>
                  <a:lnTo>
                    <a:pt x="123037" y="269240"/>
                  </a:lnTo>
                  <a:lnTo>
                    <a:pt x="123037" y="189839"/>
                  </a:lnTo>
                  <a:lnTo>
                    <a:pt x="122974" y="190500"/>
                  </a:lnTo>
                  <a:lnTo>
                    <a:pt x="121780" y="190500"/>
                  </a:lnTo>
                  <a:lnTo>
                    <a:pt x="120357" y="191770"/>
                  </a:lnTo>
                  <a:lnTo>
                    <a:pt x="119672" y="191770"/>
                  </a:lnTo>
                  <a:lnTo>
                    <a:pt x="118198" y="193040"/>
                  </a:lnTo>
                  <a:lnTo>
                    <a:pt x="119761" y="193040"/>
                  </a:lnTo>
                  <a:lnTo>
                    <a:pt x="119176" y="194310"/>
                  </a:lnTo>
                  <a:lnTo>
                    <a:pt x="118033" y="195580"/>
                  </a:lnTo>
                  <a:lnTo>
                    <a:pt x="117906" y="198120"/>
                  </a:lnTo>
                  <a:lnTo>
                    <a:pt x="115481" y="198120"/>
                  </a:lnTo>
                  <a:lnTo>
                    <a:pt x="116382" y="200660"/>
                  </a:lnTo>
                  <a:lnTo>
                    <a:pt x="115392" y="200660"/>
                  </a:lnTo>
                  <a:lnTo>
                    <a:pt x="113449" y="201930"/>
                  </a:lnTo>
                  <a:lnTo>
                    <a:pt x="113017" y="203200"/>
                  </a:lnTo>
                  <a:lnTo>
                    <a:pt x="111658" y="204470"/>
                  </a:lnTo>
                  <a:lnTo>
                    <a:pt x="110871" y="205740"/>
                  </a:lnTo>
                  <a:lnTo>
                    <a:pt x="110629" y="207010"/>
                  </a:lnTo>
                  <a:lnTo>
                    <a:pt x="108127" y="207010"/>
                  </a:lnTo>
                  <a:lnTo>
                    <a:pt x="108800" y="208280"/>
                  </a:lnTo>
                  <a:lnTo>
                    <a:pt x="107721" y="210820"/>
                  </a:lnTo>
                  <a:lnTo>
                    <a:pt x="107378" y="212090"/>
                  </a:lnTo>
                  <a:lnTo>
                    <a:pt x="105460" y="212090"/>
                  </a:lnTo>
                  <a:lnTo>
                    <a:pt x="105943" y="214630"/>
                  </a:lnTo>
                  <a:lnTo>
                    <a:pt x="104559" y="215900"/>
                  </a:lnTo>
                  <a:lnTo>
                    <a:pt x="104787" y="217170"/>
                  </a:lnTo>
                  <a:lnTo>
                    <a:pt x="100660" y="217170"/>
                  </a:lnTo>
                  <a:lnTo>
                    <a:pt x="100291" y="218440"/>
                  </a:lnTo>
                  <a:lnTo>
                    <a:pt x="101028" y="222250"/>
                  </a:lnTo>
                  <a:lnTo>
                    <a:pt x="99339" y="222250"/>
                  </a:lnTo>
                  <a:lnTo>
                    <a:pt x="99415" y="226060"/>
                  </a:lnTo>
                  <a:lnTo>
                    <a:pt x="94805" y="226060"/>
                  </a:lnTo>
                  <a:lnTo>
                    <a:pt x="96164" y="228600"/>
                  </a:lnTo>
                  <a:lnTo>
                    <a:pt x="96139" y="229870"/>
                  </a:lnTo>
                  <a:lnTo>
                    <a:pt x="95402" y="229870"/>
                  </a:lnTo>
                  <a:lnTo>
                    <a:pt x="95681" y="231140"/>
                  </a:lnTo>
                  <a:lnTo>
                    <a:pt x="93281" y="230009"/>
                  </a:lnTo>
                  <a:lnTo>
                    <a:pt x="93294" y="230212"/>
                  </a:lnTo>
                  <a:lnTo>
                    <a:pt x="94170" y="231140"/>
                  </a:lnTo>
                  <a:lnTo>
                    <a:pt x="93535" y="233680"/>
                  </a:lnTo>
                  <a:lnTo>
                    <a:pt x="93294" y="230212"/>
                  </a:lnTo>
                  <a:lnTo>
                    <a:pt x="92684" y="232410"/>
                  </a:lnTo>
                  <a:lnTo>
                    <a:pt x="92811" y="232410"/>
                  </a:lnTo>
                  <a:lnTo>
                    <a:pt x="93459" y="234950"/>
                  </a:lnTo>
                  <a:lnTo>
                    <a:pt x="93510" y="236220"/>
                  </a:lnTo>
                  <a:lnTo>
                    <a:pt x="89954" y="237490"/>
                  </a:lnTo>
                  <a:lnTo>
                    <a:pt x="89496" y="237490"/>
                  </a:lnTo>
                  <a:lnTo>
                    <a:pt x="89052" y="242570"/>
                  </a:lnTo>
                  <a:lnTo>
                    <a:pt x="86563" y="241300"/>
                  </a:lnTo>
                  <a:lnTo>
                    <a:pt x="85788" y="242570"/>
                  </a:lnTo>
                  <a:lnTo>
                    <a:pt x="86004" y="243840"/>
                  </a:lnTo>
                  <a:lnTo>
                    <a:pt x="85318" y="245110"/>
                  </a:lnTo>
                  <a:lnTo>
                    <a:pt x="85178" y="247650"/>
                  </a:lnTo>
                  <a:lnTo>
                    <a:pt x="84251" y="248920"/>
                  </a:lnTo>
                  <a:lnTo>
                    <a:pt x="82080" y="248920"/>
                  </a:lnTo>
                  <a:lnTo>
                    <a:pt x="82791" y="251460"/>
                  </a:lnTo>
                  <a:lnTo>
                    <a:pt x="81254" y="251460"/>
                  </a:lnTo>
                  <a:lnTo>
                    <a:pt x="81241" y="251193"/>
                  </a:lnTo>
                  <a:lnTo>
                    <a:pt x="81216" y="251066"/>
                  </a:lnTo>
                  <a:lnTo>
                    <a:pt x="80835" y="251015"/>
                  </a:lnTo>
                  <a:lnTo>
                    <a:pt x="80835" y="251155"/>
                  </a:lnTo>
                  <a:lnTo>
                    <a:pt x="80797" y="251307"/>
                  </a:lnTo>
                  <a:lnTo>
                    <a:pt x="80962" y="251637"/>
                  </a:lnTo>
                  <a:lnTo>
                    <a:pt x="81153" y="251625"/>
                  </a:lnTo>
                  <a:lnTo>
                    <a:pt x="80645" y="254000"/>
                  </a:lnTo>
                  <a:lnTo>
                    <a:pt x="79489" y="252730"/>
                  </a:lnTo>
                  <a:lnTo>
                    <a:pt x="79489" y="254000"/>
                  </a:lnTo>
                  <a:lnTo>
                    <a:pt x="77317" y="255270"/>
                  </a:lnTo>
                  <a:lnTo>
                    <a:pt x="79019" y="256540"/>
                  </a:lnTo>
                  <a:lnTo>
                    <a:pt x="78879" y="256540"/>
                  </a:lnTo>
                  <a:lnTo>
                    <a:pt x="77470" y="257810"/>
                  </a:lnTo>
                  <a:lnTo>
                    <a:pt x="76771" y="259080"/>
                  </a:lnTo>
                  <a:lnTo>
                    <a:pt x="76288" y="261620"/>
                  </a:lnTo>
                  <a:lnTo>
                    <a:pt x="74790" y="261620"/>
                  </a:lnTo>
                  <a:lnTo>
                    <a:pt x="74510" y="262890"/>
                  </a:lnTo>
                  <a:lnTo>
                    <a:pt x="72936" y="265430"/>
                  </a:lnTo>
                  <a:lnTo>
                    <a:pt x="72453" y="266700"/>
                  </a:lnTo>
                  <a:lnTo>
                    <a:pt x="69494" y="269240"/>
                  </a:lnTo>
                  <a:lnTo>
                    <a:pt x="69519" y="271780"/>
                  </a:lnTo>
                  <a:lnTo>
                    <a:pt x="69138" y="270510"/>
                  </a:lnTo>
                  <a:lnTo>
                    <a:pt x="67894" y="273050"/>
                  </a:lnTo>
                  <a:lnTo>
                    <a:pt x="67386" y="274320"/>
                  </a:lnTo>
                  <a:lnTo>
                    <a:pt x="66319" y="274320"/>
                  </a:lnTo>
                  <a:lnTo>
                    <a:pt x="68237" y="275590"/>
                  </a:lnTo>
                  <a:lnTo>
                    <a:pt x="66433" y="275590"/>
                  </a:lnTo>
                  <a:lnTo>
                    <a:pt x="66433" y="364490"/>
                  </a:lnTo>
                  <a:lnTo>
                    <a:pt x="65684" y="365760"/>
                  </a:lnTo>
                  <a:lnTo>
                    <a:pt x="65036" y="365760"/>
                  </a:lnTo>
                  <a:lnTo>
                    <a:pt x="65786" y="364490"/>
                  </a:lnTo>
                  <a:lnTo>
                    <a:pt x="66433" y="364490"/>
                  </a:lnTo>
                  <a:lnTo>
                    <a:pt x="66433" y="275590"/>
                  </a:lnTo>
                  <a:lnTo>
                    <a:pt x="65836" y="275590"/>
                  </a:lnTo>
                  <a:lnTo>
                    <a:pt x="65290" y="276860"/>
                  </a:lnTo>
                  <a:lnTo>
                    <a:pt x="65443" y="278130"/>
                  </a:lnTo>
                  <a:lnTo>
                    <a:pt x="64033" y="279400"/>
                  </a:lnTo>
                  <a:lnTo>
                    <a:pt x="64617" y="281940"/>
                  </a:lnTo>
                  <a:lnTo>
                    <a:pt x="64312" y="281940"/>
                  </a:lnTo>
                  <a:lnTo>
                    <a:pt x="62115" y="280670"/>
                  </a:lnTo>
                  <a:lnTo>
                    <a:pt x="60312" y="283210"/>
                  </a:lnTo>
                  <a:lnTo>
                    <a:pt x="61810" y="285750"/>
                  </a:lnTo>
                  <a:lnTo>
                    <a:pt x="60210" y="287020"/>
                  </a:lnTo>
                  <a:lnTo>
                    <a:pt x="60223" y="288290"/>
                  </a:lnTo>
                  <a:lnTo>
                    <a:pt x="59550" y="288290"/>
                  </a:lnTo>
                  <a:lnTo>
                    <a:pt x="58153" y="289560"/>
                  </a:lnTo>
                  <a:lnTo>
                    <a:pt x="57950" y="289560"/>
                  </a:lnTo>
                  <a:lnTo>
                    <a:pt x="58229" y="290830"/>
                  </a:lnTo>
                  <a:lnTo>
                    <a:pt x="58635" y="292100"/>
                  </a:lnTo>
                  <a:lnTo>
                    <a:pt x="56959" y="292100"/>
                  </a:lnTo>
                  <a:lnTo>
                    <a:pt x="56845" y="292506"/>
                  </a:lnTo>
                  <a:lnTo>
                    <a:pt x="56845" y="370840"/>
                  </a:lnTo>
                  <a:lnTo>
                    <a:pt x="56769" y="372110"/>
                  </a:lnTo>
                  <a:lnTo>
                    <a:pt x="55626" y="372110"/>
                  </a:lnTo>
                  <a:lnTo>
                    <a:pt x="54876" y="373380"/>
                  </a:lnTo>
                  <a:lnTo>
                    <a:pt x="53924" y="374650"/>
                  </a:lnTo>
                  <a:lnTo>
                    <a:pt x="52730" y="374650"/>
                  </a:lnTo>
                  <a:lnTo>
                    <a:pt x="52387" y="375920"/>
                  </a:lnTo>
                  <a:lnTo>
                    <a:pt x="51269" y="375920"/>
                  </a:lnTo>
                  <a:lnTo>
                    <a:pt x="51511" y="374650"/>
                  </a:lnTo>
                  <a:lnTo>
                    <a:pt x="50723" y="374650"/>
                  </a:lnTo>
                  <a:lnTo>
                    <a:pt x="51358" y="373380"/>
                  </a:lnTo>
                  <a:lnTo>
                    <a:pt x="51790" y="372110"/>
                  </a:lnTo>
                  <a:lnTo>
                    <a:pt x="52057" y="373380"/>
                  </a:lnTo>
                  <a:lnTo>
                    <a:pt x="53251" y="373380"/>
                  </a:lnTo>
                  <a:lnTo>
                    <a:pt x="53530" y="372110"/>
                  </a:lnTo>
                  <a:lnTo>
                    <a:pt x="53403" y="372110"/>
                  </a:lnTo>
                  <a:lnTo>
                    <a:pt x="53454" y="370840"/>
                  </a:lnTo>
                  <a:lnTo>
                    <a:pt x="53644" y="370840"/>
                  </a:lnTo>
                  <a:lnTo>
                    <a:pt x="53670" y="372071"/>
                  </a:lnTo>
                  <a:lnTo>
                    <a:pt x="54851" y="370840"/>
                  </a:lnTo>
                  <a:lnTo>
                    <a:pt x="56845" y="370840"/>
                  </a:lnTo>
                  <a:lnTo>
                    <a:pt x="56845" y="292506"/>
                  </a:lnTo>
                  <a:lnTo>
                    <a:pt x="56591" y="293370"/>
                  </a:lnTo>
                  <a:lnTo>
                    <a:pt x="56807" y="294640"/>
                  </a:lnTo>
                  <a:lnTo>
                    <a:pt x="55486" y="294640"/>
                  </a:lnTo>
                  <a:lnTo>
                    <a:pt x="55587" y="295440"/>
                  </a:lnTo>
                  <a:lnTo>
                    <a:pt x="55791" y="295910"/>
                  </a:lnTo>
                  <a:lnTo>
                    <a:pt x="55651" y="295910"/>
                  </a:lnTo>
                  <a:lnTo>
                    <a:pt x="55562" y="295363"/>
                  </a:lnTo>
                  <a:lnTo>
                    <a:pt x="55257" y="294640"/>
                  </a:lnTo>
                  <a:lnTo>
                    <a:pt x="55587" y="295910"/>
                  </a:lnTo>
                  <a:lnTo>
                    <a:pt x="55232" y="295427"/>
                  </a:lnTo>
                  <a:lnTo>
                    <a:pt x="55105" y="295211"/>
                  </a:lnTo>
                  <a:lnTo>
                    <a:pt x="54940" y="294982"/>
                  </a:lnTo>
                  <a:lnTo>
                    <a:pt x="54838" y="294855"/>
                  </a:lnTo>
                  <a:lnTo>
                    <a:pt x="55143" y="295910"/>
                  </a:lnTo>
                  <a:lnTo>
                    <a:pt x="55575" y="298450"/>
                  </a:lnTo>
                  <a:lnTo>
                    <a:pt x="54051" y="294690"/>
                  </a:lnTo>
                  <a:lnTo>
                    <a:pt x="54140" y="295249"/>
                  </a:lnTo>
                  <a:lnTo>
                    <a:pt x="54076" y="295097"/>
                  </a:lnTo>
                  <a:lnTo>
                    <a:pt x="53860" y="294690"/>
                  </a:lnTo>
                  <a:lnTo>
                    <a:pt x="53886" y="294817"/>
                  </a:lnTo>
                  <a:lnTo>
                    <a:pt x="53975" y="295021"/>
                  </a:lnTo>
                  <a:lnTo>
                    <a:pt x="54076" y="295211"/>
                  </a:lnTo>
                  <a:lnTo>
                    <a:pt x="54152" y="295363"/>
                  </a:lnTo>
                  <a:lnTo>
                    <a:pt x="54457" y="297180"/>
                  </a:lnTo>
                  <a:lnTo>
                    <a:pt x="53911" y="295910"/>
                  </a:lnTo>
                  <a:lnTo>
                    <a:pt x="54025" y="297180"/>
                  </a:lnTo>
                  <a:lnTo>
                    <a:pt x="53530" y="295910"/>
                  </a:lnTo>
                  <a:lnTo>
                    <a:pt x="53860" y="297180"/>
                  </a:lnTo>
                  <a:lnTo>
                    <a:pt x="53594" y="297180"/>
                  </a:lnTo>
                  <a:lnTo>
                    <a:pt x="53886" y="298450"/>
                  </a:lnTo>
                  <a:lnTo>
                    <a:pt x="53860" y="299720"/>
                  </a:lnTo>
                  <a:lnTo>
                    <a:pt x="53517" y="297688"/>
                  </a:lnTo>
                  <a:lnTo>
                    <a:pt x="53594" y="300990"/>
                  </a:lnTo>
                  <a:lnTo>
                    <a:pt x="53467" y="299720"/>
                  </a:lnTo>
                  <a:lnTo>
                    <a:pt x="53200" y="297446"/>
                  </a:lnTo>
                  <a:lnTo>
                    <a:pt x="53238" y="299720"/>
                  </a:lnTo>
                  <a:lnTo>
                    <a:pt x="53035" y="295363"/>
                  </a:lnTo>
                  <a:lnTo>
                    <a:pt x="52832" y="299720"/>
                  </a:lnTo>
                  <a:lnTo>
                    <a:pt x="52832" y="297180"/>
                  </a:lnTo>
                  <a:lnTo>
                    <a:pt x="52793" y="298450"/>
                  </a:lnTo>
                  <a:lnTo>
                    <a:pt x="52679" y="299720"/>
                  </a:lnTo>
                  <a:lnTo>
                    <a:pt x="52527" y="299720"/>
                  </a:lnTo>
                  <a:lnTo>
                    <a:pt x="52679" y="297180"/>
                  </a:lnTo>
                  <a:lnTo>
                    <a:pt x="52336" y="299720"/>
                  </a:lnTo>
                  <a:lnTo>
                    <a:pt x="51993" y="298450"/>
                  </a:lnTo>
                  <a:lnTo>
                    <a:pt x="51638" y="298450"/>
                  </a:lnTo>
                  <a:lnTo>
                    <a:pt x="51409" y="297180"/>
                  </a:lnTo>
                  <a:lnTo>
                    <a:pt x="51714" y="297180"/>
                  </a:lnTo>
                  <a:lnTo>
                    <a:pt x="52705" y="295910"/>
                  </a:lnTo>
                  <a:lnTo>
                    <a:pt x="52501" y="295910"/>
                  </a:lnTo>
                  <a:lnTo>
                    <a:pt x="51866" y="294640"/>
                  </a:lnTo>
                  <a:lnTo>
                    <a:pt x="51460" y="294640"/>
                  </a:lnTo>
                  <a:lnTo>
                    <a:pt x="50977" y="293370"/>
                  </a:lnTo>
                  <a:lnTo>
                    <a:pt x="51168" y="292100"/>
                  </a:lnTo>
                  <a:lnTo>
                    <a:pt x="51358" y="290830"/>
                  </a:lnTo>
                  <a:lnTo>
                    <a:pt x="50609" y="290830"/>
                  </a:lnTo>
                  <a:lnTo>
                    <a:pt x="50546" y="292100"/>
                  </a:lnTo>
                  <a:lnTo>
                    <a:pt x="50507" y="377190"/>
                  </a:lnTo>
                  <a:lnTo>
                    <a:pt x="50380" y="377190"/>
                  </a:lnTo>
                  <a:lnTo>
                    <a:pt x="50406" y="375920"/>
                  </a:lnTo>
                  <a:lnTo>
                    <a:pt x="50507" y="377190"/>
                  </a:lnTo>
                  <a:lnTo>
                    <a:pt x="50507" y="292100"/>
                  </a:lnTo>
                  <a:lnTo>
                    <a:pt x="50393" y="291884"/>
                  </a:lnTo>
                  <a:lnTo>
                    <a:pt x="50393" y="299720"/>
                  </a:lnTo>
                  <a:lnTo>
                    <a:pt x="50025" y="299720"/>
                  </a:lnTo>
                  <a:lnTo>
                    <a:pt x="50279" y="298450"/>
                  </a:lnTo>
                  <a:lnTo>
                    <a:pt x="50393" y="299720"/>
                  </a:lnTo>
                  <a:lnTo>
                    <a:pt x="50393" y="291884"/>
                  </a:lnTo>
                  <a:lnTo>
                    <a:pt x="50101" y="290830"/>
                  </a:lnTo>
                  <a:lnTo>
                    <a:pt x="51015" y="289560"/>
                  </a:lnTo>
                  <a:lnTo>
                    <a:pt x="50063" y="287020"/>
                  </a:lnTo>
                  <a:lnTo>
                    <a:pt x="51320" y="287020"/>
                  </a:lnTo>
                  <a:lnTo>
                    <a:pt x="51142" y="285750"/>
                  </a:lnTo>
                  <a:lnTo>
                    <a:pt x="51422" y="285750"/>
                  </a:lnTo>
                  <a:lnTo>
                    <a:pt x="50431" y="284480"/>
                  </a:lnTo>
                  <a:lnTo>
                    <a:pt x="49771" y="283210"/>
                  </a:lnTo>
                  <a:lnTo>
                    <a:pt x="49288" y="283210"/>
                  </a:lnTo>
                  <a:lnTo>
                    <a:pt x="50342" y="281940"/>
                  </a:lnTo>
                  <a:lnTo>
                    <a:pt x="50190" y="280670"/>
                  </a:lnTo>
                  <a:lnTo>
                    <a:pt x="48869" y="279400"/>
                  </a:lnTo>
                  <a:lnTo>
                    <a:pt x="48590" y="278130"/>
                  </a:lnTo>
                  <a:lnTo>
                    <a:pt x="49885" y="276860"/>
                  </a:lnTo>
                  <a:lnTo>
                    <a:pt x="49085" y="275590"/>
                  </a:lnTo>
                  <a:lnTo>
                    <a:pt x="48844" y="273050"/>
                  </a:lnTo>
                  <a:lnTo>
                    <a:pt x="48539" y="273050"/>
                  </a:lnTo>
                  <a:lnTo>
                    <a:pt x="47307" y="270510"/>
                  </a:lnTo>
                  <a:lnTo>
                    <a:pt x="47231" y="269240"/>
                  </a:lnTo>
                  <a:lnTo>
                    <a:pt x="49047" y="269240"/>
                  </a:lnTo>
                  <a:lnTo>
                    <a:pt x="48653" y="267970"/>
                  </a:lnTo>
                  <a:lnTo>
                    <a:pt x="47929" y="265430"/>
                  </a:lnTo>
                  <a:lnTo>
                    <a:pt x="45885" y="264160"/>
                  </a:lnTo>
                  <a:lnTo>
                    <a:pt x="47739" y="264160"/>
                  </a:lnTo>
                  <a:lnTo>
                    <a:pt x="48044" y="262890"/>
                  </a:lnTo>
                  <a:lnTo>
                    <a:pt x="48348" y="261620"/>
                  </a:lnTo>
                  <a:lnTo>
                    <a:pt x="47028" y="261620"/>
                  </a:lnTo>
                  <a:lnTo>
                    <a:pt x="47879" y="260350"/>
                  </a:lnTo>
                  <a:lnTo>
                    <a:pt x="46634" y="257810"/>
                  </a:lnTo>
                  <a:lnTo>
                    <a:pt x="45643" y="256641"/>
                  </a:lnTo>
                  <a:lnTo>
                    <a:pt x="45643" y="264160"/>
                  </a:lnTo>
                  <a:lnTo>
                    <a:pt x="45059" y="264160"/>
                  </a:lnTo>
                  <a:lnTo>
                    <a:pt x="44627" y="262991"/>
                  </a:lnTo>
                  <a:lnTo>
                    <a:pt x="44602" y="265430"/>
                  </a:lnTo>
                  <a:lnTo>
                    <a:pt x="44157" y="265430"/>
                  </a:lnTo>
                  <a:lnTo>
                    <a:pt x="43662" y="264160"/>
                  </a:lnTo>
                  <a:lnTo>
                    <a:pt x="43116" y="264160"/>
                  </a:lnTo>
                  <a:lnTo>
                    <a:pt x="44577" y="263017"/>
                  </a:lnTo>
                  <a:lnTo>
                    <a:pt x="44589" y="262890"/>
                  </a:lnTo>
                  <a:lnTo>
                    <a:pt x="44754" y="262890"/>
                  </a:lnTo>
                  <a:lnTo>
                    <a:pt x="45529" y="262890"/>
                  </a:lnTo>
                  <a:lnTo>
                    <a:pt x="45643" y="264160"/>
                  </a:lnTo>
                  <a:lnTo>
                    <a:pt x="45643" y="256641"/>
                  </a:lnTo>
                  <a:lnTo>
                    <a:pt x="46761" y="255270"/>
                  </a:lnTo>
                  <a:lnTo>
                    <a:pt x="46520" y="254000"/>
                  </a:lnTo>
                  <a:lnTo>
                    <a:pt x="46926" y="254000"/>
                  </a:lnTo>
                  <a:lnTo>
                    <a:pt x="46050" y="251460"/>
                  </a:lnTo>
                  <a:lnTo>
                    <a:pt x="44958" y="250190"/>
                  </a:lnTo>
                  <a:lnTo>
                    <a:pt x="44958" y="248920"/>
                  </a:lnTo>
                  <a:lnTo>
                    <a:pt x="46024" y="248920"/>
                  </a:lnTo>
                  <a:lnTo>
                    <a:pt x="46596" y="247650"/>
                  </a:lnTo>
                  <a:lnTo>
                    <a:pt x="44488" y="246380"/>
                  </a:lnTo>
                  <a:lnTo>
                    <a:pt x="18923" y="246380"/>
                  </a:lnTo>
                  <a:lnTo>
                    <a:pt x="18923" y="355600"/>
                  </a:lnTo>
                  <a:lnTo>
                    <a:pt x="18732" y="356870"/>
                  </a:lnTo>
                  <a:lnTo>
                    <a:pt x="17881" y="356870"/>
                  </a:lnTo>
                  <a:lnTo>
                    <a:pt x="18275" y="355600"/>
                  </a:lnTo>
                  <a:lnTo>
                    <a:pt x="18923" y="355600"/>
                  </a:lnTo>
                  <a:lnTo>
                    <a:pt x="18923" y="246380"/>
                  </a:lnTo>
                  <a:lnTo>
                    <a:pt x="14033" y="246380"/>
                  </a:lnTo>
                  <a:lnTo>
                    <a:pt x="14033" y="351790"/>
                  </a:lnTo>
                  <a:lnTo>
                    <a:pt x="13830" y="351790"/>
                  </a:lnTo>
                  <a:lnTo>
                    <a:pt x="13512" y="353060"/>
                  </a:lnTo>
                  <a:lnTo>
                    <a:pt x="13423" y="351790"/>
                  </a:lnTo>
                  <a:lnTo>
                    <a:pt x="12954" y="350520"/>
                  </a:lnTo>
                  <a:lnTo>
                    <a:pt x="13538" y="349250"/>
                  </a:lnTo>
                  <a:lnTo>
                    <a:pt x="13754" y="350520"/>
                  </a:lnTo>
                  <a:lnTo>
                    <a:pt x="14020" y="350520"/>
                  </a:lnTo>
                  <a:lnTo>
                    <a:pt x="14033" y="351790"/>
                  </a:lnTo>
                  <a:lnTo>
                    <a:pt x="14033" y="246380"/>
                  </a:lnTo>
                  <a:lnTo>
                    <a:pt x="7708" y="246380"/>
                  </a:lnTo>
                  <a:lnTo>
                    <a:pt x="7708" y="316230"/>
                  </a:lnTo>
                  <a:lnTo>
                    <a:pt x="7188" y="316230"/>
                  </a:lnTo>
                  <a:lnTo>
                    <a:pt x="7048" y="314960"/>
                  </a:lnTo>
                  <a:lnTo>
                    <a:pt x="7696" y="314960"/>
                  </a:lnTo>
                  <a:lnTo>
                    <a:pt x="7708" y="316230"/>
                  </a:lnTo>
                  <a:lnTo>
                    <a:pt x="7708" y="246380"/>
                  </a:lnTo>
                  <a:lnTo>
                    <a:pt x="5727" y="246380"/>
                  </a:lnTo>
                  <a:lnTo>
                    <a:pt x="5727" y="247650"/>
                  </a:lnTo>
                  <a:lnTo>
                    <a:pt x="5664" y="248234"/>
                  </a:lnTo>
                  <a:lnTo>
                    <a:pt x="5664" y="283210"/>
                  </a:lnTo>
                  <a:lnTo>
                    <a:pt x="5499" y="284480"/>
                  </a:lnTo>
                  <a:lnTo>
                    <a:pt x="5207" y="284480"/>
                  </a:lnTo>
                  <a:lnTo>
                    <a:pt x="5118" y="283210"/>
                  </a:lnTo>
                  <a:lnTo>
                    <a:pt x="5664" y="283210"/>
                  </a:lnTo>
                  <a:lnTo>
                    <a:pt x="5664" y="248234"/>
                  </a:lnTo>
                  <a:lnTo>
                    <a:pt x="5588" y="248920"/>
                  </a:lnTo>
                  <a:lnTo>
                    <a:pt x="4203" y="248920"/>
                  </a:lnTo>
                  <a:lnTo>
                    <a:pt x="4102" y="247650"/>
                  </a:lnTo>
                  <a:lnTo>
                    <a:pt x="5727" y="247650"/>
                  </a:lnTo>
                  <a:lnTo>
                    <a:pt x="5727" y="246380"/>
                  </a:lnTo>
                  <a:lnTo>
                    <a:pt x="3048" y="246380"/>
                  </a:lnTo>
                  <a:lnTo>
                    <a:pt x="3213" y="247650"/>
                  </a:lnTo>
                  <a:lnTo>
                    <a:pt x="2781" y="247650"/>
                  </a:lnTo>
                  <a:lnTo>
                    <a:pt x="2273" y="247650"/>
                  </a:lnTo>
                  <a:lnTo>
                    <a:pt x="1333" y="248920"/>
                  </a:lnTo>
                  <a:lnTo>
                    <a:pt x="2730" y="252730"/>
                  </a:lnTo>
                  <a:lnTo>
                    <a:pt x="2019" y="254000"/>
                  </a:lnTo>
                  <a:lnTo>
                    <a:pt x="2578" y="256540"/>
                  </a:lnTo>
                  <a:lnTo>
                    <a:pt x="1549" y="256540"/>
                  </a:lnTo>
                  <a:lnTo>
                    <a:pt x="2362" y="257810"/>
                  </a:lnTo>
                  <a:lnTo>
                    <a:pt x="3263" y="257810"/>
                  </a:lnTo>
                  <a:lnTo>
                    <a:pt x="3365" y="259080"/>
                  </a:lnTo>
                  <a:lnTo>
                    <a:pt x="2425" y="259080"/>
                  </a:lnTo>
                  <a:lnTo>
                    <a:pt x="2997" y="262890"/>
                  </a:lnTo>
                  <a:lnTo>
                    <a:pt x="0" y="264160"/>
                  </a:lnTo>
                  <a:lnTo>
                    <a:pt x="88" y="265430"/>
                  </a:lnTo>
                  <a:lnTo>
                    <a:pt x="1028" y="265430"/>
                  </a:lnTo>
                  <a:lnTo>
                    <a:pt x="1587" y="266700"/>
                  </a:lnTo>
                  <a:lnTo>
                    <a:pt x="2552" y="265430"/>
                  </a:lnTo>
                  <a:lnTo>
                    <a:pt x="2870" y="265430"/>
                  </a:lnTo>
                  <a:lnTo>
                    <a:pt x="3213" y="266700"/>
                  </a:lnTo>
                  <a:lnTo>
                    <a:pt x="1587" y="266700"/>
                  </a:lnTo>
                  <a:lnTo>
                    <a:pt x="1295" y="266700"/>
                  </a:lnTo>
                  <a:lnTo>
                    <a:pt x="2667" y="269240"/>
                  </a:lnTo>
                  <a:lnTo>
                    <a:pt x="2006" y="269240"/>
                  </a:lnTo>
                  <a:lnTo>
                    <a:pt x="1041" y="271780"/>
                  </a:lnTo>
                  <a:lnTo>
                    <a:pt x="749" y="273050"/>
                  </a:lnTo>
                  <a:lnTo>
                    <a:pt x="2730" y="274320"/>
                  </a:lnTo>
                  <a:lnTo>
                    <a:pt x="1460" y="274320"/>
                  </a:lnTo>
                  <a:lnTo>
                    <a:pt x="1435" y="276860"/>
                  </a:lnTo>
                  <a:lnTo>
                    <a:pt x="1600" y="278130"/>
                  </a:lnTo>
                  <a:lnTo>
                    <a:pt x="12" y="278130"/>
                  </a:lnTo>
                  <a:lnTo>
                    <a:pt x="520" y="279400"/>
                  </a:lnTo>
                  <a:lnTo>
                    <a:pt x="1562" y="279400"/>
                  </a:lnTo>
                  <a:lnTo>
                    <a:pt x="2603" y="281940"/>
                  </a:lnTo>
                  <a:lnTo>
                    <a:pt x="393" y="281940"/>
                  </a:lnTo>
                  <a:lnTo>
                    <a:pt x="1003" y="283210"/>
                  </a:lnTo>
                  <a:lnTo>
                    <a:pt x="2654" y="283210"/>
                  </a:lnTo>
                  <a:lnTo>
                    <a:pt x="1168" y="287020"/>
                  </a:lnTo>
                  <a:lnTo>
                    <a:pt x="1638" y="288290"/>
                  </a:lnTo>
                  <a:lnTo>
                    <a:pt x="3263" y="289560"/>
                  </a:lnTo>
                  <a:lnTo>
                    <a:pt x="3505" y="290830"/>
                  </a:lnTo>
                  <a:lnTo>
                    <a:pt x="2095" y="292100"/>
                  </a:lnTo>
                  <a:lnTo>
                    <a:pt x="3175" y="293370"/>
                  </a:lnTo>
                  <a:lnTo>
                    <a:pt x="2095" y="295910"/>
                  </a:lnTo>
                  <a:lnTo>
                    <a:pt x="2209" y="297180"/>
                  </a:lnTo>
                  <a:lnTo>
                    <a:pt x="3327" y="300990"/>
                  </a:lnTo>
                  <a:lnTo>
                    <a:pt x="4152" y="306070"/>
                  </a:lnTo>
                  <a:lnTo>
                    <a:pt x="3987" y="309880"/>
                  </a:lnTo>
                  <a:lnTo>
                    <a:pt x="4559" y="312420"/>
                  </a:lnTo>
                  <a:lnTo>
                    <a:pt x="5245" y="314960"/>
                  </a:lnTo>
                  <a:lnTo>
                    <a:pt x="5118" y="318770"/>
                  </a:lnTo>
                  <a:lnTo>
                    <a:pt x="6629" y="321310"/>
                  </a:lnTo>
                  <a:lnTo>
                    <a:pt x="6667" y="322580"/>
                  </a:lnTo>
                  <a:lnTo>
                    <a:pt x="6540" y="325120"/>
                  </a:lnTo>
                  <a:lnTo>
                    <a:pt x="6464" y="328930"/>
                  </a:lnTo>
                  <a:lnTo>
                    <a:pt x="7239" y="330200"/>
                  </a:lnTo>
                  <a:lnTo>
                    <a:pt x="6781" y="331470"/>
                  </a:lnTo>
                  <a:lnTo>
                    <a:pt x="7010" y="332740"/>
                  </a:lnTo>
                  <a:lnTo>
                    <a:pt x="7810" y="334010"/>
                  </a:lnTo>
                  <a:lnTo>
                    <a:pt x="10147" y="339090"/>
                  </a:lnTo>
                  <a:lnTo>
                    <a:pt x="10337" y="340360"/>
                  </a:lnTo>
                  <a:lnTo>
                    <a:pt x="9398" y="344170"/>
                  </a:lnTo>
                  <a:lnTo>
                    <a:pt x="9144" y="345440"/>
                  </a:lnTo>
                  <a:lnTo>
                    <a:pt x="8839" y="345440"/>
                  </a:lnTo>
                  <a:lnTo>
                    <a:pt x="8788" y="346710"/>
                  </a:lnTo>
                  <a:lnTo>
                    <a:pt x="9563" y="347980"/>
                  </a:lnTo>
                  <a:lnTo>
                    <a:pt x="10236" y="347980"/>
                  </a:lnTo>
                  <a:lnTo>
                    <a:pt x="11747" y="346710"/>
                  </a:lnTo>
                  <a:lnTo>
                    <a:pt x="11747" y="347980"/>
                  </a:lnTo>
                  <a:lnTo>
                    <a:pt x="11391" y="350520"/>
                  </a:lnTo>
                  <a:lnTo>
                    <a:pt x="10947" y="351790"/>
                  </a:lnTo>
                  <a:lnTo>
                    <a:pt x="12700" y="354330"/>
                  </a:lnTo>
                  <a:lnTo>
                    <a:pt x="12941" y="355600"/>
                  </a:lnTo>
                  <a:lnTo>
                    <a:pt x="13449" y="356870"/>
                  </a:lnTo>
                  <a:lnTo>
                    <a:pt x="13639" y="358140"/>
                  </a:lnTo>
                  <a:lnTo>
                    <a:pt x="14986" y="358140"/>
                  </a:lnTo>
                  <a:lnTo>
                    <a:pt x="14986" y="359410"/>
                  </a:lnTo>
                  <a:lnTo>
                    <a:pt x="15760" y="360680"/>
                  </a:lnTo>
                  <a:lnTo>
                    <a:pt x="16802" y="361950"/>
                  </a:lnTo>
                  <a:lnTo>
                    <a:pt x="18415" y="363220"/>
                  </a:lnTo>
                  <a:lnTo>
                    <a:pt x="18897" y="363220"/>
                  </a:lnTo>
                  <a:lnTo>
                    <a:pt x="19519" y="364490"/>
                  </a:lnTo>
                  <a:lnTo>
                    <a:pt x="19697" y="364490"/>
                  </a:lnTo>
                  <a:lnTo>
                    <a:pt x="20040" y="365760"/>
                  </a:lnTo>
                  <a:lnTo>
                    <a:pt x="20548" y="367030"/>
                  </a:lnTo>
                  <a:lnTo>
                    <a:pt x="20739" y="369570"/>
                  </a:lnTo>
                  <a:lnTo>
                    <a:pt x="23088" y="369570"/>
                  </a:lnTo>
                  <a:lnTo>
                    <a:pt x="22898" y="368300"/>
                  </a:lnTo>
                  <a:lnTo>
                    <a:pt x="23444" y="367030"/>
                  </a:lnTo>
                  <a:lnTo>
                    <a:pt x="23558" y="365760"/>
                  </a:lnTo>
                  <a:lnTo>
                    <a:pt x="25107" y="367030"/>
                  </a:lnTo>
                  <a:lnTo>
                    <a:pt x="25755" y="370840"/>
                  </a:lnTo>
                  <a:lnTo>
                    <a:pt x="25146" y="373380"/>
                  </a:lnTo>
                  <a:lnTo>
                    <a:pt x="25260" y="374650"/>
                  </a:lnTo>
                  <a:lnTo>
                    <a:pt x="27178" y="374650"/>
                  </a:lnTo>
                  <a:lnTo>
                    <a:pt x="28409" y="375920"/>
                  </a:lnTo>
                  <a:lnTo>
                    <a:pt x="29603" y="373380"/>
                  </a:lnTo>
                  <a:lnTo>
                    <a:pt x="29921" y="373380"/>
                  </a:lnTo>
                  <a:lnTo>
                    <a:pt x="30594" y="374650"/>
                  </a:lnTo>
                  <a:lnTo>
                    <a:pt x="30137" y="375920"/>
                  </a:lnTo>
                  <a:lnTo>
                    <a:pt x="31013" y="377190"/>
                  </a:lnTo>
                  <a:lnTo>
                    <a:pt x="33909" y="377190"/>
                  </a:lnTo>
                  <a:lnTo>
                    <a:pt x="34925" y="378460"/>
                  </a:lnTo>
                  <a:lnTo>
                    <a:pt x="35560" y="378460"/>
                  </a:lnTo>
                  <a:lnTo>
                    <a:pt x="36360" y="379730"/>
                  </a:lnTo>
                  <a:lnTo>
                    <a:pt x="40640" y="379730"/>
                  </a:lnTo>
                  <a:lnTo>
                    <a:pt x="40474" y="378460"/>
                  </a:lnTo>
                  <a:lnTo>
                    <a:pt x="41211" y="377253"/>
                  </a:lnTo>
                  <a:lnTo>
                    <a:pt x="42468" y="378460"/>
                  </a:lnTo>
                  <a:lnTo>
                    <a:pt x="45453" y="378460"/>
                  </a:lnTo>
                  <a:lnTo>
                    <a:pt x="45097" y="377190"/>
                  </a:lnTo>
                  <a:lnTo>
                    <a:pt x="46101" y="377190"/>
                  </a:lnTo>
                  <a:lnTo>
                    <a:pt x="46355" y="378460"/>
                  </a:lnTo>
                  <a:lnTo>
                    <a:pt x="46228" y="379730"/>
                  </a:lnTo>
                  <a:lnTo>
                    <a:pt x="48539" y="378460"/>
                  </a:lnTo>
                  <a:lnTo>
                    <a:pt x="49707" y="378460"/>
                  </a:lnTo>
                  <a:lnTo>
                    <a:pt x="51422" y="377190"/>
                  </a:lnTo>
                  <a:lnTo>
                    <a:pt x="55549" y="377190"/>
                  </a:lnTo>
                  <a:lnTo>
                    <a:pt x="56794" y="373380"/>
                  </a:lnTo>
                  <a:lnTo>
                    <a:pt x="59232" y="370840"/>
                  </a:lnTo>
                  <a:lnTo>
                    <a:pt x="61125" y="372110"/>
                  </a:lnTo>
                  <a:lnTo>
                    <a:pt x="61429" y="370840"/>
                  </a:lnTo>
                  <a:lnTo>
                    <a:pt x="62255" y="369570"/>
                  </a:lnTo>
                  <a:lnTo>
                    <a:pt x="62738" y="369570"/>
                  </a:lnTo>
                  <a:lnTo>
                    <a:pt x="63220" y="368300"/>
                  </a:lnTo>
                  <a:lnTo>
                    <a:pt x="65024" y="367030"/>
                  </a:lnTo>
                  <a:lnTo>
                    <a:pt x="66611" y="365760"/>
                  </a:lnTo>
                  <a:lnTo>
                    <a:pt x="68478" y="365760"/>
                  </a:lnTo>
                  <a:lnTo>
                    <a:pt x="69481" y="363220"/>
                  </a:lnTo>
                  <a:lnTo>
                    <a:pt x="70015" y="363220"/>
                  </a:lnTo>
                  <a:lnTo>
                    <a:pt x="69646" y="361950"/>
                  </a:lnTo>
                  <a:lnTo>
                    <a:pt x="70142" y="360680"/>
                  </a:lnTo>
                  <a:lnTo>
                    <a:pt x="71221" y="359410"/>
                  </a:lnTo>
                  <a:lnTo>
                    <a:pt x="72186" y="358140"/>
                  </a:lnTo>
                  <a:lnTo>
                    <a:pt x="75069" y="358140"/>
                  </a:lnTo>
                  <a:lnTo>
                    <a:pt x="75501" y="356870"/>
                  </a:lnTo>
                  <a:lnTo>
                    <a:pt x="75679" y="356870"/>
                  </a:lnTo>
                  <a:lnTo>
                    <a:pt x="76200" y="355600"/>
                  </a:lnTo>
                  <a:lnTo>
                    <a:pt x="76479" y="355600"/>
                  </a:lnTo>
                  <a:lnTo>
                    <a:pt x="76987" y="354330"/>
                  </a:lnTo>
                  <a:lnTo>
                    <a:pt x="77635" y="353060"/>
                  </a:lnTo>
                  <a:lnTo>
                    <a:pt x="78943" y="350520"/>
                  </a:lnTo>
                  <a:lnTo>
                    <a:pt x="79908" y="349250"/>
                  </a:lnTo>
                  <a:lnTo>
                    <a:pt x="80302" y="346710"/>
                  </a:lnTo>
                  <a:lnTo>
                    <a:pt x="81153" y="346710"/>
                  </a:lnTo>
                  <a:lnTo>
                    <a:pt x="81457" y="347980"/>
                  </a:lnTo>
                  <a:lnTo>
                    <a:pt x="81978" y="346710"/>
                  </a:lnTo>
                  <a:lnTo>
                    <a:pt x="82511" y="345440"/>
                  </a:lnTo>
                  <a:lnTo>
                    <a:pt x="82791" y="344170"/>
                  </a:lnTo>
                  <a:lnTo>
                    <a:pt x="84340" y="345440"/>
                  </a:lnTo>
                  <a:lnTo>
                    <a:pt x="84378" y="344170"/>
                  </a:lnTo>
                  <a:lnTo>
                    <a:pt x="84467" y="341630"/>
                  </a:lnTo>
                  <a:lnTo>
                    <a:pt x="85026" y="339090"/>
                  </a:lnTo>
                  <a:lnTo>
                    <a:pt x="87172" y="339090"/>
                  </a:lnTo>
                  <a:lnTo>
                    <a:pt x="88506" y="335280"/>
                  </a:lnTo>
                  <a:lnTo>
                    <a:pt x="90208" y="335280"/>
                  </a:lnTo>
                  <a:lnTo>
                    <a:pt x="90208" y="332740"/>
                  </a:lnTo>
                  <a:lnTo>
                    <a:pt x="90881" y="331470"/>
                  </a:lnTo>
                  <a:lnTo>
                    <a:pt x="92748" y="328930"/>
                  </a:lnTo>
                  <a:lnTo>
                    <a:pt x="93395" y="327660"/>
                  </a:lnTo>
                  <a:lnTo>
                    <a:pt x="93624" y="327660"/>
                  </a:lnTo>
                  <a:lnTo>
                    <a:pt x="93662" y="326390"/>
                  </a:lnTo>
                  <a:lnTo>
                    <a:pt x="94259" y="326390"/>
                  </a:lnTo>
                  <a:lnTo>
                    <a:pt x="94818" y="325120"/>
                  </a:lnTo>
                  <a:lnTo>
                    <a:pt x="95338" y="323850"/>
                  </a:lnTo>
                  <a:lnTo>
                    <a:pt x="96253" y="322580"/>
                  </a:lnTo>
                  <a:lnTo>
                    <a:pt x="97015" y="322580"/>
                  </a:lnTo>
                  <a:lnTo>
                    <a:pt x="96761" y="321310"/>
                  </a:lnTo>
                  <a:lnTo>
                    <a:pt x="97116" y="320040"/>
                  </a:lnTo>
                  <a:lnTo>
                    <a:pt x="99250" y="317500"/>
                  </a:lnTo>
                  <a:lnTo>
                    <a:pt x="99796" y="316230"/>
                  </a:lnTo>
                  <a:lnTo>
                    <a:pt x="100342" y="314960"/>
                  </a:lnTo>
                  <a:lnTo>
                    <a:pt x="100876" y="313690"/>
                  </a:lnTo>
                  <a:lnTo>
                    <a:pt x="101460" y="312420"/>
                  </a:lnTo>
                  <a:lnTo>
                    <a:pt x="102362" y="311150"/>
                  </a:lnTo>
                  <a:lnTo>
                    <a:pt x="101866" y="309880"/>
                  </a:lnTo>
                  <a:lnTo>
                    <a:pt x="103809" y="309880"/>
                  </a:lnTo>
                  <a:lnTo>
                    <a:pt x="103543" y="307340"/>
                  </a:lnTo>
                  <a:lnTo>
                    <a:pt x="104063" y="307340"/>
                  </a:lnTo>
                  <a:lnTo>
                    <a:pt x="105105" y="306070"/>
                  </a:lnTo>
                  <a:lnTo>
                    <a:pt x="105524" y="306070"/>
                  </a:lnTo>
                  <a:lnTo>
                    <a:pt x="105778" y="304800"/>
                  </a:lnTo>
                  <a:lnTo>
                    <a:pt x="107378" y="304800"/>
                  </a:lnTo>
                  <a:lnTo>
                    <a:pt x="107137" y="303530"/>
                  </a:lnTo>
                  <a:lnTo>
                    <a:pt x="107022" y="302260"/>
                  </a:lnTo>
                  <a:lnTo>
                    <a:pt x="107442" y="302260"/>
                  </a:lnTo>
                  <a:lnTo>
                    <a:pt x="107911" y="300990"/>
                  </a:lnTo>
                  <a:lnTo>
                    <a:pt x="109321" y="300990"/>
                  </a:lnTo>
                  <a:lnTo>
                    <a:pt x="109410" y="299720"/>
                  </a:lnTo>
                  <a:lnTo>
                    <a:pt x="109778" y="299720"/>
                  </a:lnTo>
                  <a:lnTo>
                    <a:pt x="109804" y="298450"/>
                  </a:lnTo>
                  <a:lnTo>
                    <a:pt x="109931" y="297180"/>
                  </a:lnTo>
                  <a:lnTo>
                    <a:pt x="110236" y="297180"/>
                  </a:lnTo>
                  <a:lnTo>
                    <a:pt x="110426" y="295910"/>
                  </a:lnTo>
                  <a:lnTo>
                    <a:pt x="112052" y="295910"/>
                  </a:lnTo>
                  <a:lnTo>
                    <a:pt x="112052" y="294640"/>
                  </a:lnTo>
                  <a:lnTo>
                    <a:pt x="113004" y="294640"/>
                  </a:lnTo>
                  <a:lnTo>
                    <a:pt x="112864" y="293370"/>
                  </a:lnTo>
                  <a:lnTo>
                    <a:pt x="113169" y="293370"/>
                  </a:lnTo>
                  <a:lnTo>
                    <a:pt x="113093" y="292874"/>
                  </a:lnTo>
                  <a:lnTo>
                    <a:pt x="113030" y="290830"/>
                  </a:lnTo>
                  <a:lnTo>
                    <a:pt x="114160" y="290830"/>
                  </a:lnTo>
                  <a:lnTo>
                    <a:pt x="115874" y="289560"/>
                  </a:lnTo>
                  <a:lnTo>
                    <a:pt x="115392" y="289560"/>
                  </a:lnTo>
                  <a:lnTo>
                    <a:pt x="115062" y="288290"/>
                  </a:lnTo>
                  <a:lnTo>
                    <a:pt x="115023" y="287020"/>
                  </a:lnTo>
                  <a:lnTo>
                    <a:pt x="115201" y="287020"/>
                  </a:lnTo>
                  <a:lnTo>
                    <a:pt x="115379" y="288290"/>
                  </a:lnTo>
                  <a:lnTo>
                    <a:pt x="116357" y="288290"/>
                  </a:lnTo>
                  <a:lnTo>
                    <a:pt x="116217" y="287020"/>
                  </a:lnTo>
                  <a:lnTo>
                    <a:pt x="116916" y="287020"/>
                  </a:lnTo>
                  <a:lnTo>
                    <a:pt x="116547" y="285750"/>
                  </a:lnTo>
                  <a:lnTo>
                    <a:pt x="117906" y="285750"/>
                  </a:lnTo>
                  <a:lnTo>
                    <a:pt x="118681" y="284480"/>
                  </a:lnTo>
                  <a:lnTo>
                    <a:pt x="118198" y="284480"/>
                  </a:lnTo>
                  <a:lnTo>
                    <a:pt x="118148" y="284302"/>
                  </a:lnTo>
                  <a:lnTo>
                    <a:pt x="117754" y="283210"/>
                  </a:lnTo>
                  <a:lnTo>
                    <a:pt x="118313" y="283210"/>
                  </a:lnTo>
                  <a:lnTo>
                    <a:pt x="118148" y="284302"/>
                  </a:lnTo>
                  <a:lnTo>
                    <a:pt x="118935" y="283210"/>
                  </a:lnTo>
                  <a:lnTo>
                    <a:pt x="119100" y="283210"/>
                  </a:lnTo>
                  <a:lnTo>
                    <a:pt x="119075" y="281940"/>
                  </a:lnTo>
                  <a:lnTo>
                    <a:pt x="120611" y="281940"/>
                  </a:lnTo>
                  <a:lnTo>
                    <a:pt x="120980" y="280670"/>
                  </a:lnTo>
                  <a:lnTo>
                    <a:pt x="122161" y="280670"/>
                  </a:lnTo>
                  <a:lnTo>
                    <a:pt x="122021" y="279400"/>
                  </a:lnTo>
                  <a:lnTo>
                    <a:pt x="121475" y="278130"/>
                  </a:lnTo>
                  <a:lnTo>
                    <a:pt x="121831" y="278130"/>
                  </a:lnTo>
                  <a:lnTo>
                    <a:pt x="122453" y="276860"/>
                  </a:lnTo>
                  <a:lnTo>
                    <a:pt x="123266" y="276860"/>
                  </a:lnTo>
                  <a:lnTo>
                    <a:pt x="124548" y="275590"/>
                  </a:lnTo>
                  <a:lnTo>
                    <a:pt x="124320" y="274320"/>
                  </a:lnTo>
                  <a:lnTo>
                    <a:pt x="124269" y="273050"/>
                  </a:lnTo>
                  <a:lnTo>
                    <a:pt x="125971" y="273050"/>
                  </a:lnTo>
                  <a:lnTo>
                    <a:pt x="125641" y="271780"/>
                  </a:lnTo>
                  <a:lnTo>
                    <a:pt x="125831" y="271780"/>
                  </a:lnTo>
                  <a:lnTo>
                    <a:pt x="126847" y="270510"/>
                  </a:lnTo>
                  <a:lnTo>
                    <a:pt x="126479" y="269240"/>
                  </a:lnTo>
                  <a:lnTo>
                    <a:pt x="126593" y="267970"/>
                  </a:lnTo>
                  <a:lnTo>
                    <a:pt x="126568" y="269240"/>
                  </a:lnTo>
                  <a:lnTo>
                    <a:pt x="127050" y="269240"/>
                  </a:lnTo>
                  <a:lnTo>
                    <a:pt x="126860" y="270510"/>
                  </a:lnTo>
                  <a:lnTo>
                    <a:pt x="127228" y="270510"/>
                  </a:lnTo>
                  <a:lnTo>
                    <a:pt x="127330" y="269240"/>
                  </a:lnTo>
                  <a:lnTo>
                    <a:pt x="127381" y="267970"/>
                  </a:lnTo>
                  <a:lnTo>
                    <a:pt x="128231" y="267970"/>
                  </a:lnTo>
                  <a:lnTo>
                    <a:pt x="128778" y="266700"/>
                  </a:lnTo>
                  <a:lnTo>
                    <a:pt x="130187" y="266700"/>
                  </a:lnTo>
                  <a:lnTo>
                    <a:pt x="130581" y="265430"/>
                  </a:lnTo>
                  <a:lnTo>
                    <a:pt x="130289" y="264160"/>
                  </a:lnTo>
                  <a:lnTo>
                    <a:pt x="130517" y="262890"/>
                  </a:lnTo>
                  <a:lnTo>
                    <a:pt x="130886" y="262890"/>
                  </a:lnTo>
                  <a:lnTo>
                    <a:pt x="132969" y="261620"/>
                  </a:lnTo>
                  <a:lnTo>
                    <a:pt x="133477" y="260350"/>
                  </a:lnTo>
                  <a:lnTo>
                    <a:pt x="132943" y="259080"/>
                  </a:lnTo>
                  <a:lnTo>
                    <a:pt x="133261" y="259080"/>
                  </a:lnTo>
                  <a:lnTo>
                    <a:pt x="133146" y="257810"/>
                  </a:lnTo>
                  <a:lnTo>
                    <a:pt x="133350" y="257810"/>
                  </a:lnTo>
                  <a:lnTo>
                    <a:pt x="134912" y="256540"/>
                  </a:lnTo>
                  <a:lnTo>
                    <a:pt x="135432" y="255270"/>
                  </a:lnTo>
                  <a:lnTo>
                    <a:pt x="136296" y="254000"/>
                  </a:lnTo>
                  <a:lnTo>
                    <a:pt x="135483" y="254000"/>
                  </a:lnTo>
                  <a:lnTo>
                    <a:pt x="135826" y="252730"/>
                  </a:lnTo>
                  <a:lnTo>
                    <a:pt x="136982" y="252730"/>
                  </a:lnTo>
                  <a:lnTo>
                    <a:pt x="137502" y="251460"/>
                  </a:lnTo>
                  <a:lnTo>
                    <a:pt x="137909" y="251460"/>
                  </a:lnTo>
                  <a:lnTo>
                    <a:pt x="139509" y="250190"/>
                  </a:lnTo>
                  <a:lnTo>
                    <a:pt x="140868" y="248920"/>
                  </a:lnTo>
                  <a:lnTo>
                    <a:pt x="140296" y="247650"/>
                  </a:lnTo>
                  <a:lnTo>
                    <a:pt x="140728" y="246380"/>
                  </a:lnTo>
                  <a:lnTo>
                    <a:pt x="142430" y="245110"/>
                  </a:lnTo>
                  <a:lnTo>
                    <a:pt x="143738" y="243840"/>
                  </a:lnTo>
                  <a:lnTo>
                    <a:pt x="143256" y="242570"/>
                  </a:lnTo>
                  <a:lnTo>
                    <a:pt x="143383" y="242570"/>
                  </a:lnTo>
                  <a:lnTo>
                    <a:pt x="143459" y="241300"/>
                  </a:lnTo>
                  <a:lnTo>
                    <a:pt x="144932" y="241300"/>
                  </a:lnTo>
                  <a:lnTo>
                    <a:pt x="145288" y="240030"/>
                  </a:lnTo>
                  <a:lnTo>
                    <a:pt x="146659" y="240030"/>
                  </a:lnTo>
                  <a:lnTo>
                    <a:pt x="146850" y="238760"/>
                  </a:lnTo>
                  <a:lnTo>
                    <a:pt x="146240" y="238760"/>
                  </a:lnTo>
                  <a:lnTo>
                    <a:pt x="146456" y="237490"/>
                  </a:lnTo>
                  <a:lnTo>
                    <a:pt x="146812" y="236220"/>
                  </a:lnTo>
                  <a:lnTo>
                    <a:pt x="147421" y="234950"/>
                  </a:lnTo>
                  <a:lnTo>
                    <a:pt x="149606" y="234950"/>
                  </a:lnTo>
                  <a:lnTo>
                    <a:pt x="149059" y="233680"/>
                  </a:lnTo>
                  <a:lnTo>
                    <a:pt x="149123" y="232410"/>
                  </a:lnTo>
                  <a:lnTo>
                    <a:pt x="150215" y="232410"/>
                  </a:lnTo>
                  <a:lnTo>
                    <a:pt x="152006" y="231140"/>
                  </a:lnTo>
                  <a:lnTo>
                    <a:pt x="152184" y="231140"/>
                  </a:lnTo>
                  <a:lnTo>
                    <a:pt x="151663" y="229870"/>
                  </a:lnTo>
                  <a:lnTo>
                    <a:pt x="151498" y="228600"/>
                  </a:lnTo>
                  <a:lnTo>
                    <a:pt x="152501" y="228600"/>
                  </a:lnTo>
                  <a:lnTo>
                    <a:pt x="152996" y="227330"/>
                  </a:lnTo>
                  <a:lnTo>
                    <a:pt x="154724" y="227330"/>
                  </a:lnTo>
                  <a:lnTo>
                    <a:pt x="154901" y="226060"/>
                  </a:lnTo>
                  <a:lnTo>
                    <a:pt x="154800" y="224790"/>
                  </a:lnTo>
                  <a:lnTo>
                    <a:pt x="155244" y="224790"/>
                  </a:lnTo>
                  <a:lnTo>
                    <a:pt x="155638" y="223520"/>
                  </a:lnTo>
                  <a:lnTo>
                    <a:pt x="156616" y="223520"/>
                  </a:lnTo>
                  <a:lnTo>
                    <a:pt x="156921" y="222250"/>
                  </a:lnTo>
                  <a:lnTo>
                    <a:pt x="157518" y="220980"/>
                  </a:lnTo>
                  <a:lnTo>
                    <a:pt x="158038" y="219710"/>
                  </a:lnTo>
                  <a:lnTo>
                    <a:pt x="158940" y="219710"/>
                  </a:lnTo>
                  <a:lnTo>
                    <a:pt x="160007" y="217170"/>
                  </a:lnTo>
                  <a:lnTo>
                    <a:pt x="160489" y="215900"/>
                  </a:lnTo>
                  <a:lnTo>
                    <a:pt x="161772" y="215900"/>
                  </a:lnTo>
                  <a:lnTo>
                    <a:pt x="162941" y="212090"/>
                  </a:lnTo>
                  <a:lnTo>
                    <a:pt x="164287" y="210820"/>
                  </a:lnTo>
                  <a:lnTo>
                    <a:pt x="165315" y="208280"/>
                  </a:lnTo>
                  <a:lnTo>
                    <a:pt x="167271" y="207010"/>
                  </a:lnTo>
                  <a:lnTo>
                    <a:pt x="166852" y="205740"/>
                  </a:lnTo>
                  <a:lnTo>
                    <a:pt x="167119" y="205740"/>
                  </a:lnTo>
                  <a:lnTo>
                    <a:pt x="167601" y="204470"/>
                  </a:lnTo>
                  <a:lnTo>
                    <a:pt x="169672" y="203200"/>
                  </a:lnTo>
                  <a:lnTo>
                    <a:pt x="170726" y="200660"/>
                  </a:lnTo>
                  <a:lnTo>
                    <a:pt x="171970" y="198120"/>
                  </a:lnTo>
                  <a:lnTo>
                    <a:pt x="172580" y="198120"/>
                  </a:lnTo>
                  <a:lnTo>
                    <a:pt x="173050" y="196850"/>
                  </a:lnTo>
                  <a:lnTo>
                    <a:pt x="172910" y="194310"/>
                  </a:lnTo>
                  <a:lnTo>
                    <a:pt x="173977" y="195580"/>
                  </a:lnTo>
                  <a:lnTo>
                    <a:pt x="175323" y="194310"/>
                  </a:lnTo>
                  <a:lnTo>
                    <a:pt x="176022" y="194310"/>
                  </a:lnTo>
                  <a:lnTo>
                    <a:pt x="175742" y="193040"/>
                  </a:lnTo>
                  <a:lnTo>
                    <a:pt x="177101" y="191770"/>
                  </a:lnTo>
                  <a:lnTo>
                    <a:pt x="176898" y="190500"/>
                  </a:lnTo>
                  <a:lnTo>
                    <a:pt x="179031" y="190500"/>
                  </a:lnTo>
                  <a:lnTo>
                    <a:pt x="179082" y="189230"/>
                  </a:lnTo>
                  <a:lnTo>
                    <a:pt x="179133" y="187960"/>
                  </a:lnTo>
                  <a:lnTo>
                    <a:pt x="180301" y="187960"/>
                  </a:lnTo>
                  <a:lnTo>
                    <a:pt x="180365" y="186690"/>
                  </a:lnTo>
                  <a:lnTo>
                    <a:pt x="180467" y="185420"/>
                  </a:lnTo>
                  <a:lnTo>
                    <a:pt x="180809" y="185420"/>
                  </a:lnTo>
                  <a:lnTo>
                    <a:pt x="181698" y="186690"/>
                  </a:lnTo>
                  <a:lnTo>
                    <a:pt x="181559" y="185420"/>
                  </a:lnTo>
                  <a:lnTo>
                    <a:pt x="181622" y="184150"/>
                  </a:lnTo>
                  <a:lnTo>
                    <a:pt x="182499" y="184150"/>
                  </a:lnTo>
                  <a:lnTo>
                    <a:pt x="182308" y="182880"/>
                  </a:lnTo>
                  <a:lnTo>
                    <a:pt x="183426" y="182880"/>
                  </a:lnTo>
                  <a:lnTo>
                    <a:pt x="183388" y="181610"/>
                  </a:lnTo>
                  <a:lnTo>
                    <a:pt x="184848" y="181610"/>
                  </a:lnTo>
                  <a:lnTo>
                    <a:pt x="184886" y="180340"/>
                  </a:lnTo>
                  <a:lnTo>
                    <a:pt x="185127" y="179070"/>
                  </a:lnTo>
                  <a:lnTo>
                    <a:pt x="186855" y="179070"/>
                  </a:lnTo>
                  <a:lnTo>
                    <a:pt x="186905" y="176530"/>
                  </a:lnTo>
                  <a:lnTo>
                    <a:pt x="187947" y="176530"/>
                  </a:lnTo>
                  <a:lnTo>
                    <a:pt x="188290" y="175260"/>
                  </a:lnTo>
                  <a:lnTo>
                    <a:pt x="188582" y="175260"/>
                  </a:lnTo>
                  <a:lnTo>
                    <a:pt x="189598" y="173990"/>
                  </a:lnTo>
                  <a:lnTo>
                    <a:pt x="189750" y="172720"/>
                  </a:lnTo>
                  <a:lnTo>
                    <a:pt x="191135" y="171450"/>
                  </a:lnTo>
                  <a:lnTo>
                    <a:pt x="190385" y="171450"/>
                  </a:lnTo>
                  <a:lnTo>
                    <a:pt x="190398" y="170180"/>
                  </a:lnTo>
                  <a:lnTo>
                    <a:pt x="192417" y="170180"/>
                  </a:lnTo>
                  <a:lnTo>
                    <a:pt x="193052" y="168910"/>
                  </a:lnTo>
                  <a:lnTo>
                    <a:pt x="193408" y="167640"/>
                  </a:lnTo>
                  <a:lnTo>
                    <a:pt x="194703" y="166370"/>
                  </a:lnTo>
                  <a:lnTo>
                    <a:pt x="193903" y="166370"/>
                  </a:lnTo>
                  <a:lnTo>
                    <a:pt x="194640" y="165100"/>
                  </a:lnTo>
                  <a:lnTo>
                    <a:pt x="194729" y="166370"/>
                  </a:lnTo>
                  <a:lnTo>
                    <a:pt x="195199" y="166370"/>
                  </a:lnTo>
                  <a:lnTo>
                    <a:pt x="196062" y="165100"/>
                  </a:lnTo>
                  <a:lnTo>
                    <a:pt x="195846" y="165100"/>
                  </a:lnTo>
                  <a:lnTo>
                    <a:pt x="196037" y="163830"/>
                  </a:lnTo>
                  <a:lnTo>
                    <a:pt x="196418" y="163830"/>
                  </a:lnTo>
                  <a:lnTo>
                    <a:pt x="196811" y="162560"/>
                  </a:lnTo>
                  <a:lnTo>
                    <a:pt x="197154" y="162560"/>
                  </a:lnTo>
                  <a:lnTo>
                    <a:pt x="197396" y="161290"/>
                  </a:lnTo>
                  <a:lnTo>
                    <a:pt x="198678" y="160020"/>
                  </a:lnTo>
                  <a:lnTo>
                    <a:pt x="199694" y="160020"/>
                  </a:lnTo>
                  <a:lnTo>
                    <a:pt x="199910" y="158750"/>
                  </a:lnTo>
                  <a:lnTo>
                    <a:pt x="200583" y="157480"/>
                  </a:lnTo>
                  <a:lnTo>
                    <a:pt x="201269" y="157480"/>
                  </a:lnTo>
                  <a:lnTo>
                    <a:pt x="201739" y="154940"/>
                  </a:lnTo>
                  <a:lnTo>
                    <a:pt x="203530" y="154940"/>
                  </a:lnTo>
                  <a:lnTo>
                    <a:pt x="203466" y="153670"/>
                  </a:lnTo>
                  <a:lnTo>
                    <a:pt x="204139" y="153670"/>
                  </a:lnTo>
                  <a:lnTo>
                    <a:pt x="204203" y="152400"/>
                  </a:lnTo>
                  <a:lnTo>
                    <a:pt x="205486" y="152400"/>
                  </a:lnTo>
                  <a:lnTo>
                    <a:pt x="204990" y="151130"/>
                  </a:lnTo>
                  <a:lnTo>
                    <a:pt x="205092" y="149860"/>
                  </a:lnTo>
                  <a:lnTo>
                    <a:pt x="206514" y="149860"/>
                  </a:lnTo>
                  <a:lnTo>
                    <a:pt x="206971" y="148590"/>
                  </a:lnTo>
                  <a:lnTo>
                    <a:pt x="207835" y="148590"/>
                  </a:lnTo>
                  <a:lnTo>
                    <a:pt x="208013" y="147320"/>
                  </a:lnTo>
                  <a:lnTo>
                    <a:pt x="209067" y="147320"/>
                  </a:lnTo>
                  <a:lnTo>
                    <a:pt x="208876" y="146050"/>
                  </a:lnTo>
                  <a:lnTo>
                    <a:pt x="210146" y="146050"/>
                  </a:lnTo>
                  <a:lnTo>
                    <a:pt x="210134" y="144780"/>
                  </a:lnTo>
                  <a:lnTo>
                    <a:pt x="209677" y="144780"/>
                  </a:lnTo>
                  <a:lnTo>
                    <a:pt x="209943" y="143510"/>
                  </a:lnTo>
                  <a:lnTo>
                    <a:pt x="211924" y="143510"/>
                  </a:lnTo>
                  <a:lnTo>
                    <a:pt x="212255" y="142240"/>
                  </a:lnTo>
                  <a:lnTo>
                    <a:pt x="212445" y="142240"/>
                  </a:lnTo>
                  <a:lnTo>
                    <a:pt x="212826" y="140970"/>
                  </a:lnTo>
                  <a:lnTo>
                    <a:pt x="213880" y="140970"/>
                  </a:lnTo>
                  <a:lnTo>
                    <a:pt x="213969" y="139700"/>
                  </a:lnTo>
                  <a:lnTo>
                    <a:pt x="213258" y="139700"/>
                  </a:lnTo>
                  <a:lnTo>
                    <a:pt x="213779" y="138430"/>
                  </a:lnTo>
                  <a:lnTo>
                    <a:pt x="215798" y="138430"/>
                  </a:lnTo>
                  <a:lnTo>
                    <a:pt x="216154" y="137160"/>
                  </a:lnTo>
                  <a:lnTo>
                    <a:pt x="216649" y="135890"/>
                  </a:lnTo>
                  <a:lnTo>
                    <a:pt x="217093" y="134620"/>
                  </a:lnTo>
                  <a:lnTo>
                    <a:pt x="217665" y="133350"/>
                  </a:lnTo>
                  <a:lnTo>
                    <a:pt x="219760" y="133350"/>
                  </a:lnTo>
                  <a:lnTo>
                    <a:pt x="220319" y="132080"/>
                  </a:lnTo>
                  <a:lnTo>
                    <a:pt x="221767" y="129540"/>
                  </a:lnTo>
                  <a:lnTo>
                    <a:pt x="222148" y="128270"/>
                  </a:lnTo>
                  <a:lnTo>
                    <a:pt x="222872" y="128270"/>
                  </a:lnTo>
                  <a:lnTo>
                    <a:pt x="222885" y="127000"/>
                  </a:lnTo>
                  <a:lnTo>
                    <a:pt x="224688" y="127000"/>
                  </a:lnTo>
                  <a:lnTo>
                    <a:pt x="224828" y="125730"/>
                  </a:lnTo>
                  <a:lnTo>
                    <a:pt x="225044" y="125730"/>
                  </a:lnTo>
                  <a:lnTo>
                    <a:pt x="225348" y="124460"/>
                  </a:lnTo>
                  <a:lnTo>
                    <a:pt x="225590" y="124460"/>
                  </a:lnTo>
                  <a:lnTo>
                    <a:pt x="226504" y="123190"/>
                  </a:lnTo>
                  <a:lnTo>
                    <a:pt x="227863" y="121920"/>
                  </a:lnTo>
                  <a:lnTo>
                    <a:pt x="228409" y="120650"/>
                  </a:lnTo>
                  <a:lnTo>
                    <a:pt x="229577" y="120650"/>
                  </a:lnTo>
                  <a:lnTo>
                    <a:pt x="229781" y="119380"/>
                  </a:lnTo>
                  <a:lnTo>
                    <a:pt x="230174" y="118110"/>
                  </a:lnTo>
                  <a:lnTo>
                    <a:pt x="230809" y="118110"/>
                  </a:lnTo>
                  <a:lnTo>
                    <a:pt x="231063" y="116840"/>
                  </a:lnTo>
                  <a:lnTo>
                    <a:pt x="231584" y="116840"/>
                  </a:lnTo>
                  <a:lnTo>
                    <a:pt x="231457" y="115570"/>
                  </a:lnTo>
                  <a:lnTo>
                    <a:pt x="233299" y="115570"/>
                  </a:lnTo>
                  <a:lnTo>
                    <a:pt x="233489" y="114300"/>
                  </a:lnTo>
                  <a:lnTo>
                    <a:pt x="234315" y="111760"/>
                  </a:lnTo>
                  <a:lnTo>
                    <a:pt x="236143" y="111760"/>
                  </a:lnTo>
                  <a:lnTo>
                    <a:pt x="235496" y="110490"/>
                  </a:lnTo>
                  <a:lnTo>
                    <a:pt x="235648" y="109220"/>
                  </a:lnTo>
                  <a:lnTo>
                    <a:pt x="236867" y="110490"/>
                  </a:lnTo>
                  <a:lnTo>
                    <a:pt x="237312" y="110490"/>
                  </a:lnTo>
                  <a:lnTo>
                    <a:pt x="237490" y="109220"/>
                  </a:lnTo>
                  <a:lnTo>
                    <a:pt x="237680" y="107950"/>
                  </a:lnTo>
                  <a:lnTo>
                    <a:pt x="238518" y="106680"/>
                  </a:lnTo>
                  <a:lnTo>
                    <a:pt x="239280" y="106680"/>
                  </a:lnTo>
                  <a:lnTo>
                    <a:pt x="239814" y="105410"/>
                  </a:lnTo>
                  <a:lnTo>
                    <a:pt x="239979" y="105410"/>
                  </a:lnTo>
                  <a:lnTo>
                    <a:pt x="240195" y="102870"/>
                  </a:lnTo>
                  <a:lnTo>
                    <a:pt x="240931" y="102870"/>
                  </a:lnTo>
                  <a:lnTo>
                    <a:pt x="241122" y="101600"/>
                  </a:lnTo>
                  <a:lnTo>
                    <a:pt x="241858" y="104140"/>
                  </a:lnTo>
                  <a:lnTo>
                    <a:pt x="242824" y="101600"/>
                  </a:lnTo>
                  <a:lnTo>
                    <a:pt x="244843" y="101600"/>
                  </a:lnTo>
                  <a:lnTo>
                    <a:pt x="244652" y="100330"/>
                  </a:lnTo>
                  <a:lnTo>
                    <a:pt x="245046" y="99060"/>
                  </a:lnTo>
                  <a:lnTo>
                    <a:pt x="245833" y="99060"/>
                  </a:lnTo>
                  <a:lnTo>
                    <a:pt x="246189" y="97790"/>
                  </a:lnTo>
                  <a:lnTo>
                    <a:pt x="245757" y="96520"/>
                  </a:lnTo>
                  <a:lnTo>
                    <a:pt x="246672" y="96520"/>
                  </a:lnTo>
                  <a:lnTo>
                    <a:pt x="247281" y="95250"/>
                  </a:lnTo>
                  <a:lnTo>
                    <a:pt x="248399" y="95250"/>
                  </a:lnTo>
                  <a:lnTo>
                    <a:pt x="248881" y="93980"/>
                  </a:lnTo>
                  <a:lnTo>
                    <a:pt x="249516" y="93980"/>
                  </a:lnTo>
                  <a:lnTo>
                    <a:pt x="249872" y="95250"/>
                  </a:lnTo>
                  <a:lnTo>
                    <a:pt x="250380" y="93980"/>
                  </a:lnTo>
                  <a:lnTo>
                    <a:pt x="250926" y="92710"/>
                  </a:lnTo>
                  <a:lnTo>
                    <a:pt x="250723" y="92710"/>
                  </a:lnTo>
                  <a:lnTo>
                    <a:pt x="251091" y="91440"/>
                  </a:lnTo>
                  <a:lnTo>
                    <a:pt x="251307" y="91440"/>
                  </a:lnTo>
                  <a:lnTo>
                    <a:pt x="253085" y="90170"/>
                  </a:lnTo>
                  <a:lnTo>
                    <a:pt x="254050" y="88900"/>
                  </a:lnTo>
                  <a:lnTo>
                    <a:pt x="254901" y="87630"/>
                  </a:lnTo>
                  <a:lnTo>
                    <a:pt x="255524" y="88900"/>
                  </a:lnTo>
                  <a:lnTo>
                    <a:pt x="255625" y="87630"/>
                  </a:lnTo>
                  <a:lnTo>
                    <a:pt x="255854" y="86360"/>
                  </a:lnTo>
                  <a:lnTo>
                    <a:pt x="256603" y="86360"/>
                  </a:lnTo>
                  <a:lnTo>
                    <a:pt x="257670" y="85090"/>
                  </a:lnTo>
                  <a:lnTo>
                    <a:pt x="258343" y="85090"/>
                  </a:lnTo>
                  <a:lnTo>
                    <a:pt x="258445" y="83820"/>
                  </a:lnTo>
                  <a:lnTo>
                    <a:pt x="260108" y="83820"/>
                  </a:lnTo>
                  <a:lnTo>
                    <a:pt x="260286" y="82550"/>
                  </a:lnTo>
                  <a:lnTo>
                    <a:pt x="261264" y="81280"/>
                  </a:lnTo>
                  <a:lnTo>
                    <a:pt x="261327" y="80010"/>
                  </a:lnTo>
                  <a:lnTo>
                    <a:pt x="263588" y="78740"/>
                  </a:lnTo>
                  <a:lnTo>
                    <a:pt x="263817" y="78740"/>
                  </a:lnTo>
                  <a:lnTo>
                    <a:pt x="263652" y="77470"/>
                  </a:lnTo>
                  <a:lnTo>
                    <a:pt x="264972" y="77470"/>
                  </a:lnTo>
                  <a:lnTo>
                    <a:pt x="265341" y="76200"/>
                  </a:lnTo>
                  <a:lnTo>
                    <a:pt x="265480" y="76200"/>
                  </a:lnTo>
                  <a:lnTo>
                    <a:pt x="266014" y="74930"/>
                  </a:lnTo>
                  <a:lnTo>
                    <a:pt x="268185" y="74930"/>
                  </a:lnTo>
                  <a:lnTo>
                    <a:pt x="267639" y="73660"/>
                  </a:lnTo>
                  <a:lnTo>
                    <a:pt x="268173" y="72390"/>
                  </a:lnTo>
                  <a:lnTo>
                    <a:pt x="270167" y="72390"/>
                  </a:lnTo>
                  <a:lnTo>
                    <a:pt x="271322" y="69850"/>
                  </a:lnTo>
                  <a:lnTo>
                    <a:pt x="273316" y="68580"/>
                  </a:lnTo>
                  <a:lnTo>
                    <a:pt x="274980" y="66040"/>
                  </a:lnTo>
                  <a:lnTo>
                    <a:pt x="275475" y="66040"/>
                  </a:lnTo>
                  <a:lnTo>
                    <a:pt x="276250" y="64770"/>
                  </a:lnTo>
                  <a:lnTo>
                    <a:pt x="276529" y="64770"/>
                  </a:lnTo>
                  <a:lnTo>
                    <a:pt x="276402" y="63500"/>
                  </a:lnTo>
                  <a:lnTo>
                    <a:pt x="277139" y="63500"/>
                  </a:lnTo>
                  <a:lnTo>
                    <a:pt x="277329" y="62230"/>
                  </a:lnTo>
                  <a:lnTo>
                    <a:pt x="278688" y="62230"/>
                  </a:lnTo>
                  <a:lnTo>
                    <a:pt x="279247" y="60960"/>
                  </a:lnTo>
                  <a:lnTo>
                    <a:pt x="280593" y="58420"/>
                  </a:lnTo>
                  <a:lnTo>
                    <a:pt x="282359" y="59690"/>
                  </a:lnTo>
                  <a:lnTo>
                    <a:pt x="282587" y="58420"/>
                  </a:lnTo>
                  <a:lnTo>
                    <a:pt x="283679" y="55880"/>
                  </a:lnTo>
                  <a:lnTo>
                    <a:pt x="283578" y="54610"/>
                  </a:lnTo>
                  <a:lnTo>
                    <a:pt x="285305" y="54610"/>
                  </a:lnTo>
                  <a:lnTo>
                    <a:pt x="285902" y="53340"/>
                  </a:lnTo>
                  <a:lnTo>
                    <a:pt x="287540" y="53340"/>
                  </a:lnTo>
                  <a:lnTo>
                    <a:pt x="287388" y="52070"/>
                  </a:lnTo>
                  <a:lnTo>
                    <a:pt x="287782" y="50800"/>
                  </a:lnTo>
                  <a:lnTo>
                    <a:pt x="288607" y="50800"/>
                  </a:lnTo>
                  <a:lnTo>
                    <a:pt x="289826" y="49530"/>
                  </a:lnTo>
                  <a:lnTo>
                    <a:pt x="288899" y="52070"/>
                  </a:lnTo>
                  <a:lnTo>
                    <a:pt x="290220" y="49530"/>
                  </a:lnTo>
                  <a:lnTo>
                    <a:pt x="292862" y="45720"/>
                  </a:lnTo>
                  <a:lnTo>
                    <a:pt x="293446" y="44450"/>
                  </a:lnTo>
                  <a:lnTo>
                    <a:pt x="293636" y="45720"/>
                  </a:lnTo>
                  <a:lnTo>
                    <a:pt x="294462" y="45720"/>
                  </a:lnTo>
                  <a:lnTo>
                    <a:pt x="294462" y="44450"/>
                  </a:lnTo>
                  <a:lnTo>
                    <a:pt x="294741" y="44450"/>
                  </a:lnTo>
                  <a:lnTo>
                    <a:pt x="295859" y="43180"/>
                  </a:lnTo>
                  <a:lnTo>
                    <a:pt x="296062" y="43180"/>
                  </a:lnTo>
                  <a:lnTo>
                    <a:pt x="295046" y="41910"/>
                  </a:lnTo>
                  <a:lnTo>
                    <a:pt x="297916" y="41910"/>
                  </a:lnTo>
                  <a:lnTo>
                    <a:pt x="297484" y="40640"/>
                  </a:lnTo>
                  <a:lnTo>
                    <a:pt x="296481" y="40640"/>
                  </a:lnTo>
                  <a:lnTo>
                    <a:pt x="297307" y="39370"/>
                  </a:lnTo>
                  <a:lnTo>
                    <a:pt x="297510" y="40640"/>
                  </a:lnTo>
                  <a:lnTo>
                    <a:pt x="297675" y="40640"/>
                  </a:lnTo>
                  <a:lnTo>
                    <a:pt x="297802" y="39370"/>
                  </a:lnTo>
                  <a:lnTo>
                    <a:pt x="298196" y="39370"/>
                  </a:lnTo>
                  <a:lnTo>
                    <a:pt x="298310" y="40640"/>
                  </a:lnTo>
                  <a:lnTo>
                    <a:pt x="300037" y="39370"/>
                  </a:lnTo>
                  <a:lnTo>
                    <a:pt x="301434" y="38100"/>
                  </a:lnTo>
                  <a:lnTo>
                    <a:pt x="303885" y="35560"/>
                  </a:lnTo>
                  <a:lnTo>
                    <a:pt x="305257" y="34290"/>
                  </a:lnTo>
                  <a:lnTo>
                    <a:pt x="307911" y="30480"/>
                  </a:lnTo>
                  <a:lnTo>
                    <a:pt x="308775" y="30480"/>
                  </a:lnTo>
                  <a:lnTo>
                    <a:pt x="311721" y="27940"/>
                  </a:lnTo>
                  <a:lnTo>
                    <a:pt x="317373" y="22860"/>
                  </a:lnTo>
                  <a:lnTo>
                    <a:pt x="318744" y="22860"/>
                  </a:lnTo>
                  <a:lnTo>
                    <a:pt x="317474" y="21590"/>
                  </a:lnTo>
                  <a:lnTo>
                    <a:pt x="318731" y="21590"/>
                  </a:lnTo>
                  <a:lnTo>
                    <a:pt x="319163" y="22860"/>
                  </a:lnTo>
                  <a:lnTo>
                    <a:pt x="319671" y="21590"/>
                  </a:lnTo>
                  <a:lnTo>
                    <a:pt x="320167" y="20320"/>
                  </a:lnTo>
                  <a:lnTo>
                    <a:pt x="321970" y="19050"/>
                  </a:lnTo>
                  <a:lnTo>
                    <a:pt x="324866" y="17780"/>
                  </a:lnTo>
                  <a:lnTo>
                    <a:pt x="325742" y="17780"/>
                  </a:lnTo>
                  <a:lnTo>
                    <a:pt x="326644" y="16510"/>
                  </a:lnTo>
                  <a:lnTo>
                    <a:pt x="327545" y="15240"/>
                  </a:lnTo>
                  <a:lnTo>
                    <a:pt x="328422" y="15240"/>
                  </a:lnTo>
                  <a:lnTo>
                    <a:pt x="329704" y="13970"/>
                  </a:lnTo>
                  <a:lnTo>
                    <a:pt x="328244" y="13970"/>
                  </a:lnTo>
                  <a:lnTo>
                    <a:pt x="327850" y="14020"/>
                  </a:lnTo>
                  <a:lnTo>
                    <a:pt x="327507" y="14173"/>
                  </a:lnTo>
                  <a:lnTo>
                    <a:pt x="327660" y="14262"/>
                  </a:lnTo>
                  <a:lnTo>
                    <a:pt x="326110" y="15240"/>
                  </a:lnTo>
                  <a:lnTo>
                    <a:pt x="326326" y="13970"/>
                  </a:lnTo>
                  <a:lnTo>
                    <a:pt x="327469" y="13970"/>
                  </a:lnTo>
                  <a:lnTo>
                    <a:pt x="327964" y="12700"/>
                  </a:lnTo>
                  <a:lnTo>
                    <a:pt x="329996" y="12700"/>
                  </a:lnTo>
                  <a:lnTo>
                    <a:pt x="330377" y="13970"/>
                  </a:lnTo>
                  <a:lnTo>
                    <a:pt x="331533" y="12700"/>
                  </a:lnTo>
                  <a:lnTo>
                    <a:pt x="330441" y="12700"/>
                  </a:lnTo>
                  <a:lnTo>
                    <a:pt x="330339" y="12306"/>
                  </a:lnTo>
                  <a:lnTo>
                    <a:pt x="332041" y="11785"/>
                  </a:lnTo>
                  <a:lnTo>
                    <a:pt x="332574" y="9982"/>
                  </a:lnTo>
                  <a:lnTo>
                    <a:pt x="332994" y="9690"/>
                  </a:lnTo>
                  <a:lnTo>
                    <a:pt x="333375" y="9918"/>
                  </a:lnTo>
                  <a:close/>
                </a:path>
              </a:pathLst>
            </a:custGeom>
            <a:solidFill>
              <a:srgbClr val="D02929">
                <a:alpha val="53729"/>
              </a:srgbClr>
            </a:solidFill>
          </p:spPr>
          <p:txBody>
            <a:bodyPr wrap="square" lIns="0" tIns="0" rIns="0" bIns="0" rtlCol="0"/>
            <a:lstStyle/>
            <a:p>
              <a:endParaRPr/>
            </a:p>
          </p:txBody>
        </p:sp>
      </p:grpSp>
      <p:sp>
        <p:nvSpPr>
          <p:cNvPr id="20" name="object 20"/>
          <p:cNvSpPr txBox="1"/>
          <p:nvPr/>
        </p:nvSpPr>
        <p:spPr>
          <a:xfrm>
            <a:off x="13762057" y="4485661"/>
            <a:ext cx="2311400" cy="330835"/>
          </a:xfrm>
          <a:prstGeom prst="rect">
            <a:avLst/>
          </a:prstGeom>
        </p:spPr>
        <p:txBody>
          <a:bodyPr vert="horz" wrap="square" lIns="0" tIns="12700" rIns="0" bIns="0" rtlCol="0">
            <a:spAutoFit/>
          </a:bodyPr>
          <a:lstStyle/>
          <a:p>
            <a:pPr marL="12700">
              <a:lnSpc>
                <a:spcPct val="100000"/>
              </a:lnSpc>
              <a:spcBef>
                <a:spcPts val="100"/>
              </a:spcBef>
            </a:pPr>
            <a:r>
              <a:rPr sz="2000" b="1" spc="-10" dirty="0">
                <a:solidFill>
                  <a:srgbClr val="FFFFFF"/>
                </a:solidFill>
                <a:latin typeface="Roboto"/>
                <a:cs typeface="Roboto"/>
              </a:rPr>
              <a:t>POSICIONAMIENTO</a:t>
            </a:r>
            <a:endParaRPr sz="2000">
              <a:latin typeface="Roboto"/>
              <a:cs typeface="Roboto"/>
            </a:endParaRPr>
          </a:p>
        </p:txBody>
      </p:sp>
      <p:sp>
        <p:nvSpPr>
          <p:cNvPr id="21" name="object 21"/>
          <p:cNvSpPr txBox="1"/>
          <p:nvPr/>
        </p:nvSpPr>
        <p:spPr>
          <a:xfrm>
            <a:off x="8415424" y="2454304"/>
            <a:ext cx="2444115" cy="746125"/>
          </a:xfrm>
          <a:prstGeom prst="rect">
            <a:avLst/>
          </a:prstGeom>
        </p:spPr>
        <p:txBody>
          <a:bodyPr vert="horz" wrap="square" lIns="0" tIns="24765" rIns="0" bIns="0" rtlCol="0">
            <a:spAutoFit/>
          </a:bodyPr>
          <a:lstStyle/>
          <a:p>
            <a:pPr marL="12700" marR="5080" indent="85725">
              <a:lnSpc>
                <a:spcPts val="1880"/>
              </a:lnSpc>
              <a:spcBef>
                <a:spcPts val="195"/>
              </a:spcBef>
            </a:pPr>
            <a:r>
              <a:rPr sz="1600" spc="-20" dirty="0">
                <a:solidFill>
                  <a:srgbClr val="FFFFFF"/>
                </a:solidFill>
                <a:latin typeface="Roboto"/>
                <a:cs typeface="Roboto"/>
              </a:rPr>
              <a:t>MAYOR</a:t>
            </a:r>
            <a:r>
              <a:rPr sz="1600" spc="-45" dirty="0">
                <a:solidFill>
                  <a:srgbClr val="FFFFFF"/>
                </a:solidFill>
                <a:latin typeface="Roboto"/>
                <a:cs typeface="Roboto"/>
              </a:rPr>
              <a:t> </a:t>
            </a:r>
            <a:r>
              <a:rPr sz="1600" spc="-10" dirty="0">
                <a:solidFill>
                  <a:srgbClr val="FFFFFF"/>
                </a:solidFill>
                <a:latin typeface="Roboto"/>
                <a:cs typeface="Roboto"/>
              </a:rPr>
              <a:t>CONTRIBUCIÓN </a:t>
            </a:r>
            <a:r>
              <a:rPr sz="1600" dirty="0">
                <a:solidFill>
                  <a:srgbClr val="FFFFFF"/>
                </a:solidFill>
                <a:latin typeface="Roboto"/>
                <a:cs typeface="Roboto"/>
              </a:rPr>
              <a:t>DEL</a:t>
            </a:r>
            <a:r>
              <a:rPr sz="1600" spc="-50" dirty="0">
                <a:solidFill>
                  <a:srgbClr val="FFFFFF"/>
                </a:solidFill>
                <a:latin typeface="Roboto"/>
                <a:cs typeface="Roboto"/>
              </a:rPr>
              <a:t> </a:t>
            </a:r>
            <a:r>
              <a:rPr sz="1600" spc="-30" dirty="0">
                <a:solidFill>
                  <a:srgbClr val="FFFFFF"/>
                </a:solidFill>
                <a:latin typeface="Roboto"/>
                <a:cs typeface="Roboto"/>
              </a:rPr>
              <a:t>TURISMO</a:t>
            </a:r>
            <a:r>
              <a:rPr sz="1600" spc="-50" dirty="0">
                <a:solidFill>
                  <a:srgbClr val="FFFFFF"/>
                </a:solidFill>
                <a:latin typeface="Roboto"/>
                <a:cs typeface="Roboto"/>
              </a:rPr>
              <a:t> </a:t>
            </a:r>
            <a:r>
              <a:rPr sz="1600" b="1" spc="-10" dirty="0">
                <a:solidFill>
                  <a:srgbClr val="FFFFFF"/>
                </a:solidFill>
                <a:latin typeface="Roboto"/>
                <a:cs typeface="Roboto"/>
              </a:rPr>
              <a:t>RECEPTIVO </a:t>
            </a:r>
            <a:r>
              <a:rPr sz="1600" dirty="0">
                <a:solidFill>
                  <a:srgbClr val="FFFFFF"/>
                </a:solidFill>
                <a:latin typeface="Roboto"/>
                <a:cs typeface="Roboto"/>
              </a:rPr>
              <a:t>A</a:t>
            </a:r>
            <a:r>
              <a:rPr sz="1600" spc="-45" dirty="0">
                <a:solidFill>
                  <a:srgbClr val="FFFFFF"/>
                </a:solidFill>
                <a:latin typeface="Roboto"/>
                <a:cs typeface="Roboto"/>
              </a:rPr>
              <a:t> </a:t>
            </a:r>
            <a:r>
              <a:rPr sz="1600" dirty="0">
                <a:solidFill>
                  <a:srgbClr val="FFFFFF"/>
                </a:solidFill>
                <a:latin typeface="Roboto"/>
                <a:cs typeface="Roboto"/>
              </a:rPr>
              <a:t>LA</a:t>
            </a:r>
            <a:r>
              <a:rPr sz="1600" spc="-40" dirty="0">
                <a:solidFill>
                  <a:srgbClr val="FFFFFF"/>
                </a:solidFill>
                <a:latin typeface="Roboto"/>
                <a:cs typeface="Roboto"/>
              </a:rPr>
              <a:t> </a:t>
            </a:r>
            <a:r>
              <a:rPr sz="1600" dirty="0">
                <a:solidFill>
                  <a:srgbClr val="FFFFFF"/>
                </a:solidFill>
                <a:latin typeface="Roboto"/>
                <a:cs typeface="Roboto"/>
              </a:rPr>
              <a:t>ECONOMÍA</a:t>
            </a:r>
            <a:r>
              <a:rPr sz="1600" spc="-40" dirty="0">
                <a:solidFill>
                  <a:srgbClr val="FFFFFF"/>
                </a:solidFill>
                <a:latin typeface="Roboto"/>
                <a:cs typeface="Roboto"/>
              </a:rPr>
              <a:t> </a:t>
            </a:r>
            <a:r>
              <a:rPr sz="1600" dirty="0">
                <a:solidFill>
                  <a:srgbClr val="FFFFFF"/>
                </a:solidFill>
                <a:latin typeface="Roboto"/>
                <a:cs typeface="Roboto"/>
              </a:rPr>
              <a:t>DE</a:t>
            </a:r>
            <a:r>
              <a:rPr sz="1600" spc="-40" dirty="0">
                <a:solidFill>
                  <a:srgbClr val="FFFFFF"/>
                </a:solidFill>
                <a:latin typeface="Roboto"/>
                <a:cs typeface="Roboto"/>
              </a:rPr>
              <a:t> </a:t>
            </a:r>
            <a:r>
              <a:rPr sz="1600" spc="-20" dirty="0">
                <a:solidFill>
                  <a:srgbClr val="FFFFFF"/>
                </a:solidFill>
                <a:latin typeface="Roboto"/>
                <a:cs typeface="Roboto"/>
              </a:rPr>
              <a:t>CHILE</a:t>
            </a:r>
            <a:endParaRPr sz="1600">
              <a:latin typeface="Roboto"/>
              <a:cs typeface="Roboto"/>
            </a:endParaRPr>
          </a:p>
        </p:txBody>
      </p:sp>
      <p:sp>
        <p:nvSpPr>
          <p:cNvPr id="22" name="object 22"/>
          <p:cNvSpPr txBox="1"/>
          <p:nvPr/>
        </p:nvSpPr>
        <p:spPr>
          <a:xfrm>
            <a:off x="688931" y="5816232"/>
            <a:ext cx="358775" cy="3366770"/>
          </a:xfrm>
          <a:prstGeom prst="rect">
            <a:avLst/>
          </a:prstGeom>
        </p:spPr>
        <p:txBody>
          <a:bodyPr vert="vert270" wrap="square" lIns="0" tIns="0" rIns="0" bIns="0" rtlCol="0">
            <a:spAutoFit/>
          </a:bodyPr>
          <a:lstStyle/>
          <a:p>
            <a:pPr marL="12700">
              <a:lnSpc>
                <a:spcPts val="2410"/>
              </a:lnSpc>
            </a:pPr>
            <a:r>
              <a:rPr sz="2100" b="1" spc="-10" dirty="0">
                <a:solidFill>
                  <a:srgbClr val="E3112B"/>
                </a:solidFill>
                <a:latin typeface="Arial"/>
                <a:cs typeface="Arial"/>
              </a:rPr>
              <a:t>PILARES</a:t>
            </a:r>
            <a:r>
              <a:rPr sz="2100" b="1" spc="-95" dirty="0">
                <a:solidFill>
                  <a:srgbClr val="E3112B"/>
                </a:solidFill>
                <a:latin typeface="Arial"/>
                <a:cs typeface="Arial"/>
              </a:rPr>
              <a:t> </a:t>
            </a:r>
            <a:r>
              <a:rPr sz="2100" b="1" spc="-10" dirty="0">
                <a:solidFill>
                  <a:srgbClr val="E3112B"/>
                </a:solidFill>
                <a:latin typeface="Arial"/>
                <a:cs typeface="Arial"/>
              </a:rPr>
              <a:t>ESTRATÉGICOS</a:t>
            </a:r>
            <a:endParaRPr sz="2100">
              <a:latin typeface="Arial"/>
              <a:cs typeface="Arial"/>
            </a:endParaRPr>
          </a:p>
        </p:txBody>
      </p:sp>
      <p:grpSp>
        <p:nvGrpSpPr>
          <p:cNvPr id="23" name="object 23"/>
          <p:cNvGrpSpPr/>
          <p:nvPr/>
        </p:nvGrpSpPr>
        <p:grpSpPr>
          <a:xfrm>
            <a:off x="1890854" y="5409776"/>
            <a:ext cx="15190469" cy="4114165"/>
            <a:chOff x="1890854" y="5409776"/>
            <a:chExt cx="15190469" cy="4114165"/>
          </a:xfrm>
        </p:grpSpPr>
        <p:sp>
          <p:nvSpPr>
            <p:cNvPr id="24" name="object 24"/>
            <p:cNvSpPr/>
            <p:nvPr/>
          </p:nvSpPr>
          <p:spPr>
            <a:xfrm>
              <a:off x="2169629" y="5409776"/>
              <a:ext cx="2138680" cy="4114165"/>
            </a:xfrm>
            <a:custGeom>
              <a:avLst/>
              <a:gdLst/>
              <a:ahLst/>
              <a:cxnLst/>
              <a:rect l="l" t="t" r="r" b="b"/>
              <a:pathLst>
                <a:path w="2138679" h="4114165">
                  <a:moveTo>
                    <a:pt x="1069333" y="4113966"/>
                  </a:moveTo>
                  <a:lnTo>
                    <a:pt x="996175" y="4113386"/>
                  </a:lnTo>
                  <a:lnTo>
                    <a:pt x="924333" y="4111671"/>
                  </a:lnTo>
                  <a:lnTo>
                    <a:pt x="853964" y="4108859"/>
                  </a:lnTo>
                  <a:lnTo>
                    <a:pt x="785230" y="4104985"/>
                  </a:lnTo>
                  <a:lnTo>
                    <a:pt x="718290" y="4100087"/>
                  </a:lnTo>
                  <a:lnTo>
                    <a:pt x="653305" y="4094201"/>
                  </a:lnTo>
                  <a:lnTo>
                    <a:pt x="590433" y="4087365"/>
                  </a:lnTo>
                  <a:lnTo>
                    <a:pt x="529835" y="4079616"/>
                  </a:lnTo>
                  <a:lnTo>
                    <a:pt x="471671" y="4070989"/>
                  </a:lnTo>
                  <a:lnTo>
                    <a:pt x="416101" y="4061523"/>
                  </a:lnTo>
                  <a:lnTo>
                    <a:pt x="363285" y="4051254"/>
                  </a:lnTo>
                  <a:lnTo>
                    <a:pt x="313382" y="4040219"/>
                  </a:lnTo>
                  <a:lnTo>
                    <a:pt x="266552" y="4028455"/>
                  </a:lnTo>
                  <a:lnTo>
                    <a:pt x="222956" y="4015999"/>
                  </a:lnTo>
                  <a:lnTo>
                    <a:pt x="182753" y="4002887"/>
                  </a:lnTo>
                  <a:lnTo>
                    <a:pt x="146103" y="3989157"/>
                  </a:lnTo>
                  <a:lnTo>
                    <a:pt x="84101" y="3959989"/>
                  </a:lnTo>
                  <a:lnTo>
                    <a:pt x="38231" y="3928790"/>
                  </a:lnTo>
                  <a:lnTo>
                    <a:pt x="9771" y="3895854"/>
                  </a:lnTo>
                  <a:lnTo>
                    <a:pt x="0" y="3861478"/>
                  </a:lnTo>
                  <a:lnTo>
                    <a:pt x="0" y="252487"/>
                  </a:lnTo>
                  <a:lnTo>
                    <a:pt x="21710" y="201684"/>
                  </a:lnTo>
                  <a:lnTo>
                    <a:pt x="58984" y="169667"/>
                  </a:lnTo>
                  <a:lnTo>
                    <a:pt x="113015" y="139486"/>
                  </a:lnTo>
                  <a:lnTo>
                    <a:pt x="182533" y="111444"/>
                  </a:lnTo>
                  <a:lnTo>
                    <a:pt x="222703" y="98321"/>
                  </a:lnTo>
                  <a:lnTo>
                    <a:pt x="266268" y="85846"/>
                  </a:lnTo>
                  <a:lnTo>
                    <a:pt x="313069" y="74058"/>
                  </a:lnTo>
                  <a:lnTo>
                    <a:pt x="362948" y="62995"/>
                  </a:lnTo>
                  <a:lnTo>
                    <a:pt x="415747" y="52695"/>
                  </a:lnTo>
                  <a:lnTo>
                    <a:pt x="471305" y="43196"/>
                  </a:lnTo>
                  <a:lnTo>
                    <a:pt x="529465" y="34535"/>
                  </a:lnTo>
                  <a:lnTo>
                    <a:pt x="590067" y="26751"/>
                  </a:lnTo>
                  <a:lnTo>
                    <a:pt x="652953" y="19881"/>
                  </a:lnTo>
                  <a:lnTo>
                    <a:pt x="717964" y="13965"/>
                  </a:lnTo>
                  <a:lnTo>
                    <a:pt x="784941" y="9039"/>
                  </a:lnTo>
                  <a:lnTo>
                    <a:pt x="853725" y="5141"/>
                  </a:lnTo>
                  <a:lnTo>
                    <a:pt x="924157" y="2310"/>
                  </a:lnTo>
                  <a:lnTo>
                    <a:pt x="996080" y="584"/>
                  </a:lnTo>
                  <a:lnTo>
                    <a:pt x="1069333" y="0"/>
                  </a:lnTo>
                  <a:lnTo>
                    <a:pt x="1142590" y="583"/>
                  </a:lnTo>
                  <a:lnTo>
                    <a:pt x="1214524" y="2310"/>
                  </a:lnTo>
                  <a:lnTo>
                    <a:pt x="1284975" y="5141"/>
                  </a:lnTo>
                  <a:lnTo>
                    <a:pt x="1353783" y="9038"/>
                  </a:lnTo>
                  <a:lnTo>
                    <a:pt x="1420788" y="13965"/>
                  </a:lnTo>
                  <a:lnTo>
                    <a:pt x="1485830" y="19881"/>
                  </a:lnTo>
                  <a:lnTo>
                    <a:pt x="1548750" y="26751"/>
                  </a:lnTo>
                  <a:lnTo>
                    <a:pt x="1609386" y="34535"/>
                  </a:lnTo>
                  <a:lnTo>
                    <a:pt x="1667581" y="43196"/>
                  </a:lnTo>
                  <a:lnTo>
                    <a:pt x="1723172" y="52695"/>
                  </a:lnTo>
                  <a:lnTo>
                    <a:pt x="1776002" y="62995"/>
                  </a:lnTo>
                  <a:lnTo>
                    <a:pt x="1825909" y="74058"/>
                  </a:lnTo>
                  <a:lnTo>
                    <a:pt x="1872735" y="85846"/>
                  </a:lnTo>
                  <a:lnTo>
                    <a:pt x="1916318" y="98321"/>
                  </a:lnTo>
                  <a:lnTo>
                    <a:pt x="1956499" y="111444"/>
                  </a:lnTo>
                  <a:lnTo>
                    <a:pt x="1993119" y="125179"/>
                  </a:lnTo>
                  <a:lnTo>
                    <a:pt x="2055034" y="154328"/>
                  </a:lnTo>
                  <a:lnTo>
                    <a:pt x="2100782" y="185465"/>
                  </a:lnTo>
                  <a:lnTo>
                    <a:pt x="2129086" y="218286"/>
                  </a:lnTo>
                  <a:lnTo>
                    <a:pt x="2138666" y="252487"/>
                  </a:lnTo>
                  <a:lnTo>
                    <a:pt x="2138666" y="3861478"/>
                  </a:lnTo>
                  <a:lnTo>
                    <a:pt x="2116956" y="3912281"/>
                  </a:lnTo>
                  <a:lnTo>
                    <a:pt x="2079682" y="3944298"/>
                  </a:lnTo>
                  <a:lnTo>
                    <a:pt x="2025651" y="3974480"/>
                  </a:lnTo>
                  <a:lnTo>
                    <a:pt x="1956133" y="4002521"/>
                  </a:lnTo>
                  <a:lnTo>
                    <a:pt x="1915963" y="4015645"/>
                  </a:lnTo>
                  <a:lnTo>
                    <a:pt x="1872398" y="4028119"/>
                  </a:lnTo>
                  <a:lnTo>
                    <a:pt x="1825597" y="4039907"/>
                  </a:lnTo>
                  <a:lnTo>
                    <a:pt x="1775717" y="4050970"/>
                  </a:lnTo>
                  <a:lnTo>
                    <a:pt x="1722919" y="4061270"/>
                  </a:lnTo>
                  <a:lnTo>
                    <a:pt x="1667361" y="4070770"/>
                  </a:lnTo>
                  <a:lnTo>
                    <a:pt x="1609201" y="4079430"/>
                  </a:lnTo>
                  <a:lnTo>
                    <a:pt x="1548599" y="4087215"/>
                  </a:lnTo>
                  <a:lnTo>
                    <a:pt x="1485713" y="4094084"/>
                  </a:lnTo>
                  <a:lnTo>
                    <a:pt x="1420702" y="4100001"/>
                  </a:lnTo>
                  <a:lnTo>
                    <a:pt x="1353725" y="4104927"/>
                  </a:lnTo>
                  <a:lnTo>
                    <a:pt x="1284941" y="4108824"/>
                  </a:lnTo>
                  <a:lnTo>
                    <a:pt x="1214508" y="4111655"/>
                  </a:lnTo>
                  <a:lnTo>
                    <a:pt x="1142586" y="4113382"/>
                  </a:lnTo>
                  <a:lnTo>
                    <a:pt x="1069333" y="4113966"/>
                  </a:lnTo>
                  <a:close/>
                </a:path>
              </a:pathLst>
            </a:custGeom>
            <a:solidFill>
              <a:srgbClr val="ECE4D5"/>
            </a:solidFill>
          </p:spPr>
          <p:txBody>
            <a:bodyPr wrap="square" lIns="0" tIns="0" rIns="0" bIns="0" rtlCol="0"/>
            <a:lstStyle/>
            <a:p>
              <a:endParaRPr/>
            </a:p>
          </p:txBody>
        </p:sp>
        <p:sp>
          <p:nvSpPr>
            <p:cNvPr id="25" name="object 25"/>
            <p:cNvSpPr/>
            <p:nvPr/>
          </p:nvSpPr>
          <p:spPr>
            <a:xfrm>
              <a:off x="2169628" y="5409776"/>
              <a:ext cx="2138680" cy="505459"/>
            </a:xfrm>
            <a:custGeom>
              <a:avLst/>
              <a:gdLst/>
              <a:ahLst/>
              <a:cxnLst/>
              <a:rect l="l" t="t" r="r" b="b"/>
              <a:pathLst>
                <a:path w="2138679" h="505460">
                  <a:moveTo>
                    <a:pt x="1069333" y="504975"/>
                  </a:moveTo>
                  <a:lnTo>
                    <a:pt x="1016863" y="504671"/>
                  </a:lnTo>
                  <a:lnTo>
                    <a:pt x="964520" y="503759"/>
                  </a:lnTo>
                  <a:lnTo>
                    <a:pt x="912429" y="502242"/>
                  </a:lnTo>
                  <a:lnTo>
                    <a:pt x="860716" y="500123"/>
                  </a:lnTo>
                  <a:lnTo>
                    <a:pt x="809506" y="497408"/>
                  </a:lnTo>
                  <a:lnTo>
                    <a:pt x="758922" y="494103"/>
                  </a:lnTo>
                  <a:lnTo>
                    <a:pt x="709085" y="490216"/>
                  </a:lnTo>
                  <a:lnTo>
                    <a:pt x="660117" y="485755"/>
                  </a:lnTo>
                  <a:lnTo>
                    <a:pt x="612134" y="480734"/>
                  </a:lnTo>
                  <a:lnTo>
                    <a:pt x="565253" y="475161"/>
                  </a:lnTo>
                  <a:lnTo>
                    <a:pt x="519585" y="469053"/>
                  </a:lnTo>
                  <a:lnTo>
                    <a:pt x="475243" y="462423"/>
                  </a:lnTo>
                  <a:lnTo>
                    <a:pt x="432331" y="455287"/>
                  </a:lnTo>
                  <a:lnTo>
                    <a:pt x="390955" y="447663"/>
                  </a:lnTo>
                  <a:lnTo>
                    <a:pt x="351212" y="439568"/>
                  </a:lnTo>
                  <a:lnTo>
                    <a:pt x="313200" y="431023"/>
                  </a:lnTo>
                  <a:lnTo>
                    <a:pt x="259629" y="417407"/>
                  </a:lnTo>
                  <a:lnTo>
                    <a:pt x="210436" y="402894"/>
                  </a:lnTo>
                  <a:lnTo>
                    <a:pt x="165898" y="387566"/>
                  </a:lnTo>
                  <a:lnTo>
                    <a:pt x="126265" y="371509"/>
                  </a:lnTo>
                  <a:lnTo>
                    <a:pt x="91741" y="354807"/>
                  </a:lnTo>
                  <a:lnTo>
                    <a:pt x="53973" y="331690"/>
                  </a:lnTo>
                  <a:lnTo>
                    <a:pt x="20546" y="301745"/>
                  </a:lnTo>
                  <a:lnTo>
                    <a:pt x="0" y="260757"/>
                  </a:lnTo>
                  <a:lnTo>
                    <a:pt x="0" y="244218"/>
                  </a:lnTo>
                  <a:lnTo>
                    <a:pt x="15741" y="209323"/>
                  </a:lnTo>
                  <a:lnTo>
                    <a:pt x="46045" y="179194"/>
                  </a:lnTo>
                  <a:lnTo>
                    <a:pt x="81398" y="155864"/>
                  </a:lnTo>
                  <a:lnTo>
                    <a:pt x="126265" y="133465"/>
                  </a:lnTo>
                  <a:lnTo>
                    <a:pt x="165898" y="117408"/>
                  </a:lnTo>
                  <a:lnTo>
                    <a:pt x="210436" y="102080"/>
                  </a:lnTo>
                  <a:lnTo>
                    <a:pt x="259629" y="87568"/>
                  </a:lnTo>
                  <a:lnTo>
                    <a:pt x="313200" y="73951"/>
                  </a:lnTo>
                  <a:lnTo>
                    <a:pt x="351212" y="65406"/>
                  </a:lnTo>
                  <a:lnTo>
                    <a:pt x="390955" y="57312"/>
                  </a:lnTo>
                  <a:lnTo>
                    <a:pt x="432331" y="49687"/>
                  </a:lnTo>
                  <a:lnTo>
                    <a:pt x="475243" y="42551"/>
                  </a:lnTo>
                  <a:lnTo>
                    <a:pt x="519585" y="35921"/>
                  </a:lnTo>
                  <a:lnTo>
                    <a:pt x="565253" y="29813"/>
                  </a:lnTo>
                  <a:lnTo>
                    <a:pt x="612134" y="24241"/>
                  </a:lnTo>
                  <a:lnTo>
                    <a:pt x="660117" y="19219"/>
                  </a:lnTo>
                  <a:lnTo>
                    <a:pt x="709085" y="14759"/>
                  </a:lnTo>
                  <a:lnTo>
                    <a:pt x="758922" y="10872"/>
                  </a:lnTo>
                  <a:lnTo>
                    <a:pt x="809506" y="7566"/>
                  </a:lnTo>
                  <a:lnTo>
                    <a:pt x="860716" y="4851"/>
                  </a:lnTo>
                  <a:lnTo>
                    <a:pt x="912429" y="2732"/>
                  </a:lnTo>
                  <a:lnTo>
                    <a:pt x="964520" y="1215"/>
                  </a:lnTo>
                  <a:lnTo>
                    <a:pt x="1016863" y="303"/>
                  </a:lnTo>
                  <a:lnTo>
                    <a:pt x="1069333" y="0"/>
                  </a:lnTo>
                  <a:lnTo>
                    <a:pt x="1121803" y="303"/>
                  </a:lnTo>
                  <a:lnTo>
                    <a:pt x="1174146" y="1215"/>
                  </a:lnTo>
                  <a:lnTo>
                    <a:pt x="1226237" y="2732"/>
                  </a:lnTo>
                  <a:lnTo>
                    <a:pt x="1277949" y="4851"/>
                  </a:lnTo>
                  <a:lnTo>
                    <a:pt x="1329160" y="7566"/>
                  </a:lnTo>
                  <a:lnTo>
                    <a:pt x="1379744" y="10872"/>
                  </a:lnTo>
                  <a:lnTo>
                    <a:pt x="1429581" y="14759"/>
                  </a:lnTo>
                  <a:lnTo>
                    <a:pt x="1478549" y="19219"/>
                  </a:lnTo>
                  <a:lnTo>
                    <a:pt x="1526532" y="24241"/>
                  </a:lnTo>
                  <a:lnTo>
                    <a:pt x="1573413" y="29813"/>
                  </a:lnTo>
                  <a:lnTo>
                    <a:pt x="1619080" y="35921"/>
                  </a:lnTo>
                  <a:lnTo>
                    <a:pt x="1663423" y="42551"/>
                  </a:lnTo>
                  <a:lnTo>
                    <a:pt x="1706334" y="49687"/>
                  </a:lnTo>
                  <a:lnTo>
                    <a:pt x="1747711" y="57312"/>
                  </a:lnTo>
                  <a:lnTo>
                    <a:pt x="1787454" y="65406"/>
                  </a:lnTo>
                  <a:lnTo>
                    <a:pt x="1825466" y="73951"/>
                  </a:lnTo>
                  <a:lnTo>
                    <a:pt x="1879037" y="87568"/>
                  </a:lnTo>
                  <a:lnTo>
                    <a:pt x="1928230" y="102080"/>
                  </a:lnTo>
                  <a:lnTo>
                    <a:pt x="1972768" y="117408"/>
                  </a:lnTo>
                  <a:lnTo>
                    <a:pt x="2012401" y="133465"/>
                  </a:lnTo>
                  <a:lnTo>
                    <a:pt x="2046925" y="150167"/>
                  </a:lnTo>
                  <a:lnTo>
                    <a:pt x="2084693" y="173285"/>
                  </a:lnTo>
                  <a:lnTo>
                    <a:pt x="2118119" y="203229"/>
                  </a:lnTo>
                  <a:lnTo>
                    <a:pt x="2138666" y="244218"/>
                  </a:lnTo>
                  <a:lnTo>
                    <a:pt x="2138666" y="252487"/>
                  </a:lnTo>
                  <a:lnTo>
                    <a:pt x="2138666" y="260757"/>
                  </a:lnTo>
                  <a:lnTo>
                    <a:pt x="2122925" y="295651"/>
                  </a:lnTo>
                  <a:lnTo>
                    <a:pt x="2092621" y="325780"/>
                  </a:lnTo>
                  <a:lnTo>
                    <a:pt x="2057268" y="349110"/>
                  </a:lnTo>
                  <a:lnTo>
                    <a:pt x="2012401" y="371509"/>
                  </a:lnTo>
                  <a:lnTo>
                    <a:pt x="1972767" y="387566"/>
                  </a:lnTo>
                  <a:lnTo>
                    <a:pt x="1928230" y="402894"/>
                  </a:lnTo>
                  <a:lnTo>
                    <a:pt x="1879037" y="417407"/>
                  </a:lnTo>
                  <a:lnTo>
                    <a:pt x="1825466" y="431023"/>
                  </a:lnTo>
                  <a:lnTo>
                    <a:pt x="1787454" y="439568"/>
                  </a:lnTo>
                  <a:lnTo>
                    <a:pt x="1747711" y="447663"/>
                  </a:lnTo>
                  <a:lnTo>
                    <a:pt x="1706334" y="455287"/>
                  </a:lnTo>
                  <a:lnTo>
                    <a:pt x="1663423" y="462423"/>
                  </a:lnTo>
                  <a:lnTo>
                    <a:pt x="1619080" y="469053"/>
                  </a:lnTo>
                  <a:lnTo>
                    <a:pt x="1573413" y="475161"/>
                  </a:lnTo>
                  <a:lnTo>
                    <a:pt x="1526532" y="480734"/>
                  </a:lnTo>
                  <a:lnTo>
                    <a:pt x="1478549" y="485755"/>
                  </a:lnTo>
                  <a:lnTo>
                    <a:pt x="1429581" y="490216"/>
                  </a:lnTo>
                  <a:lnTo>
                    <a:pt x="1379744" y="494103"/>
                  </a:lnTo>
                  <a:lnTo>
                    <a:pt x="1329160" y="497408"/>
                  </a:lnTo>
                  <a:lnTo>
                    <a:pt x="1277949" y="500123"/>
                  </a:lnTo>
                  <a:lnTo>
                    <a:pt x="1226237" y="502242"/>
                  </a:lnTo>
                  <a:lnTo>
                    <a:pt x="1174146" y="503759"/>
                  </a:lnTo>
                  <a:lnTo>
                    <a:pt x="1121803" y="504671"/>
                  </a:lnTo>
                  <a:lnTo>
                    <a:pt x="1069333" y="504975"/>
                  </a:lnTo>
                  <a:close/>
                </a:path>
              </a:pathLst>
            </a:custGeom>
            <a:solidFill>
              <a:srgbClr val="0090AE">
                <a:alpha val="49798"/>
              </a:srgbClr>
            </a:solidFill>
          </p:spPr>
          <p:txBody>
            <a:bodyPr wrap="square" lIns="0" tIns="0" rIns="0" bIns="0" rtlCol="0"/>
            <a:lstStyle/>
            <a:p>
              <a:endParaRPr/>
            </a:p>
          </p:txBody>
        </p:sp>
        <p:sp>
          <p:nvSpPr>
            <p:cNvPr id="26" name="object 26"/>
            <p:cNvSpPr/>
            <p:nvPr/>
          </p:nvSpPr>
          <p:spPr>
            <a:xfrm>
              <a:off x="5197274" y="5409776"/>
              <a:ext cx="2138680" cy="4114165"/>
            </a:xfrm>
            <a:custGeom>
              <a:avLst/>
              <a:gdLst/>
              <a:ahLst/>
              <a:cxnLst/>
              <a:rect l="l" t="t" r="r" b="b"/>
              <a:pathLst>
                <a:path w="2138679" h="4114165">
                  <a:moveTo>
                    <a:pt x="1069333" y="4113966"/>
                  </a:moveTo>
                  <a:lnTo>
                    <a:pt x="996175" y="4113386"/>
                  </a:lnTo>
                  <a:lnTo>
                    <a:pt x="924333" y="4111671"/>
                  </a:lnTo>
                  <a:lnTo>
                    <a:pt x="853964" y="4108859"/>
                  </a:lnTo>
                  <a:lnTo>
                    <a:pt x="785230" y="4104985"/>
                  </a:lnTo>
                  <a:lnTo>
                    <a:pt x="718290" y="4100087"/>
                  </a:lnTo>
                  <a:lnTo>
                    <a:pt x="653305" y="4094201"/>
                  </a:lnTo>
                  <a:lnTo>
                    <a:pt x="590433" y="4087365"/>
                  </a:lnTo>
                  <a:lnTo>
                    <a:pt x="529835" y="4079616"/>
                  </a:lnTo>
                  <a:lnTo>
                    <a:pt x="471671" y="4070989"/>
                  </a:lnTo>
                  <a:lnTo>
                    <a:pt x="416101" y="4061523"/>
                  </a:lnTo>
                  <a:lnTo>
                    <a:pt x="363285" y="4051254"/>
                  </a:lnTo>
                  <a:lnTo>
                    <a:pt x="313382" y="4040219"/>
                  </a:lnTo>
                  <a:lnTo>
                    <a:pt x="266552" y="4028455"/>
                  </a:lnTo>
                  <a:lnTo>
                    <a:pt x="222956" y="4015999"/>
                  </a:lnTo>
                  <a:lnTo>
                    <a:pt x="182753" y="4002887"/>
                  </a:lnTo>
                  <a:lnTo>
                    <a:pt x="146103" y="3989157"/>
                  </a:lnTo>
                  <a:lnTo>
                    <a:pt x="84101" y="3959989"/>
                  </a:lnTo>
                  <a:lnTo>
                    <a:pt x="38231" y="3928790"/>
                  </a:lnTo>
                  <a:lnTo>
                    <a:pt x="9771" y="3895854"/>
                  </a:lnTo>
                  <a:lnTo>
                    <a:pt x="0" y="3861478"/>
                  </a:lnTo>
                  <a:lnTo>
                    <a:pt x="0" y="252487"/>
                  </a:lnTo>
                  <a:lnTo>
                    <a:pt x="21710" y="201684"/>
                  </a:lnTo>
                  <a:lnTo>
                    <a:pt x="58984" y="169667"/>
                  </a:lnTo>
                  <a:lnTo>
                    <a:pt x="113015" y="139486"/>
                  </a:lnTo>
                  <a:lnTo>
                    <a:pt x="182533" y="111444"/>
                  </a:lnTo>
                  <a:lnTo>
                    <a:pt x="222703" y="98321"/>
                  </a:lnTo>
                  <a:lnTo>
                    <a:pt x="266268" y="85846"/>
                  </a:lnTo>
                  <a:lnTo>
                    <a:pt x="313069" y="74058"/>
                  </a:lnTo>
                  <a:lnTo>
                    <a:pt x="362948" y="62995"/>
                  </a:lnTo>
                  <a:lnTo>
                    <a:pt x="415747" y="52695"/>
                  </a:lnTo>
                  <a:lnTo>
                    <a:pt x="471305" y="43196"/>
                  </a:lnTo>
                  <a:lnTo>
                    <a:pt x="529465" y="34535"/>
                  </a:lnTo>
                  <a:lnTo>
                    <a:pt x="590067" y="26751"/>
                  </a:lnTo>
                  <a:lnTo>
                    <a:pt x="652953" y="19881"/>
                  </a:lnTo>
                  <a:lnTo>
                    <a:pt x="717964" y="13965"/>
                  </a:lnTo>
                  <a:lnTo>
                    <a:pt x="784941" y="9039"/>
                  </a:lnTo>
                  <a:lnTo>
                    <a:pt x="853725" y="5141"/>
                  </a:lnTo>
                  <a:lnTo>
                    <a:pt x="924157" y="2310"/>
                  </a:lnTo>
                  <a:lnTo>
                    <a:pt x="996080" y="584"/>
                  </a:lnTo>
                  <a:lnTo>
                    <a:pt x="1069333" y="0"/>
                  </a:lnTo>
                  <a:lnTo>
                    <a:pt x="1142590" y="583"/>
                  </a:lnTo>
                  <a:lnTo>
                    <a:pt x="1214524" y="2310"/>
                  </a:lnTo>
                  <a:lnTo>
                    <a:pt x="1284975" y="5141"/>
                  </a:lnTo>
                  <a:lnTo>
                    <a:pt x="1353783" y="9038"/>
                  </a:lnTo>
                  <a:lnTo>
                    <a:pt x="1420788" y="13965"/>
                  </a:lnTo>
                  <a:lnTo>
                    <a:pt x="1485830" y="19881"/>
                  </a:lnTo>
                  <a:lnTo>
                    <a:pt x="1548750" y="26751"/>
                  </a:lnTo>
                  <a:lnTo>
                    <a:pt x="1609386" y="34535"/>
                  </a:lnTo>
                  <a:lnTo>
                    <a:pt x="1667581" y="43196"/>
                  </a:lnTo>
                  <a:lnTo>
                    <a:pt x="1723172" y="52695"/>
                  </a:lnTo>
                  <a:lnTo>
                    <a:pt x="1776002" y="62995"/>
                  </a:lnTo>
                  <a:lnTo>
                    <a:pt x="1825909" y="74058"/>
                  </a:lnTo>
                  <a:lnTo>
                    <a:pt x="1872735" y="85846"/>
                  </a:lnTo>
                  <a:lnTo>
                    <a:pt x="1916318" y="98321"/>
                  </a:lnTo>
                  <a:lnTo>
                    <a:pt x="1956499" y="111444"/>
                  </a:lnTo>
                  <a:lnTo>
                    <a:pt x="1993119" y="125179"/>
                  </a:lnTo>
                  <a:lnTo>
                    <a:pt x="2055034" y="154328"/>
                  </a:lnTo>
                  <a:lnTo>
                    <a:pt x="2100782" y="185465"/>
                  </a:lnTo>
                  <a:lnTo>
                    <a:pt x="2129086" y="218286"/>
                  </a:lnTo>
                  <a:lnTo>
                    <a:pt x="2138666" y="252487"/>
                  </a:lnTo>
                  <a:lnTo>
                    <a:pt x="2138666" y="3861478"/>
                  </a:lnTo>
                  <a:lnTo>
                    <a:pt x="2116956" y="3912281"/>
                  </a:lnTo>
                  <a:lnTo>
                    <a:pt x="2079682" y="3944298"/>
                  </a:lnTo>
                  <a:lnTo>
                    <a:pt x="2025651" y="3974480"/>
                  </a:lnTo>
                  <a:lnTo>
                    <a:pt x="1956133" y="4002521"/>
                  </a:lnTo>
                  <a:lnTo>
                    <a:pt x="1915963" y="4015645"/>
                  </a:lnTo>
                  <a:lnTo>
                    <a:pt x="1872398" y="4028119"/>
                  </a:lnTo>
                  <a:lnTo>
                    <a:pt x="1825597" y="4039907"/>
                  </a:lnTo>
                  <a:lnTo>
                    <a:pt x="1775717" y="4050970"/>
                  </a:lnTo>
                  <a:lnTo>
                    <a:pt x="1722919" y="4061270"/>
                  </a:lnTo>
                  <a:lnTo>
                    <a:pt x="1667361" y="4070770"/>
                  </a:lnTo>
                  <a:lnTo>
                    <a:pt x="1609201" y="4079430"/>
                  </a:lnTo>
                  <a:lnTo>
                    <a:pt x="1548599" y="4087215"/>
                  </a:lnTo>
                  <a:lnTo>
                    <a:pt x="1485713" y="4094084"/>
                  </a:lnTo>
                  <a:lnTo>
                    <a:pt x="1420702" y="4100001"/>
                  </a:lnTo>
                  <a:lnTo>
                    <a:pt x="1353725" y="4104927"/>
                  </a:lnTo>
                  <a:lnTo>
                    <a:pt x="1284941" y="4108824"/>
                  </a:lnTo>
                  <a:lnTo>
                    <a:pt x="1214508" y="4111655"/>
                  </a:lnTo>
                  <a:lnTo>
                    <a:pt x="1142586" y="4113382"/>
                  </a:lnTo>
                  <a:lnTo>
                    <a:pt x="1069333" y="4113966"/>
                  </a:lnTo>
                  <a:close/>
                </a:path>
              </a:pathLst>
            </a:custGeom>
            <a:solidFill>
              <a:srgbClr val="ECE4D5"/>
            </a:solidFill>
          </p:spPr>
          <p:txBody>
            <a:bodyPr wrap="square" lIns="0" tIns="0" rIns="0" bIns="0" rtlCol="0"/>
            <a:lstStyle/>
            <a:p>
              <a:endParaRPr/>
            </a:p>
          </p:txBody>
        </p:sp>
        <p:sp>
          <p:nvSpPr>
            <p:cNvPr id="27" name="object 27"/>
            <p:cNvSpPr/>
            <p:nvPr/>
          </p:nvSpPr>
          <p:spPr>
            <a:xfrm>
              <a:off x="5197274" y="5409776"/>
              <a:ext cx="2138680" cy="505459"/>
            </a:xfrm>
            <a:custGeom>
              <a:avLst/>
              <a:gdLst/>
              <a:ahLst/>
              <a:cxnLst/>
              <a:rect l="l" t="t" r="r" b="b"/>
              <a:pathLst>
                <a:path w="2138679" h="505460">
                  <a:moveTo>
                    <a:pt x="1069333" y="504975"/>
                  </a:moveTo>
                  <a:lnTo>
                    <a:pt x="1016863" y="504671"/>
                  </a:lnTo>
                  <a:lnTo>
                    <a:pt x="964520" y="503759"/>
                  </a:lnTo>
                  <a:lnTo>
                    <a:pt x="912429" y="502242"/>
                  </a:lnTo>
                  <a:lnTo>
                    <a:pt x="860716" y="500123"/>
                  </a:lnTo>
                  <a:lnTo>
                    <a:pt x="809506" y="497408"/>
                  </a:lnTo>
                  <a:lnTo>
                    <a:pt x="758922" y="494103"/>
                  </a:lnTo>
                  <a:lnTo>
                    <a:pt x="709085" y="490216"/>
                  </a:lnTo>
                  <a:lnTo>
                    <a:pt x="660117" y="485755"/>
                  </a:lnTo>
                  <a:lnTo>
                    <a:pt x="612134" y="480734"/>
                  </a:lnTo>
                  <a:lnTo>
                    <a:pt x="565253" y="475161"/>
                  </a:lnTo>
                  <a:lnTo>
                    <a:pt x="519585" y="469053"/>
                  </a:lnTo>
                  <a:lnTo>
                    <a:pt x="475243" y="462423"/>
                  </a:lnTo>
                  <a:lnTo>
                    <a:pt x="432331" y="455287"/>
                  </a:lnTo>
                  <a:lnTo>
                    <a:pt x="390955" y="447663"/>
                  </a:lnTo>
                  <a:lnTo>
                    <a:pt x="351212" y="439568"/>
                  </a:lnTo>
                  <a:lnTo>
                    <a:pt x="313200" y="431023"/>
                  </a:lnTo>
                  <a:lnTo>
                    <a:pt x="259629" y="417407"/>
                  </a:lnTo>
                  <a:lnTo>
                    <a:pt x="210436" y="402894"/>
                  </a:lnTo>
                  <a:lnTo>
                    <a:pt x="165898" y="387566"/>
                  </a:lnTo>
                  <a:lnTo>
                    <a:pt x="126265" y="371509"/>
                  </a:lnTo>
                  <a:lnTo>
                    <a:pt x="91741" y="354807"/>
                  </a:lnTo>
                  <a:lnTo>
                    <a:pt x="53973" y="331690"/>
                  </a:lnTo>
                  <a:lnTo>
                    <a:pt x="20546" y="301745"/>
                  </a:lnTo>
                  <a:lnTo>
                    <a:pt x="0" y="260757"/>
                  </a:lnTo>
                  <a:lnTo>
                    <a:pt x="0" y="244218"/>
                  </a:lnTo>
                  <a:lnTo>
                    <a:pt x="15741" y="209323"/>
                  </a:lnTo>
                  <a:lnTo>
                    <a:pt x="46045" y="179194"/>
                  </a:lnTo>
                  <a:lnTo>
                    <a:pt x="81398" y="155864"/>
                  </a:lnTo>
                  <a:lnTo>
                    <a:pt x="126265" y="133465"/>
                  </a:lnTo>
                  <a:lnTo>
                    <a:pt x="165898" y="117408"/>
                  </a:lnTo>
                  <a:lnTo>
                    <a:pt x="210436" y="102080"/>
                  </a:lnTo>
                  <a:lnTo>
                    <a:pt x="259629" y="87568"/>
                  </a:lnTo>
                  <a:lnTo>
                    <a:pt x="313200" y="73951"/>
                  </a:lnTo>
                  <a:lnTo>
                    <a:pt x="351212" y="65406"/>
                  </a:lnTo>
                  <a:lnTo>
                    <a:pt x="390955" y="57312"/>
                  </a:lnTo>
                  <a:lnTo>
                    <a:pt x="432331" y="49687"/>
                  </a:lnTo>
                  <a:lnTo>
                    <a:pt x="475243" y="42551"/>
                  </a:lnTo>
                  <a:lnTo>
                    <a:pt x="519585" y="35921"/>
                  </a:lnTo>
                  <a:lnTo>
                    <a:pt x="565253" y="29813"/>
                  </a:lnTo>
                  <a:lnTo>
                    <a:pt x="612134" y="24241"/>
                  </a:lnTo>
                  <a:lnTo>
                    <a:pt x="660117" y="19219"/>
                  </a:lnTo>
                  <a:lnTo>
                    <a:pt x="709085" y="14759"/>
                  </a:lnTo>
                  <a:lnTo>
                    <a:pt x="758922" y="10872"/>
                  </a:lnTo>
                  <a:lnTo>
                    <a:pt x="809506" y="7566"/>
                  </a:lnTo>
                  <a:lnTo>
                    <a:pt x="860716" y="4851"/>
                  </a:lnTo>
                  <a:lnTo>
                    <a:pt x="912429" y="2732"/>
                  </a:lnTo>
                  <a:lnTo>
                    <a:pt x="964520" y="1215"/>
                  </a:lnTo>
                  <a:lnTo>
                    <a:pt x="1016863" y="303"/>
                  </a:lnTo>
                  <a:lnTo>
                    <a:pt x="1069333" y="0"/>
                  </a:lnTo>
                  <a:lnTo>
                    <a:pt x="1121803" y="303"/>
                  </a:lnTo>
                  <a:lnTo>
                    <a:pt x="1174146" y="1215"/>
                  </a:lnTo>
                  <a:lnTo>
                    <a:pt x="1226237" y="2732"/>
                  </a:lnTo>
                  <a:lnTo>
                    <a:pt x="1277949" y="4851"/>
                  </a:lnTo>
                  <a:lnTo>
                    <a:pt x="1329160" y="7566"/>
                  </a:lnTo>
                  <a:lnTo>
                    <a:pt x="1379744" y="10872"/>
                  </a:lnTo>
                  <a:lnTo>
                    <a:pt x="1429581" y="14759"/>
                  </a:lnTo>
                  <a:lnTo>
                    <a:pt x="1478549" y="19219"/>
                  </a:lnTo>
                  <a:lnTo>
                    <a:pt x="1526532" y="24241"/>
                  </a:lnTo>
                  <a:lnTo>
                    <a:pt x="1573413" y="29813"/>
                  </a:lnTo>
                  <a:lnTo>
                    <a:pt x="1619080" y="35921"/>
                  </a:lnTo>
                  <a:lnTo>
                    <a:pt x="1663423" y="42551"/>
                  </a:lnTo>
                  <a:lnTo>
                    <a:pt x="1706334" y="49687"/>
                  </a:lnTo>
                  <a:lnTo>
                    <a:pt x="1747711" y="57312"/>
                  </a:lnTo>
                  <a:lnTo>
                    <a:pt x="1787454" y="65406"/>
                  </a:lnTo>
                  <a:lnTo>
                    <a:pt x="1825466" y="73951"/>
                  </a:lnTo>
                  <a:lnTo>
                    <a:pt x="1879037" y="87568"/>
                  </a:lnTo>
                  <a:lnTo>
                    <a:pt x="1928230" y="102080"/>
                  </a:lnTo>
                  <a:lnTo>
                    <a:pt x="1972768" y="117408"/>
                  </a:lnTo>
                  <a:lnTo>
                    <a:pt x="2012401" y="133465"/>
                  </a:lnTo>
                  <a:lnTo>
                    <a:pt x="2046925" y="150167"/>
                  </a:lnTo>
                  <a:lnTo>
                    <a:pt x="2084693" y="173285"/>
                  </a:lnTo>
                  <a:lnTo>
                    <a:pt x="2118119" y="203229"/>
                  </a:lnTo>
                  <a:lnTo>
                    <a:pt x="2138666" y="244218"/>
                  </a:lnTo>
                  <a:lnTo>
                    <a:pt x="2138666" y="252487"/>
                  </a:lnTo>
                  <a:lnTo>
                    <a:pt x="2138666" y="260757"/>
                  </a:lnTo>
                  <a:lnTo>
                    <a:pt x="2122925" y="295651"/>
                  </a:lnTo>
                  <a:lnTo>
                    <a:pt x="2092621" y="325780"/>
                  </a:lnTo>
                  <a:lnTo>
                    <a:pt x="2057268" y="349110"/>
                  </a:lnTo>
                  <a:lnTo>
                    <a:pt x="2012401" y="371509"/>
                  </a:lnTo>
                  <a:lnTo>
                    <a:pt x="1972767" y="387566"/>
                  </a:lnTo>
                  <a:lnTo>
                    <a:pt x="1928230" y="402894"/>
                  </a:lnTo>
                  <a:lnTo>
                    <a:pt x="1879037" y="417407"/>
                  </a:lnTo>
                  <a:lnTo>
                    <a:pt x="1825466" y="431023"/>
                  </a:lnTo>
                  <a:lnTo>
                    <a:pt x="1787454" y="439568"/>
                  </a:lnTo>
                  <a:lnTo>
                    <a:pt x="1747711" y="447663"/>
                  </a:lnTo>
                  <a:lnTo>
                    <a:pt x="1706334" y="455287"/>
                  </a:lnTo>
                  <a:lnTo>
                    <a:pt x="1663423" y="462423"/>
                  </a:lnTo>
                  <a:lnTo>
                    <a:pt x="1619080" y="469053"/>
                  </a:lnTo>
                  <a:lnTo>
                    <a:pt x="1573413" y="475161"/>
                  </a:lnTo>
                  <a:lnTo>
                    <a:pt x="1526532" y="480734"/>
                  </a:lnTo>
                  <a:lnTo>
                    <a:pt x="1478549" y="485755"/>
                  </a:lnTo>
                  <a:lnTo>
                    <a:pt x="1429581" y="490216"/>
                  </a:lnTo>
                  <a:lnTo>
                    <a:pt x="1379744" y="494103"/>
                  </a:lnTo>
                  <a:lnTo>
                    <a:pt x="1329160" y="497408"/>
                  </a:lnTo>
                  <a:lnTo>
                    <a:pt x="1277949" y="500123"/>
                  </a:lnTo>
                  <a:lnTo>
                    <a:pt x="1226237" y="502242"/>
                  </a:lnTo>
                  <a:lnTo>
                    <a:pt x="1174146" y="503759"/>
                  </a:lnTo>
                  <a:lnTo>
                    <a:pt x="1121803" y="504671"/>
                  </a:lnTo>
                  <a:lnTo>
                    <a:pt x="1069333" y="504975"/>
                  </a:lnTo>
                  <a:close/>
                </a:path>
              </a:pathLst>
            </a:custGeom>
            <a:solidFill>
              <a:srgbClr val="0090AE">
                <a:alpha val="49798"/>
              </a:srgbClr>
            </a:solidFill>
          </p:spPr>
          <p:txBody>
            <a:bodyPr wrap="square" lIns="0" tIns="0" rIns="0" bIns="0" rtlCol="0"/>
            <a:lstStyle/>
            <a:p>
              <a:endParaRPr/>
            </a:p>
          </p:txBody>
        </p:sp>
        <p:sp>
          <p:nvSpPr>
            <p:cNvPr id="28" name="object 28"/>
            <p:cNvSpPr/>
            <p:nvPr/>
          </p:nvSpPr>
          <p:spPr>
            <a:xfrm>
              <a:off x="8387767" y="5409776"/>
              <a:ext cx="2138680" cy="4114165"/>
            </a:xfrm>
            <a:custGeom>
              <a:avLst/>
              <a:gdLst/>
              <a:ahLst/>
              <a:cxnLst/>
              <a:rect l="l" t="t" r="r" b="b"/>
              <a:pathLst>
                <a:path w="2138679" h="4114165">
                  <a:moveTo>
                    <a:pt x="1069333" y="4113966"/>
                  </a:moveTo>
                  <a:lnTo>
                    <a:pt x="996175" y="4113386"/>
                  </a:lnTo>
                  <a:lnTo>
                    <a:pt x="924333" y="4111671"/>
                  </a:lnTo>
                  <a:lnTo>
                    <a:pt x="853964" y="4108859"/>
                  </a:lnTo>
                  <a:lnTo>
                    <a:pt x="785230" y="4104985"/>
                  </a:lnTo>
                  <a:lnTo>
                    <a:pt x="718290" y="4100087"/>
                  </a:lnTo>
                  <a:lnTo>
                    <a:pt x="653305" y="4094201"/>
                  </a:lnTo>
                  <a:lnTo>
                    <a:pt x="590433" y="4087365"/>
                  </a:lnTo>
                  <a:lnTo>
                    <a:pt x="529835" y="4079616"/>
                  </a:lnTo>
                  <a:lnTo>
                    <a:pt x="471671" y="4070989"/>
                  </a:lnTo>
                  <a:lnTo>
                    <a:pt x="416101" y="4061523"/>
                  </a:lnTo>
                  <a:lnTo>
                    <a:pt x="363285" y="4051254"/>
                  </a:lnTo>
                  <a:lnTo>
                    <a:pt x="313382" y="4040219"/>
                  </a:lnTo>
                  <a:lnTo>
                    <a:pt x="266552" y="4028455"/>
                  </a:lnTo>
                  <a:lnTo>
                    <a:pt x="222956" y="4015999"/>
                  </a:lnTo>
                  <a:lnTo>
                    <a:pt x="182753" y="4002887"/>
                  </a:lnTo>
                  <a:lnTo>
                    <a:pt x="146103" y="3989157"/>
                  </a:lnTo>
                  <a:lnTo>
                    <a:pt x="84101" y="3959989"/>
                  </a:lnTo>
                  <a:lnTo>
                    <a:pt x="38231" y="3928790"/>
                  </a:lnTo>
                  <a:lnTo>
                    <a:pt x="9771" y="3895854"/>
                  </a:lnTo>
                  <a:lnTo>
                    <a:pt x="0" y="3861478"/>
                  </a:lnTo>
                  <a:lnTo>
                    <a:pt x="0" y="252487"/>
                  </a:lnTo>
                  <a:lnTo>
                    <a:pt x="21710" y="201684"/>
                  </a:lnTo>
                  <a:lnTo>
                    <a:pt x="58984" y="169667"/>
                  </a:lnTo>
                  <a:lnTo>
                    <a:pt x="113015" y="139486"/>
                  </a:lnTo>
                  <a:lnTo>
                    <a:pt x="182533" y="111444"/>
                  </a:lnTo>
                  <a:lnTo>
                    <a:pt x="222703" y="98321"/>
                  </a:lnTo>
                  <a:lnTo>
                    <a:pt x="266268" y="85846"/>
                  </a:lnTo>
                  <a:lnTo>
                    <a:pt x="313069" y="74058"/>
                  </a:lnTo>
                  <a:lnTo>
                    <a:pt x="362948" y="62995"/>
                  </a:lnTo>
                  <a:lnTo>
                    <a:pt x="415747" y="52695"/>
                  </a:lnTo>
                  <a:lnTo>
                    <a:pt x="471305" y="43196"/>
                  </a:lnTo>
                  <a:lnTo>
                    <a:pt x="529465" y="34535"/>
                  </a:lnTo>
                  <a:lnTo>
                    <a:pt x="590067" y="26751"/>
                  </a:lnTo>
                  <a:lnTo>
                    <a:pt x="652953" y="19881"/>
                  </a:lnTo>
                  <a:lnTo>
                    <a:pt x="717964" y="13965"/>
                  </a:lnTo>
                  <a:lnTo>
                    <a:pt x="784941" y="9039"/>
                  </a:lnTo>
                  <a:lnTo>
                    <a:pt x="853725" y="5141"/>
                  </a:lnTo>
                  <a:lnTo>
                    <a:pt x="924157" y="2310"/>
                  </a:lnTo>
                  <a:lnTo>
                    <a:pt x="996080" y="584"/>
                  </a:lnTo>
                  <a:lnTo>
                    <a:pt x="1069333" y="0"/>
                  </a:lnTo>
                  <a:lnTo>
                    <a:pt x="1142590" y="583"/>
                  </a:lnTo>
                  <a:lnTo>
                    <a:pt x="1214524" y="2310"/>
                  </a:lnTo>
                  <a:lnTo>
                    <a:pt x="1284975" y="5141"/>
                  </a:lnTo>
                  <a:lnTo>
                    <a:pt x="1353783" y="9038"/>
                  </a:lnTo>
                  <a:lnTo>
                    <a:pt x="1420788" y="13965"/>
                  </a:lnTo>
                  <a:lnTo>
                    <a:pt x="1485830" y="19881"/>
                  </a:lnTo>
                  <a:lnTo>
                    <a:pt x="1548750" y="26751"/>
                  </a:lnTo>
                  <a:lnTo>
                    <a:pt x="1609386" y="34535"/>
                  </a:lnTo>
                  <a:lnTo>
                    <a:pt x="1667581" y="43196"/>
                  </a:lnTo>
                  <a:lnTo>
                    <a:pt x="1723172" y="52695"/>
                  </a:lnTo>
                  <a:lnTo>
                    <a:pt x="1776002" y="62995"/>
                  </a:lnTo>
                  <a:lnTo>
                    <a:pt x="1825909" y="74058"/>
                  </a:lnTo>
                  <a:lnTo>
                    <a:pt x="1872735" y="85846"/>
                  </a:lnTo>
                  <a:lnTo>
                    <a:pt x="1916318" y="98321"/>
                  </a:lnTo>
                  <a:lnTo>
                    <a:pt x="1956499" y="111444"/>
                  </a:lnTo>
                  <a:lnTo>
                    <a:pt x="1993119" y="125179"/>
                  </a:lnTo>
                  <a:lnTo>
                    <a:pt x="2055034" y="154328"/>
                  </a:lnTo>
                  <a:lnTo>
                    <a:pt x="2100782" y="185465"/>
                  </a:lnTo>
                  <a:lnTo>
                    <a:pt x="2129086" y="218286"/>
                  </a:lnTo>
                  <a:lnTo>
                    <a:pt x="2138666" y="252487"/>
                  </a:lnTo>
                  <a:lnTo>
                    <a:pt x="2138666" y="3861478"/>
                  </a:lnTo>
                  <a:lnTo>
                    <a:pt x="2116956" y="3912281"/>
                  </a:lnTo>
                  <a:lnTo>
                    <a:pt x="2079682" y="3944298"/>
                  </a:lnTo>
                  <a:lnTo>
                    <a:pt x="2025651" y="3974480"/>
                  </a:lnTo>
                  <a:lnTo>
                    <a:pt x="1956133" y="4002521"/>
                  </a:lnTo>
                  <a:lnTo>
                    <a:pt x="1915963" y="4015645"/>
                  </a:lnTo>
                  <a:lnTo>
                    <a:pt x="1872398" y="4028119"/>
                  </a:lnTo>
                  <a:lnTo>
                    <a:pt x="1825597" y="4039907"/>
                  </a:lnTo>
                  <a:lnTo>
                    <a:pt x="1775717" y="4050970"/>
                  </a:lnTo>
                  <a:lnTo>
                    <a:pt x="1722919" y="4061270"/>
                  </a:lnTo>
                  <a:lnTo>
                    <a:pt x="1667361" y="4070770"/>
                  </a:lnTo>
                  <a:lnTo>
                    <a:pt x="1609201" y="4079430"/>
                  </a:lnTo>
                  <a:lnTo>
                    <a:pt x="1548599" y="4087215"/>
                  </a:lnTo>
                  <a:lnTo>
                    <a:pt x="1485713" y="4094084"/>
                  </a:lnTo>
                  <a:lnTo>
                    <a:pt x="1420702" y="4100001"/>
                  </a:lnTo>
                  <a:lnTo>
                    <a:pt x="1353725" y="4104927"/>
                  </a:lnTo>
                  <a:lnTo>
                    <a:pt x="1284941" y="4108824"/>
                  </a:lnTo>
                  <a:lnTo>
                    <a:pt x="1214508" y="4111655"/>
                  </a:lnTo>
                  <a:lnTo>
                    <a:pt x="1142586" y="4113382"/>
                  </a:lnTo>
                  <a:lnTo>
                    <a:pt x="1069333" y="4113966"/>
                  </a:lnTo>
                  <a:close/>
                </a:path>
              </a:pathLst>
            </a:custGeom>
            <a:solidFill>
              <a:srgbClr val="ECE4D5"/>
            </a:solidFill>
          </p:spPr>
          <p:txBody>
            <a:bodyPr wrap="square" lIns="0" tIns="0" rIns="0" bIns="0" rtlCol="0"/>
            <a:lstStyle/>
            <a:p>
              <a:endParaRPr/>
            </a:p>
          </p:txBody>
        </p:sp>
        <p:sp>
          <p:nvSpPr>
            <p:cNvPr id="29" name="object 29"/>
            <p:cNvSpPr/>
            <p:nvPr/>
          </p:nvSpPr>
          <p:spPr>
            <a:xfrm>
              <a:off x="8387767" y="5409776"/>
              <a:ext cx="2138680" cy="505459"/>
            </a:xfrm>
            <a:custGeom>
              <a:avLst/>
              <a:gdLst/>
              <a:ahLst/>
              <a:cxnLst/>
              <a:rect l="l" t="t" r="r" b="b"/>
              <a:pathLst>
                <a:path w="2138679" h="505460">
                  <a:moveTo>
                    <a:pt x="1069333" y="504975"/>
                  </a:moveTo>
                  <a:lnTo>
                    <a:pt x="1016863" y="504671"/>
                  </a:lnTo>
                  <a:lnTo>
                    <a:pt x="964520" y="503759"/>
                  </a:lnTo>
                  <a:lnTo>
                    <a:pt x="912429" y="502242"/>
                  </a:lnTo>
                  <a:lnTo>
                    <a:pt x="860716" y="500123"/>
                  </a:lnTo>
                  <a:lnTo>
                    <a:pt x="809506" y="497408"/>
                  </a:lnTo>
                  <a:lnTo>
                    <a:pt x="758922" y="494103"/>
                  </a:lnTo>
                  <a:lnTo>
                    <a:pt x="709085" y="490216"/>
                  </a:lnTo>
                  <a:lnTo>
                    <a:pt x="660117" y="485755"/>
                  </a:lnTo>
                  <a:lnTo>
                    <a:pt x="612134" y="480734"/>
                  </a:lnTo>
                  <a:lnTo>
                    <a:pt x="565253" y="475161"/>
                  </a:lnTo>
                  <a:lnTo>
                    <a:pt x="519585" y="469053"/>
                  </a:lnTo>
                  <a:lnTo>
                    <a:pt x="475243" y="462423"/>
                  </a:lnTo>
                  <a:lnTo>
                    <a:pt x="432331" y="455287"/>
                  </a:lnTo>
                  <a:lnTo>
                    <a:pt x="390955" y="447663"/>
                  </a:lnTo>
                  <a:lnTo>
                    <a:pt x="351212" y="439568"/>
                  </a:lnTo>
                  <a:lnTo>
                    <a:pt x="313200" y="431023"/>
                  </a:lnTo>
                  <a:lnTo>
                    <a:pt x="259629" y="417407"/>
                  </a:lnTo>
                  <a:lnTo>
                    <a:pt x="210436" y="402894"/>
                  </a:lnTo>
                  <a:lnTo>
                    <a:pt x="165898" y="387566"/>
                  </a:lnTo>
                  <a:lnTo>
                    <a:pt x="126265" y="371509"/>
                  </a:lnTo>
                  <a:lnTo>
                    <a:pt x="91741" y="354807"/>
                  </a:lnTo>
                  <a:lnTo>
                    <a:pt x="53973" y="331690"/>
                  </a:lnTo>
                  <a:lnTo>
                    <a:pt x="20546" y="301745"/>
                  </a:lnTo>
                  <a:lnTo>
                    <a:pt x="0" y="260757"/>
                  </a:lnTo>
                  <a:lnTo>
                    <a:pt x="0" y="244218"/>
                  </a:lnTo>
                  <a:lnTo>
                    <a:pt x="15741" y="209323"/>
                  </a:lnTo>
                  <a:lnTo>
                    <a:pt x="46045" y="179194"/>
                  </a:lnTo>
                  <a:lnTo>
                    <a:pt x="81398" y="155864"/>
                  </a:lnTo>
                  <a:lnTo>
                    <a:pt x="126265" y="133465"/>
                  </a:lnTo>
                  <a:lnTo>
                    <a:pt x="165898" y="117408"/>
                  </a:lnTo>
                  <a:lnTo>
                    <a:pt x="210436" y="102080"/>
                  </a:lnTo>
                  <a:lnTo>
                    <a:pt x="259629" y="87568"/>
                  </a:lnTo>
                  <a:lnTo>
                    <a:pt x="313200" y="73951"/>
                  </a:lnTo>
                  <a:lnTo>
                    <a:pt x="351212" y="65406"/>
                  </a:lnTo>
                  <a:lnTo>
                    <a:pt x="390955" y="57312"/>
                  </a:lnTo>
                  <a:lnTo>
                    <a:pt x="432331" y="49687"/>
                  </a:lnTo>
                  <a:lnTo>
                    <a:pt x="475243" y="42551"/>
                  </a:lnTo>
                  <a:lnTo>
                    <a:pt x="519585" y="35921"/>
                  </a:lnTo>
                  <a:lnTo>
                    <a:pt x="565253" y="29813"/>
                  </a:lnTo>
                  <a:lnTo>
                    <a:pt x="612134" y="24241"/>
                  </a:lnTo>
                  <a:lnTo>
                    <a:pt x="660117" y="19219"/>
                  </a:lnTo>
                  <a:lnTo>
                    <a:pt x="709085" y="14759"/>
                  </a:lnTo>
                  <a:lnTo>
                    <a:pt x="758922" y="10872"/>
                  </a:lnTo>
                  <a:lnTo>
                    <a:pt x="809506" y="7566"/>
                  </a:lnTo>
                  <a:lnTo>
                    <a:pt x="860716" y="4851"/>
                  </a:lnTo>
                  <a:lnTo>
                    <a:pt x="912429" y="2732"/>
                  </a:lnTo>
                  <a:lnTo>
                    <a:pt x="964520" y="1215"/>
                  </a:lnTo>
                  <a:lnTo>
                    <a:pt x="1016863" y="303"/>
                  </a:lnTo>
                  <a:lnTo>
                    <a:pt x="1069333" y="0"/>
                  </a:lnTo>
                  <a:lnTo>
                    <a:pt x="1121803" y="303"/>
                  </a:lnTo>
                  <a:lnTo>
                    <a:pt x="1174146" y="1215"/>
                  </a:lnTo>
                  <a:lnTo>
                    <a:pt x="1226237" y="2732"/>
                  </a:lnTo>
                  <a:lnTo>
                    <a:pt x="1277949" y="4851"/>
                  </a:lnTo>
                  <a:lnTo>
                    <a:pt x="1329160" y="7566"/>
                  </a:lnTo>
                  <a:lnTo>
                    <a:pt x="1379744" y="10872"/>
                  </a:lnTo>
                  <a:lnTo>
                    <a:pt x="1429581" y="14759"/>
                  </a:lnTo>
                  <a:lnTo>
                    <a:pt x="1478549" y="19219"/>
                  </a:lnTo>
                  <a:lnTo>
                    <a:pt x="1526532" y="24241"/>
                  </a:lnTo>
                  <a:lnTo>
                    <a:pt x="1573413" y="29813"/>
                  </a:lnTo>
                  <a:lnTo>
                    <a:pt x="1619080" y="35921"/>
                  </a:lnTo>
                  <a:lnTo>
                    <a:pt x="1663423" y="42551"/>
                  </a:lnTo>
                  <a:lnTo>
                    <a:pt x="1706334" y="49687"/>
                  </a:lnTo>
                  <a:lnTo>
                    <a:pt x="1747711" y="57312"/>
                  </a:lnTo>
                  <a:lnTo>
                    <a:pt x="1787454" y="65406"/>
                  </a:lnTo>
                  <a:lnTo>
                    <a:pt x="1825466" y="73951"/>
                  </a:lnTo>
                  <a:lnTo>
                    <a:pt x="1879037" y="87568"/>
                  </a:lnTo>
                  <a:lnTo>
                    <a:pt x="1928230" y="102080"/>
                  </a:lnTo>
                  <a:lnTo>
                    <a:pt x="1972768" y="117408"/>
                  </a:lnTo>
                  <a:lnTo>
                    <a:pt x="2012401" y="133465"/>
                  </a:lnTo>
                  <a:lnTo>
                    <a:pt x="2046925" y="150167"/>
                  </a:lnTo>
                  <a:lnTo>
                    <a:pt x="2084693" y="173285"/>
                  </a:lnTo>
                  <a:lnTo>
                    <a:pt x="2118119" y="203229"/>
                  </a:lnTo>
                  <a:lnTo>
                    <a:pt x="2138666" y="244218"/>
                  </a:lnTo>
                  <a:lnTo>
                    <a:pt x="2138666" y="252487"/>
                  </a:lnTo>
                  <a:lnTo>
                    <a:pt x="2138666" y="260757"/>
                  </a:lnTo>
                  <a:lnTo>
                    <a:pt x="2122925" y="295651"/>
                  </a:lnTo>
                  <a:lnTo>
                    <a:pt x="2092621" y="325780"/>
                  </a:lnTo>
                  <a:lnTo>
                    <a:pt x="2057268" y="349110"/>
                  </a:lnTo>
                  <a:lnTo>
                    <a:pt x="2012401" y="371509"/>
                  </a:lnTo>
                  <a:lnTo>
                    <a:pt x="1972767" y="387566"/>
                  </a:lnTo>
                  <a:lnTo>
                    <a:pt x="1928230" y="402894"/>
                  </a:lnTo>
                  <a:lnTo>
                    <a:pt x="1879037" y="417407"/>
                  </a:lnTo>
                  <a:lnTo>
                    <a:pt x="1825466" y="431023"/>
                  </a:lnTo>
                  <a:lnTo>
                    <a:pt x="1787454" y="439568"/>
                  </a:lnTo>
                  <a:lnTo>
                    <a:pt x="1747711" y="447663"/>
                  </a:lnTo>
                  <a:lnTo>
                    <a:pt x="1706334" y="455287"/>
                  </a:lnTo>
                  <a:lnTo>
                    <a:pt x="1663423" y="462423"/>
                  </a:lnTo>
                  <a:lnTo>
                    <a:pt x="1619080" y="469053"/>
                  </a:lnTo>
                  <a:lnTo>
                    <a:pt x="1573413" y="475161"/>
                  </a:lnTo>
                  <a:lnTo>
                    <a:pt x="1526532" y="480734"/>
                  </a:lnTo>
                  <a:lnTo>
                    <a:pt x="1478549" y="485755"/>
                  </a:lnTo>
                  <a:lnTo>
                    <a:pt x="1429581" y="490216"/>
                  </a:lnTo>
                  <a:lnTo>
                    <a:pt x="1379744" y="494103"/>
                  </a:lnTo>
                  <a:lnTo>
                    <a:pt x="1329160" y="497408"/>
                  </a:lnTo>
                  <a:lnTo>
                    <a:pt x="1277949" y="500123"/>
                  </a:lnTo>
                  <a:lnTo>
                    <a:pt x="1226237" y="502242"/>
                  </a:lnTo>
                  <a:lnTo>
                    <a:pt x="1174146" y="503759"/>
                  </a:lnTo>
                  <a:lnTo>
                    <a:pt x="1121803" y="504671"/>
                  </a:lnTo>
                  <a:lnTo>
                    <a:pt x="1069333" y="504975"/>
                  </a:lnTo>
                  <a:close/>
                </a:path>
              </a:pathLst>
            </a:custGeom>
            <a:solidFill>
              <a:srgbClr val="0090AE">
                <a:alpha val="49798"/>
              </a:srgbClr>
            </a:solidFill>
          </p:spPr>
          <p:txBody>
            <a:bodyPr wrap="square" lIns="0" tIns="0" rIns="0" bIns="0" rtlCol="0"/>
            <a:lstStyle/>
            <a:p>
              <a:endParaRPr/>
            </a:p>
          </p:txBody>
        </p:sp>
        <p:sp>
          <p:nvSpPr>
            <p:cNvPr id="30" name="object 30"/>
            <p:cNvSpPr/>
            <p:nvPr/>
          </p:nvSpPr>
          <p:spPr>
            <a:xfrm>
              <a:off x="11525948" y="5409776"/>
              <a:ext cx="2138680" cy="4114165"/>
            </a:xfrm>
            <a:custGeom>
              <a:avLst/>
              <a:gdLst/>
              <a:ahLst/>
              <a:cxnLst/>
              <a:rect l="l" t="t" r="r" b="b"/>
              <a:pathLst>
                <a:path w="2138680" h="4114165">
                  <a:moveTo>
                    <a:pt x="1069333" y="4113966"/>
                  </a:moveTo>
                  <a:lnTo>
                    <a:pt x="996175" y="4113386"/>
                  </a:lnTo>
                  <a:lnTo>
                    <a:pt x="924333" y="4111671"/>
                  </a:lnTo>
                  <a:lnTo>
                    <a:pt x="853964" y="4108859"/>
                  </a:lnTo>
                  <a:lnTo>
                    <a:pt x="785230" y="4104985"/>
                  </a:lnTo>
                  <a:lnTo>
                    <a:pt x="718290" y="4100087"/>
                  </a:lnTo>
                  <a:lnTo>
                    <a:pt x="653305" y="4094201"/>
                  </a:lnTo>
                  <a:lnTo>
                    <a:pt x="590433" y="4087365"/>
                  </a:lnTo>
                  <a:lnTo>
                    <a:pt x="529835" y="4079616"/>
                  </a:lnTo>
                  <a:lnTo>
                    <a:pt x="471671" y="4070989"/>
                  </a:lnTo>
                  <a:lnTo>
                    <a:pt x="416101" y="4061523"/>
                  </a:lnTo>
                  <a:lnTo>
                    <a:pt x="363285" y="4051254"/>
                  </a:lnTo>
                  <a:lnTo>
                    <a:pt x="313382" y="4040219"/>
                  </a:lnTo>
                  <a:lnTo>
                    <a:pt x="266552" y="4028455"/>
                  </a:lnTo>
                  <a:lnTo>
                    <a:pt x="222956" y="4015999"/>
                  </a:lnTo>
                  <a:lnTo>
                    <a:pt x="182753" y="4002887"/>
                  </a:lnTo>
                  <a:lnTo>
                    <a:pt x="146103" y="3989157"/>
                  </a:lnTo>
                  <a:lnTo>
                    <a:pt x="84101" y="3959989"/>
                  </a:lnTo>
                  <a:lnTo>
                    <a:pt x="38231" y="3928790"/>
                  </a:lnTo>
                  <a:lnTo>
                    <a:pt x="9771" y="3895854"/>
                  </a:lnTo>
                  <a:lnTo>
                    <a:pt x="0" y="3861478"/>
                  </a:lnTo>
                  <a:lnTo>
                    <a:pt x="0" y="252487"/>
                  </a:lnTo>
                  <a:lnTo>
                    <a:pt x="21710" y="201684"/>
                  </a:lnTo>
                  <a:lnTo>
                    <a:pt x="58984" y="169667"/>
                  </a:lnTo>
                  <a:lnTo>
                    <a:pt x="113015" y="139486"/>
                  </a:lnTo>
                  <a:lnTo>
                    <a:pt x="182533" y="111444"/>
                  </a:lnTo>
                  <a:lnTo>
                    <a:pt x="222703" y="98321"/>
                  </a:lnTo>
                  <a:lnTo>
                    <a:pt x="266268" y="85846"/>
                  </a:lnTo>
                  <a:lnTo>
                    <a:pt x="313069" y="74058"/>
                  </a:lnTo>
                  <a:lnTo>
                    <a:pt x="362948" y="62995"/>
                  </a:lnTo>
                  <a:lnTo>
                    <a:pt x="415747" y="52695"/>
                  </a:lnTo>
                  <a:lnTo>
                    <a:pt x="471305" y="43196"/>
                  </a:lnTo>
                  <a:lnTo>
                    <a:pt x="529465" y="34535"/>
                  </a:lnTo>
                  <a:lnTo>
                    <a:pt x="590067" y="26751"/>
                  </a:lnTo>
                  <a:lnTo>
                    <a:pt x="652953" y="19881"/>
                  </a:lnTo>
                  <a:lnTo>
                    <a:pt x="717964" y="13965"/>
                  </a:lnTo>
                  <a:lnTo>
                    <a:pt x="784941" y="9039"/>
                  </a:lnTo>
                  <a:lnTo>
                    <a:pt x="853725" y="5141"/>
                  </a:lnTo>
                  <a:lnTo>
                    <a:pt x="924157" y="2310"/>
                  </a:lnTo>
                  <a:lnTo>
                    <a:pt x="996080" y="584"/>
                  </a:lnTo>
                  <a:lnTo>
                    <a:pt x="1069333" y="0"/>
                  </a:lnTo>
                  <a:lnTo>
                    <a:pt x="1142590" y="583"/>
                  </a:lnTo>
                  <a:lnTo>
                    <a:pt x="1214524" y="2310"/>
                  </a:lnTo>
                  <a:lnTo>
                    <a:pt x="1284975" y="5141"/>
                  </a:lnTo>
                  <a:lnTo>
                    <a:pt x="1353783" y="9038"/>
                  </a:lnTo>
                  <a:lnTo>
                    <a:pt x="1420788" y="13965"/>
                  </a:lnTo>
                  <a:lnTo>
                    <a:pt x="1485830" y="19881"/>
                  </a:lnTo>
                  <a:lnTo>
                    <a:pt x="1548750" y="26751"/>
                  </a:lnTo>
                  <a:lnTo>
                    <a:pt x="1609386" y="34535"/>
                  </a:lnTo>
                  <a:lnTo>
                    <a:pt x="1667581" y="43196"/>
                  </a:lnTo>
                  <a:lnTo>
                    <a:pt x="1723172" y="52695"/>
                  </a:lnTo>
                  <a:lnTo>
                    <a:pt x="1776002" y="62995"/>
                  </a:lnTo>
                  <a:lnTo>
                    <a:pt x="1825909" y="74058"/>
                  </a:lnTo>
                  <a:lnTo>
                    <a:pt x="1872735" y="85846"/>
                  </a:lnTo>
                  <a:lnTo>
                    <a:pt x="1916318" y="98321"/>
                  </a:lnTo>
                  <a:lnTo>
                    <a:pt x="1956499" y="111444"/>
                  </a:lnTo>
                  <a:lnTo>
                    <a:pt x="1993119" y="125179"/>
                  </a:lnTo>
                  <a:lnTo>
                    <a:pt x="2055034" y="154328"/>
                  </a:lnTo>
                  <a:lnTo>
                    <a:pt x="2100782" y="185465"/>
                  </a:lnTo>
                  <a:lnTo>
                    <a:pt x="2129086" y="218286"/>
                  </a:lnTo>
                  <a:lnTo>
                    <a:pt x="2138666" y="252487"/>
                  </a:lnTo>
                  <a:lnTo>
                    <a:pt x="2138666" y="3861478"/>
                  </a:lnTo>
                  <a:lnTo>
                    <a:pt x="2116956" y="3912281"/>
                  </a:lnTo>
                  <a:lnTo>
                    <a:pt x="2079682" y="3944298"/>
                  </a:lnTo>
                  <a:lnTo>
                    <a:pt x="2025651" y="3974480"/>
                  </a:lnTo>
                  <a:lnTo>
                    <a:pt x="1956133" y="4002521"/>
                  </a:lnTo>
                  <a:lnTo>
                    <a:pt x="1915963" y="4015645"/>
                  </a:lnTo>
                  <a:lnTo>
                    <a:pt x="1872398" y="4028119"/>
                  </a:lnTo>
                  <a:lnTo>
                    <a:pt x="1825597" y="4039907"/>
                  </a:lnTo>
                  <a:lnTo>
                    <a:pt x="1775717" y="4050970"/>
                  </a:lnTo>
                  <a:lnTo>
                    <a:pt x="1722919" y="4061270"/>
                  </a:lnTo>
                  <a:lnTo>
                    <a:pt x="1667361" y="4070770"/>
                  </a:lnTo>
                  <a:lnTo>
                    <a:pt x="1609201" y="4079430"/>
                  </a:lnTo>
                  <a:lnTo>
                    <a:pt x="1548599" y="4087215"/>
                  </a:lnTo>
                  <a:lnTo>
                    <a:pt x="1485713" y="4094084"/>
                  </a:lnTo>
                  <a:lnTo>
                    <a:pt x="1420702" y="4100001"/>
                  </a:lnTo>
                  <a:lnTo>
                    <a:pt x="1353725" y="4104927"/>
                  </a:lnTo>
                  <a:lnTo>
                    <a:pt x="1284941" y="4108824"/>
                  </a:lnTo>
                  <a:lnTo>
                    <a:pt x="1214508" y="4111655"/>
                  </a:lnTo>
                  <a:lnTo>
                    <a:pt x="1142586" y="4113382"/>
                  </a:lnTo>
                  <a:lnTo>
                    <a:pt x="1069333" y="4113966"/>
                  </a:lnTo>
                  <a:close/>
                </a:path>
              </a:pathLst>
            </a:custGeom>
            <a:solidFill>
              <a:srgbClr val="ECE4D5"/>
            </a:solidFill>
          </p:spPr>
          <p:txBody>
            <a:bodyPr wrap="square" lIns="0" tIns="0" rIns="0" bIns="0" rtlCol="0"/>
            <a:lstStyle/>
            <a:p>
              <a:endParaRPr/>
            </a:p>
          </p:txBody>
        </p:sp>
        <p:sp>
          <p:nvSpPr>
            <p:cNvPr id="31" name="object 31"/>
            <p:cNvSpPr/>
            <p:nvPr/>
          </p:nvSpPr>
          <p:spPr>
            <a:xfrm>
              <a:off x="11525949" y="5409776"/>
              <a:ext cx="2138680" cy="505459"/>
            </a:xfrm>
            <a:custGeom>
              <a:avLst/>
              <a:gdLst/>
              <a:ahLst/>
              <a:cxnLst/>
              <a:rect l="l" t="t" r="r" b="b"/>
              <a:pathLst>
                <a:path w="2138680" h="505460">
                  <a:moveTo>
                    <a:pt x="1069333" y="504975"/>
                  </a:moveTo>
                  <a:lnTo>
                    <a:pt x="1016863" y="504671"/>
                  </a:lnTo>
                  <a:lnTo>
                    <a:pt x="964520" y="503759"/>
                  </a:lnTo>
                  <a:lnTo>
                    <a:pt x="912429" y="502242"/>
                  </a:lnTo>
                  <a:lnTo>
                    <a:pt x="860716" y="500123"/>
                  </a:lnTo>
                  <a:lnTo>
                    <a:pt x="809506" y="497408"/>
                  </a:lnTo>
                  <a:lnTo>
                    <a:pt x="758922" y="494103"/>
                  </a:lnTo>
                  <a:lnTo>
                    <a:pt x="709085" y="490216"/>
                  </a:lnTo>
                  <a:lnTo>
                    <a:pt x="660117" y="485755"/>
                  </a:lnTo>
                  <a:lnTo>
                    <a:pt x="612134" y="480734"/>
                  </a:lnTo>
                  <a:lnTo>
                    <a:pt x="565253" y="475161"/>
                  </a:lnTo>
                  <a:lnTo>
                    <a:pt x="519585" y="469053"/>
                  </a:lnTo>
                  <a:lnTo>
                    <a:pt x="475243" y="462423"/>
                  </a:lnTo>
                  <a:lnTo>
                    <a:pt x="432331" y="455287"/>
                  </a:lnTo>
                  <a:lnTo>
                    <a:pt x="390955" y="447663"/>
                  </a:lnTo>
                  <a:lnTo>
                    <a:pt x="351212" y="439568"/>
                  </a:lnTo>
                  <a:lnTo>
                    <a:pt x="313200" y="431023"/>
                  </a:lnTo>
                  <a:lnTo>
                    <a:pt x="259629" y="417407"/>
                  </a:lnTo>
                  <a:lnTo>
                    <a:pt x="210436" y="402894"/>
                  </a:lnTo>
                  <a:lnTo>
                    <a:pt x="165898" y="387566"/>
                  </a:lnTo>
                  <a:lnTo>
                    <a:pt x="126265" y="371509"/>
                  </a:lnTo>
                  <a:lnTo>
                    <a:pt x="91741" y="354807"/>
                  </a:lnTo>
                  <a:lnTo>
                    <a:pt x="53973" y="331690"/>
                  </a:lnTo>
                  <a:lnTo>
                    <a:pt x="20546" y="301745"/>
                  </a:lnTo>
                  <a:lnTo>
                    <a:pt x="0" y="260757"/>
                  </a:lnTo>
                  <a:lnTo>
                    <a:pt x="0" y="244218"/>
                  </a:lnTo>
                  <a:lnTo>
                    <a:pt x="15741" y="209323"/>
                  </a:lnTo>
                  <a:lnTo>
                    <a:pt x="46045" y="179194"/>
                  </a:lnTo>
                  <a:lnTo>
                    <a:pt x="81398" y="155864"/>
                  </a:lnTo>
                  <a:lnTo>
                    <a:pt x="126265" y="133465"/>
                  </a:lnTo>
                  <a:lnTo>
                    <a:pt x="165898" y="117408"/>
                  </a:lnTo>
                  <a:lnTo>
                    <a:pt x="210436" y="102080"/>
                  </a:lnTo>
                  <a:lnTo>
                    <a:pt x="259629" y="87568"/>
                  </a:lnTo>
                  <a:lnTo>
                    <a:pt x="313200" y="73951"/>
                  </a:lnTo>
                  <a:lnTo>
                    <a:pt x="351212" y="65406"/>
                  </a:lnTo>
                  <a:lnTo>
                    <a:pt x="390955" y="57312"/>
                  </a:lnTo>
                  <a:lnTo>
                    <a:pt x="432331" y="49687"/>
                  </a:lnTo>
                  <a:lnTo>
                    <a:pt x="475243" y="42551"/>
                  </a:lnTo>
                  <a:lnTo>
                    <a:pt x="519585" y="35921"/>
                  </a:lnTo>
                  <a:lnTo>
                    <a:pt x="565253" y="29813"/>
                  </a:lnTo>
                  <a:lnTo>
                    <a:pt x="612134" y="24241"/>
                  </a:lnTo>
                  <a:lnTo>
                    <a:pt x="660117" y="19219"/>
                  </a:lnTo>
                  <a:lnTo>
                    <a:pt x="709085" y="14759"/>
                  </a:lnTo>
                  <a:lnTo>
                    <a:pt x="758922" y="10872"/>
                  </a:lnTo>
                  <a:lnTo>
                    <a:pt x="809506" y="7566"/>
                  </a:lnTo>
                  <a:lnTo>
                    <a:pt x="860716" y="4851"/>
                  </a:lnTo>
                  <a:lnTo>
                    <a:pt x="912429" y="2732"/>
                  </a:lnTo>
                  <a:lnTo>
                    <a:pt x="964520" y="1215"/>
                  </a:lnTo>
                  <a:lnTo>
                    <a:pt x="1016863" y="303"/>
                  </a:lnTo>
                  <a:lnTo>
                    <a:pt x="1069333" y="0"/>
                  </a:lnTo>
                  <a:lnTo>
                    <a:pt x="1121803" y="303"/>
                  </a:lnTo>
                  <a:lnTo>
                    <a:pt x="1174146" y="1215"/>
                  </a:lnTo>
                  <a:lnTo>
                    <a:pt x="1226237" y="2732"/>
                  </a:lnTo>
                  <a:lnTo>
                    <a:pt x="1277949" y="4851"/>
                  </a:lnTo>
                  <a:lnTo>
                    <a:pt x="1329160" y="7566"/>
                  </a:lnTo>
                  <a:lnTo>
                    <a:pt x="1379744" y="10872"/>
                  </a:lnTo>
                  <a:lnTo>
                    <a:pt x="1429581" y="14759"/>
                  </a:lnTo>
                  <a:lnTo>
                    <a:pt x="1478549" y="19219"/>
                  </a:lnTo>
                  <a:lnTo>
                    <a:pt x="1526532" y="24241"/>
                  </a:lnTo>
                  <a:lnTo>
                    <a:pt x="1573413" y="29813"/>
                  </a:lnTo>
                  <a:lnTo>
                    <a:pt x="1619080" y="35921"/>
                  </a:lnTo>
                  <a:lnTo>
                    <a:pt x="1663423" y="42551"/>
                  </a:lnTo>
                  <a:lnTo>
                    <a:pt x="1706334" y="49687"/>
                  </a:lnTo>
                  <a:lnTo>
                    <a:pt x="1747711" y="57312"/>
                  </a:lnTo>
                  <a:lnTo>
                    <a:pt x="1787454" y="65406"/>
                  </a:lnTo>
                  <a:lnTo>
                    <a:pt x="1825466" y="73951"/>
                  </a:lnTo>
                  <a:lnTo>
                    <a:pt x="1879037" y="87568"/>
                  </a:lnTo>
                  <a:lnTo>
                    <a:pt x="1928230" y="102080"/>
                  </a:lnTo>
                  <a:lnTo>
                    <a:pt x="1972768" y="117408"/>
                  </a:lnTo>
                  <a:lnTo>
                    <a:pt x="2012401" y="133465"/>
                  </a:lnTo>
                  <a:lnTo>
                    <a:pt x="2046925" y="150167"/>
                  </a:lnTo>
                  <a:lnTo>
                    <a:pt x="2084693" y="173285"/>
                  </a:lnTo>
                  <a:lnTo>
                    <a:pt x="2118119" y="203229"/>
                  </a:lnTo>
                  <a:lnTo>
                    <a:pt x="2138666" y="244218"/>
                  </a:lnTo>
                  <a:lnTo>
                    <a:pt x="2138666" y="252487"/>
                  </a:lnTo>
                  <a:lnTo>
                    <a:pt x="2138666" y="260757"/>
                  </a:lnTo>
                  <a:lnTo>
                    <a:pt x="2122925" y="295651"/>
                  </a:lnTo>
                  <a:lnTo>
                    <a:pt x="2092621" y="325780"/>
                  </a:lnTo>
                  <a:lnTo>
                    <a:pt x="2057268" y="349110"/>
                  </a:lnTo>
                  <a:lnTo>
                    <a:pt x="2012401" y="371509"/>
                  </a:lnTo>
                  <a:lnTo>
                    <a:pt x="1972767" y="387566"/>
                  </a:lnTo>
                  <a:lnTo>
                    <a:pt x="1928230" y="402894"/>
                  </a:lnTo>
                  <a:lnTo>
                    <a:pt x="1879037" y="417407"/>
                  </a:lnTo>
                  <a:lnTo>
                    <a:pt x="1825466" y="431023"/>
                  </a:lnTo>
                  <a:lnTo>
                    <a:pt x="1787454" y="439568"/>
                  </a:lnTo>
                  <a:lnTo>
                    <a:pt x="1747711" y="447663"/>
                  </a:lnTo>
                  <a:lnTo>
                    <a:pt x="1706334" y="455287"/>
                  </a:lnTo>
                  <a:lnTo>
                    <a:pt x="1663423" y="462423"/>
                  </a:lnTo>
                  <a:lnTo>
                    <a:pt x="1619080" y="469053"/>
                  </a:lnTo>
                  <a:lnTo>
                    <a:pt x="1573413" y="475161"/>
                  </a:lnTo>
                  <a:lnTo>
                    <a:pt x="1526532" y="480734"/>
                  </a:lnTo>
                  <a:lnTo>
                    <a:pt x="1478549" y="485755"/>
                  </a:lnTo>
                  <a:lnTo>
                    <a:pt x="1429581" y="490216"/>
                  </a:lnTo>
                  <a:lnTo>
                    <a:pt x="1379744" y="494103"/>
                  </a:lnTo>
                  <a:lnTo>
                    <a:pt x="1329160" y="497408"/>
                  </a:lnTo>
                  <a:lnTo>
                    <a:pt x="1277949" y="500123"/>
                  </a:lnTo>
                  <a:lnTo>
                    <a:pt x="1226237" y="502242"/>
                  </a:lnTo>
                  <a:lnTo>
                    <a:pt x="1174146" y="503759"/>
                  </a:lnTo>
                  <a:lnTo>
                    <a:pt x="1121803" y="504671"/>
                  </a:lnTo>
                  <a:lnTo>
                    <a:pt x="1069333" y="504975"/>
                  </a:lnTo>
                  <a:close/>
                </a:path>
              </a:pathLst>
            </a:custGeom>
            <a:solidFill>
              <a:srgbClr val="0090AE">
                <a:alpha val="49798"/>
              </a:srgbClr>
            </a:solidFill>
          </p:spPr>
          <p:txBody>
            <a:bodyPr wrap="square" lIns="0" tIns="0" rIns="0" bIns="0" rtlCol="0"/>
            <a:lstStyle/>
            <a:p>
              <a:endParaRPr/>
            </a:p>
          </p:txBody>
        </p:sp>
        <p:sp>
          <p:nvSpPr>
            <p:cNvPr id="32" name="object 32"/>
            <p:cNvSpPr/>
            <p:nvPr/>
          </p:nvSpPr>
          <p:spPr>
            <a:xfrm>
              <a:off x="14694210" y="5409776"/>
              <a:ext cx="2138680" cy="4114165"/>
            </a:xfrm>
            <a:custGeom>
              <a:avLst/>
              <a:gdLst/>
              <a:ahLst/>
              <a:cxnLst/>
              <a:rect l="l" t="t" r="r" b="b"/>
              <a:pathLst>
                <a:path w="2138680" h="4114165">
                  <a:moveTo>
                    <a:pt x="1069333" y="4113966"/>
                  </a:moveTo>
                  <a:lnTo>
                    <a:pt x="996175" y="4113386"/>
                  </a:lnTo>
                  <a:lnTo>
                    <a:pt x="924333" y="4111671"/>
                  </a:lnTo>
                  <a:lnTo>
                    <a:pt x="853964" y="4108859"/>
                  </a:lnTo>
                  <a:lnTo>
                    <a:pt x="785230" y="4104985"/>
                  </a:lnTo>
                  <a:lnTo>
                    <a:pt x="718290" y="4100087"/>
                  </a:lnTo>
                  <a:lnTo>
                    <a:pt x="653305" y="4094201"/>
                  </a:lnTo>
                  <a:lnTo>
                    <a:pt x="590433" y="4087365"/>
                  </a:lnTo>
                  <a:lnTo>
                    <a:pt x="529835" y="4079616"/>
                  </a:lnTo>
                  <a:lnTo>
                    <a:pt x="471671" y="4070989"/>
                  </a:lnTo>
                  <a:lnTo>
                    <a:pt x="416101" y="4061523"/>
                  </a:lnTo>
                  <a:lnTo>
                    <a:pt x="363285" y="4051254"/>
                  </a:lnTo>
                  <a:lnTo>
                    <a:pt x="313382" y="4040219"/>
                  </a:lnTo>
                  <a:lnTo>
                    <a:pt x="266552" y="4028455"/>
                  </a:lnTo>
                  <a:lnTo>
                    <a:pt x="222956" y="4015999"/>
                  </a:lnTo>
                  <a:lnTo>
                    <a:pt x="182753" y="4002887"/>
                  </a:lnTo>
                  <a:lnTo>
                    <a:pt x="146103" y="3989157"/>
                  </a:lnTo>
                  <a:lnTo>
                    <a:pt x="84101" y="3959989"/>
                  </a:lnTo>
                  <a:lnTo>
                    <a:pt x="38231" y="3928790"/>
                  </a:lnTo>
                  <a:lnTo>
                    <a:pt x="9771" y="3895854"/>
                  </a:lnTo>
                  <a:lnTo>
                    <a:pt x="0" y="3861478"/>
                  </a:lnTo>
                  <a:lnTo>
                    <a:pt x="0" y="252487"/>
                  </a:lnTo>
                  <a:lnTo>
                    <a:pt x="21710" y="201684"/>
                  </a:lnTo>
                  <a:lnTo>
                    <a:pt x="58984" y="169667"/>
                  </a:lnTo>
                  <a:lnTo>
                    <a:pt x="113015" y="139486"/>
                  </a:lnTo>
                  <a:lnTo>
                    <a:pt x="182533" y="111444"/>
                  </a:lnTo>
                  <a:lnTo>
                    <a:pt x="222703" y="98321"/>
                  </a:lnTo>
                  <a:lnTo>
                    <a:pt x="266268" y="85846"/>
                  </a:lnTo>
                  <a:lnTo>
                    <a:pt x="313069" y="74058"/>
                  </a:lnTo>
                  <a:lnTo>
                    <a:pt x="362948" y="62995"/>
                  </a:lnTo>
                  <a:lnTo>
                    <a:pt x="415747" y="52695"/>
                  </a:lnTo>
                  <a:lnTo>
                    <a:pt x="471305" y="43196"/>
                  </a:lnTo>
                  <a:lnTo>
                    <a:pt x="529465" y="34535"/>
                  </a:lnTo>
                  <a:lnTo>
                    <a:pt x="590067" y="26751"/>
                  </a:lnTo>
                  <a:lnTo>
                    <a:pt x="652953" y="19881"/>
                  </a:lnTo>
                  <a:lnTo>
                    <a:pt x="717964" y="13965"/>
                  </a:lnTo>
                  <a:lnTo>
                    <a:pt x="784941" y="9039"/>
                  </a:lnTo>
                  <a:lnTo>
                    <a:pt x="853725" y="5141"/>
                  </a:lnTo>
                  <a:lnTo>
                    <a:pt x="924157" y="2310"/>
                  </a:lnTo>
                  <a:lnTo>
                    <a:pt x="996080" y="584"/>
                  </a:lnTo>
                  <a:lnTo>
                    <a:pt x="1069333" y="0"/>
                  </a:lnTo>
                  <a:lnTo>
                    <a:pt x="1142590" y="583"/>
                  </a:lnTo>
                  <a:lnTo>
                    <a:pt x="1214524" y="2310"/>
                  </a:lnTo>
                  <a:lnTo>
                    <a:pt x="1284975" y="5141"/>
                  </a:lnTo>
                  <a:lnTo>
                    <a:pt x="1353783" y="9038"/>
                  </a:lnTo>
                  <a:lnTo>
                    <a:pt x="1420788" y="13965"/>
                  </a:lnTo>
                  <a:lnTo>
                    <a:pt x="1485830" y="19881"/>
                  </a:lnTo>
                  <a:lnTo>
                    <a:pt x="1548750" y="26751"/>
                  </a:lnTo>
                  <a:lnTo>
                    <a:pt x="1609386" y="34535"/>
                  </a:lnTo>
                  <a:lnTo>
                    <a:pt x="1667581" y="43196"/>
                  </a:lnTo>
                  <a:lnTo>
                    <a:pt x="1723172" y="52695"/>
                  </a:lnTo>
                  <a:lnTo>
                    <a:pt x="1776002" y="62995"/>
                  </a:lnTo>
                  <a:lnTo>
                    <a:pt x="1825909" y="74058"/>
                  </a:lnTo>
                  <a:lnTo>
                    <a:pt x="1872735" y="85846"/>
                  </a:lnTo>
                  <a:lnTo>
                    <a:pt x="1916318" y="98321"/>
                  </a:lnTo>
                  <a:lnTo>
                    <a:pt x="1956499" y="111444"/>
                  </a:lnTo>
                  <a:lnTo>
                    <a:pt x="1993119" y="125179"/>
                  </a:lnTo>
                  <a:lnTo>
                    <a:pt x="2055034" y="154328"/>
                  </a:lnTo>
                  <a:lnTo>
                    <a:pt x="2100782" y="185465"/>
                  </a:lnTo>
                  <a:lnTo>
                    <a:pt x="2129086" y="218286"/>
                  </a:lnTo>
                  <a:lnTo>
                    <a:pt x="2138666" y="252487"/>
                  </a:lnTo>
                  <a:lnTo>
                    <a:pt x="2138666" y="3861478"/>
                  </a:lnTo>
                  <a:lnTo>
                    <a:pt x="2116956" y="3912281"/>
                  </a:lnTo>
                  <a:lnTo>
                    <a:pt x="2079682" y="3944298"/>
                  </a:lnTo>
                  <a:lnTo>
                    <a:pt x="2025651" y="3974480"/>
                  </a:lnTo>
                  <a:lnTo>
                    <a:pt x="1956133" y="4002521"/>
                  </a:lnTo>
                  <a:lnTo>
                    <a:pt x="1915963" y="4015645"/>
                  </a:lnTo>
                  <a:lnTo>
                    <a:pt x="1872398" y="4028119"/>
                  </a:lnTo>
                  <a:lnTo>
                    <a:pt x="1825597" y="4039907"/>
                  </a:lnTo>
                  <a:lnTo>
                    <a:pt x="1775717" y="4050970"/>
                  </a:lnTo>
                  <a:lnTo>
                    <a:pt x="1722919" y="4061270"/>
                  </a:lnTo>
                  <a:lnTo>
                    <a:pt x="1667361" y="4070770"/>
                  </a:lnTo>
                  <a:lnTo>
                    <a:pt x="1609201" y="4079430"/>
                  </a:lnTo>
                  <a:lnTo>
                    <a:pt x="1548599" y="4087215"/>
                  </a:lnTo>
                  <a:lnTo>
                    <a:pt x="1485713" y="4094084"/>
                  </a:lnTo>
                  <a:lnTo>
                    <a:pt x="1420702" y="4100001"/>
                  </a:lnTo>
                  <a:lnTo>
                    <a:pt x="1353725" y="4104927"/>
                  </a:lnTo>
                  <a:lnTo>
                    <a:pt x="1284941" y="4108824"/>
                  </a:lnTo>
                  <a:lnTo>
                    <a:pt x="1214508" y="4111655"/>
                  </a:lnTo>
                  <a:lnTo>
                    <a:pt x="1142586" y="4113382"/>
                  </a:lnTo>
                  <a:lnTo>
                    <a:pt x="1069333" y="4113966"/>
                  </a:lnTo>
                  <a:close/>
                </a:path>
              </a:pathLst>
            </a:custGeom>
            <a:solidFill>
              <a:srgbClr val="ECE4D5"/>
            </a:solidFill>
          </p:spPr>
          <p:txBody>
            <a:bodyPr wrap="square" lIns="0" tIns="0" rIns="0" bIns="0" rtlCol="0"/>
            <a:lstStyle/>
            <a:p>
              <a:endParaRPr/>
            </a:p>
          </p:txBody>
        </p:sp>
        <p:sp>
          <p:nvSpPr>
            <p:cNvPr id="33" name="object 33"/>
            <p:cNvSpPr/>
            <p:nvPr/>
          </p:nvSpPr>
          <p:spPr>
            <a:xfrm>
              <a:off x="14694210" y="5409776"/>
              <a:ext cx="2138680" cy="505459"/>
            </a:xfrm>
            <a:custGeom>
              <a:avLst/>
              <a:gdLst/>
              <a:ahLst/>
              <a:cxnLst/>
              <a:rect l="l" t="t" r="r" b="b"/>
              <a:pathLst>
                <a:path w="2138680" h="505460">
                  <a:moveTo>
                    <a:pt x="1069333" y="504975"/>
                  </a:moveTo>
                  <a:lnTo>
                    <a:pt x="1016863" y="504671"/>
                  </a:lnTo>
                  <a:lnTo>
                    <a:pt x="964520" y="503759"/>
                  </a:lnTo>
                  <a:lnTo>
                    <a:pt x="912429" y="502242"/>
                  </a:lnTo>
                  <a:lnTo>
                    <a:pt x="860716" y="500123"/>
                  </a:lnTo>
                  <a:lnTo>
                    <a:pt x="809506" y="497408"/>
                  </a:lnTo>
                  <a:lnTo>
                    <a:pt x="758922" y="494103"/>
                  </a:lnTo>
                  <a:lnTo>
                    <a:pt x="709085" y="490216"/>
                  </a:lnTo>
                  <a:lnTo>
                    <a:pt x="660117" y="485755"/>
                  </a:lnTo>
                  <a:lnTo>
                    <a:pt x="612134" y="480734"/>
                  </a:lnTo>
                  <a:lnTo>
                    <a:pt x="565253" y="475161"/>
                  </a:lnTo>
                  <a:lnTo>
                    <a:pt x="519585" y="469053"/>
                  </a:lnTo>
                  <a:lnTo>
                    <a:pt x="475243" y="462423"/>
                  </a:lnTo>
                  <a:lnTo>
                    <a:pt x="432331" y="455287"/>
                  </a:lnTo>
                  <a:lnTo>
                    <a:pt x="390955" y="447663"/>
                  </a:lnTo>
                  <a:lnTo>
                    <a:pt x="351212" y="439568"/>
                  </a:lnTo>
                  <a:lnTo>
                    <a:pt x="313200" y="431023"/>
                  </a:lnTo>
                  <a:lnTo>
                    <a:pt x="259629" y="417407"/>
                  </a:lnTo>
                  <a:lnTo>
                    <a:pt x="210436" y="402894"/>
                  </a:lnTo>
                  <a:lnTo>
                    <a:pt x="165898" y="387566"/>
                  </a:lnTo>
                  <a:lnTo>
                    <a:pt x="126265" y="371509"/>
                  </a:lnTo>
                  <a:lnTo>
                    <a:pt x="91741" y="354807"/>
                  </a:lnTo>
                  <a:lnTo>
                    <a:pt x="53973" y="331690"/>
                  </a:lnTo>
                  <a:lnTo>
                    <a:pt x="20546" y="301745"/>
                  </a:lnTo>
                  <a:lnTo>
                    <a:pt x="0" y="260757"/>
                  </a:lnTo>
                  <a:lnTo>
                    <a:pt x="0" y="244218"/>
                  </a:lnTo>
                  <a:lnTo>
                    <a:pt x="15741" y="209323"/>
                  </a:lnTo>
                  <a:lnTo>
                    <a:pt x="46045" y="179194"/>
                  </a:lnTo>
                  <a:lnTo>
                    <a:pt x="81398" y="155864"/>
                  </a:lnTo>
                  <a:lnTo>
                    <a:pt x="126265" y="133465"/>
                  </a:lnTo>
                  <a:lnTo>
                    <a:pt x="165898" y="117408"/>
                  </a:lnTo>
                  <a:lnTo>
                    <a:pt x="210436" y="102080"/>
                  </a:lnTo>
                  <a:lnTo>
                    <a:pt x="259629" y="87568"/>
                  </a:lnTo>
                  <a:lnTo>
                    <a:pt x="313200" y="73951"/>
                  </a:lnTo>
                  <a:lnTo>
                    <a:pt x="351212" y="65406"/>
                  </a:lnTo>
                  <a:lnTo>
                    <a:pt x="390955" y="57312"/>
                  </a:lnTo>
                  <a:lnTo>
                    <a:pt x="432331" y="49687"/>
                  </a:lnTo>
                  <a:lnTo>
                    <a:pt x="475243" y="42551"/>
                  </a:lnTo>
                  <a:lnTo>
                    <a:pt x="519585" y="35921"/>
                  </a:lnTo>
                  <a:lnTo>
                    <a:pt x="565253" y="29813"/>
                  </a:lnTo>
                  <a:lnTo>
                    <a:pt x="612134" y="24241"/>
                  </a:lnTo>
                  <a:lnTo>
                    <a:pt x="660117" y="19219"/>
                  </a:lnTo>
                  <a:lnTo>
                    <a:pt x="709085" y="14759"/>
                  </a:lnTo>
                  <a:lnTo>
                    <a:pt x="758922" y="10872"/>
                  </a:lnTo>
                  <a:lnTo>
                    <a:pt x="809506" y="7566"/>
                  </a:lnTo>
                  <a:lnTo>
                    <a:pt x="860716" y="4851"/>
                  </a:lnTo>
                  <a:lnTo>
                    <a:pt x="912429" y="2732"/>
                  </a:lnTo>
                  <a:lnTo>
                    <a:pt x="964520" y="1215"/>
                  </a:lnTo>
                  <a:lnTo>
                    <a:pt x="1016863" y="303"/>
                  </a:lnTo>
                  <a:lnTo>
                    <a:pt x="1069333" y="0"/>
                  </a:lnTo>
                  <a:lnTo>
                    <a:pt x="1121803" y="303"/>
                  </a:lnTo>
                  <a:lnTo>
                    <a:pt x="1174146" y="1215"/>
                  </a:lnTo>
                  <a:lnTo>
                    <a:pt x="1226237" y="2732"/>
                  </a:lnTo>
                  <a:lnTo>
                    <a:pt x="1277949" y="4851"/>
                  </a:lnTo>
                  <a:lnTo>
                    <a:pt x="1329160" y="7566"/>
                  </a:lnTo>
                  <a:lnTo>
                    <a:pt x="1379744" y="10872"/>
                  </a:lnTo>
                  <a:lnTo>
                    <a:pt x="1429581" y="14759"/>
                  </a:lnTo>
                  <a:lnTo>
                    <a:pt x="1478549" y="19219"/>
                  </a:lnTo>
                  <a:lnTo>
                    <a:pt x="1526532" y="24241"/>
                  </a:lnTo>
                  <a:lnTo>
                    <a:pt x="1573413" y="29813"/>
                  </a:lnTo>
                  <a:lnTo>
                    <a:pt x="1619080" y="35921"/>
                  </a:lnTo>
                  <a:lnTo>
                    <a:pt x="1663423" y="42551"/>
                  </a:lnTo>
                  <a:lnTo>
                    <a:pt x="1706334" y="49687"/>
                  </a:lnTo>
                  <a:lnTo>
                    <a:pt x="1747711" y="57312"/>
                  </a:lnTo>
                  <a:lnTo>
                    <a:pt x="1787454" y="65406"/>
                  </a:lnTo>
                  <a:lnTo>
                    <a:pt x="1825466" y="73951"/>
                  </a:lnTo>
                  <a:lnTo>
                    <a:pt x="1879037" y="87568"/>
                  </a:lnTo>
                  <a:lnTo>
                    <a:pt x="1928230" y="102080"/>
                  </a:lnTo>
                  <a:lnTo>
                    <a:pt x="1972768" y="117408"/>
                  </a:lnTo>
                  <a:lnTo>
                    <a:pt x="2012401" y="133465"/>
                  </a:lnTo>
                  <a:lnTo>
                    <a:pt x="2046925" y="150167"/>
                  </a:lnTo>
                  <a:lnTo>
                    <a:pt x="2084693" y="173285"/>
                  </a:lnTo>
                  <a:lnTo>
                    <a:pt x="2118119" y="203229"/>
                  </a:lnTo>
                  <a:lnTo>
                    <a:pt x="2138666" y="244218"/>
                  </a:lnTo>
                  <a:lnTo>
                    <a:pt x="2138666" y="252487"/>
                  </a:lnTo>
                  <a:lnTo>
                    <a:pt x="2138666" y="260757"/>
                  </a:lnTo>
                  <a:lnTo>
                    <a:pt x="2122925" y="295651"/>
                  </a:lnTo>
                  <a:lnTo>
                    <a:pt x="2092621" y="325780"/>
                  </a:lnTo>
                  <a:lnTo>
                    <a:pt x="2057268" y="349110"/>
                  </a:lnTo>
                  <a:lnTo>
                    <a:pt x="2012401" y="371509"/>
                  </a:lnTo>
                  <a:lnTo>
                    <a:pt x="1972767" y="387566"/>
                  </a:lnTo>
                  <a:lnTo>
                    <a:pt x="1928230" y="402894"/>
                  </a:lnTo>
                  <a:lnTo>
                    <a:pt x="1879037" y="417407"/>
                  </a:lnTo>
                  <a:lnTo>
                    <a:pt x="1825466" y="431023"/>
                  </a:lnTo>
                  <a:lnTo>
                    <a:pt x="1787454" y="439568"/>
                  </a:lnTo>
                  <a:lnTo>
                    <a:pt x="1747711" y="447663"/>
                  </a:lnTo>
                  <a:lnTo>
                    <a:pt x="1706334" y="455287"/>
                  </a:lnTo>
                  <a:lnTo>
                    <a:pt x="1663423" y="462423"/>
                  </a:lnTo>
                  <a:lnTo>
                    <a:pt x="1619080" y="469053"/>
                  </a:lnTo>
                  <a:lnTo>
                    <a:pt x="1573413" y="475161"/>
                  </a:lnTo>
                  <a:lnTo>
                    <a:pt x="1526532" y="480734"/>
                  </a:lnTo>
                  <a:lnTo>
                    <a:pt x="1478549" y="485755"/>
                  </a:lnTo>
                  <a:lnTo>
                    <a:pt x="1429581" y="490216"/>
                  </a:lnTo>
                  <a:lnTo>
                    <a:pt x="1379744" y="494103"/>
                  </a:lnTo>
                  <a:lnTo>
                    <a:pt x="1329160" y="497408"/>
                  </a:lnTo>
                  <a:lnTo>
                    <a:pt x="1277949" y="500123"/>
                  </a:lnTo>
                  <a:lnTo>
                    <a:pt x="1226237" y="502242"/>
                  </a:lnTo>
                  <a:lnTo>
                    <a:pt x="1174146" y="503759"/>
                  </a:lnTo>
                  <a:lnTo>
                    <a:pt x="1121803" y="504671"/>
                  </a:lnTo>
                  <a:lnTo>
                    <a:pt x="1069333" y="504975"/>
                  </a:lnTo>
                  <a:close/>
                </a:path>
              </a:pathLst>
            </a:custGeom>
            <a:solidFill>
              <a:srgbClr val="0090AE">
                <a:alpha val="49798"/>
              </a:srgbClr>
            </a:solidFill>
          </p:spPr>
          <p:txBody>
            <a:bodyPr wrap="square" lIns="0" tIns="0" rIns="0" bIns="0" rtlCol="0"/>
            <a:lstStyle/>
            <a:p>
              <a:endParaRPr/>
            </a:p>
          </p:txBody>
        </p:sp>
        <p:sp>
          <p:nvSpPr>
            <p:cNvPr id="34" name="object 34"/>
            <p:cNvSpPr/>
            <p:nvPr/>
          </p:nvSpPr>
          <p:spPr>
            <a:xfrm>
              <a:off x="1890852" y="6223520"/>
              <a:ext cx="15190469" cy="984885"/>
            </a:xfrm>
            <a:custGeom>
              <a:avLst/>
              <a:gdLst/>
              <a:ahLst/>
              <a:cxnLst/>
              <a:rect l="l" t="t" r="r" b="b"/>
              <a:pathLst>
                <a:path w="15190469" h="984884">
                  <a:moveTo>
                    <a:pt x="2688336" y="485775"/>
                  </a:moveTo>
                  <a:lnTo>
                    <a:pt x="2685948" y="437769"/>
                  </a:lnTo>
                  <a:lnTo>
                    <a:pt x="2678912" y="390563"/>
                  </a:lnTo>
                  <a:lnTo>
                    <a:pt x="2667330" y="344500"/>
                  </a:lnTo>
                  <a:lnTo>
                    <a:pt x="2651353" y="299885"/>
                  </a:lnTo>
                  <a:lnTo>
                    <a:pt x="2631097" y="257035"/>
                  </a:lnTo>
                  <a:lnTo>
                    <a:pt x="2606713" y="216268"/>
                  </a:lnTo>
                  <a:lnTo>
                    <a:pt x="2578316" y="177914"/>
                  </a:lnTo>
                  <a:lnTo>
                    <a:pt x="2546045" y="142290"/>
                  </a:lnTo>
                  <a:lnTo>
                    <a:pt x="2510421" y="110020"/>
                  </a:lnTo>
                  <a:lnTo>
                    <a:pt x="2472067" y="81622"/>
                  </a:lnTo>
                  <a:lnTo>
                    <a:pt x="2431300" y="57226"/>
                  </a:lnTo>
                  <a:lnTo>
                    <a:pt x="2388451" y="36982"/>
                  </a:lnTo>
                  <a:lnTo>
                    <a:pt x="2343835" y="21005"/>
                  </a:lnTo>
                  <a:lnTo>
                    <a:pt x="2297773" y="9423"/>
                  </a:lnTo>
                  <a:lnTo>
                    <a:pt x="2250567" y="2387"/>
                  </a:lnTo>
                  <a:lnTo>
                    <a:pt x="2202561" y="0"/>
                  </a:lnTo>
                  <a:lnTo>
                    <a:pt x="485775" y="0"/>
                  </a:lnTo>
                  <a:lnTo>
                    <a:pt x="437756" y="2387"/>
                  </a:lnTo>
                  <a:lnTo>
                    <a:pt x="390563" y="9423"/>
                  </a:lnTo>
                  <a:lnTo>
                    <a:pt x="344487" y="21005"/>
                  </a:lnTo>
                  <a:lnTo>
                    <a:pt x="299872" y="36982"/>
                  </a:lnTo>
                  <a:lnTo>
                    <a:pt x="257022" y="57226"/>
                  </a:lnTo>
                  <a:lnTo>
                    <a:pt x="216268" y="81622"/>
                  </a:lnTo>
                  <a:lnTo>
                    <a:pt x="177901" y="110020"/>
                  </a:lnTo>
                  <a:lnTo>
                    <a:pt x="142278" y="142290"/>
                  </a:lnTo>
                  <a:lnTo>
                    <a:pt x="110007" y="177914"/>
                  </a:lnTo>
                  <a:lnTo>
                    <a:pt x="81610" y="216268"/>
                  </a:lnTo>
                  <a:lnTo>
                    <a:pt x="57226" y="257035"/>
                  </a:lnTo>
                  <a:lnTo>
                    <a:pt x="36969" y="299885"/>
                  </a:lnTo>
                  <a:lnTo>
                    <a:pt x="20993" y="344500"/>
                  </a:lnTo>
                  <a:lnTo>
                    <a:pt x="9410" y="390563"/>
                  </a:lnTo>
                  <a:lnTo>
                    <a:pt x="2374" y="437769"/>
                  </a:lnTo>
                  <a:lnTo>
                    <a:pt x="0" y="485775"/>
                  </a:lnTo>
                  <a:lnTo>
                    <a:pt x="0" y="498779"/>
                  </a:lnTo>
                  <a:lnTo>
                    <a:pt x="2374" y="546785"/>
                  </a:lnTo>
                  <a:lnTo>
                    <a:pt x="9410" y="593991"/>
                  </a:lnTo>
                  <a:lnTo>
                    <a:pt x="20993" y="640054"/>
                  </a:lnTo>
                  <a:lnTo>
                    <a:pt x="36969" y="684682"/>
                  </a:lnTo>
                  <a:lnTo>
                    <a:pt x="57226" y="727519"/>
                  </a:lnTo>
                  <a:lnTo>
                    <a:pt x="81610" y="768286"/>
                  </a:lnTo>
                  <a:lnTo>
                    <a:pt x="110007" y="806640"/>
                  </a:lnTo>
                  <a:lnTo>
                    <a:pt x="142278" y="842276"/>
                  </a:lnTo>
                  <a:lnTo>
                    <a:pt x="177901" y="874547"/>
                  </a:lnTo>
                  <a:lnTo>
                    <a:pt x="216268" y="902931"/>
                  </a:lnTo>
                  <a:lnTo>
                    <a:pt x="257022" y="927328"/>
                  </a:lnTo>
                  <a:lnTo>
                    <a:pt x="299872" y="947572"/>
                  </a:lnTo>
                  <a:lnTo>
                    <a:pt x="344487" y="963561"/>
                  </a:lnTo>
                  <a:lnTo>
                    <a:pt x="390563" y="975131"/>
                  </a:lnTo>
                  <a:lnTo>
                    <a:pt x="437756" y="982179"/>
                  </a:lnTo>
                  <a:lnTo>
                    <a:pt x="485775" y="984554"/>
                  </a:lnTo>
                  <a:lnTo>
                    <a:pt x="2202561" y="984554"/>
                  </a:lnTo>
                  <a:lnTo>
                    <a:pt x="2250567" y="982179"/>
                  </a:lnTo>
                  <a:lnTo>
                    <a:pt x="2297773" y="975131"/>
                  </a:lnTo>
                  <a:lnTo>
                    <a:pt x="2343835" y="963561"/>
                  </a:lnTo>
                  <a:lnTo>
                    <a:pt x="2388451" y="947572"/>
                  </a:lnTo>
                  <a:lnTo>
                    <a:pt x="2431300" y="927328"/>
                  </a:lnTo>
                  <a:lnTo>
                    <a:pt x="2472067" y="902931"/>
                  </a:lnTo>
                  <a:lnTo>
                    <a:pt x="2510421" y="874547"/>
                  </a:lnTo>
                  <a:lnTo>
                    <a:pt x="2546045" y="842276"/>
                  </a:lnTo>
                  <a:lnTo>
                    <a:pt x="2578316" y="806640"/>
                  </a:lnTo>
                  <a:lnTo>
                    <a:pt x="2606713" y="768286"/>
                  </a:lnTo>
                  <a:lnTo>
                    <a:pt x="2631097" y="727519"/>
                  </a:lnTo>
                  <a:lnTo>
                    <a:pt x="2651353" y="684682"/>
                  </a:lnTo>
                  <a:lnTo>
                    <a:pt x="2667330" y="640054"/>
                  </a:lnTo>
                  <a:lnTo>
                    <a:pt x="2678912" y="593991"/>
                  </a:lnTo>
                  <a:lnTo>
                    <a:pt x="2685948" y="546785"/>
                  </a:lnTo>
                  <a:lnTo>
                    <a:pt x="2688336" y="498779"/>
                  </a:lnTo>
                  <a:lnTo>
                    <a:pt x="2688336" y="485775"/>
                  </a:lnTo>
                  <a:close/>
                </a:path>
                <a:path w="15190469" h="984884">
                  <a:moveTo>
                    <a:pt x="5727331" y="485775"/>
                  </a:moveTo>
                  <a:lnTo>
                    <a:pt x="5724957" y="437769"/>
                  </a:lnTo>
                  <a:lnTo>
                    <a:pt x="5717908" y="390563"/>
                  </a:lnTo>
                  <a:lnTo>
                    <a:pt x="5706338" y="344500"/>
                  </a:lnTo>
                  <a:lnTo>
                    <a:pt x="5690349" y="299885"/>
                  </a:lnTo>
                  <a:lnTo>
                    <a:pt x="5670105" y="257035"/>
                  </a:lnTo>
                  <a:lnTo>
                    <a:pt x="5645709" y="216268"/>
                  </a:lnTo>
                  <a:lnTo>
                    <a:pt x="5617324" y="177914"/>
                  </a:lnTo>
                  <a:lnTo>
                    <a:pt x="5585053" y="142290"/>
                  </a:lnTo>
                  <a:lnTo>
                    <a:pt x="5549417" y="110020"/>
                  </a:lnTo>
                  <a:lnTo>
                    <a:pt x="5511063" y="81622"/>
                  </a:lnTo>
                  <a:lnTo>
                    <a:pt x="5470296" y="57226"/>
                  </a:lnTo>
                  <a:lnTo>
                    <a:pt x="5427446" y="36982"/>
                  </a:lnTo>
                  <a:lnTo>
                    <a:pt x="5382831" y="21005"/>
                  </a:lnTo>
                  <a:lnTo>
                    <a:pt x="5336768" y="9423"/>
                  </a:lnTo>
                  <a:lnTo>
                    <a:pt x="5289562" y="2387"/>
                  </a:lnTo>
                  <a:lnTo>
                    <a:pt x="5241556" y="0"/>
                  </a:lnTo>
                  <a:lnTo>
                    <a:pt x="3524770" y="0"/>
                  </a:lnTo>
                  <a:lnTo>
                    <a:pt x="3476752" y="2387"/>
                  </a:lnTo>
                  <a:lnTo>
                    <a:pt x="3429558" y="9423"/>
                  </a:lnTo>
                  <a:lnTo>
                    <a:pt x="3383496" y="21005"/>
                  </a:lnTo>
                  <a:lnTo>
                    <a:pt x="3338868" y="36982"/>
                  </a:lnTo>
                  <a:lnTo>
                    <a:pt x="3296018" y="57226"/>
                  </a:lnTo>
                  <a:lnTo>
                    <a:pt x="3255264" y="81622"/>
                  </a:lnTo>
                  <a:lnTo>
                    <a:pt x="3216910" y="110020"/>
                  </a:lnTo>
                  <a:lnTo>
                    <a:pt x="3181273" y="142290"/>
                  </a:lnTo>
                  <a:lnTo>
                    <a:pt x="3149003" y="177914"/>
                  </a:lnTo>
                  <a:lnTo>
                    <a:pt x="3120606" y="216268"/>
                  </a:lnTo>
                  <a:lnTo>
                    <a:pt x="3096222" y="257035"/>
                  </a:lnTo>
                  <a:lnTo>
                    <a:pt x="3075978" y="299885"/>
                  </a:lnTo>
                  <a:lnTo>
                    <a:pt x="3059988" y="344500"/>
                  </a:lnTo>
                  <a:lnTo>
                    <a:pt x="3048419" y="390563"/>
                  </a:lnTo>
                  <a:lnTo>
                    <a:pt x="3041370" y="437769"/>
                  </a:lnTo>
                  <a:lnTo>
                    <a:pt x="3038995" y="485775"/>
                  </a:lnTo>
                  <a:lnTo>
                    <a:pt x="3038995" y="498779"/>
                  </a:lnTo>
                  <a:lnTo>
                    <a:pt x="3041370" y="546785"/>
                  </a:lnTo>
                  <a:lnTo>
                    <a:pt x="3048419" y="593991"/>
                  </a:lnTo>
                  <a:lnTo>
                    <a:pt x="3059988" y="640054"/>
                  </a:lnTo>
                  <a:lnTo>
                    <a:pt x="3075978" y="684682"/>
                  </a:lnTo>
                  <a:lnTo>
                    <a:pt x="3096222" y="727519"/>
                  </a:lnTo>
                  <a:lnTo>
                    <a:pt x="3120606" y="768286"/>
                  </a:lnTo>
                  <a:lnTo>
                    <a:pt x="3149003" y="806640"/>
                  </a:lnTo>
                  <a:lnTo>
                    <a:pt x="3181273" y="842276"/>
                  </a:lnTo>
                  <a:lnTo>
                    <a:pt x="3216910" y="874547"/>
                  </a:lnTo>
                  <a:lnTo>
                    <a:pt x="3255264" y="902931"/>
                  </a:lnTo>
                  <a:lnTo>
                    <a:pt x="3296018" y="927328"/>
                  </a:lnTo>
                  <a:lnTo>
                    <a:pt x="3338868" y="947572"/>
                  </a:lnTo>
                  <a:lnTo>
                    <a:pt x="3383496" y="963561"/>
                  </a:lnTo>
                  <a:lnTo>
                    <a:pt x="3429558" y="975131"/>
                  </a:lnTo>
                  <a:lnTo>
                    <a:pt x="3476752" y="982179"/>
                  </a:lnTo>
                  <a:lnTo>
                    <a:pt x="3524770" y="984554"/>
                  </a:lnTo>
                  <a:lnTo>
                    <a:pt x="5241556" y="984554"/>
                  </a:lnTo>
                  <a:lnTo>
                    <a:pt x="5289562" y="982179"/>
                  </a:lnTo>
                  <a:lnTo>
                    <a:pt x="5336768" y="975131"/>
                  </a:lnTo>
                  <a:lnTo>
                    <a:pt x="5382831" y="963561"/>
                  </a:lnTo>
                  <a:lnTo>
                    <a:pt x="5427446" y="947572"/>
                  </a:lnTo>
                  <a:lnTo>
                    <a:pt x="5470296" y="927328"/>
                  </a:lnTo>
                  <a:lnTo>
                    <a:pt x="5511063" y="902931"/>
                  </a:lnTo>
                  <a:lnTo>
                    <a:pt x="5549417" y="874547"/>
                  </a:lnTo>
                  <a:lnTo>
                    <a:pt x="5585053" y="842276"/>
                  </a:lnTo>
                  <a:lnTo>
                    <a:pt x="5617324" y="806640"/>
                  </a:lnTo>
                  <a:lnTo>
                    <a:pt x="5645709" y="768286"/>
                  </a:lnTo>
                  <a:lnTo>
                    <a:pt x="5670105" y="727519"/>
                  </a:lnTo>
                  <a:lnTo>
                    <a:pt x="5690349" y="684682"/>
                  </a:lnTo>
                  <a:lnTo>
                    <a:pt x="5706338" y="640054"/>
                  </a:lnTo>
                  <a:lnTo>
                    <a:pt x="5717908" y="593991"/>
                  </a:lnTo>
                  <a:lnTo>
                    <a:pt x="5724957" y="546785"/>
                  </a:lnTo>
                  <a:lnTo>
                    <a:pt x="5727331" y="498779"/>
                  </a:lnTo>
                  <a:lnTo>
                    <a:pt x="5727331" y="485775"/>
                  </a:lnTo>
                  <a:close/>
                </a:path>
                <a:path w="15190469" h="984884">
                  <a:moveTo>
                    <a:pt x="8880310" y="485775"/>
                  </a:moveTo>
                  <a:lnTo>
                    <a:pt x="8877935" y="437769"/>
                  </a:lnTo>
                  <a:lnTo>
                    <a:pt x="8870899" y="390563"/>
                  </a:lnTo>
                  <a:lnTo>
                    <a:pt x="8859317" y="344500"/>
                  </a:lnTo>
                  <a:lnTo>
                    <a:pt x="8843340" y="299885"/>
                  </a:lnTo>
                  <a:lnTo>
                    <a:pt x="8823084" y="257035"/>
                  </a:lnTo>
                  <a:lnTo>
                    <a:pt x="8798700" y="216268"/>
                  </a:lnTo>
                  <a:lnTo>
                    <a:pt x="8770302" y="177914"/>
                  </a:lnTo>
                  <a:lnTo>
                    <a:pt x="8738032" y="142290"/>
                  </a:lnTo>
                  <a:lnTo>
                    <a:pt x="8702408" y="110020"/>
                  </a:lnTo>
                  <a:lnTo>
                    <a:pt x="8664042" y="81622"/>
                  </a:lnTo>
                  <a:lnTo>
                    <a:pt x="8623287" y="57226"/>
                  </a:lnTo>
                  <a:lnTo>
                    <a:pt x="8580437" y="36982"/>
                  </a:lnTo>
                  <a:lnTo>
                    <a:pt x="8535822" y="21005"/>
                  </a:lnTo>
                  <a:lnTo>
                    <a:pt x="8489747" y="9423"/>
                  </a:lnTo>
                  <a:lnTo>
                    <a:pt x="8442554" y="2387"/>
                  </a:lnTo>
                  <a:lnTo>
                    <a:pt x="8394535" y="0"/>
                  </a:lnTo>
                  <a:lnTo>
                    <a:pt x="6677749" y="0"/>
                  </a:lnTo>
                  <a:lnTo>
                    <a:pt x="6629743" y="2387"/>
                  </a:lnTo>
                  <a:lnTo>
                    <a:pt x="6582537" y="9423"/>
                  </a:lnTo>
                  <a:lnTo>
                    <a:pt x="6536474" y="21005"/>
                  </a:lnTo>
                  <a:lnTo>
                    <a:pt x="6491859" y="36982"/>
                  </a:lnTo>
                  <a:lnTo>
                    <a:pt x="6449009" y="57226"/>
                  </a:lnTo>
                  <a:lnTo>
                    <a:pt x="6408242" y="81622"/>
                  </a:lnTo>
                  <a:lnTo>
                    <a:pt x="6369888" y="110020"/>
                  </a:lnTo>
                  <a:lnTo>
                    <a:pt x="6334265" y="142290"/>
                  </a:lnTo>
                  <a:lnTo>
                    <a:pt x="6301994" y="177914"/>
                  </a:lnTo>
                  <a:lnTo>
                    <a:pt x="6273597" y="216268"/>
                  </a:lnTo>
                  <a:lnTo>
                    <a:pt x="6249213" y="257035"/>
                  </a:lnTo>
                  <a:lnTo>
                    <a:pt x="6228956" y="299885"/>
                  </a:lnTo>
                  <a:lnTo>
                    <a:pt x="6212979" y="344500"/>
                  </a:lnTo>
                  <a:lnTo>
                    <a:pt x="6201397" y="390563"/>
                  </a:lnTo>
                  <a:lnTo>
                    <a:pt x="6194361" y="437769"/>
                  </a:lnTo>
                  <a:lnTo>
                    <a:pt x="6191974" y="485775"/>
                  </a:lnTo>
                  <a:lnTo>
                    <a:pt x="6191974" y="498779"/>
                  </a:lnTo>
                  <a:lnTo>
                    <a:pt x="6194361" y="546785"/>
                  </a:lnTo>
                  <a:lnTo>
                    <a:pt x="6201397" y="593991"/>
                  </a:lnTo>
                  <a:lnTo>
                    <a:pt x="6212979" y="640054"/>
                  </a:lnTo>
                  <a:lnTo>
                    <a:pt x="6228956" y="684682"/>
                  </a:lnTo>
                  <a:lnTo>
                    <a:pt x="6249213" y="727519"/>
                  </a:lnTo>
                  <a:lnTo>
                    <a:pt x="6273597" y="768286"/>
                  </a:lnTo>
                  <a:lnTo>
                    <a:pt x="6301994" y="806640"/>
                  </a:lnTo>
                  <a:lnTo>
                    <a:pt x="6334265" y="842276"/>
                  </a:lnTo>
                  <a:lnTo>
                    <a:pt x="6369888" y="874547"/>
                  </a:lnTo>
                  <a:lnTo>
                    <a:pt x="6408242" y="902931"/>
                  </a:lnTo>
                  <a:lnTo>
                    <a:pt x="6449009" y="927328"/>
                  </a:lnTo>
                  <a:lnTo>
                    <a:pt x="6491859" y="947572"/>
                  </a:lnTo>
                  <a:lnTo>
                    <a:pt x="6536474" y="963561"/>
                  </a:lnTo>
                  <a:lnTo>
                    <a:pt x="6582537" y="975131"/>
                  </a:lnTo>
                  <a:lnTo>
                    <a:pt x="6629743" y="982179"/>
                  </a:lnTo>
                  <a:lnTo>
                    <a:pt x="6677749" y="984554"/>
                  </a:lnTo>
                  <a:lnTo>
                    <a:pt x="8394535" y="984554"/>
                  </a:lnTo>
                  <a:lnTo>
                    <a:pt x="8442554" y="982179"/>
                  </a:lnTo>
                  <a:lnTo>
                    <a:pt x="8489747" y="975131"/>
                  </a:lnTo>
                  <a:lnTo>
                    <a:pt x="8535822" y="963561"/>
                  </a:lnTo>
                  <a:lnTo>
                    <a:pt x="8580437" y="947572"/>
                  </a:lnTo>
                  <a:lnTo>
                    <a:pt x="8623287" y="927328"/>
                  </a:lnTo>
                  <a:lnTo>
                    <a:pt x="8664042" y="902931"/>
                  </a:lnTo>
                  <a:lnTo>
                    <a:pt x="8702408" y="874547"/>
                  </a:lnTo>
                  <a:lnTo>
                    <a:pt x="8738032" y="842276"/>
                  </a:lnTo>
                  <a:lnTo>
                    <a:pt x="8770302" y="806640"/>
                  </a:lnTo>
                  <a:lnTo>
                    <a:pt x="8798700" y="768286"/>
                  </a:lnTo>
                  <a:lnTo>
                    <a:pt x="8823084" y="727519"/>
                  </a:lnTo>
                  <a:lnTo>
                    <a:pt x="8843340" y="684682"/>
                  </a:lnTo>
                  <a:lnTo>
                    <a:pt x="8859317" y="640054"/>
                  </a:lnTo>
                  <a:lnTo>
                    <a:pt x="8870899" y="593991"/>
                  </a:lnTo>
                  <a:lnTo>
                    <a:pt x="8877935" y="546785"/>
                  </a:lnTo>
                  <a:lnTo>
                    <a:pt x="8880310" y="498779"/>
                  </a:lnTo>
                  <a:lnTo>
                    <a:pt x="8880310" y="485775"/>
                  </a:lnTo>
                  <a:close/>
                </a:path>
                <a:path w="15190469" h="984884">
                  <a:moveTo>
                    <a:pt x="12035371" y="485775"/>
                  </a:moveTo>
                  <a:lnTo>
                    <a:pt x="12032996" y="437769"/>
                  </a:lnTo>
                  <a:lnTo>
                    <a:pt x="12025948" y="390563"/>
                  </a:lnTo>
                  <a:lnTo>
                    <a:pt x="12014378" y="344500"/>
                  </a:lnTo>
                  <a:lnTo>
                    <a:pt x="11998389" y="299885"/>
                  </a:lnTo>
                  <a:lnTo>
                    <a:pt x="11978145" y="257035"/>
                  </a:lnTo>
                  <a:lnTo>
                    <a:pt x="11953761" y="216268"/>
                  </a:lnTo>
                  <a:lnTo>
                    <a:pt x="11925364" y="177914"/>
                  </a:lnTo>
                  <a:lnTo>
                    <a:pt x="11893093" y="142290"/>
                  </a:lnTo>
                  <a:lnTo>
                    <a:pt x="11857457" y="110020"/>
                  </a:lnTo>
                  <a:lnTo>
                    <a:pt x="11819103" y="81622"/>
                  </a:lnTo>
                  <a:lnTo>
                    <a:pt x="11778348" y="57226"/>
                  </a:lnTo>
                  <a:lnTo>
                    <a:pt x="11735499" y="36982"/>
                  </a:lnTo>
                  <a:lnTo>
                    <a:pt x="11690871" y="21005"/>
                  </a:lnTo>
                  <a:lnTo>
                    <a:pt x="11644808" y="9423"/>
                  </a:lnTo>
                  <a:lnTo>
                    <a:pt x="11597615" y="2387"/>
                  </a:lnTo>
                  <a:lnTo>
                    <a:pt x="11549596" y="0"/>
                  </a:lnTo>
                  <a:lnTo>
                    <a:pt x="9832810" y="0"/>
                  </a:lnTo>
                  <a:lnTo>
                    <a:pt x="9784804" y="2387"/>
                  </a:lnTo>
                  <a:lnTo>
                    <a:pt x="9737598" y="9423"/>
                  </a:lnTo>
                  <a:lnTo>
                    <a:pt x="9691535" y="21005"/>
                  </a:lnTo>
                  <a:lnTo>
                    <a:pt x="9646920" y="36982"/>
                  </a:lnTo>
                  <a:lnTo>
                    <a:pt x="9604070" y="57226"/>
                  </a:lnTo>
                  <a:lnTo>
                    <a:pt x="9563303" y="81622"/>
                  </a:lnTo>
                  <a:lnTo>
                    <a:pt x="9524949" y="110020"/>
                  </a:lnTo>
                  <a:lnTo>
                    <a:pt x="9489313" y="142290"/>
                  </a:lnTo>
                  <a:lnTo>
                    <a:pt x="9457042" y="177914"/>
                  </a:lnTo>
                  <a:lnTo>
                    <a:pt x="9428658" y="216268"/>
                  </a:lnTo>
                  <a:lnTo>
                    <a:pt x="9404261" y="257035"/>
                  </a:lnTo>
                  <a:lnTo>
                    <a:pt x="9384017" y="299885"/>
                  </a:lnTo>
                  <a:lnTo>
                    <a:pt x="9368041" y="344500"/>
                  </a:lnTo>
                  <a:lnTo>
                    <a:pt x="9356458" y="390563"/>
                  </a:lnTo>
                  <a:lnTo>
                    <a:pt x="9349410" y="437769"/>
                  </a:lnTo>
                  <a:lnTo>
                    <a:pt x="9347035" y="485775"/>
                  </a:lnTo>
                  <a:lnTo>
                    <a:pt x="9347035" y="498779"/>
                  </a:lnTo>
                  <a:lnTo>
                    <a:pt x="9349410" y="546785"/>
                  </a:lnTo>
                  <a:lnTo>
                    <a:pt x="9356458" y="593991"/>
                  </a:lnTo>
                  <a:lnTo>
                    <a:pt x="9368041" y="640054"/>
                  </a:lnTo>
                  <a:lnTo>
                    <a:pt x="9384017" y="684682"/>
                  </a:lnTo>
                  <a:lnTo>
                    <a:pt x="9404261" y="727519"/>
                  </a:lnTo>
                  <a:lnTo>
                    <a:pt x="9428658" y="768286"/>
                  </a:lnTo>
                  <a:lnTo>
                    <a:pt x="9457042" y="806640"/>
                  </a:lnTo>
                  <a:lnTo>
                    <a:pt x="9489313" y="842276"/>
                  </a:lnTo>
                  <a:lnTo>
                    <a:pt x="9524949" y="874547"/>
                  </a:lnTo>
                  <a:lnTo>
                    <a:pt x="9563303" y="902931"/>
                  </a:lnTo>
                  <a:lnTo>
                    <a:pt x="9604070" y="927328"/>
                  </a:lnTo>
                  <a:lnTo>
                    <a:pt x="9646920" y="947572"/>
                  </a:lnTo>
                  <a:lnTo>
                    <a:pt x="9691535" y="963561"/>
                  </a:lnTo>
                  <a:lnTo>
                    <a:pt x="9737598" y="975131"/>
                  </a:lnTo>
                  <a:lnTo>
                    <a:pt x="9784804" y="982179"/>
                  </a:lnTo>
                  <a:lnTo>
                    <a:pt x="9832810" y="984554"/>
                  </a:lnTo>
                  <a:lnTo>
                    <a:pt x="11549596" y="984554"/>
                  </a:lnTo>
                  <a:lnTo>
                    <a:pt x="11597615" y="982179"/>
                  </a:lnTo>
                  <a:lnTo>
                    <a:pt x="11644808" y="975131"/>
                  </a:lnTo>
                  <a:lnTo>
                    <a:pt x="11690871" y="963561"/>
                  </a:lnTo>
                  <a:lnTo>
                    <a:pt x="11735499" y="947572"/>
                  </a:lnTo>
                  <a:lnTo>
                    <a:pt x="11778348" y="927328"/>
                  </a:lnTo>
                  <a:lnTo>
                    <a:pt x="11819103" y="902931"/>
                  </a:lnTo>
                  <a:lnTo>
                    <a:pt x="11857457" y="874547"/>
                  </a:lnTo>
                  <a:lnTo>
                    <a:pt x="11893093" y="842276"/>
                  </a:lnTo>
                  <a:lnTo>
                    <a:pt x="11925364" y="806640"/>
                  </a:lnTo>
                  <a:lnTo>
                    <a:pt x="11953761" y="768286"/>
                  </a:lnTo>
                  <a:lnTo>
                    <a:pt x="11978145" y="727519"/>
                  </a:lnTo>
                  <a:lnTo>
                    <a:pt x="11998389" y="684682"/>
                  </a:lnTo>
                  <a:lnTo>
                    <a:pt x="12014378" y="640054"/>
                  </a:lnTo>
                  <a:lnTo>
                    <a:pt x="12025948" y="593991"/>
                  </a:lnTo>
                  <a:lnTo>
                    <a:pt x="12032996" y="546785"/>
                  </a:lnTo>
                  <a:lnTo>
                    <a:pt x="12035371" y="498779"/>
                  </a:lnTo>
                  <a:lnTo>
                    <a:pt x="12035371" y="485775"/>
                  </a:lnTo>
                  <a:close/>
                </a:path>
                <a:path w="15190469" h="984884">
                  <a:moveTo>
                    <a:pt x="15190432" y="485775"/>
                  </a:moveTo>
                  <a:lnTo>
                    <a:pt x="15188057" y="437769"/>
                  </a:lnTo>
                  <a:lnTo>
                    <a:pt x="15181009" y="390563"/>
                  </a:lnTo>
                  <a:lnTo>
                    <a:pt x="15169439" y="344500"/>
                  </a:lnTo>
                  <a:lnTo>
                    <a:pt x="15153450" y="299885"/>
                  </a:lnTo>
                  <a:lnTo>
                    <a:pt x="15133206" y="257035"/>
                  </a:lnTo>
                  <a:lnTo>
                    <a:pt x="15108822" y="216268"/>
                  </a:lnTo>
                  <a:lnTo>
                    <a:pt x="15080425" y="177914"/>
                  </a:lnTo>
                  <a:lnTo>
                    <a:pt x="15048154" y="142290"/>
                  </a:lnTo>
                  <a:lnTo>
                    <a:pt x="15012518" y="110020"/>
                  </a:lnTo>
                  <a:lnTo>
                    <a:pt x="14974164" y="81622"/>
                  </a:lnTo>
                  <a:lnTo>
                    <a:pt x="14933410" y="57226"/>
                  </a:lnTo>
                  <a:lnTo>
                    <a:pt x="14890560" y="36982"/>
                  </a:lnTo>
                  <a:lnTo>
                    <a:pt x="14845932" y="21005"/>
                  </a:lnTo>
                  <a:lnTo>
                    <a:pt x="14799869" y="9423"/>
                  </a:lnTo>
                  <a:lnTo>
                    <a:pt x="14752676" y="2387"/>
                  </a:lnTo>
                  <a:lnTo>
                    <a:pt x="14704657" y="0"/>
                  </a:lnTo>
                  <a:lnTo>
                    <a:pt x="12987871" y="0"/>
                  </a:lnTo>
                  <a:lnTo>
                    <a:pt x="12939865" y="2387"/>
                  </a:lnTo>
                  <a:lnTo>
                    <a:pt x="12892659" y="9423"/>
                  </a:lnTo>
                  <a:lnTo>
                    <a:pt x="12846596" y="21005"/>
                  </a:lnTo>
                  <a:lnTo>
                    <a:pt x="12801968" y="36982"/>
                  </a:lnTo>
                  <a:lnTo>
                    <a:pt x="12759131" y="57226"/>
                  </a:lnTo>
                  <a:lnTo>
                    <a:pt x="12718364" y="81622"/>
                  </a:lnTo>
                  <a:lnTo>
                    <a:pt x="12680010" y="110020"/>
                  </a:lnTo>
                  <a:lnTo>
                    <a:pt x="12644374" y="142290"/>
                  </a:lnTo>
                  <a:lnTo>
                    <a:pt x="12612103" y="177914"/>
                  </a:lnTo>
                  <a:lnTo>
                    <a:pt x="12583719" y="216268"/>
                  </a:lnTo>
                  <a:lnTo>
                    <a:pt x="12559322" y="257035"/>
                  </a:lnTo>
                  <a:lnTo>
                    <a:pt x="12539078" y="299885"/>
                  </a:lnTo>
                  <a:lnTo>
                    <a:pt x="12523089" y="344500"/>
                  </a:lnTo>
                  <a:lnTo>
                    <a:pt x="12511519" y="390563"/>
                  </a:lnTo>
                  <a:lnTo>
                    <a:pt x="12504471" y="437769"/>
                  </a:lnTo>
                  <a:lnTo>
                    <a:pt x="12502096" y="485775"/>
                  </a:lnTo>
                  <a:lnTo>
                    <a:pt x="12502096" y="498779"/>
                  </a:lnTo>
                  <a:lnTo>
                    <a:pt x="12504471" y="546785"/>
                  </a:lnTo>
                  <a:lnTo>
                    <a:pt x="12511519" y="593991"/>
                  </a:lnTo>
                  <a:lnTo>
                    <a:pt x="12523089" y="640054"/>
                  </a:lnTo>
                  <a:lnTo>
                    <a:pt x="12539078" y="684682"/>
                  </a:lnTo>
                  <a:lnTo>
                    <a:pt x="12559322" y="727519"/>
                  </a:lnTo>
                  <a:lnTo>
                    <a:pt x="12583719" y="768286"/>
                  </a:lnTo>
                  <a:lnTo>
                    <a:pt x="12612103" y="806640"/>
                  </a:lnTo>
                  <a:lnTo>
                    <a:pt x="12644374" y="842276"/>
                  </a:lnTo>
                  <a:lnTo>
                    <a:pt x="12680010" y="874547"/>
                  </a:lnTo>
                  <a:lnTo>
                    <a:pt x="12718364" y="902931"/>
                  </a:lnTo>
                  <a:lnTo>
                    <a:pt x="12759131" y="927328"/>
                  </a:lnTo>
                  <a:lnTo>
                    <a:pt x="12801968" y="947572"/>
                  </a:lnTo>
                  <a:lnTo>
                    <a:pt x="12846596" y="963561"/>
                  </a:lnTo>
                  <a:lnTo>
                    <a:pt x="12892659" y="975131"/>
                  </a:lnTo>
                  <a:lnTo>
                    <a:pt x="12939865" y="982179"/>
                  </a:lnTo>
                  <a:lnTo>
                    <a:pt x="12987871" y="984554"/>
                  </a:lnTo>
                  <a:lnTo>
                    <a:pt x="14704657" y="984554"/>
                  </a:lnTo>
                  <a:lnTo>
                    <a:pt x="14752676" y="982179"/>
                  </a:lnTo>
                  <a:lnTo>
                    <a:pt x="14799869" y="975131"/>
                  </a:lnTo>
                  <a:lnTo>
                    <a:pt x="14845932" y="963561"/>
                  </a:lnTo>
                  <a:lnTo>
                    <a:pt x="14890560" y="947572"/>
                  </a:lnTo>
                  <a:lnTo>
                    <a:pt x="14933410" y="927328"/>
                  </a:lnTo>
                  <a:lnTo>
                    <a:pt x="14974164" y="902931"/>
                  </a:lnTo>
                  <a:lnTo>
                    <a:pt x="15012518" y="874547"/>
                  </a:lnTo>
                  <a:lnTo>
                    <a:pt x="15048154" y="842276"/>
                  </a:lnTo>
                  <a:lnTo>
                    <a:pt x="15080425" y="806640"/>
                  </a:lnTo>
                  <a:lnTo>
                    <a:pt x="15108822" y="768286"/>
                  </a:lnTo>
                  <a:lnTo>
                    <a:pt x="15133206" y="727519"/>
                  </a:lnTo>
                  <a:lnTo>
                    <a:pt x="15153450" y="684682"/>
                  </a:lnTo>
                  <a:lnTo>
                    <a:pt x="15169439" y="640054"/>
                  </a:lnTo>
                  <a:lnTo>
                    <a:pt x="15181009" y="593991"/>
                  </a:lnTo>
                  <a:lnTo>
                    <a:pt x="15188057" y="546785"/>
                  </a:lnTo>
                  <a:lnTo>
                    <a:pt x="15190432" y="498779"/>
                  </a:lnTo>
                  <a:lnTo>
                    <a:pt x="15190432" y="485775"/>
                  </a:lnTo>
                  <a:close/>
                </a:path>
              </a:pathLst>
            </a:custGeom>
            <a:solidFill>
              <a:srgbClr val="E3112B"/>
            </a:solidFill>
          </p:spPr>
          <p:txBody>
            <a:bodyPr wrap="square" lIns="0" tIns="0" rIns="0" bIns="0" rtlCol="0"/>
            <a:lstStyle/>
            <a:p>
              <a:endParaRPr/>
            </a:p>
          </p:txBody>
        </p:sp>
      </p:grpSp>
      <p:sp>
        <p:nvSpPr>
          <p:cNvPr id="35" name="object 35"/>
          <p:cNvSpPr txBox="1"/>
          <p:nvPr/>
        </p:nvSpPr>
        <p:spPr>
          <a:xfrm>
            <a:off x="5284546" y="6507832"/>
            <a:ext cx="1999614" cy="345440"/>
          </a:xfrm>
          <a:prstGeom prst="rect">
            <a:avLst/>
          </a:prstGeom>
        </p:spPr>
        <p:txBody>
          <a:bodyPr vert="horz" wrap="square" lIns="0" tIns="12700" rIns="0" bIns="0" rtlCol="0">
            <a:spAutoFit/>
          </a:bodyPr>
          <a:lstStyle/>
          <a:p>
            <a:pPr marL="12700">
              <a:lnSpc>
                <a:spcPct val="100000"/>
              </a:lnSpc>
              <a:spcBef>
                <a:spcPts val="100"/>
              </a:spcBef>
            </a:pPr>
            <a:r>
              <a:rPr sz="2100" b="1" spc="80" dirty="0">
                <a:solidFill>
                  <a:srgbClr val="FFFFFF"/>
                </a:solidFill>
                <a:latin typeface="Arial"/>
                <a:cs typeface="Arial"/>
              </a:rPr>
              <a:t>Segmentación</a:t>
            </a:r>
            <a:endParaRPr sz="2100">
              <a:latin typeface="Arial"/>
              <a:cs typeface="Arial"/>
            </a:endParaRPr>
          </a:p>
        </p:txBody>
      </p:sp>
      <p:sp>
        <p:nvSpPr>
          <p:cNvPr id="36" name="object 36"/>
          <p:cNvSpPr txBox="1"/>
          <p:nvPr/>
        </p:nvSpPr>
        <p:spPr>
          <a:xfrm>
            <a:off x="8772561" y="6527286"/>
            <a:ext cx="1442720" cy="345440"/>
          </a:xfrm>
          <a:prstGeom prst="rect">
            <a:avLst/>
          </a:prstGeom>
        </p:spPr>
        <p:txBody>
          <a:bodyPr vert="horz" wrap="square" lIns="0" tIns="12700" rIns="0" bIns="0" rtlCol="0">
            <a:spAutoFit/>
          </a:bodyPr>
          <a:lstStyle/>
          <a:p>
            <a:pPr marL="12700">
              <a:lnSpc>
                <a:spcPct val="100000"/>
              </a:lnSpc>
              <a:spcBef>
                <a:spcPts val="100"/>
              </a:spcBef>
            </a:pPr>
            <a:r>
              <a:rPr sz="2100" b="1" spc="95" dirty="0">
                <a:solidFill>
                  <a:srgbClr val="FFFFFF"/>
                </a:solidFill>
                <a:latin typeface="Arial"/>
                <a:cs typeface="Arial"/>
              </a:rPr>
              <a:t>Captación</a:t>
            </a:r>
            <a:endParaRPr sz="2100">
              <a:latin typeface="Arial"/>
              <a:cs typeface="Arial"/>
            </a:endParaRPr>
          </a:p>
        </p:txBody>
      </p:sp>
      <p:sp>
        <p:nvSpPr>
          <p:cNvPr id="37" name="object 37"/>
          <p:cNvSpPr txBox="1"/>
          <p:nvPr/>
        </p:nvSpPr>
        <p:spPr>
          <a:xfrm>
            <a:off x="11503764" y="6528620"/>
            <a:ext cx="2175510" cy="345440"/>
          </a:xfrm>
          <a:prstGeom prst="rect">
            <a:avLst/>
          </a:prstGeom>
        </p:spPr>
        <p:txBody>
          <a:bodyPr vert="horz" wrap="square" lIns="0" tIns="12700" rIns="0" bIns="0" rtlCol="0">
            <a:spAutoFit/>
          </a:bodyPr>
          <a:lstStyle/>
          <a:p>
            <a:pPr marL="12700">
              <a:lnSpc>
                <a:spcPct val="100000"/>
              </a:lnSpc>
              <a:spcBef>
                <a:spcPts val="100"/>
              </a:spcBef>
            </a:pPr>
            <a:r>
              <a:rPr sz="2100" b="1" spc="105" dirty="0">
                <a:solidFill>
                  <a:srgbClr val="FFFFFF"/>
                </a:solidFill>
                <a:latin typeface="Arial"/>
                <a:cs typeface="Arial"/>
              </a:rPr>
              <a:t>Competitividad</a:t>
            </a:r>
            <a:endParaRPr sz="2100">
              <a:latin typeface="Arial"/>
              <a:cs typeface="Arial"/>
            </a:endParaRPr>
          </a:p>
        </p:txBody>
      </p:sp>
      <p:sp>
        <p:nvSpPr>
          <p:cNvPr id="38" name="object 38"/>
          <p:cNvSpPr txBox="1"/>
          <p:nvPr/>
        </p:nvSpPr>
        <p:spPr>
          <a:xfrm>
            <a:off x="14772521" y="6528620"/>
            <a:ext cx="1974214" cy="345440"/>
          </a:xfrm>
          <a:prstGeom prst="rect">
            <a:avLst/>
          </a:prstGeom>
        </p:spPr>
        <p:txBody>
          <a:bodyPr vert="horz" wrap="square" lIns="0" tIns="12700" rIns="0" bIns="0" rtlCol="0">
            <a:spAutoFit/>
          </a:bodyPr>
          <a:lstStyle/>
          <a:p>
            <a:pPr marL="12700">
              <a:lnSpc>
                <a:spcPct val="100000"/>
              </a:lnSpc>
              <a:spcBef>
                <a:spcPts val="100"/>
              </a:spcBef>
            </a:pPr>
            <a:r>
              <a:rPr sz="2100" b="1" spc="55" dirty="0">
                <a:solidFill>
                  <a:srgbClr val="FFFFFF"/>
                </a:solidFill>
                <a:latin typeface="Arial"/>
                <a:cs typeface="Arial"/>
              </a:rPr>
              <a:t>Comunicación</a:t>
            </a:r>
            <a:endParaRPr sz="2100">
              <a:latin typeface="Arial"/>
              <a:cs typeface="Arial"/>
            </a:endParaRPr>
          </a:p>
        </p:txBody>
      </p:sp>
      <p:sp>
        <p:nvSpPr>
          <p:cNvPr id="39" name="object 39"/>
          <p:cNvSpPr txBox="1"/>
          <p:nvPr/>
        </p:nvSpPr>
        <p:spPr>
          <a:xfrm>
            <a:off x="2316561" y="6527286"/>
            <a:ext cx="1765300" cy="345440"/>
          </a:xfrm>
          <a:prstGeom prst="rect">
            <a:avLst/>
          </a:prstGeom>
        </p:spPr>
        <p:txBody>
          <a:bodyPr vert="horz" wrap="square" lIns="0" tIns="12700" rIns="0" bIns="0" rtlCol="0">
            <a:spAutoFit/>
          </a:bodyPr>
          <a:lstStyle/>
          <a:p>
            <a:pPr marL="12700">
              <a:lnSpc>
                <a:spcPct val="100000"/>
              </a:lnSpc>
              <a:spcBef>
                <a:spcPts val="100"/>
              </a:spcBef>
            </a:pPr>
            <a:r>
              <a:rPr sz="2100" b="1" spc="140" dirty="0">
                <a:solidFill>
                  <a:srgbClr val="FFFFFF"/>
                </a:solidFill>
                <a:latin typeface="Arial"/>
                <a:cs typeface="Arial"/>
              </a:rPr>
              <a:t>Gobernanza</a:t>
            </a:r>
            <a:endParaRPr sz="2100">
              <a:latin typeface="Arial"/>
              <a:cs typeface="Arial"/>
            </a:endParaRPr>
          </a:p>
        </p:txBody>
      </p:sp>
      <p:sp>
        <p:nvSpPr>
          <p:cNvPr id="40" name="object 40"/>
          <p:cNvSpPr txBox="1"/>
          <p:nvPr/>
        </p:nvSpPr>
        <p:spPr>
          <a:xfrm>
            <a:off x="2497583" y="7758348"/>
            <a:ext cx="1353185" cy="984250"/>
          </a:xfrm>
          <a:prstGeom prst="rect">
            <a:avLst/>
          </a:prstGeom>
        </p:spPr>
        <p:txBody>
          <a:bodyPr vert="horz" wrap="square" lIns="0" tIns="24765" rIns="0" bIns="0" rtlCol="0">
            <a:spAutoFit/>
          </a:bodyPr>
          <a:lstStyle/>
          <a:p>
            <a:pPr marL="12700" marR="5080" indent="50165" algn="ctr">
              <a:lnSpc>
                <a:spcPts val="1880"/>
              </a:lnSpc>
              <a:spcBef>
                <a:spcPts val="195"/>
              </a:spcBef>
            </a:pPr>
            <a:r>
              <a:rPr sz="1600" b="1" spc="-10" dirty="0">
                <a:solidFill>
                  <a:srgbClr val="737373"/>
                </a:solidFill>
                <a:latin typeface="Roboto"/>
                <a:cs typeface="Roboto"/>
              </a:rPr>
              <a:t>Modelos </a:t>
            </a:r>
            <a:r>
              <a:rPr sz="1600" b="1" dirty="0">
                <a:solidFill>
                  <a:srgbClr val="737373"/>
                </a:solidFill>
                <a:latin typeface="Roboto"/>
                <a:cs typeface="Roboto"/>
              </a:rPr>
              <a:t>sostenibles</a:t>
            </a:r>
            <a:r>
              <a:rPr sz="1600" b="1" spc="-95" dirty="0">
                <a:solidFill>
                  <a:srgbClr val="737373"/>
                </a:solidFill>
                <a:latin typeface="Roboto"/>
                <a:cs typeface="Roboto"/>
              </a:rPr>
              <a:t> </a:t>
            </a:r>
            <a:r>
              <a:rPr sz="1600" b="1" spc="-25" dirty="0">
                <a:solidFill>
                  <a:srgbClr val="737373"/>
                </a:solidFill>
                <a:latin typeface="Roboto"/>
                <a:cs typeface="Roboto"/>
              </a:rPr>
              <a:t>de </a:t>
            </a:r>
            <a:r>
              <a:rPr sz="1600" b="1" spc="-10" dirty="0">
                <a:solidFill>
                  <a:srgbClr val="737373"/>
                </a:solidFill>
                <a:latin typeface="Roboto"/>
                <a:cs typeface="Roboto"/>
              </a:rPr>
              <a:t>Convention Bureaus</a:t>
            </a:r>
            <a:endParaRPr sz="1600">
              <a:latin typeface="Roboto"/>
              <a:cs typeface="Roboto"/>
            </a:endParaRPr>
          </a:p>
        </p:txBody>
      </p:sp>
      <p:sp>
        <p:nvSpPr>
          <p:cNvPr id="41" name="object 41"/>
          <p:cNvSpPr txBox="1"/>
          <p:nvPr/>
        </p:nvSpPr>
        <p:spPr>
          <a:xfrm>
            <a:off x="5676148" y="7761524"/>
            <a:ext cx="1119505" cy="473075"/>
          </a:xfrm>
          <a:prstGeom prst="rect">
            <a:avLst/>
          </a:prstGeom>
        </p:spPr>
        <p:txBody>
          <a:bodyPr vert="horz" wrap="square" lIns="0" tIns="27305" rIns="0" bIns="0" rtlCol="0">
            <a:spAutoFit/>
          </a:bodyPr>
          <a:lstStyle/>
          <a:p>
            <a:pPr marL="12700" marR="5080" indent="126364">
              <a:lnSpc>
                <a:spcPts val="1730"/>
              </a:lnSpc>
              <a:spcBef>
                <a:spcPts val="215"/>
              </a:spcBef>
            </a:pPr>
            <a:r>
              <a:rPr sz="1500" b="1" spc="-10" dirty="0">
                <a:solidFill>
                  <a:srgbClr val="737373"/>
                </a:solidFill>
                <a:latin typeface="Roboto"/>
                <a:cs typeface="Roboto"/>
              </a:rPr>
              <a:t>Acciones </a:t>
            </a:r>
            <a:r>
              <a:rPr sz="1500" b="1" dirty="0">
                <a:solidFill>
                  <a:srgbClr val="737373"/>
                </a:solidFill>
                <a:latin typeface="Roboto"/>
                <a:cs typeface="Roboto"/>
              </a:rPr>
              <a:t>directas </a:t>
            </a:r>
            <a:r>
              <a:rPr sz="1500" b="1" spc="-25" dirty="0">
                <a:solidFill>
                  <a:srgbClr val="737373"/>
                </a:solidFill>
                <a:latin typeface="Roboto"/>
                <a:cs typeface="Roboto"/>
              </a:rPr>
              <a:t>B2B</a:t>
            </a:r>
            <a:endParaRPr sz="1500">
              <a:latin typeface="Roboto"/>
              <a:cs typeface="Roboto"/>
            </a:endParaRPr>
          </a:p>
        </p:txBody>
      </p:sp>
      <p:sp>
        <p:nvSpPr>
          <p:cNvPr id="42" name="object 42"/>
          <p:cNvSpPr txBox="1"/>
          <p:nvPr/>
        </p:nvSpPr>
        <p:spPr>
          <a:xfrm>
            <a:off x="8831671" y="7472997"/>
            <a:ext cx="1190625" cy="1568450"/>
          </a:xfrm>
          <a:prstGeom prst="rect">
            <a:avLst/>
          </a:prstGeom>
        </p:spPr>
        <p:txBody>
          <a:bodyPr vert="horz" wrap="square" lIns="0" tIns="27305" rIns="0" bIns="0" rtlCol="0">
            <a:spAutoFit/>
          </a:bodyPr>
          <a:lstStyle/>
          <a:p>
            <a:pPr marL="12700" marR="5080" algn="ctr">
              <a:lnSpc>
                <a:spcPts val="1730"/>
              </a:lnSpc>
              <a:spcBef>
                <a:spcPts val="215"/>
              </a:spcBef>
            </a:pPr>
            <a:r>
              <a:rPr sz="1500" b="1" spc="-10" dirty="0">
                <a:solidFill>
                  <a:srgbClr val="737373"/>
                </a:solidFill>
                <a:latin typeface="Roboto"/>
                <a:cs typeface="Roboto"/>
              </a:rPr>
              <a:t>Profundizar Programa Embajadores, acciones específicas segmento corporativo</a:t>
            </a:r>
            <a:endParaRPr sz="1500">
              <a:latin typeface="Roboto"/>
              <a:cs typeface="Roboto"/>
            </a:endParaRPr>
          </a:p>
        </p:txBody>
      </p:sp>
      <p:sp>
        <p:nvSpPr>
          <p:cNvPr id="43" name="object 43"/>
          <p:cNvSpPr txBox="1"/>
          <p:nvPr/>
        </p:nvSpPr>
        <p:spPr>
          <a:xfrm>
            <a:off x="11702755" y="7761524"/>
            <a:ext cx="1806575" cy="692150"/>
          </a:xfrm>
          <a:prstGeom prst="rect">
            <a:avLst/>
          </a:prstGeom>
        </p:spPr>
        <p:txBody>
          <a:bodyPr vert="horz" wrap="square" lIns="0" tIns="27305" rIns="0" bIns="0" rtlCol="0">
            <a:spAutoFit/>
          </a:bodyPr>
          <a:lstStyle/>
          <a:p>
            <a:pPr marL="12700" marR="5080" algn="ctr">
              <a:lnSpc>
                <a:spcPts val="1730"/>
              </a:lnSpc>
              <a:spcBef>
                <a:spcPts val="215"/>
              </a:spcBef>
            </a:pPr>
            <a:r>
              <a:rPr sz="1500" b="1" spc="-10" dirty="0">
                <a:solidFill>
                  <a:srgbClr val="737373"/>
                </a:solidFill>
                <a:latin typeface="Roboto"/>
                <a:cs typeface="Roboto"/>
              </a:rPr>
              <a:t>Mejorar competitividad</a:t>
            </a:r>
            <a:r>
              <a:rPr sz="1500" b="1" spc="35" dirty="0">
                <a:solidFill>
                  <a:srgbClr val="737373"/>
                </a:solidFill>
                <a:latin typeface="Roboto"/>
                <a:cs typeface="Roboto"/>
              </a:rPr>
              <a:t> </a:t>
            </a:r>
            <a:r>
              <a:rPr sz="1500" b="1" spc="-25" dirty="0">
                <a:solidFill>
                  <a:srgbClr val="737373"/>
                </a:solidFill>
                <a:latin typeface="Roboto"/>
                <a:cs typeface="Roboto"/>
              </a:rPr>
              <a:t>de </a:t>
            </a:r>
            <a:r>
              <a:rPr sz="1500" b="1" dirty="0">
                <a:solidFill>
                  <a:srgbClr val="737373"/>
                </a:solidFill>
                <a:latin typeface="Roboto"/>
                <a:cs typeface="Roboto"/>
              </a:rPr>
              <a:t>toda</a:t>
            </a:r>
            <a:r>
              <a:rPr sz="1500" b="1" spc="-15" dirty="0">
                <a:solidFill>
                  <a:srgbClr val="737373"/>
                </a:solidFill>
                <a:latin typeface="Roboto"/>
                <a:cs typeface="Roboto"/>
              </a:rPr>
              <a:t> </a:t>
            </a:r>
            <a:r>
              <a:rPr sz="1500" b="1" dirty="0">
                <a:solidFill>
                  <a:srgbClr val="737373"/>
                </a:solidFill>
                <a:latin typeface="Roboto"/>
                <a:cs typeface="Roboto"/>
              </a:rPr>
              <a:t>cadena</a:t>
            </a:r>
            <a:r>
              <a:rPr sz="1500" b="1" spc="-10" dirty="0">
                <a:solidFill>
                  <a:srgbClr val="737373"/>
                </a:solidFill>
                <a:latin typeface="Roboto"/>
                <a:cs typeface="Roboto"/>
              </a:rPr>
              <a:t> </a:t>
            </a:r>
            <a:r>
              <a:rPr sz="1500" b="1" dirty="0">
                <a:solidFill>
                  <a:srgbClr val="737373"/>
                </a:solidFill>
                <a:latin typeface="Roboto"/>
                <a:cs typeface="Roboto"/>
              </a:rPr>
              <a:t>de</a:t>
            </a:r>
            <a:r>
              <a:rPr sz="1500" b="1" spc="-10" dirty="0">
                <a:solidFill>
                  <a:srgbClr val="737373"/>
                </a:solidFill>
                <a:latin typeface="Roboto"/>
                <a:cs typeface="Roboto"/>
              </a:rPr>
              <a:t> valor</a:t>
            </a:r>
            <a:endParaRPr sz="1500">
              <a:latin typeface="Roboto"/>
              <a:cs typeface="Roboto"/>
            </a:endParaRPr>
          </a:p>
        </p:txBody>
      </p:sp>
      <p:sp>
        <p:nvSpPr>
          <p:cNvPr id="44" name="object 44"/>
          <p:cNvSpPr txBox="1"/>
          <p:nvPr/>
        </p:nvSpPr>
        <p:spPr>
          <a:xfrm>
            <a:off x="14875811" y="7761524"/>
            <a:ext cx="1706880" cy="692150"/>
          </a:xfrm>
          <a:prstGeom prst="rect">
            <a:avLst/>
          </a:prstGeom>
        </p:spPr>
        <p:txBody>
          <a:bodyPr vert="horz" wrap="square" lIns="0" tIns="27305" rIns="0" bIns="0" rtlCol="0">
            <a:spAutoFit/>
          </a:bodyPr>
          <a:lstStyle/>
          <a:p>
            <a:pPr marL="52069" marR="5080" indent="-40005" algn="just">
              <a:lnSpc>
                <a:spcPts val="1730"/>
              </a:lnSpc>
              <a:spcBef>
                <a:spcPts val="215"/>
              </a:spcBef>
            </a:pPr>
            <a:r>
              <a:rPr sz="1500" b="1" dirty="0">
                <a:solidFill>
                  <a:srgbClr val="737373"/>
                </a:solidFill>
                <a:latin typeface="Roboto"/>
                <a:cs typeface="Roboto"/>
              </a:rPr>
              <a:t>Mejorar</a:t>
            </a:r>
            <a:r>
              <a:rPr sz="1500" b="1" spc="15" dirty="0">
                <a:solidFill>
                  <a:srgbClr val="737373"/>
                </a:solidFill>
                <a:latin typeface="Roboto"/>
                <a:cs typeface="Roboto"/>
              </a:rPr>
              <a:t> </a:t>
            </a:r>
            <a:r>
              <a:rPr sz="1500" b="1" dirty="0">
                <a:solidFill>
                  <a:srgbClr val="737373"/>
                </a:solidFill>
                <a:latin typeface="Roboto"/>
                <a:cs typeface="Roboto"/>
              </a:rPr>
              <a:t>los</a:t>
            </a:r>
            <a:r>
              <a:rPr sz="1500" b="1" spc="15" dirty="0">
                <a:solidFill>
                  <a:srgbClr val="737373"/>
                </a:solidFill>
                <a:latin typeface="Roboto"/>
                <a:cs typeface="Roboto"/>
              </a:rPr>
              <a:t> </a:t>
            </a:r>
            <a:r>
              <a:rPr sz="1500" b="1" spc="-10" dirty="0">
                <a:solidFill>
                  <a:srgbClr val="737373"/>
                </a:solidFill>
                <a:latin typeface="Roboto"/>
                <a:cs typeface="Roboto"/>
              </a:rPr>
              <a:t>canales </a:t>
            </a:r>
            <a:r>
              <a:rPr sz="1500" b="1" dirty="0">
                <a:solidFill>
                  <a:srgbClr val="737373"/>
                </a:solidFill>
                <a:latin typeface="Roboto"/>
                <a:cs typeface="Roboto"/>
              </a:rPr>
              <a:t>de</a:t>
            </a:r>
            <a:r>
              <a:rPr sz="1500" b="1" spc="5" dirty="0">
                <a:solidFill>
                  <a:srgbClr val="737373"/>
                </a:solidFill>
                <a:latin typeface="Roboto"/>
                <a:cs typeface="Roboto"/>
              </a:rPr>
              <a:t> </a:t>
            </a:r>
            <a:r>
              <a:rPr sz="1500" b="1" spc="-10" dirty="0">
                <a:solidFill>
                  <a:srgbClr val="737373"/>
                </a:solidFill>
                <a:latin typeface="Roboto"/>
                <a:cs typeface="Roboto"/>
              </a:rPr>
              <a:t>comunicación</a:t>
            </a:r>
            <a:r>
              <a:rPr sz="1500" b="1" spc="15" dirty="0">
                <a:solidFill>
                  <a:srgbClr val="737373"/>
                </a:solidFill>
                <a:latin typeface="Roboto"/>
                <a:cs typeface="Roboto"/>
              </a:rPr>
              <a:t> </a:t>
            </a:r>
            <a:r>
              <a:rPr sz="1500" b="1" spc="-50" dirty="0">
                <a:solidFill>
                  <a:srgbClr val="737373"/>
                </a:solidFill>
                <a:latin typeface="Roboto"/>
                <a:cs typeface="Roboto"/>
              </a:rPr>
              <a:t>y </a:t>
            </a:r>
            <a:r>
              <a:rPr sz="1500" b="1" dirty="0">
                <a:solidFill>
                  <a:srgbClr val="737373"/>
                </a:solidFill>
                <a:latin typeface="Roboto"/>
                <a:cs typeface="Roboto"/>
              </a:rPr>
              <a:t>las</a:t>
            </a:r>
            <a:r>
              <a:rPr sz="1500" b="1" spc="-20" dirty="0">
                <a:solidFill>
                  <a:srgbClr val="737373"/>
                </a:solidFill>
                <a:latin typeface="Roboto"/>
                <a:cs typeface="Roboto"/>
              </a:rPr>
              <a:t> </a:t>
            </a:r>
            <a:r>
              <a:rPr sz="1500" b="1" spc="-10" dirty="0">
                <a:solidFill>
                  <a:srgbClr val="737373"/>
                </a:solidFill>
                <a:latin typeface="Roboto"/>
                <a:cs typeface="Roboto"/>
              </a:rPr>
              <a:t>herramientas</a:t>
            </a:r>
            <a:endParaRPr sz="1500">
              <a:latin typeface="Roboto"/>
              <a:cs typeface="Roboto"/>
            </a:endParaRPr>
          </a:p>
        </p:txBody>
      </p:sp>
      <p:sp>
        <p:nvSpPr>
          <p:cNvPr id="45" name="object 45"/>
          <p:cNvSpPr txBox="1">
            <a:spLocks noGrp="1"/>
          </p:cNvSpPr>
          <p:nvPr>
            <p:ph type="title"/>
          </p:nvPr>
        </p:nvSpPr>
        <p:spPr>
          <a:xfrm>
            <a:off x="637985" y="384147"/>
            <a:ext cx="8007984" cy="482600"/>
          </a:xfrm>
          <a:prstGeom prst="rect">
            <a:avLst/>
          </a:prstGeom>
        </p:spPr>
        <p:txBody>
          <a:bodyPr vert="horz" wrap="square" lIns="0" tIns="12700" rIns="0" bIns="0" rtlCol="0">
            <a:spAutoFit/>
          </a:bodyPr>
          <a:lstStyle/>
          <a:p>
            <a:pPr marL="12700">
              <a:lnSpc>
                <a:spcPct val="100000"/>
              </a:lnSpc>
              <a:spcBef>
                <a:spcPts val="100"/>
              </a:spcBef>
            </a:pPr>
            <a:r>
              <a:rPr dirty="0"/>
              <a:t>02.</a:t>
            </a:r>
            <a:r>
              <a:rPr spc="-60" dirty="0"/>
              <a:t> </a:t>
            </a:r>
            <a:r>
              <a:rPr dirty="0"/>
              <a:t>Cómo</a:t>
            </a:r>
            <a:r>
              <a:rPr spc="-55" dirty="0"/>
              <a:t> </a:t>
            </a:r>
            <a:r>
              <a:rPr spc="-10" dirty="0"/>
              <a:t>promocionamos</a:t>
            </a:r>
            <a:r>
              <a:rPr spc="-55" dirty="0"/>
              <a:t> </a:t>
            </a:r>
            <a:r>
              <a:rPr dirty="0"/>
              <a:t>MICE</a:t>
            </a:r>
            <a:r>
              <a:rPr spc="-55" dirty="0"/>
              <a:t> </a:t>
            </a:r>
            <a:r>
              <a:rPr spc="-10" dirty="0"/>
              <a:t>internacional?</a:t>
            </a:r>
          </a:p>
        </p:txBody>
      </p:sp>
      <p:pic>
        <p:nvPicPr>
          <p:cNvPr id="46" name="object 46"/>
          <p:cNvPicPr/>
          <p:nvPr/>
        </p:nvPicPr>
        <p:blipFill>
          <a:blip r:embed="rId2" cstate="print"/>
          <a:stretch>
            <a:fillRect/>
          </a:stretch>
        </p:blipFill>
        <p:spPr>
          <a:xfrm>
            <a:off x="17316450" y="237491"/>
            <a:ext cx="742949" cy="819149"/>
          </a:xfrm>
          <a:prstGeom prst="rect">
            <a:avLst/>
          </a:prstGeom>
        </p:spPr>
      </p:pic>
      <p:sp>
        <p:nvSpPr>
          <p:cNvPr id="47" name="object 47"/>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48" name="object 48"/>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34</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4"/>
            <a:ext cx="17954625" cy="8662035"/>
          </a:xfrm>
          <a:custGeom>
            <a:avLst/>
            <a:gdLst/>
            <a:ahLst/>
            <a:cxnLst/>
            <a:rect l="l" t="t" r="r" b="b"/>
            <a:pathLst>
              <a:path w="17954625" h="8662035">
                <a:moveTo>
                  <a:pt x="0" y="8661679"/>
                </a:moveTo>
                <a:lnTo>
                  <a:pt x="17954029" y="8661679"/>
                </a:lnTo>
                <a:lnTo>
                  <a:pt x="17954029" y="0"/>
                </a:lnTo>
                <a:lnTo>
                  <a:pt x="0" y="0"/>
                </a:lnTo>
                <a:lnTo>
                  <a:pt x="0" y="8661679"/>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4"/>
            <a:ext cx="17954625" cy="1394460"/>
            <a:chOff x="166956" y="171494"/>
            <a:chExt cx="17954625" cy="1394460"/>
          </a:xfrm>
        </p:grpSpPr>
        <p:sp>
          <p:nvSpPr>
            <p:cNvPr id="4" name="object 4"/>
            <p:cNvSpPr/>
            <p:nvPr/>
          </p:nvSpPr>
          <p:spPr>
            <a:xfrm>
              <a:off x="166956" y="171494"/>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grpSp>
      <p:sp>
        <p:nvSpPr>
          <p:cNvPr id="6" name="object 6"/>
          <p:cNvSpPr/>
          <p:nvPr/>
        </p:nvSpPr>
        <p:spPr>
          <a:xfrm>
            <a:off x="1427952" y="4462414"/>
            <a:ext cx="4214495" cy="1065530"/>
          </a:xfrm>
          <a:custGeom>
            <a:avLst/>
            <a:gdLst/>
            <a:ahLst/>
            <a:cxnLst/>
            <a:rect l="l" t="t" r="r" b="b"/>
            <a:pathLst>
              <a:path w="4214495" h="1065529">
                <a:moveTo>
                  <a:pt x="4214396" y="1065262"/>
                </a:moveTo>
                <a:lnTo>
                  <a:pt x="0" y="1065262"/>
                </a:lnTo>
                <a:lnTo>
                  <a:pt x="0" y="0"/>
                </a:lnTo>
                <a:lnTo>
                  <a:pt x="4214396" y="0"/>
                </a:lnTo>
                <a:lnTo>
                  <a:pt x="4214396" y="1065262"/>
                </a:lnTo>
                <a:close/>
              </a:path>
            </a:pathLst>
          </a:custGeom>
          <a:solidFill>
            <a:srgbClr val="FFFFFF"/>
          </a:solidFill>
        </p:spPr>
        <p:txBody>
          <a:bodyPr wrap="square" lIns="0" tIns="0" rIns="0" bIns="0" rtlCol="0"/>
          <a:lstStyle/>
          <a:p>
            <a:endParaRPr/>
          </a:p>
        </p:txBody>
      </p:sp>
      <p:grpSp>
        <p:nvGrpSpPr>
          <p:cNvPr id="7" name="object 7"/>
          <p:cNvGrpSpPr/>
          <p:nvPr/>
        </p:nvGrpSpPr>
        <p:grpSpPr>
          <a:xfrm>
            <a:off x="2488748" y="2480902"/>
            <a:ext cx="1858010" cy="1858010"/>
            <a:chOff x="2488748" y="2480902"/>
            <a:chExt cx="1858010" cy="1858010"/>
          </a:xfrm>
        </p:grpSpPr>
        <p:sp>
          <p:nvSpPr>
            <p:cNvPr id="8" name="object 8"/>
            <p:cNvSpPr/>
            <p:nvPr/>
          </p:nvSpPr>
          <p:spPr>
            <a:xfrm>
              <a:off x="2488748" y="2480902"/>
              <a:ext cx="1858010" cy="1858010"/>
            </a:xfrm>
            <a:custGeom>
              <a:avLst/>
              <a:gdLst/>
              <a:ahLst/>
              <a:cxnLst/>
              <a:rect l="l" t="t" r="r" b="b"/>
              <a:pathLst>
                <a:path w="1858010" h="1858010">
                  <a:moveTo>
                    <a:pt x="928901" y="1857797"/>
                  </a:moveTo>
                  <a:lnTo>
                    <a:pt x="881097" y="1856588"/>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7" y="1585729"/>
                  </a:lnTo>
                  <a:lnTo>
                    <a:pt x="241310" y="1553469"/>
                  </a:lnTo>
                  <a:lnTo>
                    <a:pt x="212115" y="1519764"/>
                  </a:lnTo>
                  <a:lnTo>
                    <a:pt x="184539" y="1484673"/>
                  </a:lnTo>
                  <a:lnTo>
                    <a:pt x="158641" y="1448254"/>
                  </a:lnTo>
                  <a:lnTo>
                    <a:pt x="134479" y="1410566"/>
                  </a:lnTo>
                  <a:lnTo>
                    <a:pt x="112112" y="1371667"/>
                  </a:lnTo>
                  <a:lnTo>
                    <a:pt x="91599" y="1331614"/>
                  </a:lnTo>
                  <a:lnTo>
                    <a:pt x="72997" y="1290468"/>
                  </a:lnTo>
                  <a:lnTo>
                    <a:pt x="56365" y="1248285"/>
                  </a:lnTo>
                  <a:lnTo>
                    <a:pt x="41761" y="1205124"/>
                  </a:lnTo>
                  <a:lnTo>
                    <a:pt x="29243" y="1161045"/>
                  </a:lnTo>
                  <a:lnTo>
                    <a:pt x="18871" y="1116104"/>
                  </a:lnTo>
                  <a:lnTo>
                    <a:pt x="10702" y="1070360"/>
                  </a:lnTo>
                  <a:lnTo>
                    <a:pt x="4795" y="1023873"/>
                  </a:lnTo>
                  <a:lnTo>
                    <a:pt x="1208" y="976699"/>
                  </a:lnTo>
                  <a:lnTo>
                    <a:pt x="0" y="928889"/>
                  </a:lnTo>
                  <a:lnTo>
                    <a:pt x="1208" y="881097"/>
                  </a:lnTo>
                  <a:lnTo>
                    <a:pt x="4795" y="833924"/>
                  </a:lnTo>
                  <a:lnTo>
                    <a:pt x="10702" y="787436"/>
                  </a:lnTo>
                  <a:lnTo>
                    <a:pt x="18871" y="741693"/>
                  </a:lnTo>
                  <a:lnTo>
                    <a:pt x="29243" y="696752"/>
                  </a:lnTo>
                  <a:lnTo>
                    <a:pt x="41761" y="652672"/>
                  </a:lnTo>
                  <a:lnTo>
                    <a:pt x="56365" y="609512"/>
                  </a:lnTo>
                  <a:lnTo>
                    <a:pt x="72997" y="567329"/>
                  </a:lnTo>
                  <a:lnTo>
                    <a:pt x="91599" y="526182"/>
                  </a:lnTo>
                  <a:lnTo>
                    <a:pt x="112112" y="486130"/>
                  </a:lnTo>
                  <a:lnTo>
                    <a:pt x="134479" y="447230"/>
                  </a:lnTo>
                  <a:lnTo>
                    <a:pt x="158641" y="409542"/>
                  </a:lnTo>
                  <a:lnTo>
                    <a:pt x="184539" y="373123"/>
                  </a:lnTo>
                  <a:lnTo>
                    <a:pt x="212115" y="338032"/>
                  </a:lnTo>
                  <a:lnTo>
                    <a:pt x="241310" y="304328"/>
                  </a:lnTo>
                  <a:lnTo>
                    <a:pt x="272067"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3" y="4795"/>
                  </a:lnTo>
                  <a:lnTo>
                    <a:pt x="1070360" y="10703"/>
                  </a:lnTo>
                  <a:lnTo>
                    <a:pt x="1116104" y="18871"/>
                  </a:lnTo>
                  <a:lnTo>
                    <a:pt x="1161045" y="29244"/>
                  </a:lnTo>
                  <a:lnTo>
                    <a:pt x="1205124" y="41761"/>
                  </a:lnTo>
                  <a:lnTo>
                    <a:pt x="1248285" y="56365"/>
                  </a:lnTo>
                  <a:lnTo>
                    <a:pt x="1290468" y="72997"/>
                  </a:lnTo>
                  <a:lnTo>
                    <a:pt x="1331614" y="91599"/>
                  </a:lnTo>
                  <a:lnTo>
                    <a:pt x="1371667" y="112113"/>
                  </a:lnTo>
                  <a:lnTo>
                    <a:pt x="1410566" y="134479"/>
                  </a:lnTo>
                  <a:lnTo>
                    <a:pt x="1448254" y="158641"/>
                  </a:lnTo>
                  <a:lnTo>
                    <a:pt x="1484673" y="184539"/>
                  </a:lnTo>
                  <a:lnTo>
                    <a:pt x="1519764" y="212115"/>
                  </a:lnTo>
                  <a:lnTo>
                    <a:pt x="1553469" y="241311"/>
                  </a:lnTo>
                  <a:lnTo>
                    <a:pt x="1585729" y="272068"/>
                  </a:lnTo>
                  <a:lnTo>
                    <a:pt x="1616486" y="304328"/>
                  </a:lnTo>
                  <a:lnTo>
                    <a:pt x="1645682" y="338032"/>
                  </a:lnTo>
                  <a:lnTo>
                    <a:pt x="1673258" y="373123"/>
                  </a:lnTo>
                  <a:lnTo>
                    <a:pt x="1699156" y="409542"/>
                  </a:lnTo>
                  <a:lnTo>
                    <a:pt x="1723317" y="447230"/>
                  </a:lnTo>
                  <a:lnTo>
                    <a:pt x="1745684" y="486130"/>
                  </a:lnTo>
                  <a:lnTo>
                    <a:pt x="1766198" y="526182"/>
                  </a:lnTo>
                  <a:lnTo>
                    <a:pt x="1784800" y="567329"/>
                  </a:lnTo>
                  <a:lnTo>
                    <a:pt x="1801432" y="609512"/>
                  </a:lnTo>
                  <a:lnTo>
                    <a:pt x="1816036" y="652672"/>
                  </a:lnTo>
                  <a:lnTo>
                    <a:pt x="1828553" y="696752"/>
                  </a:lnTo>
                  <a:lnTo>
                    <a:pt x="1838925" y="741693"/>
                  </a:lnTo>
                  <a:lnTo>
                    <a:pt x="1847094" y="787436"/>
                  </a:lnTo>
                  <a:lnTo>
                    <a:pt x="1853001" y="833924"/>
                  </a:lnTo>
                  <a:lnTo>
                    <a:pt x="1856588" y="881097"/>
                  </a:lnTo>
                  <a:lnTo>
                    <a:pt x="1857797" y="928900"/>
                  </a:lnTo>
                  <a:lnTo>
                    <a:pt x="1856588" y="976699"/>
                  </a:lnTo>
                  <a:lnTo>
                    <a:pt x="1853001" y="1023873"/>
                  </a:lnTo>
                  <a:lnTo>
                    <a:pt x="1847094" y="1070360"/>
                  </a:lnTo>
                  <a:lnTo>
                    <a:pt x="1838925" y="1116104"/>
                  </a:lnTo>
                  <a:lnTo>
                    <a:pt x="1828553" y="1161045"/>
                  </a:lnTo>
                  <a:lnTo>
                    <a:pt x="1816036" y="1205124"/>
                  </a:lnTo>
                  <a:lnTo>
                    <a:pt x="1801432" y="1248285"/>
                  </a:lnTo>
                  <a:lnTo>
                    <a:pt x="1784800" y="1290468"/>
                  </a:lnTo>
                  <a:lnTo>
                    <a:pt x="1766198" y="1331614"/>
                  </a:lnTo>
                  <a:lnTo>
                    <a:pt x="1745684" y="1371667"/>
                  </a:lnTo>
                  <a:lnTo>
                    <a:pt x="1723317" y="1410566"/>
                  </a:lnTo>
                  <a:lnTo>
                    <a:pt x="1699156" y="1448254"/>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7" y="1745684"/>
                  </a:lnTo>
                  <a:lnTo>
                    <a:pt x="1331614" y="1766198"/>
                  </a:lnTo>
                  <a:lnTo>
                    <a:pt x="1290468" y="1784800"/>
                  </a:lnTo>
                  <a:lnTo>
                    <a:pt x="1248285" y="1801432"/>
                  </a:lnTo>
                  <a:lnTo>
                    <a:pt x="1205124" y="1816036"/>
                  </a:lnTo>
                  <a:lnTo>
                    <a:pt x="1161045" y="1828553"/>
                  </a:lnTo>
                  <a:lnTo>
                    <a:pt x="1116104" y="1838925"/>
                  </a:lnTo>
                  <a:lnTo>
                    <a:pt x="1070360" y="1847094"/>
                  </a:lnTo>
                  <a:lnTo>
                    <a:pt x="1023873" y="1853001"/>
                  </a:lnTo>
                  <a:lnTo>
                    <a:pt x="976699" y="1856588"/>
                  </a:lnTo>
                  <a:lnTo>
                    <a:pt x="928901" y="1857797"/>
                  </a:lnTo>
                  <a:close/>
                </a:path>
              </a:pathLst>
            </a:custGeom>
            <a:solidFill>
              <a:srgbClr val="0090AE"/>
            </a:solidFill>
          </p:spPr>
          <p:txBody>
            <a:bodyPr wrap="square" lIns="0" tIns="0" rIns="0" bIns="0" rtlCol="0"/>
            <a:lstStyle/>
            <a:p>
              <a:endParaRPr/>
            </a:p>
          </p:txBody>
        </p:sp>
        <p:sp>
          <p:nvSpPr>
            <p:cNvPr id="9" name="object 9"/>
            <p:cNvSpPr/>
            <p:nvPr/>
          </p:nvSpPr>
          <p:spPr>
            <a:xfrm>
              <a:off x="2813599" y="2797210"/>
              <a:ext cx="1221740" cy="1218565"/>
            </a:xfrm>
            <a:custGeom>
              <a:avLst/>
              <a:gdLst/>
              <a:ahLst/>
              <a:cxnLst/>
              <a:rect l="l" t="t" r="r" b="b"/>
              <a:pathLst>
                <a:path w="1221739" h="1218564">
                  <a:moveTo>
                    <a:pt x="362056" y="868972"/>
                  </a:moveTo>
                  <a:lnTo>
                    <a:pt x="242222" y="614244"/>
                  </a:lnTo>
                  <a:lnTo>
                    <a:pt x="329807" y="555004"/>
                  </a:lnTo>
                  <a:lnTo>
                    <a:pt x="372384" y="525221"/>
                  </a:lnTo>
                  <a:lnTo>
                    <a:pt x="413327" y="493819"/>
                  </a:lnTo>
                  <a:lnTo>
                    <a:pt x="450228" y="461258"/>
                  </a:lnTo>
                  <a:lnTo>
                    <a:pt x="483736" y="426124"/>
                  </a:lnTo>
                  <a:lnTo>
                    <a:pt x="513268" y="388159"/>
                  </a:lnTo>
                  <a:lnTo>
                    <a:pt x="538241" y="347108"/>
                  </a:lnTo>
                  <a:lnTo>
                    <a:pt x="558073" y="302715"/>
                  </a:lnTo>
                  <a:lnTo>
                    <a:pt x="572181" y="254725"/>
                  </a:lnTo>
                  <a:lnTo>
                    <a:pt x="578008" y="198752"/>
                  </a:lnTo>
                  <a:lnTo>
                    <a:pt x="577896" y="179937"/>
                  </a:lnTo>
                  <a:lnTo>
                    <a:pt x="577434" y="169630"/>
                  </a:lnTo>
                  <a:lnTo>
                    <a:pt x="577674" y="159937"/>
                  </a:lnTo>
                  <a:lnTo>
                    <a:pt x="581055" y="151811"/>
                  </a:lnTo>
                  <a:lnTo>
                    <a:pt x="590016" y="146205"/>
                  </a:lnTo>
                  <a:lnTo>
                    <a:pt x="601791" y="145456"/>
                  </a:lnTo>
                  <a:lnTo>
                    <a:pt x="609599" y="150693"/>
                  </a:lnTo>
                  <a:lnTo>
                    <a:pt x="614957" y="159434"/>
                  </a:lnTo>
                  <a:lnTo>
                    <a:pt x="619379" y="169197"/>
                  </a:lnTo>
                  <a:lnTo>
                    <a:pt x="849718" y="658763"/>
                  </a:lnTo>
                  <a:lnTo>
                    <a:pt x="915871" y="799184"/>
                  </a:lnTo>
                  <a:lnTo>
                    <a:pt x="640059" y="799184"/>
                  </a:lnTo>
                  <a:lnTo>
                    <a:pt x="587353" y="803619"/>
                  </a:lnTo>
                  <a:lnTo>
                    <a:pt x="535156" y="812533"/>
                  </a:lnTo>
                  <a:lnTo>
                    <a:pt x="483415" y="825399"/>
                  </a:lnTo>
                  <a:lnTo>
                    <a:pt x="432081" y="841695"/>
                  </a:lnTo>
                  <a:lnTo>
                    <a:pt x="397869" y="854656"/>
                  </a:lnTo>
                  <a:lnTo>
                    <a:pt x="362056" y="868972"/>
                  </a:lnTo>
                  <a:close/>
                </a:path>
                <a:path w="1221739" h="1218564">
                  <a:moveTo>
                    <a:pt x="848964" y="555895"/>
                  </a:moveTo>
                  <a:lnTo>
                    <a:pt x="795871" y="443303"/>
                  </a:lnTo>
                  <a:lnTo>
                    <a:pt x="824755" y="438556"/>
                  </a:lnTo>
                  <a:lnTo>
                    <a:pt x="847983" y="441632"/>
                  </a:lnTo>
                  <a:lnTo>
                    <a:pt x="866044" y="452425"/>
                  </a:lnTo>
                  <a:lnTo>
                    <a:pt x="879428" y="470827"/>
                  </a:lnTo>
                  <a:lnTo>
                    <a:pt x="886642" y="493447"/>
                  </a:lnTo>
                  <a:lnTo>
                    <a:pt x="884279" y="514833"/>
                  </a:lnTo>
                  <a:lnTo>
                    <a:pt x="871874" y="535484"/>
                  </a:lnTo>
                  <a:lnTo>
                    <a:pt x="848964" y="555895"/>
                  </a:lnTo>
                  <a:close/>
                </a:path>
                <a:path w="1221739" h="1218564">
                  <a:moveTo>
                    <a:pt x="141751" y="956586"/>
                  </a:moveTo>
                  <a:lnTo>
                    <a:pt x="92507" y="947851"/>
                  </a:lnTo>
                  <a:lnTo>
                    <a:pt x="49588" y="922174"/>
                  </a:lnTo>
                  <a:lnTo>
                    <a:pt x="18606" y="882913"/>
                  </a:lnTo>
                  <a:lnTo>
                    <a:pt x="11930" y="867576"/>
                  </a:lnTo>
                  <a:lnTo>
                    <a:pt x="8591" y="859892"/>
                  </a:lnTo>
                  <a:lnTo>
                    <a:pt x="78" y="812533"/>
                  </a:lnTo>
                  <a:lnTo>
                    <a:pt x="0" y="809987"/>
                  </a:lnTo>
                  <a:lnTo>
                    <a:pt x="258" y="802337"/>
                  </a:lnTo>
                  <a:lnTo>
                    <a:pt x="9006" y="761537"/>
                  </a:lnTo>
                  <a:lnTo>
                    <a:pt x="34554" y="718600"/>
                  </a:lnTo>
                  <a:lnTo>
                    <a:pt x="66338" y="691676"/>
                  </a:lnTo>
                  <a:lnTo>
                    <a:pt x="129985" y="658507"/>
                  </a:lnTo>
                  <a:lnTo>
                    <a:pt x="196995" y="626988"/>
                  </a:lnTo>
                  <a:lnTo>
                    <a:pt x="321559" y="891454"/>
                  </a:lnTo>
                  <a:lnTo>
                    <a:pt x="285543" y="908199"/>
                  </a:lnTo>
                  <a:lnTo>
                    <a:pt x="249091" y="923886"/>
                  </a:lnTo>
                  <a:lnTo>
                    <a:pt x="212201" y="938515"/>
                  </a:lnTo>
                  <a:lnTo>
                    <a:pt x="174874" y="952086"/>
                  </a:lnTo>
                  <a:lnTo>
                    <a:pt x="158492" y="955464"/>
                  </a:lnTo>
                  <a:lnTo>
                    <a:pt x="141751" y="956586"/>
                  </a:lnTo>
                  <a:close/>
                </a:path>
                <a:path w="1221739" h="1218564">
                  <a:moveTo>
                    <a:pt x="942901" y="893786"/>
                  </a:moveTo>
                  <a:lnTo>
                    <a:pt x="935217" y="892522"/>
                  </a:lnTo>
                  <a:lnTo>
                    <a:pt x="927289" y="891504"/>
                  </a:lnTo>
                  <a:lnTo>
                    <a:pt x="920035" y="889796"/>
                  </a:lnTo>
                  <a:lnTo>
                    <a:pt x="914375" y="886462"/>
                  </a:lnTo>
                  <a:lnTo>
                    <a:pt x="896636" y="870823"/>
                  </a:lnTo>
                  <a:lnTo>
                    <a:pt x="877848" y="856703"/>
                  </a:lnTo>
                  <a:lnTo>
                    <a:pt x="837121" y="833015"/>
                  </a:lnTo>
                  <a:lnTo>
                    <a:pt x="793225" y="815896"/>
                  </a:lnTo>
                  <a:lnTo>
                    <a:pt x="747195" y="805844"/>
                  </a:lnTo>
                  <a:lnTo>
                    <a:pt x="693322" y="799751"/>
                  </a:lnTo>
                  <a:lnTo>
                    <a:pt x="640059" y="799184"/>
                  </a:lnTo>
                  <a:lnTo>
                    <a:pt x="915871" y="799184"/>
                  </a:lnTo>
                  <a:lnTo>
                    <a:pt x="941406" y="853387"/>
                  </a:lnTo>
                  <a:lnTo>
                    <a:pt x="943180" y="857017"/>
                  </a:lnTo>
                  <a:lnTo>
                    <a:pt x="944247" y="859299"/>
                  </a:lnTo>
                  <a:lnTo>
                    <a:pt x="952327" y="879729"/>
                  </a:lnTo>
                  <a:lnTo>
                    <a:pt x="950931" y="884229"/>
                  </a:lnTo>
                  <a:lnTo>
                    <a:pt x="950356" y="885723"/>
                  </a:lnTo>
                  <a:lnTo>
                    <a:pt x="948845" y="889312"/>
                  </a:lnTo>
                  <a:lnTo>
                    <a:pt x="946360" y="892000"/>
                  </a:lnTo>
                  <a:lnTo>
                    <a:pt x="942901" y="893786"/>
                  </a:lnTo>
                  <a:close/>
                </a:path>
                <a:path w="1221739" h="1218564">
                  <a:moveTo>
                    <a:pt x="413721" y="976457"/>
                  </a:moveTo>
                  <a:lnTo>
                    <a:pt x="407349" y="964420"/>
                  </a:lnTo>
                  <a:lnTo>
                    <a:pt x="390088" y="932464"/>
                  </a:lnTo>
                  <a:lnTo>
                    <a:pt x="382371" y="917780"/>
                  </a:lnTo>
                  <a:lnTo>
                    <a:pt x="471462" y="878251"/>
                  </a:lnTo>
                  <a:lnTo>
                    <a:pt x="485788" y="911387"/>
                  </a:lnTo>
                  <a:lnTo>
                    <a:pt x="484875" y="936530"/>
                  </a:lnTo>
                  <a:lnTo>
                    <a:pt x="462821" y="957085"/>
                  </a:lnTo>
                  <a:lnTo>
                    <a:pt x="413721" y="976457"/>
                  </a:lnTo>
                  <a:close/>
                </a:path>
                <a:path w="1221739" h="1218564">
                  <a:moveTo>
                    <a:pt x="429725" y="1218345"/>
                  </a:moveTo>
                  <a:lnTo>
                    <a:pt x="418315" y="1216052"/>
                  </a:lnTo>
                  <a:lnTo>
                    <a:pt x="408513" y="1209016"/>
                  </a:lnTo>
                  <a:lnTo>
                    <a:pt x="399976" y="1198110"/>
                  </a:lnTo>
                  <a:lnTo>
                    <a:pt x="371295" y="1153330"/>
                  </a:lnTo>
                  <a:lnTo>
                    <a:pt x="254752" y="972630"/>
                  </a:lnTo>
                  <a:lnTo>
                    <a:pt x="339459" y="932560"/>
                  </a:lnTo>
                  <a:lnTo>
                    <a:pt x="342842" y="938587"/>
                  </a:lnTo>
                  <a:lnTo>
                    <a:pt x="346159" y="943612"/>
                  </a:lnTo>
                  <a:lnTo>
                    <a:pt x="451739" y="1167975"/>
                  </a:lnTo>
                  <a:lnTo>
                    <a:pt x="457232" y="1183883"/>
                  </a:lnTo>
                  <a:lnTo>
                    <a:pt x="457659" y="1197258"/>
                  </a:lnTo>
                  <a:lnTo>
                    <a:pt x="452963" y="1207755"/>
                  </a:lnTo>
                  <a:lnTo>
                    <a:pt x="443085" y="1215025"/>
                  </a:lnTo>
                  <a:lnTo>
                    <a:pt x="429725" y="1218345"/>
                  </a:lnTo>
                  <a:close/>
                </a:path>
                <a:path w="1221739" h="1218564">
                  <a:moveTo>
                    <a:pt x="808156" y="124886"/>
                  </a:moveTo>
                  <a:lnTo>
                    <a:pt x="783147" y="100066"/>
                  </a:lnTo>
                  <a:lnTo>
                    <a:pt x="784029" y="90180"/>
                  </a:lnTo>
                  <a:lnTo>
                    <a:pt x="785699" y="85694"/>
                  </a:lnTo>
                  <a:lnTo>
                    <a:pt x="788596" y="81665"/>
                  </a:lnTo>
                  <a:lnTo>
                    <a:pt x="800132" y="64432"/>
                  </a:lnTo>
                  <a:lnTo>
                    <a:pt x="811751" y="47301"/>
                  </a:lnTo>
                  <a:lnTo>
                    <a:pt x="823452" y="30273"/>
                  </a:lnTo>
                  <a:lnTo>
                    <a:pt x="835235" y="13348"/>
                  </a:lnTo>
                  <a:lnTo>
                    <a:pt x="837996" y="9155"/>
                  </a:lnTo>
                  <a:lnTo>
                    <a:pt x="841592" y="5879"/>
                  </a:lnTo>
                  <a:lnTo>
                    <a:pt x="850452" y="1157"/>
                  </a:lnTo>
                  <a:lnTo>
                    <a:pt x="855177" y="0"/>
                  </a:lnTo>
                  <a:lnTo>
                    <a:pt x="860197" y="46"/>
                  </a:lnTo>
                  <a:lnTo>
                    <a:pt x="885159" y="15171"/>
                  </a:lnTo>
                  <a:lnTo>
                    <a:pt x="886966" y="17782"/>
                  </a:lnTo>
                  <a:lnTo>
                    <a:pt x="886309" y="21067"/>
                  </a:lnTo>
                  <a:lnTo>
                    <a:pt x="885652" y="24680"/>
                  </a:lnTo>
                  <a:lnTo>
                    <a:pt x="885488" y="26486"/>
                  </a:lnTo>
                  <a:lnTo>
                    <a:pt x="885185" y="32151"/>
                  </a:lnTo>
                  <a:lnTo>
                    <a:pt x="883652" y="37461"/>
                  </a:lnTo>
                  <a:lnTo>
                    <a:pt x="856995" y="78176"/>
                  </a:lnTo>
                  <a:lnTo>
                    <a:pt x="833100" y="112704"/>
                  </a:lnTo>
                  <a:lnTo>
                    <a:pt x="815277" y="124639"/>
                  </a:lnTo>
                  <a:lnTo>
                    <a:pt x="808156" y="124886"/>
                  </a:lnTo>
                  <a:close/>
                </a:path>
                <a:path w="1221739" h="1218564">
                  <a:moveTo>
                    <a:pt x="1021675" y="413849"/>
                  </a:moveTo>
                  <a:lnTo>
                    <a:pt x="999090" y="382188"/>
                  </a:lnTo>
                  <a:lnTo>
                    <a:pt x="1000287" y="377558"/>
                  </a:lnTo>
                  <a:lnTo>
                    <a:pt x="1005155" y="368936"/>
                  </a:lnTo>
                  <a:lnTo>
                    <a:pt x="1008502" y="365520"/>
                  </a:lnTo>
                  <a:lnTo>
                    <a:pt x="1012762" y="362998"/>
                  </a:lnTo>
                  <a:lnTo>
                    <a:pt x="1030406" y="352072"/>
                  </a:lnTo>
                  <a:lnTo>
                    <a:pt x="1065878" y="330527"/>
                  </a:lnTo>
                  <a:lnTo>
                    <a:pt x="1083706" y="319971"/>
                  </a:lnTo>
                  <a:lnTo>
                    <a:pt x="1087893" y="317283"/>
                  </a:lnTo>
                  <a:lnTo>
                    <a:pt x="1092468" y="315779"/>
                  </a:lnTo>
                  <a:lnTo>
                    <a:pt x="1102396" y="315137"/>
                  </a:lnTo>
                  <a:lnTo>
                    <a:pt x="1107127" y="316039"/>
                  </a:lnTo>
                  <a:lnTo>
                    <a:pt x="1128375" y="342141"/>
                  </a:lnTo>
                  <a:lnTo>
                    <a:pt x="1128868" y="345426"/>
                  </a:lnTo>
                  <a:lnTo>
                    <a:pt x="1126733" y="348053"/>
                  </a:lnTo>
                  <a:lnTo>
                    <a:pt x="1125912" y="349531"/>
                  </a:lnTo>
                  <a:lnTo>
                    <a:pt x="1124927" y="351009"/>
                  </a:lnTo>
                  <a:lnTo>
                    <a:pt x="1123941" y="352651"/>
                  </a:lnTo>
                  <a:lnTo>
                    <a:pt x="1121351" y="357683"/>
                  </a:lnTo>
                  <a:lnTo>
                    <a:pt x="1117793" y="361898"/>
                  </a:lnTo>
                  <a:lnTo>
                    <a:pt x="1076706" y="388001"/>
                  </a:lnTo>
                  <a:lnTo>
                    <a:pt x="1040515" y="409473"/>
                  </a:lnTo>
                  <a:lnTo>
                    <a:pt x="1036276" y="412247"/>
                  </a:lnTo>
                  <a:lnTo>
                    <a:pt x="1031623" y="413670"/>
                  </a:lnTo>
                  <a:lnTo>
                    <a:pt x="1021675" y="413849"/>
                  </a:lnTo>
                  <a:close/>
                </a:path>
                <a:path w="1221739" h="1218564">
                  <a:moveTo>
                    <a:pt x="1192274" y="813828"/>
                  </a:moveTo>
                  <a:lnTo>
                    <a:pt x="1186675" y="812972"/>
                  </a:lnTo>
                  <a:lnTo>
                    <a:pt x="1165806" y="807758"/>
                  </a:lnTo>
                  <a:lnTo>
                    <a:pt x="1144983" y="802297"/>
                  </a:lnTo>
                  <a:lnTo>
                    <a:pt x="1104399" y="791130"/>
                  </a:lnTo>
                  <a:lnTo>
                    <a:pt x="1099537" y="789934"/>
                  </a:lnTo>
                  <a:lnTo>
                    <a:pt x="1083529" y="767035"/>
                  </a:lnTo>
                  <a:lnTo>
                    <a:pt x="1083623" y="762319"/>
                  </a:lnTo>
                  <a:lnTo>
                    <a:pt x="1109274" y="737558"/>
                  </a:lnTo>
                  <a:lnTo>
                    <a:pt x="1114068" y="737598"/>
                  </a:lnTo>
                  <a:lnTo>
                    <a:pt x="1118850" y="738907"/>
                  </a:lnTo>
                  <a:lnTo>
                    <a:pt x="1179079" y="754703"/>
                  </a:lnTo>
                  <a:lnTo>
                    <a:pt x="1198992" y="760256"/>
                  </a:lnTo>
                  <a:lnTo>
                    <a:pt x="1203818" y="761447"/>
                  </a:lnTo>
                  <a:lnTo>
                    <a:pt x="1208067" y="763717"/>
                  </a:lnTo>
                  <a:lnTo>
                    <a:pt x="1221516" y="789091"/>
                  </a:lnTo>
                  <a:lnTo>
                    <a:pt x="1219473" y="799250"/>
                  </a:lnTo>
                  <a:lnTo>
                    <a:pt x="1217287" y="803765"/>
                  </a:lnTo>
                  <a:lnTo>
                    <a:pt x="1213907" y="807758"/>
                  </a:lnTo>
                  <a:lnTo>
                    <a:pt x="1211965" y="810508"/>
                  </a:lnTo>
                  <a:lnTo>
                    <a:pt x="1208517" y="810837"/>
                  </a:lnTo>
                  <a:lnTo>
                    <a:pt x="1206875" y="811165"/>
                  </a:lnTo>
                  <a:lnTo>
                    <a:pt x="1205068" y="811494"/>
                  </a:lnTo>
                  <a:lnTo>
                    <a:pt x="1197803" y="813499"/>
                  </a:lnTo>
                  <a:lnTo>
                    <a:pt x="1192274" y="813828"/>
                  </a:lnTo>
                  <a:close/>
                </a:path>
              </a:pathLst>
            </a:custGeom>
            <a:solidFill>
              <a:srgbClr val="FFFFFF"/>
            </a:solidFill>
          </p:spPr>
          <p:txBody>
            <a:bodyPr wrap="square" lIns="0" tIns="0" rIns="0" bIns="0" rtlCol="0"/>
            <a:lstStyle/>
            <a:p>
              <a:endParaRPr/>
            </a:p>
          </p:txBody>
        </p:sp>
      </p:grpSp>
      <p:sp>
        <p:nvSpPr>
          <p:cNvPr id="10" name="object 10"/>
          <p:cNvSpPr txBox="1"/>
          <p:nvPr/>
        </p:nvSpPr>
        <p:spPr>
          <a:xfrm>
            <a:off x="2259999" y="4587208"/>
            <a:ext cx="2804795" cy="692150"/>
          </a:xfrm>
          <a:prstGeom prst="rect">
            <a:avLst/>
          </a:prstGeom>
        </p:spPr>
        <p:txBody>
          <a:bodyPr vert="horz" wrap="square" lIns="0" tIns="12065" rIns="0" bIns="0" rtlCol="0">
            <a:spAutoFit/>
          </a:bodyPr>
          <a:lstStyle/>
          <a:p>
            <a:pPr marL="847090" marR="5080" indent="-835025">
              <a:lnSpc>
                <a:spcPct val="115100"/>
              </a:lnSpc>
              <a:spcBef>
                <a:spcPts val="95"/>
              </a:spcBef>
            </a:pPr>
            <a:r>
              <a:rPr sz="1900" spc="-10" dirty="0">
                <a:solidFill>
                  <a:srgbClr val="737373"/>
                </a:solidFill>
                <a:latin typeface="Roboto"/>
                <a:cs typeface="Roboto"/>
              </a:rPr>
              <a:t>Actualización</a:t>
            </a:r>
            <a:r>
              <a:rPr sz="1900" spc="-80" dirty="0">
                <a:solidFill>
                  <a:srgbClr val="737373"/>
                </a:solidFill>
                <a:latin typeface="Roboto"/>
                <a:cs typeface="Roboto"/>
              </a:rPr>
              <a:t> </a:t>
            </a:r>
            <a:r>
              <a:rPr sz="1900" dirty="0">
                <a:solidFill>
                  <a:srgbClr val="737373"/>
                </a:solidFill>
                <a:latin typeface="Roboto"/>
                <a:cs typeface="Roboto"/>
              </a:rPr>
              <a:t>y</a:t>
            </a:r>
            <a:r>
              <a:rPr sz="1900" spc="-80" dirty="0">
                <a:solidFill>
                  <a:srgbClr val="737373"/>
                </a:solidFill>
                <a:latin typeface="Roboto"/>
                <a:cs typeface="Roboto"/>
              </a:rPr>
              <a:t> </a:t>
            </a:r>
            <a:r>
              <a:rPr sz="1900" spc="-10" dirty="0">
                <a:solidFill>
                  <a:srgbClr val="737373"/>
                </a:solidFill>
                <a:latin typeface="Roboto"/>
                <a:cs typeface="Roboto"/>
              </a:rPr>
              <a:t>desarrollo </a:t>
            </a:r>
            <a:r>
              <a:rPr sz="1900" dirty="0">
                <a:solidFill>
                  <a:srgbClr val="737373"/>
                </a:solidFill>
                <a:latin typeface="Roboto"/>
                <a:cs typeface="Roboto"/>
              </a:rPr>
              <a:t>de</a:t>
            </a:r>
            <a:r>
              <a:rPr sz="1900" spc="-20" dirty="0">
                <a:solidFill>
                  <a:srgbClr val="737373"/>
                </a:solidFill>
                <a:latin typeface="Roboto"/>
                <a:cs typeface="Roboto"/>
              </a:rPr>
              <a:t> </a:t>
            </a:r>
            <a:r>
              <a:rPr sz="1900" b="1" spc="-10" dirty="0">
                <a:solidFill>
                  <a:srgbClr val="E3112B"/>
                </a:solidFill>
                <a:latin typeface="Roboto"/>
                <a:cs typeface="Roboto"/>
              </a:rPr>
              <a:t>canales</a:t>
            </a:r>
            <a:endParaRPr sz="1900">
              <a:latin typeface="Roboto"/>
              <a:cs typeface="Roboto"/>
            </a:endParaRPr>
          </a:p>
        </p:txBody>
      </p:sp>
      <p:sp>
        <p:nvSpPr>
          <p:cNvPr id="11" name="object 11"/>
          <p:cNvSpPr/>
          <p:nvPr/>
        </p:nvSpPr>
        <p:spPr>
          <a:xfrm>
            <a:off x="823475" y="4461131"/>
            <a:ext cx="1069975" cy="1069975"/>
          </a:xfrm>
          <a:custGeom>
            <a:avLst/>
            <a:gdLst/>
            <a:ahLst/>
            <a:cxnLst/>
            <a:rect l="l" t="t" r="r" b="b"/>
            <a:pathLst>
              <a:path w="1069975" h="1069975">
                <a:moveTo>
                  <a:pt x="534700" y="1069390"/>
                </a:moveTo>
                <a:lnTo>
                  <a:pt x="486027" y="1067205"/>
                </a:lnTo>
                <a:lnTo>
                  <a:pt x="438583" y="1060776"/>
                </a:lnTo>
                <a:lnTo>
                  <a:pt x="392552" y="1050290"/>
                </a:lnTo>
                <a:lnTo>
                  <a:pt x="348122" y="1035938"/>
                </a:lnTo>
                <a:lnTo>
                  <a:pt x="305483" y="1017908"/>
                </a:lnTo>
                <a:lnTo>
                  <a:pt x="264824" y="996389"/>
                </a:lnTo>
                <a:lnTo>
                  <a:pt x="226332" y="971569"/>
                </a:lnTo>
                <a:lnTo>
                  <a:pt x="190197" y="943637"/>
                </a:lnTo>
                <a:lnTo>
                  <a:pt x="156608" y="912782"/>
                </a:lnTo>
                <a:lnTo>
                  <a:pt x="125753" y="879192"/>
                </a:lnTo>
                <a:lnTo>
                  <a:pt x="97821" y="843057"/>
                </a:lnTo>
                <a:lnTo>
                  <a:pt x="73001" y="804566"/>
                </a:lnTo>
                <a:lnTo>
                  <a:pt x="51482" y="763906"/>
                </a:lnTo>
                <a:lnTo>
                  <a:pt x="33451" y="721267"/>
                </a:lnTo>
                <a:lnTo>
                  <a:pt x="19099" y="676838"/>
                </a:lnTo>
                <a:lnTo>
                  <a:pt x="8614" y="630807"/>
                </a:lnTo>
                <a:lnTo>
                  <a:pt x="2185" y="583363"/>
                </a:lnTo>
                <a:lnTo>
                  <a:pt x="0" y="534695"/>
                </a:lnTo>
                <a:lnTo>
                  <a:pt x="2185" y="486026"/>
                </a:lnTo>
                <a:lnTo>
                  <a:pt x="8614" y="438582"/>
                </a:lnTo>
                <a:lnTo>
                  <a:pt x="19099" y="392551"/>
                </a:lnTo>
                <a:lnTo>
                  <a:pt x="33451" y="348122"/>
                </a:lnTo>
                <a:lnTo>
                  <a:pt x="51482" y="305483"/>
                </a:lnTo>
                <a:lnTo>
                  <a:pt x="73001" y="264824"/>
                </a:lnTo>
                <a:lnTo>
                  <a:pt x="97821" y="226332"/>
                </a:lnTo>
                <a:lnTo>
                  <a:pt x="125753" y="190197"/>
                </a:lnTo>
                <a:lnTo>
                  <a:pt x="156608" y="156608"/>
                </a:lnTo>
                <a:lnTo>
                  <a:pt x="190197" y="125753"/>
                </a:lnTo>
                <a:lnTo>
                  <a:pt x="226332" y="97821"/>
                </a:lnTo>
                <a:lnTo>
                  <a:pt x="264824" y="73001"/>
                </a:lnTo>
                <a:lnTo>
                  <a:pt x="305483" y="51482"/>
                </a:lnTo>
                <a:lnTo>
                  <a:pt x="348122" y="33451"/>
                </a:lnTo>
                <a:lnTo>
                  <a:pt x="392552" y="19099"/>
                </a:lnTo>
                <a:lnTo>
                  <a:pt x="438583" y="8614"/>
                </a:lnTo>
                <a:lnTo>
                  <a:pt x="486027"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7"/>
                </a:lnTo>
                <a:lnTo>
                  <a:pt x="971568" y="226332"/>
                </a:lnTo>
                <a:lnTo>
                  <a:pt x="996388" y="264824"/>
                </a:lnTo>
                <a:lnTo>
                  <a:pt x="1017908" y="305483"/>
                </a:lnTo>
                <a:lnTo>
                  <a:pt x="1035938" y="348122"/>
                </a:lnTo>
                <a:lnTo>
                  <a:pt x="1050290" y="392551"/>
                </a:lnTo>
                <a:lnTo>
                  <a:pt x="1060775" y="438582"/>
                </a:lnTo>
                <a:lnTo>
                  <a:pt x="1067205" y="486026"/>
                </a:lnTo>
                <a:lnTo>
                  <a:pt x="1069390" y="534695"/>
                </a:lnTo>
                <a:lnTo>
                  <a:pt x="1067205" y="583363"/>
                </a:lnTo>
                <a:lnTo>
                  <a:pt x="1060775" y="630807"/>
                </a:lnTo>
                <a:lnTo>
                  <a:pt x="1050290" y="676838"/>
                </a:lnTo>
                <a:lnTo>
                  <a:pt x="1035938" y="721267"/>
                </a:lnTo>
                <a:lnTo>
                  <a:pt x="1017908" y="763906"/>
                </a:lnTo>
                <a:lnTo>
                  <a:pt x="996388" y="804566"/>
                </a:lnTo>
                <a:lnTo>
                  <a:pt x="971568" y="843057"/>
                </a:lnTo>
                <a:lnTo>
                  <a:pt x="943636" y="879192"/>
                </a:lnTo>
                <a:lnTo>
                  <a:pt x="912781" y="912782"/>
                </a:lnTo>
                <a:lnTo>
                  <a:pt x="879192" y="943637"/>
                </a:lnTo>
                <a:lnTo>
                  <a:pt x="843057" y="971569"/>
                </a:lnTo>
                <a:lnTo>
                  <a:pt x="804566" y="996389"/>
                </a:lnTo>
                <a:lnTo>
                  <a:pt x="763906" y="1017908"/>
                </a:lnTo>
                <a:lnTo>
                  <a:pt x="721267" y="1035938"/>
                </a:lnTo>
                <a:lnTo>
                  <a:pt x="676838" y="1050290"/>
                </a:lnTo>
                <a:lnTo>
                  <a:pt x="630807" y="1060776"/>
                </a:lnTo>
                <a:lnTo>
                  <a:pt x="583363" y="1067205"/>
                </a:lnTo>
                <a:lnTo>
                  <a:pt x="534700" y="1069390"/>
                </a:lnTo>
                <a:close/>
              </a:path>
            </a:pathLst>
          </a:custGeom>
          <a:solidFill>
            <a:srgbClr val="003793"/>
          </a:solidFill>
        </p:spPr>
        <p:txBody>
          <a:bodyPr wrap="square" lIns="0" tIns="0" rIns="0" bIns="0" rtlCol="0"/>
          <a:lstStyle/>
          <a:p>
            <a:endParaRPr/>
          </a:p>
        </p:txBody>
      </p:sp>
      <p:sp>
        <p:nvSpPr>
          <p:cNvPr id="12" name="object 12"/>
          <p:cNvSpPr txBox="1"/>
          <p:nvPr/>
        </p:nvSpPr>
        <p:spPr>
          <a:xfrm>
            <a:off x="1117115" y="4727325"/>
            <a:ext cx="482600" cy="506730"/>
          </a:xfrm>
          <a:prstGeom prst="rect">
            <a:avLst/>
          </a:prstGeom>
        </p:spPr>
        <p:txBody>
          <a:bodyPr vert="horz" wrap="square" lIns="0" tIns="13335" rIns="0" bIns="0" rtlCol="0">
            <a:spAutoFit/>
          </a:bodyPr>
          <a:lstStyle/>
          <a:p>
            <a:pPr marL="12700">
              <a:lnSpc>
                <a:spcPct val="100000"/>
              </a:lnSpc>
              <a:spcBef>
                <a:spcPts val="105"/>
              </a:spcBef>
            </a:pPr>
            <a:r>
              <a:rPr sz="3150" b="1" spc="-25" dirty="0">
                <a:solidFill>
                  <a:srgbClr val="FFFFFF"/>
                </a:solidFill>
                <a:latin typeface="Arial"/>
                <a:cs typeface="Arial"/>
              </a:rPr>
              <a:t>01</a:t>
            </a:r>
            <a:endParaRPr sz="3150">
              <a:latin typeface="Arial"/>
              <a:cs typeface="Arial"/>
            </a:endParaRPr>
          </a:p>
        </p:txBody>
      </p:sp>
      <p:sp>
        <p:nvSpPr>
          <p:cNvPr id="13" name="object 13"/>
          <p:cNvSpPr txBox="1"/>
          <p:nvPr/>
        </p:nvSpPr>
        <p:spPr>
          <a:xfrm>
            <a:off x="637985" y="384153"/>
            <a:ext cx="818832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2.</a:t>
            </a:r>
            <a:r>
              <a:rPr sz="3000" spc="-60" dirty="0">
                <a:solidFill>
                  <a:srgbClr val="FFFFFF"/>
                </a:solidFill>
                <a:latin typeface="Roboto"/>
                <a:cs typeface="Roboto"/>
              </a:rPr>
              <a:t> </a:t>
            </a:r>
            <a:r>
              <a:rPr sz="3000" dirty="0">
                <a:solidFill>
                  <a:srgbClr val="FFFFFF"/>
                </a:solidFill>
                <a:latin typeface="Roboto"/>
                <a:cs typeface="Roboto"/>
              </a:rPr>
              <a:t>¿Cómo</a:t>
            </a:r>
            <a:r>
              <a:rPr sz="3000" spc="-55" dirty="0">
                <a:solidFill>
                  <a:srgbClr val="FFFFFF"/>
                </a:solidFill>
                <a:latin typeface="Roboto"/>
                <a:cs typeface="Roboto"/>
              </a:rPr>
              <a:t> </a:t>
            </a:r>
            <a:r>
              <a:rPr sz="3000" spc="-10" dirty="0">
                <a:solidFill>
                  <a:srgbClr val="FFFFFF"/>
                </a:solidFill>
                <a:latin typeface="Roboto"/>
                <a:cs typeface="Roboto"/>
              </a:rPr>
              <a:t>promocionamos</a:t>
            </a:r>
            <a:r>
              <a:rPr sz="3000" spc="-55" dirty="0">
                <a:solidFill>
                  <a:srgbClr val="FFFFFF"/>
                </a:solidFill>
                <a:latin typeface="Roboto"/>
                <a:cs typeface="Roboto"/>
              </a:rPr>
              <a:t> </a:t>
            </a:r>
            <a:r>
              <a:rPr sz="3000" dirty="0">
                <a:solidFill>
                  <a:srgbClr val="FFFFFF"/>
                </a:solidFill>
                <a:latin typeface="Roboto"/>
                <a:cs typeface="Roboto"/>
              </a:rPr>
              <a:t>MICE</a:t>
            </a:r>
            <a:r>
              <a:rPr sz="3000" spc="-55" dirty="0">
                <a:solidFill>
                  <a:srgbClr val="FFFFFF"/>
                </a:solidFill>
                <a:latin typeface="Roboto"/>
                <a:cs typeface="Roboto"/>
              </a:rPr>
              <a:t> </a:t>
            </a:r>
            <a:r>
              <a:rPr sz="3000" spc="-20" dirty="0">
                <a:solidFill>
                  <a:srgbClr val="FFFFFF"/>
                </a:solidFill>
                <a:latin typeface="Roboto"/>
                <a:cs typeface="Roboto"/>
              </a:rPr>
              <a:t>internacional?</a:t>
            </a:r>
            <a:endParaRPr sz="3000">
              <a:latin typeface="Roboto"/>
              <a:cs typeface="Roboto"/>
            </a:endParaRPr>
          </a:p>
        </p:txBody>
      </p:sp>
      <p:sp>
        <p:nvSpPr>
          <p:cNvPr id="14" name="object 14"/>
          <p:cNvSpPr txBox="1">
            <a:spLocks noGrp="1"/>
          </p:cNvSpPr>
          <p:nvPr>
            <p:ph type="title"/>
          </p:nvPr>
        </p:nvSpPr>
        <p:spPr>
          <a:xfrm>
            <a:off x="5939109" y="1510460"/>
            <a:ext cx="6318250" cy="643890"/>
          </a:xfrm>
          <a:prstGeom prst="rect">
            <a:avLst/>
          </a:prstGeom>
        </p:spPr>
        <p:txBody>
          <a:bodyPr vert="horz" wrap="square" lIns="0" tIns="13335" rIns="0" bIns="0" rtlCol="0">
            <a:spAutoFit/>
          </a:bodyPr>
          <a:lstStyle/>
          <a:p>
            <a:pPr marL="12700">
              <a:lnSpc>
                <a:spcPct val="100000"/>
              </a:lnSpc>
              <a:spcBef>
                <a:spcPts val="105"/>
              </a:spcBef>
            </a:pPr>
            <a:r>
              <a:rPr sz="4050" b="1" dirty="0">
                <a:solidFill>
                  <a:srgbClr val="E3112B"/>
                </a:solidFill>
                <a:latin typeface="Roboto"/>
                <a:cs typeface="Roboto"/>
              </a:rPr>
              <a:t>Estrategia</a:t>
            </a:r>
            <a:r>
              <a:rPr sz="4050" b="1" spc="-90" dirty="0">
                <a:solidFill>
                  <a:srgbClr val="E3112B"/>
                </a:solidFill>
                <a:latin typeface="Roboto"/>
                <a:cs typeface="Roboto"/>
              </a:rPr>
              <a:t> </a:t>
            </a:r>
            <a:r>
              <a:rPr sz="4050" b="1" dirty="0">
                <a:solidFill>
                  <a:srgbClr val="E3112B"/>
                </a:solidFill>
                <a:latin typeface="Roboto"/>
                <a:cs typeface="Roboto"/>
              </a:rPr>
              <a:t>y</a:t>
            </a:r>
            <a:r>
              <a:rPr sz="4050" b="1" spc="-90" dirty="0">
                <a:solidFill>
                  <a:srgbClr val="E3112B"/>
                </a:solidFill>
                <a:latin typeface="Roboto"/>
                <a:cs typeface="Roboto"/>
              </a:rPr>
              <a:t> </a:t>
            </a:r>
            <a:r>
              <a:rPr sz="4050" b="1" dirty="0">
                <a:solidFill>
                  <a:srgbClr val="E3112B"/>
                </a:solidFill>
                <a:latin typeface="Roboto"/>
                <a:cs typeface="Roboto"/>
              </a:rPr>
              <a:t>acciones</a:t>
            </a:r>
            <a:r>
              <a:rPr sz="4050" b="1" spc="-90" dirty="0">
                <a:solidFill>
                  <a:srgbClr val="E3112B"/>
                </a:solidFill>
                <a:latin typeface="Roboto"/>
                <a:cs typeface="Roboto"/>
              </a:rPr>
              <a:t> </a:t>
            </a:r>
            <a:r>
              <a:rPr sz="4050" b="1" spc="-20" dirty="0">
                <a:solidFill>
                  <a:srgbClr val="E3112B"/>
                </a:solidFill>
                <a:latin typeface="Roboto"/>
                <a:cs typeface="Roboto"/>
              </a:rPr>
              <a:t>MICE</a:t>
            </a:r>
            <a:endParaRPr sz="4050">
              <a:latin typeface="Roboto"/>
              <a:cs typeface="Roboto"/>
            </a:endParaRPr>
          </a:p>
        </p:txBody>
      </p:sp>
      <p:pic>
        <p:nvPicPr>
          <p:cNvPr id="15" name="object 15"/>
          <p:cNvPicPr/>
          <p:nvPr/>
        </p:nvPicPr>
        <p:blipFill>
          <a:blip r:embed="rId2" cstate="print"/>
          <a:stretch>
            <a:fillRect/>
          </a:stretch>
        </p:blipFill>
        <p:spPr>
          <a:xfrm>
            <a:off x="17316450" y="237496"/>
            <a:ext cx="742949" cy="819149"/>
          </a:xfrm>
          <a:prstGeom prst="rect">
            <a:avLst/>
          </a:prstGeom>
        </p:spPr>
      </p:pic>
      <p:sp>
        <p:nvSpPr>
          <p:cNvPr id="16" name="object 16"/>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17" name="object 17"/>
          <p:cNvSpPr txBox="1"/>
          <p:nvPr/>
        </p:nvSpPr>
        <p:spPr>
          <a:xfrm>
            <a:off x="17811802" y="9932972"/>
            <a:ext cx="220979"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5</a:t>
            </a:r>
            <a:endParaRPr sz="900">
              <a:latin typeface="Arial"/>
              <a:cs typeface="Arial"/>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2"/>
            <a:ext cx="17954625" cy="8662035"/>
          </a:xfrm>
          <a:custGeom>
            <a:avLst/>
            <a:gdLst/>
            <a:ahLst/>
            <a:cxnLst/>
            <a:rect l="l" t="t" r="r" b="b"/>
            <a:pathLst>
              <a:path w="17954625" h="8662035">
                <a:moveTo>
                  <a:pt x="0" y="8661679"/>
                </a:moveTo>
                <a:lnTo>
                  <a:pt x="17954029" y="8661679"/>
                </a:lnTo>
                <a:lnTo>
                  <a:pt x="17954029" y="0"/>
                </a:lnTo>
                <a:lnTo>
                  <a:pt x="0" y="0"/>
                </a:lnTo>
                <a:lnTo>
                  <a:pt x="0" y="8661679"/>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3"/>
            <a:ext cx="17954625" cy="1394460"/>
            <a:chOff x="166956" y="171493"/>
            <a:chExt cx="17954625" cy="1394460"/>
          </a:xfrm>
        </p:grpSpPr>
        <p:sp>
          <p:nvSpPr>
            <p:cNvPr id="4" name="object 4"/>
            <p:cNvSpPr/>
            <p:nvPr/>
          </p:nvSpPr>
          <p:spPr>
            <a:xfrm>
              <a:off x="166956" y="171493"/>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grpSp>
      <p:sp>
        <p:nvSpPr>
          <p:cNvPr id="6" name="object 6"/>
          <p:cNvSpPr/>
          <p:nvPr/>
        </p:nvSpPr>
        <p:spPr>
          <a:xfrm>
            <a:off x="1427952" y="4462408"/>
            <a:ext cx="4214495" cy="1065530"/>
          </a:xfrm>
          <a:custGeom>
            <a:avLst/>
            <a:gdLst/>
            <a:ahLst/>
            <a:cxnLst/>
            <a:rect l="l" t="t" r="r" b="b"/>
            <a:pathLst>
              <a:path w="4214495" h="1065529">
                <a:moveTo>
                  <a:pt x="4214396" y="1065262"/>
                </a:moveTo>
                <a:lnTo>
                  <a:pt x="0" y="1065262"/>
                </a:lnTo>
                <a:lnTo>
                  <a:pt x="0" y="0"/>
                </a:lnTo>
                <a:lnTo>
                  <a:pt x="4214396" y="0"/>
                </a:lnTo>
                <a:lnTo>
                  <a:pt x="4214396" y="1065262"/>
                </a:lnTo>
                <a:close/>
              </a:path>
            </a:pathLst>
          </a:custGeom>
          <a:solidFill>
            <a:srgbClr val="FFFFFF"/>
          </a:solidFill>
        </p:spPr>
        <p:txBody>
          <a:bodyPr wrap="square" lIns="0" tIns="0" rIns="0" bIns="0" rtlCol="0"/>
          <a:lstStyle/>
          <a:p>
            <a:endParaRPr/>
          </a:p>
        </p:txBody>
      </p:sp>
      <p:grpSp>
        <p:nvGrpSpPr>
          <p:cNvPr id="7" name="object 7"/>
          <p:cNvGrpSpPr/>
          <p:nvPr/>
        </p:nvGrpSpPr>
        <p:grpSpPr>
          <a:xfrm>
            <a:off x="2488748" y="2480898"/>
            <a:ext cx="1858010" cy="1858010"/>
            <a:chOff x="2488748" y="2480898"/>
            <a:chExt cx="1858010" cy="1858010"/>
          </a:xfrm>
        </p:grpSpPr>
        <p:sp>
          <p:nvSpPr>
            <p:cNvPr id="8" name="object 8"/>
            <p:cNvSpPr/>
            <p:nvPr/>
          </p:nvSpPr>
          <p:spPr>
            <a:xfrm>
              <a:off x="2488748" y="2480898"/>
              <a:ext cx="1858010" cy="1858010"/>
            </a:xfrm>
            <a:custGeom>
              <a:avLst/>
              <a:gdLst/>
              <a:ahLst/>
              <a:cxnLst/>
              <a:rect l="l" t="t" r="r" b="b"/>
              <a:pathLst>
                <a:path w="1858010" h="1858010">
                  <a:moveTo>
                    <a:pt x="928915" y="1857797"/>
                  </a:moveTo>
                  <a:lnTo>
                    <a:pt x="881097" y="1856588"/>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7" y="1585729"/>
                  </a:lnTo>
                  <a:lnTo>
                    <a:pt x="241310" y="1553469"/>
                  </a:lnTo>
                  <a:lnTo>
                    <a:pt x="212115" y="1519764"/>
                  </a:lnTo>
                  <a:lnTo>
                    <a:pt x="184539" y="1484673"/>
                  </a:lnTo>
                  <a:lnTo>
                    <a:pt x="158641" y="1448254"/>
                  </a:lnTo>
                  <a:lnTo>
                    <a:pt x="134479" y="1410566"/>
                  </a:lnTo>
                  <a:lnTo>
                    <a:pt x="112112" y="1371667"/>
                  </a:lnTo>
                  <a:lnTo>
                    <a:pt x="91599" y="1331614"/>
                  </a:lnTo>
                  <a:lnTo>
                    <a:pt x="72997" y="1290468"/>
                  </a:lnTo>
                  <a:lnTo>
                    <a:pt x="56365" y="1248285"/>
                  </a:lnTo>
                  <a:lnTo>
                    <a:pt x="41761" y="1205124"/>
                  </a:lnTo>
                  <a:lnTo>
                    <a:pt x="29243" y="1161045"/>
                  </a:lnTo>
                  <a:lnTo>
                    <a:pt x="18871" y="1116104"/>
                  </a:lnTo>
                  <a:lnTo>
                    <a:pt x="10702" y="1070360"/>
                  </a:lnTo>
                  <a:lnTo>
                    <a:pt x="4795" y="1023873"/>
                  </a:lnTo>
                  <a:lnTo>
                    <a:pt x="1208" y="976699"/>
                  </a:lnTo>
                  <a:lnTo>
                    <a:pt x="0" y="928889"/>
                  </a:lnTo>
                  <a:lnTo>
                    <a:pt x="1208" y="881097"/>
                  </a:lnTo>
                  <a:lnTo>
                    <a:pt x="4795" y="833924"/>
                  </a:lnTo>
                  <a:lnTo>
                    <a:pt x="10702" y="787436"/>
                  </a:lnTo>
                  <a:lnTo>
                    <a:pt x="18871" y="741693"/>
                  </a:lnTo>
                  <a:lnTo>
                    <a:pt x="29243" y="696752"/>
                  </a:lnTo>
                  <a:lnTo>
                    <a:pt x="41761" y="652672"/>
                  </a:lnTo>
                  <a:lnTo>
                    <a:pt x="56365" y="609512"/>
                  </a:lnTo>
                  <a:lnTo>
                    <a:pt x="72997" y="567329"/>
                  </a:lnTo>
                  <a:lnTo>
                    <a:pt x="91599" y="526182"/>
                  </a:lnTo>
                  <a:lnTo>
                    <a:pt x="112112" y="486130"/>
                  </a:lnTo>
                  <a:lnTo>
                    <a:pt x="134479" y="447230"/>
                  </a:lnTo>
                  <a:lnTo>
                    <a:pt x="158641" y="409542"/>
                  </a:lnTo>
                  <a:lnTo>
                    <a:pt x="184539" y="373123"/>
                  </a:lnTo>
                  <a:lnTo>
                    <a:pt x="212115" y="338032"/>
                  </a:lnTo>
                  <a:lnTo>
                    <a:pt x="241310" y="304328"/>
                  </a:lnTo>
                  <a:lnTo>
                    <a:pt x="272067"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3" y="4795"/>
                  </a:lnTo>
                  <a:lnTo>
                    <a:pt x="1070360" y="10703"/>
                  </a:lnTo>
                  <a:lnTo>
                    <a:pt x="1116104" y="18871"/>
                  </a:lnTo>
                  <a:lnTo>
                    <a:pt x="1161045" y="29244"/>
                  </a:lnTo>
                  <a:lnTo>
                    <a:pt x="1205124" y="41761"/>
                  </a:lnTo>
                  <a:lnTo>
                    <a:pt x="1248285" y="56365"/>
                  </a:lnTo>
                  <a:lnTo>
                    <a:pt x="1290468" y="72997"/>
                  </a:lnTo>
                  <a:lnTo>
                    <a:pt x="1331614" y="91599"/>
                  </a:lnTo>
                  <a:lnTo>
                    <a:pt x="1371667" y="112113"/>
                  </a:lnTo>
                  <a:lnTo>
                    <a:pt x="1410566" y="134479"/>
                  </a:lnTo>
                  <a:lnTo>
                    <a:pt x="1448254" y="158641"/>
                  </a:lnTo>
                  <a:lnTo>
                    <a:pt x="1484673" y="184539"/>
                  </a:lnTo>
                  <a:lnTo>
                    <a:pt x="1519764" y="212115"/>
                  </a:lnTo>
                  <a:lnTo>
                    <a:pt x="1553469" y="241311"/>
                  </a:lnTo>
                  <a:lnTo>
                    <a:pt x="1585729" y="272068"/>
                  </a:lnTo>
                  <a:lnTo>
                    <a:pt x="1616486" y="304328"/>
                  </a:lnTo>
                  <a:lnTo>
                    <a:pt x="1645682" y="338032"/>
                  </a:lnTo>
                  <a:lnTo>
                    <a:pt x="1673258" y="373123"/>
                  </a:lnTo>
                  <a:lnTo>
                    <a:pt x="1699156" y="409542"/>
                  </a:lnTo>
                  <a:lnTo>
                    <a:pt x="1723317" y="447230"/>
                  </a:lnTo>
                  <a:lnTo>
                    <a:pt x="1745684" y="486130"/>
                  </a:lnTo>
                  <a:lnTo>
                    <a:pt x="1766198" y="526182"/>
                  </a:lnTo>
                  <a:lnTo>
                    <a:pt x="1784800" y="567329"/>
                  </a:lnTo>
                  <a:lnTo>
                    <a:pt x="1801432" y="609512"/>
                  </a:lnTo>
                  <a:lnTo>
                    <a:pt x="1816036" y="652672"/>
                  </a:lnTo>
                  <a:lnTo>
                    <a:pt x="1828553" y="696752"/>
                  </a:lnTo>
                  <a:lnTo>
                    <a:pt x="1838925" y="741693"/>
                  </a:lnTo>
                  <a:lnTo>
                    <a:pt x="1847094" y="787436"/>
                  </a:lnTo>
                  <a:lnTo>
                    <a:pt x="1853001" y="833924"/>
                  </a:lnTo>
                  <a:lnTo>
                    <a:pt x="1856588" y="881097"/>
                  </a:lnTo>
                  <a:lnTo>
                    <a:pt x="1857797" y="928900"/>
                  </a:lnTo>
                  <a:lnTo>
                    <a:pt x="1856588" y="976699"/>
                  </a:lnTo>
                  <a:lnTo>
                    <a:pt x="1853001" y="1023873"/>
                  </a:lnTo>
                  <a:lnTo>
                    <a:pt x="1847094" y="1070360"/>
                  </a:lnTo>
                  <a:lnTo>
                    <a:pt x="1838925" y="1116104"/>
                  </a:lnTo>
                  <a:lnTo>
                    <a:pt x="1828553" y="1161045"/>
                  </a:lnTo>
                  <a:lnTo>
                    <a:pt x="1816036" y="1205124"/>
                  </a:lnTo>
                  <a:lnTo>
                    <a:pt x="1801432" y="1248285"/>
                  </a:lnTo>
                  <a:lnTo>
                    <a:pt x="1784800" y="1290468"/>
                  </a:lnTo>
                  <a:lnTo>
                    <a:pt x="1766198" y="1331614"/>
                  </a:lnTo>
                  <a:lnTo>
                    <a:pt x="1745684" y="1371667"/>
                  </a:lnTo>
                  <a:lnTo>
                    <a:pt x="1723317" y="1410566"/>
                  </a:lnTo>
                  <a:lnTo>
                    <a:pt x="1699156" y="1448254"/>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7" y="1745684"/>
                  </a:lnTo>
                  <a:lnTo>
                    <a:pt x="1331614" y="1766198"/>
                  </a:lnTo>
                  <a:lnTo>
                    <a:pt x="1290468" y="1784800"/>
                  </a:lnTo>
                  <a:lnTo>
                    <a:pt x="1248285" y="1801432"/>
                  </a:lnTo>
                  <a:lnTo>
                    <a:pt x="1205124" y="1816036"/>
                  </a:lnTo>
                  <a:lnTo>
                    <a:pt x="1161045" y="1828553"/>
                  </a:lnTo>
                  <a:lnTo>
                    <a:pt x="1116104" y="1838925"/>
                  </a:lnTo>
                  <a:lnTo>
                    <a:pt x="1070360" y="1847094"/>
                  </a:lnTo>
                  <a:lnTo>
                    <a:pt x="1023873" y="1853001"/>
                  </a:lnTo>
                  <a:lnTo>
                    <a:pt x="976699" y="1856588"/>
                  </a:lnTo>
                  <a:lnTo>
                    <a:pt x="928915" y="1857797"/>
                  </a:lnTo>
                  <a:close/>
                </a:path>
              </a:pathLst>
            </a:custGeom>
            <a:solidFill>
              <a:srgbClr val="0090AE"/>
            </a:solidFill>
          </p:spPr>
          <p:txBody>
            <a:bodyPr wrap="square" lIns="0" tIns="0" rIns="0" bIns="0" rtlCol="0"/>
            <a:lstStyle/>
            <a:p>
              <a:endParaRPr/>
            </a:p>
          </p:txBody>
        </p:sp>
        <p:sp>
          <p:nvSpPr>
            <p:cNvPr id="9" name="object 9"/>
            <p:cNvSpPr/>
            <p:nvPr/>
          </p:nvSpPr>
          <p:spPr>
            <a:xfrm>
              <a:off x="2813599" y="2797204"/>
              <a:ext cx="1221740" cy="1218565"/>
            </a:xfrm>
            <a:custGeom>
              <a:avLst/>
              <a:gdLst/>
              <a:ahLst/>
              <a:cxnLst/>
              <a:rect l="l" t="t" r="r" b="b"/>
              <a:pathLst>
                <a:path w="1221739" h="1218564">
                  <a:moveTo>
                    <a:pt x="362056" y="868972"/>
                  </a:moveTo>
                  <a:lnTo>
                    <a:pt x="242222" y="614244"/>
                  </a:lnTo>
                  <a:lnTo>
                    <a:pt x="329807" y="555004"/>
                  </a:lnTo>
                  <a:lnTo>
                    <a:pt x="372384" y="525221"/>
                  </a:lnTo>
                  <a:lnTo>
                    <a:pt x="413327" y="493819"/>
                  </a:lnTo>
                  <a:lnTo>
                    <a:pt x="450228" y="461258"/>
                  </a:lnTo>
                  <a:lnTo>
                    <a:pt x="483736" y="426124"/>
                  </a:lnTo>
                  <a:lnTo>
                    <a:pt x="513268" y="388159"/>
                  </a:lnTo>
                  <a:lnTo>
                    <a:pt x="538241" y="347108"/>
                  </a:lnTo>
                  <a:lnTo>
                    <a:pt x="558073" y="302715"/>
                  </a:lnTo>
                  <a:lnTo>
                    <a:pt x="572181" y="254725"/>
                  </a:lnTo>
                  <a:lnTo>
                    <a:pt x="578008" y="198752"/>
                  </a:lnTo>
                  <a:lnTo>
                    <a:pt x="577896" y="179937"/>
                  </a:lnTo>
                  <a:lnTo>
                    <a:pt x="577434" y="169630"/>
                  </a:lnTo>
                  <a:lnTo>
                    <a:pt x="577674" y="159937"/>
                  </a:lnTo>
                  <a:lnTo>
                    <a:pt x="581055" y="151811"/>
                  </a:lnTo>
                  <a:lnTo>
                    <a:pt x="590016" y="146205"/>
                  </a:lnTo>
                  <a:lnTo>
                    <a:pt x="601791" y="145456"/>
                  </a:lnTo>
                  <a:lnTo>
                    <a:pt x="609599" y="150693"/>
                  </a:lnTo>
                  <a:lnTo>
                    <a:pt x="614957" y="159434"/>
                  </a:lnTo>
                  <a:lnTo>
                    <a:pt x="619379" y="169197"/>
                  </a:lnTo>
                  <a:lnTo>
                    <a:pt x="849718" y="658763"/>
                  </a:lnTo>
                  <a:lnTo>
                    <a:pt x="915871" y="799184"/>
                  </a:lnTo>
                  <a:lnTo>
                    <a:pt x="640059" y="799184"/>
                  </a:lnTo>
                  <a:lnTo>
                    <a:pt x="587353" y="803619"/>
                  </a:lnTo>
                  <a:lnTo>
                    <a:pt x="535156" y="812533"/>
                  </a:lnTo>
                  <a:lnTo>
                    <a:pt x="483415" y="825399"/>
                  </a:lnTo>
                  <a:lnTo>
                    <a:pt x="432081" y="841695"/>
                  </a:lnTo>
                  <a:lnTo>
                    <a:pt x="397869" y="854656"/>
                  </a:lnTo>
                  <a:lnTo>
                    <a:pt x="362056" y="868972"/>
                  </a:lnTo>
                  <a:close/>
                </a:path>
                <a:path w="1221739" h="1218564">
                  <a:moveTo>
                    <a:pt x="848964" y="555895"/>
                  </a:moveTo>
                  <a:lnTo>
                    <a:pt x="795871" y="443303"/>
                  </a:lnTo>
                  <a:lnTo>
                    <a:pt x="824755" y="438556"/>
                  </a:lnTo>
                  <a:lnTo>
                    <a:pt x="847983" y="441632"/>
                  </a:lnTo>
                  <a:lnTo>
                    <a:pt x="866044" y="452425"/>
                  </a:lnTo>
                  <a:lnTo>
                    <a:pt x="879428" y="470827"/>
                  </a:lnTo>
                  <a:lnTo>
                    <a:pt x="886642" y="493447"/>
                  </a:lnTo>
                  <a:lnTo>
                    <a:pt x="884279" y="514833"/>
                  </a:lnTo>
                  <a:lnTo>
                    <a:pt x="871874" y="535484"/>
                  </a:lnTo>
                  <a:lnTo>
                    <a:pt x="848964" y="555895"/>
                  </a:lnTo>
                  <a:close/>
                </a:path>
                <a:path w="1221739" h="1218564">
                  <a:moveTo>
                    <a:pt x="141751" y="956586"/>
                  </a:moveTo>
                  <a:lnTo>
                    <a:pt x="92507" y="947851"/>
                  </a:lnTo>
                  <a:lnTo>
                    <a:pt x="49588" y="922174"/>
                  </a:lnTo>
                  <a:lnTo>
                    <a:pt x="18606" y="882913"/>
                  </a:lnTo>
                  <a:lnTo>
                    <a:pt x="11930" y="867576"/>
                  </a:lnTo>
                  <a:lnTo>
                    <a:pt x="8591" y="859892"/>
                  </a:lnTo>
                  <a:lnTo>
                    <a:pt x="78" y="812533"/>
                  </a:lnTo>
                  <a:lnTo>
                    <a:pt x="0" y="809987"/>
                  </a:lnTo>
                  <a:lnTo>
                    <a:pt x="258" y="802337"/>
                  </a:lnTo>
                  <a:lnTo>
                    <a:pt x="9006" y="761537"/>
                  </a:lnTo>
                  <a:lnTo>
                    <a:pt x="34554" y="718600"/>
                  </a:lnTo>
                  <a:lnTo>
                    <a:pt x="66338" y="691676"/>
                  </a:lnTo>
                  <a:lnTo>
                    <a:pt x="129985" y="658507"/>
                  </a:lnTo>
                  <a:lnTo>
                    <a:pt x="196995" y="626988"/>
                  </a:lnTo>
                  <a:lnTo>
                    <a:pt x="321559" y="891454"/>
                  </a:lnTo>
                  <a:lnTo>
                    <a:pt x="285543" y="908199"/>
                  </a:lnTo>
                  <a:lnTo>
                    <a:pt x="249091" y="923886"/>
                  </a:lnTo>
                  <a:lnTo>
                    <a:pt x="212201" y="938515"/>
                  </a:lnTo>
                  <a:lnTo>
                    <a:pt x="174874" y="952086"/>
                  </a:lnTo>
                  <a:lnTo>
                    <a:pt x="158492" y="955464"/>
                  </a:lnTo>
                  <a:lnTo>
                    <a:pt x="141751" y="956586"/>
                  </a:lnTo>
                  <a:close/>
                </a:path>
                <a:path w="1221739" h="1218564">
                  <a:moveTo>
                    <a:pt x="942901" y="893786"/>
                  </a:moveTo>
                  <a:lnTo>
                    <a:pt x="935217" y="892522"/>
                  </a:lnTo>
                  <a:lnTo>
                    <a:pt x="927289" y="891504"/>
                  </a:lnTo>
                  <a:lnTo>
                    <a:pt x="920035" y="889796"/>
                  </a:lnTo>
                  <a:lnTo>
                    <a:pt x="914375" y="886462"/>
                  </a:lnTo>
                  <a:lnTo>
                    <a:pt x="896636" y="870823"/>
                  </a:lnTo>
                  <a:lnTo>
                    <a:pt x="877848" y="856703"/>
                  </a:lnTo>
                  <a:lnTo>
                    <a:pt x="837121" y="833015"/>
                  </a:lnTo>
                  <a:lnTo>
                    <a:pt x="793225" y="815896"/>
                  </a:lnTo>
                  <a:lnTo>
                    <a:pt x="747195" y="805844"/>
                  </a:lnTo>
                  <a:lnTo>
                    <a:pt x="693322" y="799751"/>
                  </a:lnTo>
                  <a:lnTo>
                    <a:pt x="640059" y="799184"/>
                  </a:lnTo>
                  <a:lnTo>
                    <a:pt x="915871" y="799184"/>
                  </a:lnTo>
                  <a:lnTo>
                    <a:pt x="941406" y="853387"/>
                  </a:lnTo>
                  <a:lnTo>
                    <a:pt x="943180" y="857017"/>
                  </a:lnTo>
                  <a:lnTo>
                    <a:pt x="944247" y="859299"/>
                  </a:lnTo>
                  <a:lnTo>
                    <a:pt x="952327" y="879729"/>
                  </a:lnTo>
                  <a:lnTo>
                    <a:pt x="950931" y="884229"/>
                  </a:lnTo>
                  <a:lnTo>
                    <a:pt x="950356" y="885723"/>
                  </a:lnTo>
                  <a:lnTo>
                    <a:pt x="948845" y="889312"/>
                  </a:lnTo>
                  <a:lnTo>
                    <a:pt x="946360" y="892000"/>
                  </a:lnTo>
                  <a:lnTo>
                    <a:pt x="942901" y="893786"/>
                  </a:lnTo>
                  <a:close/>
                </a:path>
                <a:path w="1221739" h="1218564">
                  <a:moveTo>
                    <a:pt x="413721" y="976457"/>
                  </a:moveTo>
                  <a:lnTo>
                    <a:pt x="407349" y="964420"/>
                  </a:lnTo>
                  <a:lnTo>
                    <a:pt x="390088" y="932464"/>
                  </a:lnTo>
                  <a:lnTo>
                    <a:pt x="382371" y="917780"/>
                  </a:lnTo>
                  <a:lnTo>
                    <a:pt x="471462" y="878251"/>
                  </a:lnTo>
                  <a:lnTo>
                    <a:pt x="485788" y="911387"/>
                  </a:lnTo>
                  <a:lnTo>
                    <a:pt x="484875" y="936530"/>
                  </a:lnTo>
                  <a:lnTo>
                    <a:pt x="462821" y="957085"/>
                  </a:lnTo>
                  <a:lnTo>
                    <a:pt x="413721" y="976457"/>
                  </a:lnTo>
                  <a:close/>
                </a:path>
                <a:path w="1221739" h="1218564">
                  <a:moveTo>
                    <a:pt x="429725" y="1218345"/>
                  </a:moveTo>
                  <a:lnTo>
                    <a:pt x="418315" y="1216052"/>
                  </a:lnTo>
                  <a:lnTo>
                    <a:pt x="408513" y="1209016"/>
                  </a:lnTo>
                  <a:lnTo>
                    <a:pt x="399976" y="1198110"/>
                  </a:lnTo>
                  <a:lnTo>
                    <a:pt x="371295" y="1153330"/>
                  </a:lnTo>
                  <a:lnTo>
                    <a:pt x="254752" y="972630"/>
                  </a:lnTo>
                  <a:lnTo>
                    <a:pt x="339459" y="932560"/>
                  </a:lnTo>
                  <a:lnTo>
                    <a:pt x="342842" y="938587"/>
                  </a:lnTo>
                  <a:lnTo>
                    <a:pt x="346159" y="943612"/>
                  </a:lnTo>
                  <a:lnTo>
                    <a:pt x="451739" y="1167975"/>
                  </a:lnTo>
                  <a:lnTo>
                    <a:pt x="457232" y="1183883"/>
                  </a:lnTo>
                  <a:lnTo>
                    <a:pt x="457659" y="1197258"/>
                  </a:lnTo>
                  <a:lnTo>
                    <a:pt x="452963" y="1207755"/>
                  </a:lnTo>
                  <a:lnTo>
                    <a:pt x="443085" y="1215025"/>
                  </a:lnTo>
                  <a:lnTo>
                    <a:pt x="429725" y="1218345"/>
                  </a:lnTo>
                  <a:close/>
                </a:path>
                <a:path w="1221739" h="1218564">
                  <a:moveTo>
                    <a:pt x="808156" y="124886"/>
                  </a:moveTo>
                  <a:lnTo>
                    <a:pt x="783147" y="100066"/>
                  </a:lnTo>
                  <a:lnTo>
                    <a:pt x="784029" y="90180"/>
                  </a:lnTo>
                  <a:lnTo>
                    <a:pt x="785699" y="85694"/>
                  </a:lnTo>
                  <a:lnTo>
                    <a:pt x="788596" y="81665"/>
                  </a:lnTo>
                  <a:lnTo>
                    <a:pt x="800132" y="64432"/>
                  </a:lnTo>
                  <a:lnTo>
                    <a:pt x="811751" y="47301"/>
                  </a:lnTo>
                  <a:lnTo>
                    <a:pt x="823452" y="30273"/>
                  </a:lnTo>
                  <a:lnTo>
                    <a:pt x="835235" y="13348"/>
                  </a:lnTo>
                  <a:lnTo>
                    <a:pt x="837996" y="9155"/>
                  </a:lnTo>
                  <a:lnTo>
                    <a:pt x="841592" y="5879"/>
                  </a:lnTo>
                  <a:lnTo>
                    <a:pt x="850452" y="1157"/>
                  </a:lnTo>
                  <a:lnTo>
                    <a:pt x="855177" y="0"/>
                  </a:lnTo>
                  <a:lnTo>
                    <a:pt x="860197" y="46"/>
                  </a:lnTo>
                  <a:lnTo>
                    <a:pt x="885159" y="15171"/>
                  </a:lnTo>
                  <a:lnTo>
                    <a:pt x="886966" y="17782"/>
                  </a:lnTo>
                  <a:lnTo>
                    <a:pt x="886309" y="21067"/>
                  </a:lnTo>
                  <a:lnTo>
                    <a:pt x="885652" y="24680"/>
                  </a:lnTo>
                  <a:lnTo>
                    <a:pt x="885488" y="26486"/>
                  </a:lnTo>
                  <a:lnTo>
                    <a:pt x="885185" y="32151"/>
                  </a:lnTo>
                  <a:lnTo>
                    <a:pt x="883652" y="37461"/>
                  </a:lnTo>
                  <a:lnTo>
                    <a:pt x="856995" y="78176"/>
                  </a:lnTo>
                  <a:lnTo>
                    <a:pt x="833100" y="112704"/>
                  </a:lnTo>
                  <a:lnTo>
                    <a:pt x="815277" y="124639"/>
                  </a:lnTo>
                  <a:lnTo>
                    <a:pt x="808156" y="124886"/>
                  </a:lnTo>
                  <a:close/>
                </a:path>
                <a:path w="1221739" h="1218564">
                  <a:moveTo>
                    <a:pt x="1021675" y="413849"/>
                  </a:moveTo>
                  <a:lnTo>
                    <a:pt x="999090" y="382188"/>
                  </a:lnTo>
                  <a:lnTo>
                    <a:pt x="1000287" y="377558"/>
                  </a:lnTo>
                  <a:lnTo>
                    <a:pt x="1005155" y="368936"/>
                  </a:lnTo>
                  <a:lnTo>
                    <a:pt x="1008502" y="365520"/>
                  </a:lnTo>
                  <a:lnTo>
                    <a:pt x="1012762" y="362998"/>
                  </a:lnTo>
                  <a:lnTo>
                    <a:pt x="1030406" y="352072"/>
                  </a:lnTo>
                  <a:lnTo>
                    <a:pt x="1065878" y="330527"/>
                  </a:lnTo>
                  <a:lnTo>
                    <a:pt x="1083706" y="319971"/>
                  </a:lnTo>
                  <a:lnTo>
                    <a:pt x="1087893" y="317283"/>
                  </a:lnTo>
                  <a:lnTo>
                    <a:pt x="1092468" y="315779"/>
                  </a:lnTo>
                  <a:lnTo>
                    <a:pt x="1102396" y="315137"/>
                  </a:lnTo>
                  <a:lnTo>
                    <a:pt x="1107127" y="316039"/>
                  </a:lnTo>
                  <a:lnTo>
                    <a:pt x="1128375" y="342141"/>
                  </a:lnTo>
                  <a:lnTo>
                    <a:pt x="1128868" y="345426"/>
                  </a:lnTo>
                  <a:lnTo>
                    <a:pt x="1126733" y="348053"/>
                  </a:lnTo>
                  <a:lnTo>
                    <a:pt x="1125912" y="349531"/>
                  </a:lnTo>
                  <a:lnTo>
                    <a:pt x="1124927" y="351009"/>
                  </a:lnTo>
                  <a:lnTo>
                    <a:pt x="1123941" y="352651"/>
                  </a:lnTo>
                  <a:lnTo>
                    <a:pt x="1121351" y="357683"/>
                  </a:lnTo>
                  <a:lnTo>
                    <a:pt x="1117793" y="361898"/>
                  </a:lnTo>
                  <a:lnTo>
                    <a:pt x="1076706" y="388001"/>
                  </a:lnTo>
                  <a:lnTo>
                    <a:pt x="1040515" y="409473"/>
                  </a:lnTo>
                  <a:lnTo>
                    <a:pt x="1036276" y="412247"/>
                  </a:lnTo>
                  <a:lnTo>
                    <a:pt x="1031623" y="413670"/>
                  </a:lnTo>
                  <a:lnTo>
                    <a:pt x="1021675" y="413849"/>
                  </a:lnTo>
                  <a:close/>
                </a:path>
                <a:path w="1221739" h="1218564">
                  <a:moveTo>
                    <a:pt x="1192274" y="813828"/>
                  </a:moveTo>
                  <a:lnTo>
                    <a:pt x="1186675" y="812972"/>
                  </a:lnTo>
                  <a:lnTo>
                    <a:pt x="1165806" y="807758"/>
                  </a:lnTo>
                  <a:lnTo>
                    <a:pt x="1144983" y="802297"/>
                  </a:lnTo>
                  <a:lnTo>
                    <a:pt x="1104399" y="791130"/>
                  </a:lnTo>
                  <a:lnTo>
                    <a:pt x="1099537" y="789934"/>
                  </a:lnTo>
                  <a:lnTo>
                    <a:pt x="1083529" y="767035"/>
                  </a:lnTo>
                  <a:lnTo>
                    <a:pt x="1083623" y="762319"/>
                  </a:lnTo>
                  <a:lnTo>
                    <a:pt x="1109274" y="737558"/>
                  </a:lnTo>
                  <a:lnTo>
                    <a:pt x="1114068" y="737598"/>
                  </a:lnTo>
                  <a:lnTo>
                    <a:pt x="1118850" y="738907"/>
                  </a:lnTo>
                  <a:lnTo>
                    <a:pt x="1179079" y="754703"/>
                  </a:lnTo>
                  <a:lnTo>
                    <a:pt x="1198992" y="760256"/>
                  </a:lnTo>
                  <a:lnTo>
                    <a:pt x="1203818" y="761447"/>
                  </a:lnTo>
                  <a:lnTo>
                    <a:pt x="1208067" y="763717"/>
                  </a:lnTo>
                  <a:lnTo>
                    <a:pt x="1221516" y="789091"/>
                  </a:lnTo>
                  <a:lnTo>
                    <a:pt x="1219473" y="799250"/>
                  </a:lnTo>
                  <a:lnTo>
                    <a:pt x="1217287" y="803765"/>
                  </a:lnTo>
                  <a:lnTo>
                    <a:pt x="1213907" y="807758"/>
                  </a:lnTo>
                  <a:lnTo>
                    <a:pt x="1211965" y="810508"/>
                  </a:lnTo>
                  <a:lnTo>
                    <a:pt x="1208517" y="810837"/>
                  </a:lnTo>
                  <a:lnTo>
                    <a:pt x="1206875" y="811165"/>
                  </a:lnTo>
                  <a:lnTo>
                    <a:pt x="1205068" y="811494"/>
                  </a:lnTo>
                  <a:lnTo>
                    <a:pt x="1197803" y="813499"/>
                  </a:lnTo>
                  <a:lnTo>
                    <a:pt x="1192274" y="813828"/>
                  </a:lnTo>
                  <a:close/>
                </a:path>
              </a:pathLst>
            </a:custGeom>
            <a:solidFill>
              <a:srgbClr val="FFFFFF"/>
            </a:solidFill>
          </p:spPr>
          <p:txBody>
            <a:bodyPr wrap="square" lIns="0" tIns="0" rIns="0" bIns="0" rtlCol="0"/>
            <a:lstStyle/>
            <a:p>
              <a:endParaRPr/>
            </a:p>
          </p:txBody>
        </p:sp>
      </p:grpSp>
      <p:sp>
        <p:nvSpPr>
          <p:cNvPr id="10" name="object 10"/>
          <p:cNvSpPr txBox="1"/>
          <p:nvPr/>
        </p:nvSpPr>
        <p:spPr>
          <a:xfrm>
            <a:off x="2259999" y="4587202"/>
            <a:ext cx="2804795" cy="692150"/>
          </a:xfrm>
          <a:prstGeom prst="rect">
            <a:avLst/>
          </a:prstGeom>
        </p:spPr>
        <p:txBody>
          <a:bodyPr vert="horz" wrap="square" lIns="0" tIns="12065" rIns="0" bIns="0" rtlCol="0">
            <a:spAutoFit/>
          </a:bodyPr>
          <a:lstStyle/>
          <a:p>
            <a:pPr marL="847090" marR="5080" indent="-835025">
              <a:lnSpc>
                <a:spcPct val="115100"/>
              </a:lnSpc>
              <a:spcBef>
                <a:spcPts val="95"/>
              </a:spcBef>
            </a:pPr>
            <a:r>
              <a:rPr sz="1900" spc="-10" dirty="0">
                <a:solidFill>
                  <a:srgbClr val="737373"/>
                </a:solidFill>
                <a:latin typeface="Roboto"/>
                <a:cs typeface="Roboto"/>
              </a:rPr>
              <a:t>Actualización</a:t>
            </a:r>
            <a:r>
              <a:rPr sz="1900" spc="-80" dirty="0">
                <a:solidFill>
                  <a:srgbClr val="737373"/>
                </a:solidFill>
                <a:latin typeface="Roboto"/>
                <a:cs typeface="Roboto"/>
              </a:rPr>
              <a:t> </a:t>
            </a:r>
            <a:r>
              <a:rPr sz="1900" dirty="0">
                <a:solidFill>
                  <a:srgbClr val="737373"/>
                </a:solidFill>
                <a:latin typeface="Roboto"/>
                <a:cs typeface="Roboto"/>
              </a:rPr>
              <a:t>y</a:t>
            </a:r>
            <a:r>
              <a:rPr sz="1900" spc="-80" dirty="0">
                <a:solidFill>
                  <a:srgbClr val="737373"/>
                </a:solidFill>
                <a:latin typeface="Roboto"/>
                <a:cs typeface="Roboto"/>
              </a:rPr>
              <a:t> </a:t>
            </a:r>
            <a:r>
              <a:rPr sz="1900" spc="-10" dirty="0">
                <a:solidFill>
                  <a:srgbClr val="737373"/>
                </a:solidFill>
                <a:latin typeface="Roboto"/>
                <a:cs typeface="Roboto"/>
              </a:rPr>
              <a:t>desarrollo </a:t>
            </a:r>
            <a:r>
              <a:rPr sz="1900" dirty="0">
                <a:solidFill>
                  <a:srgbClr val="737373"/>
                </a:solidFill>
                <a:latin typeface="Roboto"/>
                <a:cs typeface="Roboto"/>
              </a:rPr>
              <a:t>de</a:t>
            </a:r>
            <a:r>
              <a:rPr sz="1900" spc="-20" dirty="0">
                <a:solidFill>
                  <a:srgbClr val="737373"/>
                </a:solidFill>
                <a:latin typeface="Roboto"/>
                <a:cs typeface="Roboto"/>
              </a:rPr>
              <a:t> </a:t>
            </a:r>
            <a:r>
              <a:rPr sz="1900" b="1" spc="-10" dirty="0">
                <a:solidFill>
                  <a:srgbClr val="E3112B"/>
                </a:solidFill>
                <a:latin typeface="Roboto"/>
                <a:cs typeface="Roboto"/>
              </a:rPr>
              <a:t>canales</a:t>
            </a:r>
            <a:endParaRPr sz="1900">
              <a:latin typeface="Roboto"/>
              <a:cs typeface="Roboto"/>
            </a:endParaRPr>
          </a:p>
        </p:txBody>
      </p:sp>
      <p:sp>
        <p:nvSpPr>
          <p:cNvPr id="11" name="object 11"/>
          <p:cNvSpPr/>
          <p:nvPr/>
        </p:nvSpPr>
        <p:spPr>
          <a:xfrm>
            <a:off x="823475" y="4461125"/>
            <a:ext cx="1069975" cy="1069975"/>
          </a:xfrm>
          <a:custGeom>
            <a:avLst/>
            <a:gdLst/>
            <a:ahLst/>
            <a:cxnLst/>
            <a:rect l="l" t="t" r="r" b="b"/>
            <a:pathLst>
              <a:path w="1069975" h="1069975">
                <a:moveTo>
                  <a:pt x="534702" y="1069390"/>
                </a:moveTo>
                <a:lnTo>
                  <a:pt x="486027" y="1067205"/>
                </a:lnTo>
                <a:lnTo>
                  <a:pt x="438583" y="1060776"/>
                </a:lnTo>
                <a:lnTo>
                  <a:pt x="392552" y="1050290"/>
                </a:lnTo>
                <a:lnTo>
                  <a:pt x="348122" y="1035938"/>
                </a:lnTo>
                <a:lnTo>
                  <a:pt x="305483" y="1017908"/>
                </a:lnTo>
                <a:lnTo>
                  <a:pt x="264824" y="996389"/>
                </a:lnTo>
                <a:lnTo>
                  <a:pt x="226332" y="971568"/>
                </a:lnTo>
                <a:lnTo>
                  <a:pt x="190197" y="943636"/>
                </a:lnTo>
                <a:lnTo>
                  <a:pt x="156608" y="912781"/>
                </a:lnTo>
                <a:lnTo>
                  <a:pt x="125753" y="879192"/>
                </a:lnTo>
                <a:lnTo>
                  <a:pt x="97821" y="843057"/>
                </a:lnTo>
                <a:lnTo>
                  <a:pt x="73001" y="804566"/>
                </a:lnTo>
                <a:lnTo>
                  <a:pt x="51482" y="763906"/>
                </a:lnTo>
                <a:lnTo>
                  <a:pt x="33451" y="721267"/>
                </a:lnTo>
                <a:lnTo>
                  <a:pt x="19099" y="676838"/>
                </a:lnTo>
                <a:lnTo>
                  <a:pt x="8614" y="630807"/>
                </a:lnTo>
                <a:lnTo>
                  <a:pt x="2185" y="583363"/>
                </a:lnTo>
                <a:lnTo>
                  <a:pt x="0" y="534695"/>
                </a:lnTo>
                <a:lnTo>
                  <a:pt x="2185" y="486026"/>
                </a:lnTo>
                <a:lnTo>
                  <a:pt x="8614" y="438583"/>
                </a:lnTo>
                <a:lnTo>
                  <a:pt x="19099" y="392551"/>
                </a:lnTo>
                <a:lnTo>
                  <a:pt x="33451" y="348122"/>
                </a:lnTo>
                <a:lnTo>
                  <a:pt x="51482" y="305483"/>
                </a:lnTo>
                <a:lnTo>
                  <a:pt x="73001" y="264824"/>
                </a:lnTo>
                <a:lnTo>
                  <a:pt x="97821" y="226332"/>
                </a:lnTo>
                <a:lnTo>
                  <a:pt x="125753" y="190197"/>
                </a:lnTo>
                <a:lnTo>
                  <a:pt x="156608" y="156608"/>
                </a:lnTo>
                <a:lnTo>
                  <a:pt x="190197" y="125753"/>
                </a:lnTo>
                <a:lnTo>
                  <a:pt x="226332" y="97821"/>
                </a:lnTo>
                <a:lnTo>
                  <a:pt x="264824" y="73001"/>
                </a:lnTo>
                <a:lnTo>
                  <a:pt x="305483" y="51482"/>
                </a:lnTo>
                <a:lnTo>
                  <a:pt x="348122" y="33451"/>
                </a:lnTo>
                <a:lnTo>
                  <a:pt x="392552" y="19099"/>
                </a:lnTo>
                <a:lnTo>
                  <a:pt x="438583" y="8614"/>
                </a:lnTo>
                <a:lnTo>
                  <a:pt x="486027"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7"/>
                </a:lnTo>
                <a:lnTo>
                  <a:pt x="971568" y="226332"/>
                </a:lnTo>
                <a:lnTo>
                  <a:pt x="996388" y="264824"/>
                </a:lnTo>
                <a:lnTo>
                  <a:pt x="1017908" y="305483"/>
                </a:lnTo>
                <a:lnTo>
                  <a:pt x="1035938" y="348122"/>
                </a:lnTo>
                <a:lnTo>
                  <a:pt x="1050290" y="392551"/>
                </a:lnTo>
                <a:lnTo>
                  <a:pt x="1060775" y="438583"/>
                </a:lnTo>
                <a:lnTo>
                  <a:pt x="1067205" y="486026"/>
                </a:lnTo>
                <a:lnTo>
                  <a:pt x="1069390" y="534695"/>
                </a:lnTo>
                <a:lnTo>
                  <a:pt x="1067205" y="583363"/>
                </a:lnTo>
                <a:lnTo>
                  <a:pt x="1060775" y="630807"/>
                </a:lnTo>
                <a:lnTo>
                  <a:pt x="1050290" y="676838"/>
                </a:lnTo>
                <a:lnTo>
                  <a:pt x="1035938" y="721267"/>
                </a:lnTo>
                <a:lnTo>
                  <a:pt x="1017908" y="763906"/>
                </a:lnTo>
                <a:lnTo>
                  <a:pt x="996388" y="804566"/>
                </a:lnTo>
                <a:lnTo>
                  <a:pt x="971568" y="843057"/>
                </a:lnTo>
                <a:lnTo>
                  <a:pt x="943636" y="879192"/>
                </a:lnTo>
                <a:lnTo>
                  <a:pt x="912781" y="912781"/>
                </a:lnTo>
                <a:lnTo>
                  <a:pt x="879192" y="943636"/>
                </a:lnTo>
                <a:lnTo>
                  <a:pt x="843057" y="971568"/>
                </a:lnTo>
                <a:lnTo>
                  <a:pt x="804566" y="996389"/>
                </a:lnTo>
                <a:lnTo>
                  <a:pt x="763906" y="1017908"/>
                </a:lnTo>
                <a:lnTo>
                  <a:pt x="721267" y="1035938"/>
                </a:lnTo>
                <a:lnTo>
                  <a:pt x="676838" y="1050290"/>
                </a:lnTo>
                <a:lnTo>
                  <a:pt x="630807" y="1060776"/>
                </a:lnTo>
                <a:lnTo>
                  <a:pt x="583363" y="1067205"/>
                </a:lnTo>
                <a:lnTo>
                  <a:pt x="534702" y="1069390"/>
                </a:lnTo>
                <a:close/>
              </a:path>
            </a:pathLst>
          </a:custGeom>
          <a:solidFill>
            <a:srgbClr val="003793"/>
          </a:solidFill>
        </p:spPr>
        <p:txBody>
          <a:bodyPr wrap="square" lIns="0" tIns="0" rIns="0" bIns="0" rtlCol="0"/>
          <a:lstStyle/>
          <a:p>
            <a:endParaRPr/>
          </a:p>
        </p:txBody>
      </p:sp>
      <p:sp>
        <p:nvSpPr>
          <p:cNvPr id="12" name="object 12"/>
          <p:cNvSpPr txBox="1"/>
          <p:nvPr/>
        </p:nvSpPr>
        <p:spPr>
          <a:xfrm>
            <a:off x="1117115" y="4727321"/>
            <a:ext cx="482600" cy="506730"/>
          </a:xfrm>
          <a:prstGeom prst="rect">
            <a:avLst/>
          </a:prstGeom>
        </p:spPr>
        <p:txBody>
          <a:bodyPr vert="horz" wrap="square" lIns="0" tIns="13335" rIns="0" bIns="0" rtlCol="0">
            <a:spAutoFit/>
          </a:bodyPr>
          <a:lstStyle/>
          <a:p>
            <a:pPr marL="12700">
              <a:lnSpc>
                <a:spcPct val="100000"/>
              </a:lnSpc>
              <a:spcBef>
                <a:spcPts val="105"/>
              </a:spcBef>
            </a:pPr>
            <a:r>
              <a:rPr sz="3150" b="1" spc="-25" dirty="0">
                <a:solidFill>
                  <a:srgbClr val="FFFFFF"/>
                </a:solidFill>
                <a:latin typeface="Arial"/>
                <a:cs typeface="Arial"/>
              </a:rPr>
              <a:t>01</a:t>
            </a:r>
            <a:endParaRPr sz="3150">
              <a:latin typeface="Arial"/>
              <a:cs typeface="Arial"/>
            </a:endParaRPr>
          </a:p>
        </p:txBody>
      </p:sp>
      <p:sp>
        <p:nvSpPr>
          <p:cNvPr id="13" name="object 13"/>
          <p:cNvSpPr txBox="1"/>
          <p:nvPr/>
        </p:nvSpPr>
        <p:spPr>
          <a:xfrm>
            <a:off x="637985" y="384149"/>
            <a:ext cx="818832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2.</a:t>
            </a:r>
            <a:r>
              <a:rPr sz="3000" spc="-60" dirty="0">
                <a:solidFill>
                  <a:srgbClr val="FFFFFF"/>
                </a:solidFill>
                <a:latin typeface="Roboto"/>
                <a:cs typeface="Roboto"/>
              </a:rPr>
              <a:t> </a:t>
            </a:r>
            <a:r>
              <a:rPr sz="3000" dirty="0">
                <a:solidFill>
                  <a:srgbClr val="FFFFFF"/>
                </a:solidFill>
                <a:latin typeface="Roboto"/>
                <a:cs typeface="Roboto"/>
              </a:rPr>
              <a:t>¿Cómo</a:t>
            </a:r>
            <a:r>
              <a:rPr sz="3000" spc="-55" dirty="0">
                <a:solidFill>
                  <a:srgbClr val="FFFFFF"/>
                </a:solidFill>
                <a:latin typeface="Roboto"/>
                <a:cs typeface="Roboto"/>
              </a:rPr>
              <a:t> </a:t>
            </a:r>
            <a:r>
              <a:rPr sz="3000" spc="-10" dirty="0">
                <a:solidFill>
                  <a:srgbClr val="FFFFFF"/>
                </a:solidFill>
                <a:latin typeface="Roboto"/>
                <a:cs typeface="Roboto"/>
              </a:rPr>
              <a:t>promocionamos</a:t>
            </a:r>
            <a:r>
              <a:rPr sz="3000" spc="-55" dirty="0">
                <a:solidFill>
                  <a:srgbClr val="FFFFFF"/>
                </a:solidFill>
                <a:latin typeface="Roboto"/>
                <a:cs typeface="Roboto"/>
              </a:rPr>
              <a:t> </a:t>
            </a:r>
            <a:r>
              <a:rPr sz="3000" dirty="0">
                <a:solidFill>
                  <a:srgbClr val="FFFFFF"/>
                </a:solidFill>
                <a:latin typeface="Roboto"/>
                <a:cs typeface="Roboto"/>
              </a:rPr>
              <a:t>MICE</a:t>
            </a:r>
            <a:r>
              <a:rPr sz="3000" spc="-55" dirty="0">
                <a:solidFill>
                  <a:srgbClr val="FFFFFF"/>
                </a:solidFill>
                <a:latin typeface="Roboto"/>
                <a:cs typeface="Roboto"/>
              </a:rPr>
              <a:t> </a:t>
            </a:r>
            <a:r>
              <a:rPr sz="3000" spc="-20" dirty="0">
                <a:solidFill>
                  <a:srgbClr val="FFFFFF"/>
                </a:solidFill>
                <a:latin typeface="Roboto"/>
                <a:cs typeface="Roboto"/>
              </a:rPr>
              <a:t>internacional?</a:t>
            </a:r>
            <a:endParaRPr sz="3000">
              <a:latin typeface="Roboto"/>
              <a:cs typeface="Roboto"/>
            </a:endParaRPr>
          </a:p>
        </p:txBody>
      </p:sp>
      <p:sp>
        <p:nvSpPr>
          <p:cNvPr id="14" name="object 14"/>
          <p:cNvSpPr txBox="1">
            <a:spLocks noGrp="1"/>
          </p:cNvSpPr>
          <p:nvPr>
            <p:ph type="title"/>
          </p:nvPr>
        </p:nvSpPr>
        <p:spPr>
          <a:xfrm>
            <a:off x="5939109" y="1510459"/>
            <a:ext cx="6318250" cy="643890"/>
          </a:xfrm>
          <a:prstGeom prst="rect">
            <a:avLst/>
          </a:prstGeom>
        </p:spPr>
        <p:txBody>
          <a:bodyPr vert="horz" wrap="square" lIns="0" tIns="13335" rIns="0" bIns="0" rtlCol="0">
            <a:spAutoFit/>
          </a:bodyPr>
          <a:lstStyle/>
          <a:p>
            <a:pPr marL="12700">
              <a:lnSpc>
                <a:spcPct val="100000"/>
              </a:lnSpc>
              <a:spcBef>
                <a:spcPts val="105"/>
              </a:spcBef>
            </a:pPr>
            <a:r>
              <a:rPr sz="4050" b="1" dirty="0">
                <a:solidFill>
                  <a:srgbClr val="E3112B"/>
                </a:solidFill>
                <a:latin typeface="Roboto"/>
                <a:cs typeface="Roboto"/>
              </a:rPr>
              <a:t>Estrategia</a:t>
            </a:r>
            <a:r>
              <a:rPr sz="4050" b="1" spc="-90" dirty="0">
                <a:solidFill>
                  <a:srgbClr val="E3112B"/>
                </a:solidFill>
                <a:latin typeface="Roboto"/>
                <a:cs typeface="Roboto"/>
              </a:rPr>
              <a:t> </a:t>
            </a:r>
            <a:r>
              <a:rPr sz="4050" b="1" dirty="0">
                <a:solidFill>
                  <a:srgbClr val="E3112B"/>
                </a:solidFill>
                <a:latin typeface="Roboto"/>
                <a:cs typeface="Roboto"/>
              </a:rPr>
              <a:t>y</a:t>
            </a:r>
            <a:r>
              <a:rPr sz="4050" b="1" spc="-90" dirty="0">
                <a:solidFill>
                  <a:srgbClr val="E3112B"/>
                </a:solidFill>
                <a:latin typeface="Roboto"/>
                <a:cs typeface="Roboto"/>
              </a:rPr>
              <a:t> </a:t>
            </a:r>
            <a:r>
              <a:rPr sz="4050" b="1" dirty="0">
                <a:solidFill>
                  <a:srgbClr val="E3112B"/>
                </a:solidFill>
                <a:latin typeface="Roboto"/>
                <a:cs typeface="Roboto"/>
              </a:rPr>
              <a:t>acciones</a:t>
            </a:r>
            <a:r>
              <a:rPr sz="4050" b="1" spc="-90" dirty="0">
                <a:solidFill>
                  <a:srgbClr val="E3112B"/>
                </a:solidFill>
                <a:latin typeface="Roboto"/>
                <a:cs typeface="Roboto"/>
              </a:rPr>
              <a:t> </a:t>
            </a:r>
            <a:r>
              <a:rPr sz="4050" b="1" spc="-20" dirty="0">
                <a:solidFill>
                  <a:srgbClr val="E3112B"/>
                </a:solidFill>
                <a:latin typeface="Roboto"/>
                <a:cs typeface="Roboto"/>
              </a:rPr>
              <a:t>MICE</a:t>
            </a:r>
            <a:endParaRPr sz="4050">
              <a:latin typeface="Roboto"/>
              <a:cs typeface="Roboto"/>
            </a:endParaRPr>
          </a:p>
        </p:txBody>
      </p:sp>
      <p:grpSp>
        <p:nvGrpSpPr>
          <p:cNvPr id="15" name="object 15"/>
          <p:cNvGrpSpPr/>
          <p:nvPr/>
        </p:nvGrpSpPr>
        <p:grpSpPr>
          <a:xfrm>
            <a:off x="8132058" y="2480898"/>
            <a:ext cx="1858010" cy="1858010"/>
            <a:chOff x="8132058" y="2480898"/>
            <a:chExt cx="1858010" cy="1858010"/>
          </a:xfrm>
        </p:grpSpPr>
        <p:sp>
          <p:nvSpPr>
            <p:cNvPr id="16" name="object 16"/>
            <p:cNvSpPr/>
            <p:nvPr/>
          </p:nvSpPr>
          <p:spPr>
            <a:xfrm>
              <a:off x="8132058" y="2480898"/>
              <a:ext cx="1858010" cy="1858010"/>
            </a:xfrm>
            <a:custGeom>
              <a:avLst/>
              <a:gdLst/>
              <a:ahLst/>
              <a:cxnLst/>
              <a:rect l="l" t="t" r="r" b="b"/>
              <a:pathLst>
                <a:path w="1858009" h="1858010">
                  <a:moveTo>
                    <a:pt x="928915" y="1857797"/>
                  </a:moveTo>
                  <a:lnTo>
                    <a:pt x="881097" y="1856588"/>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7" y="1585729"/>
                  </a:lnTo>
                  <a:lnTo>
                    <a:pt x="241310" y="1553469"/>
                  </a:lnTo>
                  <a:lnTo>
                    <a:pt x="212115" y="1519764"/>
                  </a:lnTo>
                  <a:lnTo>
                    <a:pt x="184539" y="1484673"/>
                  </a:lnTo>
                  <a:lnTo>
                    <a:pt x="158641" y="1448254"/>
                  </a:lnTo>
                  <a:lnTo>
                    <a:pt x="134479" y="1410566"/>
                  </a:lnTo>
                  <a:lnTo>
                    <a:pt x="112112" y="1371667"/>
                  </a:lnTo>
                  <a:lnTo>
                    <a:pt x="91599" y="1331614"/>
                  </a:lnTo>
                  <a:lnTo>
                    <a:pt x="72997" y="1290468"/>
                  </a:lnTo>
                  <a:lnTo>
                    <a:pt x="56365" y="1248285"/>
                  </a:lnTo>
                  <a:lnTo>
                    <a:pt x="41761" y="1205124"/>
                  </a:lnTo>
                  <a:lnTo>
                    <a:pt x="29243" y="1161045"/>
                  </a:lnTo>
                  <a:lnTo>
                    <a:pt x="18871" y="1116104"/>
                  </a:lnTo>
                  <a:lnTo>
                    <a:pt x="10702" y="1070360"/>
                  </a:lnTo>
                  <a:lnTo>
                    <a:pt x="4795" y="1023873"/>
                  </a:lnTo>
                  <a:lnTo>
                    <a:pt x="1208" y="976699"/>
                  </a:lnTo>
                  <a:lnTo>
                    <a:pt x="0" y="928890"/>
                  </a:lnTo>
                  <a:lnTo>
                    <a:pt x="1208" y="881097"/>
                  </a:lnTo>
                  <a:lnTo>
                    <a:pt x="4795" y="833924"/>
                  </a:lnTo>
                  <a:lnTo>
                    <a:pt x="10702" y="787436"/>
                  </a:lnTo>
                  <a:lnTo>
                    <a:pt x="18871" y="741693"/>
                  </a:lnTo>
                  <a:lnTo>
                    <a:pt x="29243" y="696752"/>
                  </a:lnTo>
                  <a:lnTo>
                    <a:pt x="41761" y="652672"/>
                  </a:lnTo>
                  <a:lnTo>
                    <a:pt x="56365" y="609512"/>
                  </a:lnTo>
                  <a:lnTo>
                    <a:pt x="72997" y="567329"/>
                  </a:lnTo>
                  <a:lnTo>
                    <a:pt x="91599" y="526182"/>
                  </a:lnTo>
                  <a:lnTo>
                    <a:pt x="112112" y="486130"/>
                  </a:lnTo>
                  <a:lnTo>
                    <a:pt x="134479" y="447230"/>
                  </a:lnTo>
                  <a:lnTo>
                    <a:pt x="158641" y="409542"/>
                  </a:lnTo>
                  <a:lnTo>
                    <a:pt x="184539" y="373123"/>
                  </a:lnTo>
                  <a:lnTo>
                    <a:pt x="212115" y="338032"/>
                  </a:lnTo>
                  <a:lnTo>
                    <a:pt x="241310" y="304328"/>
                  </a:lnTo>
                  <a:lnTo>
                    <a:pt x="272067"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2" y="4795"/>
                  </a:lnTo>
                  <a:lnTo>
                    <a:pt x="1070360" y="10703"/>
                  </a:lnTo>
                  <a:lnTo>
                    <a:pt x="1116103" y="18871"/>
                  </a:lnTo>
                  <a:lnTo>
                    <a:pt x="1161044" y="29244"/>
                  </a:lnTo>
                  <a:lnTo>
                    <a:pt x="1205124" y="41761"/>
                  </a:lnTo>
                  <a:lnTo>
                    <a:pt x="1248285" y="56365"/>
                  </a:lnTo>
                  <a:lnTo>
                    <a:pt x="1290467" y="72997"/>
                  </a:lnTo>
                  <a:lnTo>
                    <a:pt x="1331614" y="91599"/>
                  </a:lnTo>
                  <a:lnTo>
                    <a:pt x="1371666" y="112113"/>
                  </a:lnTo>
                  <a:lnTo>
                    <a:pt x="1410566" y="134479"/>
                  </a:lnTo>
                  <a:lnTo>
                    <a:pt x="1448254" y="158641"/>
                  </a:lnTo>
                  <a:lnTo>
                    <a:pt x="1484673" y="184539"/>
                  </a:lnTo>
                  <a:lnTo>
                    <a:pt x="1519764" y="212115"/>
                  </a:lnTo>
                  <a:lnTo>
                    <a:pt x="1553469" y="241311"/>
                  </a:lnTo>
                  <a:lnTo>
                    <a:pt x="1585729" y="272068"/>
                  </a:lnTo>
                  <a:lnTo>
                    <a:pt x="1616486" y="304328"/>
                  </a:lnTo>
                  <a:lnTo>
                    <a:pt x="1645682" y="338032"/>
                  </a:lnTo>
                  <a:lnTo>
                    <a:pt x="1673258" y="373123"/>
                  </a:lnTo>
                  <a:lnTo>
                    <a:pt x="1699156" y="409542"/>
                  </a:lnTo>
                  <a:lnTo>
                    <a:pt x="1723317" y="447230"/>
                  </a:lnTo>
                  <a:lnTo>
                    <a:pt x="1745684" y="486130"/>
                  </a:lnTo>
                  <a:lnTo>
                    <a:pt x="1766197" y="526182"/>
                  </a:lnTo>
                  <a:lnTo>
                    <a:pt x="1784800" y="567329"/>
                  </a:lnTo>
                  <a:lnTo>
                    <a:pt x="1801432" y="609512"/>
                  </a:lnTo>
                  <a:lnTo>
                    <a:pt x="1816036" y="652672"/>
                  </a:lnTo>
                  <a:lnTo>
                    <a:pt x="1828553" y="696752"/>
                  </a:lnTo>
                  <a:lnTo>
                    <a:pt x="1838925" y="741693"/>
                  </a:lnTo>
                  <a:lnTo>
                    <a:pt x="1847094" y="787436"/>
                  </a:lnTo>
                  <a:lnTo>
                    <a:pt x="1853001" y="833924"/>
                  </a:lnTo>
                  <a:lnTo>
                    <a:pt x="1856588" y="881097"/>
                  </a:lnTo>
                  <a:lnTo>
                    <a:pt x="1857797" y="928898"/>
                  </a:lnTo>
                  <a:lnTo>
                    <a:pt x="1856588" y="976699"/>
                  </a:lnTo>
                  <a:lnTo>
                    <a:pt x="1853001" y="1023873"/>
                  </a:lnTo>
                  <a:lnTo>
                    <a:pt x="1847094" y="1070360"/>
                  </a:lnTo>
                  <a:lnTo>
                    <a:pt x="1838925" y="1116104"/>
                  </a:lnTo>
                  <a:lnTo>
                    <a:pt x="1828553" y="1161045"/>
                  </a:lnTo>
                  <a:lnTo>
                    <a:pt x="1816036" y="1205124"/>
                  </a:lnTo>
                  <a:lnTo>
                    <a:pt x="1801432" y="1248285"/>
                  </a:lnTo>
                  <a:lnTo>
                    <a:pt x="1784800" y="1290468"/>
                  </a:lnTo>
                  <a:lnTo>
                    <a:pt x="1766197" y="1331614"/>
                  </a:lnTo>
                  <a:lnTo>
                    <a:pt x="1745684" y="1371667"/>
                  </a:lnTo>
                  <a:lnTo>
                    <a:pt x="1723317" y="1410566"/>
                  </a:lnTo>
                  <a:lnTo>
                    <a:pt x="1699156" y="1448254"/>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6" y="1745684"/>
                  </a:lnTo>
                  <a:lnTo>
                    <a:pt x="1331614" y="1766198"/>
                  </a:lnTo>
                  <a:lnTo>
                    <a:pt x="1290467" y="1784800"/>
                  </a:lnTo>
                  <a:lnTo>
                    <a:pt x="1248285" y="1801432"/>
                  </a:lnTo>
                  <a:lnTo>
                    <a:pt x="1205124" y="1816036"/>
                  </a:lnTo>
                  <a:lnTo>
                    <a:pt x="1161044" y="1828553"/>
                  </a:lnTo>
                  <a:lnTo>
                    <a:pt x="1116103" y="1838925"/>
                  </a:lnTo>
                  <a:lnTo>
                    <a:pt x="1070360" y="1847094"/>
                  </a:lnTo>
                  <a:lnTo>
                    <a:pt x="1023872" y="1853001"/>
                  </a:lnTo>
                  <a:lnTo>
                    <a:pt x="976699" y="1856588"/>
                  </a:lnTo>
                  <a:lnTo>
                    <a:pt x="928915" y="1857797"/>
                  </a:lnTo>
                  <a:close/>
                </a:path>
              </a:pathLst>
            </a:custGeom>
            <a:solidFill>
              <a:srgbClr val="21408B"/>
            </a:solidFill>
          </p:spPr>
          <p:txBody>
            <a:bodyPr wrap="square" lIns="0" tIns="0" rIns="0" bIns="0" rtlCol="0"/>
            <a:lstStyle/>
            <a:p>
              <a:endParaRPr/>
            </a:p>
          </p:txBody>
        </p:sp>
        <p:sp>
          <p:nvSpPr>
            <p:cNvPr id="17" name="object 17"/>
            <p:cNvSpPr/>
            <p:nvPr/>
          </p:nvSpPr>
          <p:spPr>
            <a:xfrm>
              <a:off x="8500173" y="2851111"/>
              <a:ext cx="1115060" cy="1109980"/>
            </a:xfrm>
            <a:custGeom>
              <a:avLst/>
              <a:gdLst/>
              <a:ahLst/>
              <a:cxnLst/>
              <a:rect l="l" t="t" r="r" b="b"/>
              <a:pathLst>
                <a:path w="1115059" h="1109979">
                  <a:moveTo>
                    <a:pt x="712558" y="1074940"/>
                  </a:moveTo>
                  <a:lnTo>
                    <a:pt x="701903" y="1028255"/>
                  </a:lnTo>
                  <a:lnTo>
                    <a:pt x="677570" y="983157"/>
                  </a:lnTo>
                  <a:lnTo>
                    <a:pt x="642912" y="943559"/>
                  </a:lnTo>
                  <a:lnTo>
                    <a:pt x="601243" y="913345"/>
                  </a:lnTo>
                  <a:lnTo>
                    <a:pt x="555929" y="896429"/>
                  </a:lnTo>
                  <a:lnTo>
                    <a:pt x="544410" y="910094"/>
                  </a:lnTo>
                  <a:lnTo>
                    <a:pt x="533120" y="911860"/>
                  </a:lnTo>
                  <a:lnTo>
                    <a:pt x="521982" y="905700"/>
                  </a:lnTo>
                  <a:lnTo>
                    <a:pt x="510921" y="895553"/>
                  </a:lnTo>
                  <a:lnTo>
                    <a:pt x="467766" y="915936"/>
                  </a:lnTo>
                  <a:lnTo>
                    <a:pt x="430022" y="941705"/>
                  </a:lnTo>
                  <a:lnTo>
                    <a:pt x="398487" y="973810"/>
                  </a:lnTo>
                  <a:lnTo>
                    <a:pt x="373964" y="1013218"/>
                  </a:lnTo>
                  <a:lnTo>
                    <a:pt x="357225" y="1060907"/>
                  </a:lnTo>
                  <a:lnTo>
                    <a:pt x="338201" y="1005840"/>
                  </a:lnTo>
                  <a:lnTo>
                    <a:pt x="307708" y="962215"/>
                  </a:lnTo>
                  <a:lnTo>
                    <a:pt x="267703" y="928281"/>
                  </a:lnTo>
                  <a:lnTo>
                    <a:pt x="220167" y="902271"/>
                  </a:lnTo>
                  <a:lnTo>
                    <a:pt x="203060" y="899896"/>
                  </a:lnTo>
                  <a:lnTo>
                    <a:pt x="184226" y="902677"/>
                  </a:lnTo>
                  <a:lnTo>
                    <a:pt x="164795" y="904240"/>
                  </a:lnTo>
                  <a:lnTo>
                    <a:pt x="105549" y="917079"/>
                  </a:lnTo>
                  <a:lnTo>
                    <a:pt x="68148" y="947572"/>
                  </a:lnTo>
                  <a:lnTo>
                    <a:pt x="36677" y="985977"/>
                  </a:lnTo>
                  <a:lnTo>
                    <a:pt x="14122" y="1028649"/>
                  </a:lnTo>
                  <a:lnTo>
                    <a:pt x="3479" y="1071968"/>
                  </a:lnTo>
                  <a:lnTo>
                    <a:pt x="2781" y="1080020"/>
                  </a:lnTo>
                  <a:lnTo>
                    <a:pt x="0" y="1093101"/>
                  </a:lnTo>
                  <a:lnTo>
                    <a:pt x="8496" y="1094359"/>
                  </a:lnTo>
                  <a:lnTo>
                    <a:pt x="23710" y="1096162"/>
                  </a:lnTo>
                  <a:lnTo>
                    <a:pt x="39103" y="1097013"/>
                  </a:lnTo>
                  <a:lnTo>
                    <a:pt x="54444" y="1096645"/>
                  </a:lnTo>
                  <a:lnTo>
                    <a:pt x="69494" y="1094790"/>
                  </a:lnTo>
                  <a:lnTo>
                    <a:pt x="74650" y="1091006"/>
                  </a:lnTo>
                  <a:lnTo>
                    <a:pt x="75514" y="1083881"/>
                  </a:lnTo>
                  <a:lnTo>
                    <a:pt x="74764" y="1075359"/>
                  </a:lnTo>
                  <a:lnTo>
                    <a:pt x="75120" y="1067384"/>
                  </a:lnTo>
                  <a:lnTo>
                    <a:pt x="76581" y="1060894"/>
                  </a:lnTo>
                  <a:lnTo>
                    <a:pt x="78422" y="1054227"/>
                  </a:lnTo>
                  <a:lnTo>
                    <a:pt x="81699" y="1047457"/>
                  </a:lnTo>
                  <a:lnTo>
                    <a:pt x="87439" y="1040625"/>
                  </a:lnTo>
                  <a:lnTo>
                    <a:pt x="87782" y="1066444"/>
                  </a:lnTo>
                  <a:lnTo>
                    <a:pt x="87210" y="1073988"/>
                  </a:lnTo>
                  <a:lnTo>
                    <a:pt x="87388" y="1085786"/>
                  </a:lnTo>
                  <a:lnTo>
                    <a:pt x="91516" y="1092974"/>
                  </a:lnTo>
                  <a:lnTo>
                    <a:pt x="99453" y="1096327"/>
                  </a:lnTo>
                  <a:lnTo>
                    <a:pt x="111048" y="1096657"/>
                  </a:lnTo>
                  <a:lnTo>
                    <a:pt x="126796" y="1095984"/>
                  </a:lnTo>
                  <a:lnTo>
                    <a:pt x="142773" y="1095946"/>
                  </a:lnTo>
                  <a:lnTo>
                    <a:pt x="176072" y="1096314"/>
                  </a:lnTo>
                  <a:lnTo>
                    <a:pt x="161810" y="1058125"/>
                  </a:lnTo>
                  <a:lnTo>
                    <a:pt x="164160" y="1020991"/>
                  </a:lnTo>
                  <a:lnTo>
                    <a:pt x="173431" y="984427"/>
                  </a:lnTo>
                  <a:lnTo>
                    <a:pt x="179882" y="947928"/>
                  </a:lnTo>
                  <a:lnTo>
                    <a:pt x="187718" y="984008"/>
                  </a:lnTo>
                  <a:lnTo>
                    <a:pt x="197053" y="1019937"/>
                  </a:lnTo>
                  <a:lnTo>
                    <a:pt x="199669" y="1056284"/>
                  </a:lnTo>
                  <a:lnTo>
                    <a:pt x="187401" y="1093597"/>
                  </a:lnTo>
                  <a:lnTo>
                    <a:pt x="232625" y="1098765"/>
                  </a:lnTo>
                  <a:lnTo>
                    <a:pt x="257340" y="1094740"/>
                  </a:lnTo>
                  <a:lnTo>
                    <a:pt x="269176" y="1076934"/>
                  </a:lnTo>
                  <a:lnTo>
                    <a:pt x="275793" y="1040765"/>
                  </a:lnTo>
                  <a:lnTo>
                    <a:pt x="281266" y="1050429"/>
                  </a:lnTo>
                  <a:lnTo>
                    <a:pt x="284937" y="1059815"/>
                  </a:lnTo>
                  <a:lnTo>
                    <a:pt x="286791" y="1069098"/>
                  </a:lnTo>
                  <a:lnTo>
                    <a:pt x="286842" y="1078407"/>
                  </a:lnTo>
                  <a:lnTo>
                    <a:pt x="287197" y="1087704"/>
                  </a:lnTo>
                  <a:lnTo>
                    <a:pt x="290398" y="1093355"/>
                  </a:lnTo>
                  <a:lnTo>
                    <a:pt x="296532" y="1096086"/>
                  </a:lnTo>
                  <a:lnTo>
                    <a:pt x="305701" y="1096645"/>
                  </a:lnTo>
                  <a:lnTo>
                    <a:pt x="331533" y="1096111"/>
                  </a:lnTo>
                  <a:lnTo>
                    <a:pt x="357378" y="1095971"/>
                  </a:lnTo>
                  <a:lnTo>
                    <a:pt x="409054" y="1096581"/>
                  </a:lnTo>
                  <a:lnTo>
                    <a:pt x="417766" y="1096187"/>
                  </a:lnTo>
                  <a:lnTo>
                    <a:pt x="423926" y="1093851"/>
                  </a:lnTo>
                  <a:lnTo>
                    <a:pt x="427621" y="1088491"/>
                  </a:lnTo>
                  <a:lnTo>
                    <a:pt x="428967" y="1078992"/>
                  </a:lnTo>
                  <a:lnTo>
                    <a:pt x="429056" y="1069555"/>
                  </a:lnTo>
                  <a:lnTo>
                    <a:pt x="430212" y="1059649"/>
                  </a:lnTo>
                  <a:lnTo>
                    <a:pt x="434251" y="1050175"/>
                  </a:lnTo>
                  <a:lnTo>
                    <a:pt x="443014" y="1042047"/>
                  </a:lnTo>
                  <a:lnTo>
                    <a:pt x="443026" y="1096683"/>
                  </a:lnTo>
                  <a:lnTo>
                    <a:pt x="452691" y="1096264"/>
                  </a:lnTo>
                  <a:lnTo>
                    <a:pt x="471716" y="1096137"/>
                  </a:lnTo>
                  <a:lnTo>
                    <a:pt x="490677" y="1096594"/>
                  </a:lnTo>
                  <a:lnTo>
                    <a:pt x="509409" y="1096403"/>
                  </a:lnTo>
                  <a:lnTo>
                    <a:pt x="527723" y="1094282"/>
                  </a:lnTo>
                  <a:lnTo>
                    <a:pt x="516788" y="1052131"/>
                  </a:lnTo>
                  <a:lnTo>
                    <a:pt x="519976" y="1011453"/>
                  </a:lnTo>
                  <a:lnTo>
                    <a:pt x="528764" y="971524"/>
                  </a:lnTo>
                  <a:lnTo>
                    <a:pt x="534593" y="931697"/>
                  </a:lnTo>
                  <a:lnTo>
                    <a:pt x="537845" y="940650"/>
                  </a:lnTo>
                  <a:lnTo>
                    <a:pt x="540499" y="949566"/>
                  </a:lnTo>
                  <a:lnTo>
                    <a:pt x="542277" y="958443"/>
                  </a:lnTo>
                  <a:lnTo>
                    <a:pt x="542925" y="967320"/>
                  </a:lnTo>
                  <a:lnTo>
                    <a:pt x="547103" y="999312"/>
                  </a:lnTo>
                  <a:lnTo>
                    <a:pt x="553707" y="1031481"/>
                  </a:lnTo>
                  <a:lnTo>
                    <a:pt x="553580" y="1063815"/>
                  </a:lnTo>
                  <a:lnTo>
                    <a:pt x="537565" y="1096340"/>
                  </a:lnTo>
                  <a:lnTo>
                    <a:pt x="571563" y="1096340"/>
                  </a:lnTo>
                  <a:lnTo>
                    <a:pt x="603440" y="1095514"/>
                  </a:lnTo>
                  <a:lnTo>
                    <a:pt x="620128" y="1089748"/>
                  </a:lnTo>
                  <a:lnTo>
                    <a:pt x="627087" y="1074115"/>
                  </a:lnTo>
                  <a:lnTo>
                    <a:pt x="629767" y="1043647"/>
                  </a:lnTo>
                  <a:lnTo>
                    <a:pt x="635088" y="1048918"/>
                  </a:lnTo>
                  <a:lnTo>
                    <a:pt x="638390" y="1054989"/>
                  </a:lnTo>
                  <a:lnTo>
                    <a:pt x="639838" y="1061516"/>
                  </a:lnTo>
                  <a:lnTo>
                    <a:pt x="639572" y="1068158"/>
                  </a:lnTo>
                  <a:lnTo>
                    <a:pt x="639584" y="1084414"/>
                  </a:lnTo>
                  <a:lnTo>
                    <a:pt x="645617" y="1093546"/>
                  </a:lnTo>
                  <a:lnTo>
                    <a:pt x="656577" y="1097064"/>
                  </a:lnTo>
                  <a:lnTo>
                    <a:pt x="671372" y="1096505"/>
                  </a:lnTo>
                  <a:lnTo>
                    <a:pt x="677799" y="1095667"/>
                  </a:lnTo>
                  <a:lnTo>
                    <a:pt x="684491" y="1095641"/>
                  </a:lnTo>
                  <a:lnTo>
                    <a:pt x="690905" y="1096505"/>
                  </a:lnTo>
                  <a:lnTo>
                    <a:pt x="701700" y="1096594"/>
                  </a:lnTo>
                  <a:lnTo>
                    <a:pt x="708571" y="1093152"/>
                  </a:lnTo>
                  <a:lnTo>
                    <a:pt x="712025" y="1085989"/>
                  </a:lnTo>
                  <a:lnTo>
                    <a:pt x="712558" y="1074940"/>
                  </a:lnTo>
                  <a:close/>
                </a:path>
                <a:path w="1115059" h="1109979">
                  <a:moveTo>
                    <a:pt x="1114513" y="494893"/>
                  </a:moveTo>
                  <a:lnTo>
                    <a:pt x="1111897" y="443407"/>
                  </a:lnTo>
                  <a:lnTo>
                    <a:pt x="1096276" y="390410"/>
                  </a:lnTo>
                  <a:lnTo>
                    <a:pt x="1070203" y="346138"/>
                  </a:lnTo>
                  <a:lnTo>
                    <a:pt x="1035545" y="309016"/>
                  </a:lnTo>
                  <a:lnTo>
                    <a:pt x="1025880" y="301663"/>
                  </a:lnTo>
                  <a:lnTo>
                    <a:pt x="1025880" y="480161"/>
                  </a:lnTo>
                  <a:lnTo>
                    <a:pt x="1021473" y="507936"/>
                  </a:lnTo>
                  <a:lnTo>
                    <a:pt x="1011174" y="535139"/>
                  </a:lnTo>
                  <a:lnTo>
                    <a:pt x="1011174" y="493560"/>
                  </a:lnTo>
                  <a:lnTo>
                    <a:pt x="1011174" y="420395"/>
                  </a:lnTo>
                  <a:lnTo>
                    <a:pt x="1022934" y="451192"/>
                  </a:lnTo>
                  <a:lnTo>
                    <a:pt x="1025880" y="480161"/>
                  </a:lnTo>
                  <a:lnTo>
                    <a:pt x="1025880" y="301663"/>
                  </a:lnTo>
                  <a:lnTo>
                    <a:pt x="1002639" y="283959"/>
                  </a:lnTo>
                  <a:lnTo>
                    <a:pt x="994168" y="277520"/>
                  </a:lnTo>
                  <a:lnTo>
                    <a:pt x="978039" y="267944"/>
                  </a:lnTo>
                  <a:lnTo>
                    <a:pt x="974115" y="265607"/>
                  </a:lnTo>
                  <a:lnTo>
                    <a:pt x="947966" y="250075"/>
                  </a:lnTo>
                  <a:lnTo>
                    <a:pt x="936180" y="244830"/>
                  </a:lnTo>
                  <a:lnTo>
                    <a:pt x="925106" y="243128"/>
                  </a:lnTo>
                  <a:lnTo>
                    <a:pt x="919657" y="244932"/>
                  </a:lnTo>
                  <a:lnTo>
                    <a:pt x="919657" y="447903"/>
                  </a:lnTo>
                  <a:lnTo>
                    <a:pt x="915111" y="464781"/>
                  </a:lnTo>
                  <a:lnTo>
                    <a:pt x="906145" y="479742"/>
                  </a:lnTo>
                  <a:lnTo>
                    <a:pt x="893876" y="493560"/>
                  </a:lnTo>
                  <a:lnTo>
                    <a:pt x="880046" y="478967"/>
                  </a:lnTo>
                  <a:lnTo>
                    <a:pt x="871093" y="462826"/>
                  </a:lnTo>
                  <a:lnTo>
                    <a:pt x="867371" y="444538"/>
                  </a:lnTo>
                  <a:lnTo>
                    <a:pt x="869226" y="423532"/>
                  </a:lnTo>
                  <a:lnTo>
                    <a:pt x="875766" y="389077"/>
                  </a:lnTo>
                  <a:lnTo>
                    <a:pt x="880999" y="356095"/>
                  </a:lnTo>
                  <a:lnTo>
                    <a:pt x="881202" y="354888"/>
                  </a:lnTo>
                  <a:lnTo>
                    <a:pt x="883069" y="342074"/>
                  </a:lnTo>
                  <a:lnTo>
                    <a:pt x="886053" y="321513"/>
                  </a:lnTo>
                  <a:lnTo>
                    <a:pt x="891489" y="284886"/>
                  </a:lnTo>
                  <a:lnTo>
                    <a:pt x="895451" y="283959"/>
                  </a:lnTo>
                  <a:lnTo>
                    <a:pt x="900887" y="319620"/>
                  </a:lnTo>
                  <a:lnTo>
                    <a:pt x="905802" y="352475"/>
                  </a:lnTo>
                  <a:lnTo>
                    <a:pt x="912126" y="392353"/>
                  </a:lnTo>
                  <a:lnTo>
                    <a:pt x="918641" y="428294"/>
                  </a:lnTo>
                  <a:lnTo>
                    <a:pt x="919657" y="447903"/>
                  </a:lnTo>
                  <a:lnTo>
                    <a:pt x="919657" y="244932"/>
                  </a:lnTo>
                  <a:lnTo>
                    <a:pt x="914806" y="246519"/>
                  </a:lnTo>
                  <a:lnTo>
                    <a:pt x="905383" y="256514"/>
                  </a:lnTo>
                  <a:lnTo>
                    <a:pt x="899985" y="262928"/>
                  </a:lnTo>
                  <a:lnTo>
                    <a:pt x="894283" y="265607"/>
                  </a:lnTo>
                  <a:lnTo>
                    <a:pt x="888403" y="263918"/>
                  </a:lnTo>
                  <a:lnTo>
                    <a:pt x="882459" y="257251"/>
                  </a:lnTo>
                  <a:lnTo>
                    <a:pt x="872705" y="246532"/>
                  </a:lnTo>
                  <a:lnTo>
                    <a:pt x="861961" y="242722"/>
                  </a:lnTo>
                  <a:lnTo>
                    <a:pt x="850303" y="244449"/>
                  </a:lnTo>
                  <a:lnTo>
                    <a:pt x="837819" y="250393"/>
                  </a:lnTo>
                  <a:lnTo>
                    <a:pt x="831126" y="254025"/>
                  </a:lnTo>
                  <a:lnTo>
                    <a:pt x="824230" y="257238"/>
                  </a:lnTo>
                  <a:lnTo>
                    <a:pt x="817130" y="260210"/>
                  </a:lnTo>
                  <a:lnTo>
                    <a:pt x="810018" y="263017"/>
                  </a:lnTo>
                  <a:lnTo>
                    <a:pt x="771969" y="267944"/>
                  </a:lnTo>
                  <a:lnTo>
                    <a:pt x="737793" y="255371"/>
                  </a:lnTo>
                  <a:lnTo>
                    <a:pt x="713155" y="229057"/>
                  </a:lnTo>
                  <a:lnTo>
                    <a:pt x="703681" y="192760"/>
                  </a:lnTo>
                  <a:lnTo>
                    <a:pt x="703491" y="168275"/>
                  </a:lnTo>
                  <a:lnTo>
                    <a:pt x="703224" y="144297"/>
                  </a:lnTo>
                  <a:lnTo>
                    <a:pt x="703199" y="111391"/>
                  </a:lnTo>
                  <a:lnTo>
                    <a:pt x="704088" y="84328"/>
                  </a:lnTo>
                  <a:lnTo>
                    <a:pt x="702729" y="57010"/>
                  </a:lnTo>
                  <a:lnTo>
                    <a:pt x="698322" y="43853"/>
                  </a:lnTo>
                  <a:lnTo>
                    <a:pt x="698169" y="43408"/>
                  </a:lnTo>
                  <a:lnTo>
                    <a:pt x="694931" y="33718"/>
                  </a:lnTo>
                  <a:lnTo>
                    <a:pt x="679856" y="14643"/>
                  </a:lnTo>
                  <a:lnTo>
                    <a:pt x="662305" y="3568"/>
                  </a:lnTo>
                  <a:lnTo>
                    <a:pt x="662305" y="333159"/>
                  </a:lnTo>
                  <a:lnTo>
                    <a:pt x="661987" y="373875"/>
                  </a:lnTo>
                  <a:lnTo>
                    <a:pt x="661911" y="392353"/>
                  </a:lnTo>
                  <a:lnTo>
                    <a:pt x="661873" y="564095"/>
                  </a:lnTo>
                  <a:lnTo>
                    <a:pt x="660476" y="583171"/>
                  </a:lnTo>
                  <a:lnTo>
                    <a:pt x="655040" y="594461"/>
                  </a:lnTo>
                  <a:lnTo>
                    <a:pt x="643648" y="599859"/>
                  </a:lnTo>
                  <a:lnTo>
                    <a:pt x="624357" y="601230"/>
                  </a:lnTo>
                  <a:lnTo>
                    <a:pt x="451624" y="601294"/>
                  </a:lnTo>
                  <a:lnTo>
                    <a:pt x="90627" y="601230"/>
                  </a:lnTo>
                  <a:lnTo>
                    <a:pt x="54876" y="582599"/>
                  </a:lnTo>
                  <a:lnTo>
                    <a:pt x="53378" y="263918"/>
                  </a:lnTo>
                  <a:lnTo>
                    <a:pt x="53251" y="156286"/>
                  </a:lnTo>
                  <a:lnTo>
                    <a:pt x="53022" y="79451"/>
                  </a:lnTo>
                  <a:lnTo>
                    <a:pt x="71970" y="45351"/>
                  </a:lnTo>
                  <a:lnTo>
                    <a:pt x="88976" y="43408"/>
                  </a:lnTo>
                  <a:lnTo>
                    <a:pt x="332841" y="43903"/>
                  </a:lnTo>
                  <a:lnTo>
                    <a:pt x="527939" y="43853"/>
                  </a:lnTo>
                  <a:lnTo>
                    <a:pt x="625487" y="43878"/>
                  </a:lnTo>
                  <a:lnTo>
                    <a:pt x="660819" y="61125"/>
                  </a:lnTo>
                  <a:lnTo>
                    <a:pt x="661949" y="96939"/>
                  </a:lnTo>
                  <a:lnTo>
                    <a:pt x="661949" y="166687"/>
                  </a:lnTo>
                  <a:lnTo>
                    <a:pt x="656005" y="168275"/>
                  </a:lnTo>
                  <a:lnTo>
                    <a:pt x="649211" y="156286"/>
                  </a:lnTo>
                  <a:lnTo>
                    <a:pt x="642454" y="144297"/>
                  </a:lnTo>
                  <a:lnTo>
                    <a:pt x="635609" y="132359"/>
                  </a:lnTo>
                  <a:lnTo>
                    <a:pt x="628548" y="120561"/>
                  </a:lnTo>
                  <a:lnTo>
                    <a:pt x="615746" y="105422"/>
                  </a:lnTo>
                  <a:lnTo>
                    <a:pt x="600608" y="96939"/>
                  </a:lnTo>
                  <a:lnTo>
                    <a:pt x="583996" y="95288"/>
                  </a:lnTo>
                  <a:lnTo>
                    <a:pt x="566712" y="100647"/>
                  </a:lnTo>
                  <a:lnTo>
                    <a:pt x="553072" y="111531"/>
                  </a:lnTo>
                  <a:lnTo>
                    <a:pt x="545503" y="126365"/>
                  </a:lnTo>
                  <a:lnTo>
                    <a:pt x="544537" y="143929"/>
                  </a:lnTo>
                  <a:lnTo>
                    <a:pt x="550722" y="162991"/>
                  </a:lnTo>
                  <a:lnTo>
                    <a:pt x="570280" y="198297"/>
                  </a:lnTo>
                  <a:lnTo>
                    <a:pt x="592289" y="231889"/>
                  </a:lnTo>
                  <a:lnTo>
                    <a:pt x="617156" y="263398"/>
                  </a:lnTo>
                  <a:lnTo>
                    <a:pt x="645312" y="292417"/>
                  </a:lnTo>
                  <a:lnTo>
                    <a:pt x="653364" y="301371"/>
                  </a:lnTo>
                  <a:lnTo>
                    <a:pt x="658660" y="310832"/>
                  </a:lnTo>
                  <a:lnTo>
                    <a:pt x="661517" y="321284"/>
                  </a:lnTo>
                  <a:lnTo>
                    <a:pt x="662305" y="333159"/>
                  </a:lnTo>
                  <a:lnTo>
                    <a:pt x="662305" y="3568"/>
                  </a:lnTo>
                  <a:lnTo>
                    <a:pt x="656666" y="0"/>
                  </a:lnTo>
                  <a:lnTo>
                    <a:pt x="58039" y="0"/>
                  </a:lnTo>
                  <a:lnTo>
                    <a:pt x="35648" y="15024"/>
                  </a:lnTo>
                  <a:lnTo>
                    <a:pt x="21285" y="34137"/>
                  </a:lnTo>
                  <a:lnTo>
                    <a:pt x="13703" y="57404"/>
                  </a:lnTo>
                  <a:lnTo>
                    <a:pt x="11722" y="84328"/>
                  </a:lnTo>
                  <a:lnTo>
                    <a:pt x="11836" y="100647"/>
                  </a:lnTo>
                  <a:lnTo>
                    <a:pt x="12242" y="144297"/>
                  </a:lnTo>
                  <a:lnTo>
                    <a:pt x="12560" y="198297"/>
                  </a:lnTo>
                  <a:lnTo>
                    <a:pt x="12674" y="231889"/>
                  </a:lnTo>
                  <a:lnTo>
                    <a:pt x="12560" y="482714"/>
                  </a:lnTo>
                  <a:lnTo>
                    <a:pt x="12496" y="566547"/>
                  </a:lnTo>
                  <a:lnTo>
                    <a:pt x="16510" y="601637"/>
                  </a:lnTo>
                  <a:lnTo>
                    <a:pt x="29502" y="625005"/>
                  </a:lnTo>
                  <a:lnTo>
                    <a:pt x="52870" y="638035"/>
                  </a:lnTo>
                  <a:lnTo>
                    <a:pt x="88087" y="642086"/>
                  </a:lnTo>
                  <a:lnTo>
                    <a:pt x="333400" y="642226"/>
                  </a:lnTo>
                  <a:lnTo>
                    <a:pt x="627773" y="642086"/>
                  </a:lnTo>
                  <a:lnTo>
                    <a:pt x="662559" y="637933"/>
                  </a:lnTo>
                  <a:lnTo>
                    <a:pt x="685939" y="624713"/>
                  </a:lnTo>
                  <a:lnTo>
                    <a:pt x="699096" y="601319"/>
                  </a:lnTo>
                  <a:lnTo>
                    <a:pt x="699198" y="601154"/>
                  </a:lnTo>
                  <a:lnTo>
                    <a:pt x="703567" y="565988"/>
                  </a:lnTo>
                  <a:lnTo>
                    <a:pt x="703668" y="543890"/>
                  </a:lnTo>
                  <a:lnTo>
                    <a:pt x="703757" y="389077"/>
                  </a:lnTo>
                  <a:lnTo>
                    <a:pt x="703021" y="377786"/>
                  </a:lnTo>
                  <a:lnTo>
                    <a:pt x="701878" y="364756"/>
                  </a:lnTo>
                  <a:lnTo>
                    <a:pt x="702678" y="352793"/>
                  </a:lnTo>
                  <a:lnTo>
                    <a:pt x="707682" y="343141"/>
                  </a:lnTo>
                  <a:lnTo>
                    <a:pt x="714451" y="342074"/>
                  </a:lnTo>
                  <a:lnTo>
                    <a:pt x="725462" y="345109"/>
                  </a:lnTo>
                  <a:lnTo>
                    <a:pt x="738289" y="349910"/>
                  </a:lnTo>
                  <a:lnTo>
                    <a:pt x="750531" y="354126"/>
                  </a:lnTo>
                  <a:lnTo>
                    <a:pt x="753186" y="354888"/>
                  </a:lnTo>
                  <a:lnTo>
                    <a:pt x="755992" y="356362"/>
                  </a:lnTo>
                  <a:lnTo>
                    <a:pt x="758571" y="356095"/>
                  </a:lnTo>
                  <a:lnTo>
                    <a:pt x="776325" y="420395"/>
                  </a:lnTo>
                  <a:lnTo>
                    <a:pt x="776909" y="482714"/>
                  </a:lnTo>
                  <a:lnTo>
                    <a:pt x="777595" y="537146"/>
                  </a:lnTo>
                  <a:lnTo>
                    <a:pt x="778687" y="590664"/>
                  </a:lnTo>
                  <a:lnTo>
                    <a:pt x="782091" y="696455"/>
                  </a:lnTo>
                  <a:lnTo>
                    <a:pt x="782942" y="746887"/>
                  </a:lnTo>
                  <a:lnTo>
                    <a:pt x="783234" y="797344"/>
                  </a:lnTo>
                  <a:lnTo>
                    <a:pt x="783120" y="847801"/>
                  </a:lnTo>
                  <a:lnTo>
                    <a:pt x="782777" y="898283"/>
                  </a:lnTo>
                  <a:lnTo>
                    <a:pt x="782383" y="948753"/>
                  </a:lnTo>
                  <a:lnTo>
                    <a:pt x="782091" y="999236"/>
                  </a:lnTo>
                  <a:lnTo>
                    <a:pt x="782091" y="1049693"/>
                  </a:lnTo>
                  <a:lnTo>
                    <a:pt x="785317" y="1074864"/>
                  </a:lnTo>
                  <a:lnTo>
                    <a:pt x="794588" y="1093203"/>
                  </a:lnTo>
                  <a:lnTo>
                    <a:pt x="809586" y="1104747"/>
                  </a:lnTo>
                  <a:lnTo>
                    <a:pt x="830033" y="1109522"/>
                  </a:lnTo>
                  <a:lnTo>
                    <a:pt x="851763" y="1107516"/>
                  </a:lnTo>
                  <a:lnTo>
                    <a:pt x="868400" y="1098448"/>
                  </a:lnTo>
                  <a:lnTo>
                    <a:pt x="880059" y="1082192"/>
                  </a:lnTo>
                  <a:lnTo>
                    <a:pt x="886853" y="1058837"/>
                  </a:lnTo>
                  <a:lnTo>
                    <a:pt x="886968" y="693724"/>
                  </a:lnTo>
                  <a:lnTo>
                    <a:pt x="895337" y="693623"/>
                  </a:lnTo>
                  <a:lnTo>
                    <a:pt x="895337" y="1058837"/>
                  </a:lnTo>
                  <a:lnTo>
                    <a:pt x="899109" y="1077366"/>
                  </a:lnTo>
                  <a:lnTo>
                    <a:pt x="907173" y="1092301"/>
                  </a:lnTo>
                  <a:lnTo>
                    <a:pt x="920051" y="1103007"/>
                  </a:lnTo>
                  <a:lnTo>
                    <a:pt x="938237" y="1108862"/>
                  </a:lnTo>
                  <a:lnTo>
                    <a:pt x="963510" y="1108202"/>
                  </a:lnTo>
                  <a:lnTo>
                    <a:pt x="994778" y="1079144"/>
                  </a:lnTo>
                  <a:lnTo>
                    <a:pt x="999185" y="1004265"/>
                  </a:lnTo>
                  <a:lnTo>
                    <a:pt x="999236" y="956297"/>
                  </a:lnTo>
                  <a:lnTo>
                    <a:pt x="999337" y="693623"/>
                  </a:lnTo>
                  <a:lnTo>
                    <a:pt x="999375" y="668464"/>
                  </a:lnTo>
                  <a:lnTo>
                    <a:pt x="999007" y="662622"/>
                  </a:lnTo>
                  <a:lnTo>
                    <a:pt x="998664" y="656539"/>
                  </a:lnTo>
                  <a:lnTo>
                    <a:pt x="999578" y="650278"/>
                  </a:lnTo>
                  <a:lnTo>
                    <a:pt x="1002944" y="643902"/>
                  </a:lnTo>
                  <a:lnTo>
                    <a:pt x="1020279" y="651141"/>
                  </a:lnTo>
                  <a:lnTo>
                    <a:pt x="1037285" y="653084"/>
                  </a:lnTo>
                  <a:lnTo>
                    <a:pt x="1088783" y="590664"/>
                  </a:lnTo>
                  <a:lnTo>
                    <a:pt x="1106068" y="543890"/>
                  </a:lnTo>
                  <a:lnTo>
                    <a:pt x="1107579" y="535139"/>
                  </a:lnTo>
                  <a:lnTo>
                    <a:pt x="1114513" y="494893"/>
                  </a:lnTo>
                  <a:close/>
                </a:path>
              </a:pathLst>
            </a:custGeom>
            <a:solidFill>
              <a:srgbClr val="FFFFFF"/>
            </a:solidFill>
          </p:spPr>
          <p:txBody>
            <a:bodyPr wrap="square" lIns="0" tIns="0" rIns="0" bIns="0" rtlCol="0"/>
            <a:lstStyle/>
            <a:p>
              <a:endParaRPr/>
            </a:p>
          </p:txBody>
        </p:sp>
        <p:pic>
          <p:nvPicPr>
            <p:cNvPr id="18" name="object 18"/>
            <p:cNvPicPr/>
            <p:nvPr/>
          </p:nvPicPr>
          <p:blipFill>
            <a:blip r:embed="rId2" cstate="print"/>
            <a:stretch>
              <a:fillRect/>
            </a:stretch>
          </p:blipFill>
          <p:spPr>
            <a:xfrm>
              <a:off x="9279626" y="2856405"/>
              <a:ext cx="229089" cy="228051"/>
            </a:xfrm>
            <a:prstGeom prst="rect">
              <a:avLst/>
            </a:prstGeom>
          </p:spPr>
        </p:pic>
        <p:pic>
          <p:nvPicPr>
            <p:cNvPr id="19" name="object 19"/>
            <p:cNvPicPr/>
            <p:nvPr/>
          </p:nvPicPr>
          <p:blipFill>
            <a:blip r:embed="rId3" cstate="print"/>
            <a:stretch>
              <a:fillRect/>
            </a:stretch>
          </p:blipFill>
          <p:spPr>
            <a:xfrm>
              <a:off x="8591025" y="3558885"/>
              <a:ext cx="179808" cy="180120"/>
            </a:xfrm>
            <a:prstGeom prst="rect">
              <a:avLst/>
            </a:prstGeom>
          </p:spPr>
        </p:pic>
        <p:pic>
          <p:nvPicPr>
            <p:cNvPr id="20" name="object 20"/>
            <p:cNvPicPr/>
            <p:nvPr/>
          </p:nvPicPr>
          <p:blipFill>
            <a:blip r:embed="rId4" cstate="print"/>
            <a:stretch>
              <a:fillRect/>
            </a:stretch>
          </p:blipFill>
          <p:spPr>
            <a:xfrm>
              <a:off x="8946121" y="3558796"/>
              <a:ext cx="178235" cy="204160"/>
            </a:xfrm>
            <a:prstGeom prst="rect">
              <a:avLst/>
            </a:prstGeom>
          </p:spPr>
        </p:pic>
        <p:sp>
          <p:nvSpPr>
            <p:cNvPr id="21" name="object 21"/>
            <p:cNvSpPr/>
            <p:nvPr/>
          </p:nvSpPr>
          <p:spPr>
            <a:xfrm>
              <a:off x="8688273" y="3004781"/>
              <a:ext cx="838200" cy="381635"/>
            </a:xfrm>
            <a:custGeom>
              <a:avLst/>
              <a:gdLst/>
              <a:ahLst/>
              <a:cxnLst/>
              <a:rect l="l" t="t" r="r" b="b"/>
              <a:pathLst>
                <a:path w="838200" h="381635">
                  <a:moveTo>
                    <a:pt x="338645" y="205536"/>
                  </a:moveTo>
                  <a:lnTo>
                    <a:pt x="334137" y="196443"/>
                  </a:lnTo>
                  <a:lnTo>
                    <a:pt x="323684" y="188569"/>
                  </a:lnTo>
                  <a:lnTo>
                    <a:pt x="310718" y="177190"/>
                  </a:lnTo>
                  <a:lnTo>
                    <a:pt x="305650" y="162763"/>
                  </a:lnTo>
                  <a:lnTo>
                    <a:pt x="308711" y="148196"/>
                  </a:lnTo>
                  <a:lnTo>
                    <a:pt x="320128" y="136436"/>
                  </a:lnTo>
                  <a:lnTo>
                    <a:pt x="330835" y="127127"/>
                  </a:lnTo>
                  <a:lnTo>
                    <a:pt x="334581" y="116941"/>
                  </a:lnTo>
                  <a:lnTo>
                    <a:pt x="333286" y="105829"/>
                  </a:lnTo>
                  <a:lnTo>
                    <a:pt x="328879" y="93776"/>
                  </a:lnTo>
                  <a:lnTo>
                    <a:pt x="322732" y="82778"/>
                  </a:lnTo>
                  <a:lnTo>
                    <a:pt x="321017" y="81241"/>
                  </a:lnTo>
                  <a:lnTo>
                    <a:pt x="314883" y="75742"/>
                  </a:lnTo>
                  <a:lnTo>
                    <a:pt x="312915" y="75196"/>
                  </a:lnTo>
                  <a:lnTo>
                    <a:pt x="304800" y="72948"/>
                  </a:lnTo>
                  <a:lnTo>
                    <a:pt x="291973" y="74688"/>
                  </a:lnTo>
                  <a:lnTo>
                    <a:pt x="275247" y="75196"/>
                  </a:lnTo>
                  <a:lnTo>
                    <a:pt x="261950" y="67945"/>
                  </a:lnTo>
                  <a:lnTo>
                    <a:pt x="255955" y="57848"/>
                  </a:lnTo>
                  <a:lnTo>
                    <a:pt x="255955" y="168643"/>
                  </a:lnTo>
                  <a:lnTo>
                    <a:pt x="249072" y="202171"/>
                  </a:lnTo>
                  <a:lnTo>
                    <a:pt x="230479" y="229069"/>
                  </a:lnTo>
                  <a:lnTo>
                    <a:pt x="202704" y="246900"/>
                  </a:lnTo>
                  <a:lnTo>
                    <a:pt x="168224" y="253263"/>
                  </a:lnTo>
                  <a:lnTo>
                    <a:pt x="135115" y="246494"/>
                  </a:lnTo>
                  <a:lnTo>
                    <a:pt x="108026" y="228333"/>
                  </a:lnTo>
                  <a:lnTo>
                    <a:pt x="89687" y="201510"/>
                  </a:lnTo>
                  <a:lnTo>
                    <a:pt x="82854" y="168757"/>
                  </a:lnTo>
                  <a:lnTo>
                    <a:pt x="89725" y="135407"/>
                  </a:lnTo>
                  <a:lnTo>
                    <a:pt x="108546" y="107619"/>
                  </a:lnTo>
                  <a:lnTo>
                    <a:pt x="136220" y="88519"/>
                  </a:lnTo>
                  <a:lnTo>
                    <a:pt x="155181" y="84391"/>
                  </a:lnTo>
                  <a:lnTo>
                    <a:pt x="169633" y="81241"/>
                  </a:lnTo>
                  <a:lnTo>
                    <a:pt x="202704" y="88099"/>
                  </a:lnTo>
                  <a:lnTo>
                    <a:pt x="230263" y="107137"/>
                  </a:lnTo>
                  <a:lnTo>
                    <a:pt x="249085" y="135077"/>
                  </a:lnTo>
                  <a:lnTo>
                    <a:pt x="255955" y="168643"/>
                  </a:lnTo>
                  <a:lnTo>
                    <a:pt x="255955" y="57848"/>
                  </a:lnTo>
                  <a:lnTo>
                    <a:pt x="254241" y="54952"/>
                  </a:lnTo>
                  <a:lnTo>
                    <a:pt x="254279" y="38252"/>
                  </a:lnTo>
                  <a:lnTo>
                    <a:pt x="254825" y="31788"/>
                  </a:lnTo>
                  <a:lnTo>
                    <a:pt x="255346" y="25781"/>
                  </a:lnTo>
                  <a:lnTo>
                    <a:pt x="251650" y="16738"/>
                  </a:lnTo>
                  <a:lnTo>
                    <a:pt x="244119" y="10223"/>
                  </a:lnTo>
                  <a:lnTo>
                    <a:pt x="233705" y="5283"/>
                  </a:lnTo>
                  <a:lnTo>
                    <a:pt x="221500" y="1231"/>
                  </a:lnTo>
                  <a:lnTo>
                    <a:pt x="209981" y="0"/>
                  </a:lnTo>
                  <a:lnTo>
                    <a:pt x="199428" y="3581"/>
                  </a:lnTo>
                  <a:lnTo>
                    <a:pt x="190157" y="14020"/>
                  </a:lnTo>
                  <a:lnTo>
                    <a:pt x="178130" y="27063"/>
                  </a:lnTo>
                  <a:lnTo>
                    <a:pt x="163677" y="31788"/>
                  </a:lnTo>
                  <a:lnTo>
                    <a:pt x="148983" y="27990"/>
                  </a:lnTo>
                  <a:lnTo>
                    <a:pt x="136245" y="15481"/>
                  </a:lnTo>
                  <a:lnTo>
                    <a:pt x="126860" y="5638"/>
                  </a:lnTo>
                  <a:lnTo>
                    <a:pt x="116916" y="2692"/>
                  </a:lnTo>
                  <a:lnTo>
                    <a:pt x="76949" y="21983"/>
                  </a:lnTo>
                  <a:lnTo>
                    <a:pt x="73279" y="31508"/>
                  </a:lnTo>
                  <a:lnTo>
                    <a:pt x="75717" y="45085"/>
                  </a:lnTo>
                  <a:lnTo>
                    <a:pt x="77012" y="61696"/>
                  </a:lnTo>
                  <a:lnTo>
                    <a:pt x="69557" y="75526"/>
                  </a:lnTo>
                  <a:lnTo>
                    <a:pt x="55854" y="83959"/>
                  </a:lnTo>
                  <a:lnTo>
                    <a:pt x="38392" y="84391"/>
                  </a:lnTo>
                  <a:lnTo>
                    <a:pt x="24790" y="83693"/>
                  </a:lnTo>
                  <a:lnTo>
                    <a:pt x="15570" y="88353"/>
                  </a:lnTo>
                  <a:lnTo>
                    <a:pt x="9283" y="96875"/>
                  </a:lnTo>
                  <a:lnTo>
                    <a:pt x="4495" y="107746"/>
                  </a:lnTo>
                  <a:lnTo>
                    <a:pt x="711" y="119570"/>
                  </a:lnTo>
                  <a:lnTo>
                    <a:pt x="0" y="130581"/>
                  </a:lnTo>
                  <a:lnTo>
                    <a:pt x="4343" y="139903"/>
                  </a:lnTo>
                  <a:lnTo>
                    <a:pt x="15697" y="146685"/>
                  </a:lnTo>
                  <a:lnTo>
                    <a:pt x="24765" y="151015"/>
                  </a:lnTo>
                  <a:lnTo>
                    <a:pt x="30213" y="156883"/>
                  </a:lnTo>
                  <a:lnTo>
                    <a:pt x="32219" y="164617"/>
                  </a:lnTo>
                  <a:lnTo>
                    <a:pt x="30975" y="174574"/>
                  </a:lnTo>
                  <a:lnTo>
                    <a:pt x="32626" y="183222"/>
                  </a:lnTo>
                  <a:lnTo>
                    <a:pt x="31140" y="190550"/>
                  </a:lnTo>
                  <a:lnTo>
                    <a:pt x="26212" y="196659"/>
                  </a:lnTo>
                  <a:lnTo>
                    <a:pt x="17538" y="201650"/>
                  </a:lnTo>
                  <a:lnTo>
                    <a:pt x="6642" y="209435"/>
                  </a:lnTo>
                  <a:lnTo>
                    <a:pt x="3505" y="219189"/>
                  </a:lnTo>
                  <a:lnTo>
                    <a:pt x="5549" y="230124"/>
                  </a:lnTo>
                  <a:lnTo>
                    <a:pt x="10160" y="241439"/>
                  </a:lnTo>
                  <a:lnTo>
                    <a:pt x="15748" y="252133"/>
                  </a:lnTo>
                  <a:lnTo>
                    <a:pt x="22847" y="260121"/>
                  </a:lnTo>
                  <a:lnTo>
                    <a:pt x="32562" y="263944"/>
                  </a:lnTo>
                  <a:lnTo>
                    <a:pt x="45986" y="262153"/>
                  </a:lnTo>
                  <a:lnTo>
                    <a:pt x="63068" y="261239"/>
                  </a:lnTo>
                  <a:lnTo>
                    <a:pt x="77317" y="268351"/>
                  </a:lnTo>
                  <a:lnTo>
                    <a:pt x="85864" y="281101"/>
                  </a:lnTo>
                  <a:lnTo>
                    <a:pt x="85864" y="297141"/>
                  </a:lnTo>
                  <a:lnTo>
                    <a:pt x="84124" y="310705"/>
                  </a:lnTo>
                  <a:lnTo>
                    <a:pt x="87998" y="319925"/>
                  </a:lnTo>
                  <a:lnTo>
                    <a:pt x="96113" y="326301"/>
                  </a:lnTo>
                  <a:lnTo>
                    <a:pt x="107073" y="331368"/>
                  </a:lnTo>
                  <a:lnTo>
                    <a:pt x="119405" y="335559"/>
                  </a:lnTo>
                  <a:lnTo>
                    <a:pt x="130606" y="336372"/>
                  </a:lnTo>
                  <a:lnTo>
                    <a:pt x="140601" y="332092"/>
                  </a:lnTo>
                  <a:lnTo>
                    <a:pt x="149301" y="321030"/>
                  </a:lnTo>
                  <a:lnTo>
                    <a:pt x="160642" y="308114"/>
                  </a:lnTo>
                  <a:lnTo>
                    <a:pt x="174840" y="303707"/>
                  </a:lnTo>
                  <a:lnTo>
                    <a:pt x="189699" y="307797"/>
                  </a:lnTo>
                  <a:lnTo>
                    <a:pt x="213334" y="330161"/>
                  </a:lnTo>
                  <a:lnTo>
                    <a:pt x="224180" y="332600"/>
                  </a:lnTo>
                  <a:lnTo>
                    <a:pt x="263715" y="312216"/>
                  </a:lnTo>
                  <a:lnTo>
                    <a:pt x="266001" y="303707"/>
                  </a:lnTo>
                  <a:lnTo>
                    <a:pt x="266230" y="302856"/>
                  </a:lnTo>
                  <a:lnTo>
                    <a:pt x="263499" y="290398"/>
                  </a:lnTo>
                  <a:lnTo>
                    <a:pt x="262267" y="274713"/>
                  </a:lnTo>
                  <a:lnTo>
                    <a:pt x="269455" y="261239"/>
                  </a:lnTo>
                  <a:lnTo>
                    <a:pt x="281660" y="253263"/>
                  </a:lnTo>
                  <a:lnTo>
                    <a:pt x="282448" y="252768"/>
                  </a:lnTo>
                  <a:lnTo>
                    <a:pt x="298589" y="252031"/>
                  </a:lnTo>
                  <a:lnTo>
                    <a:pt x="312534" y="252971"/>
                  </a:lnTo>
                  <a:lnTo>
                    <a:pt x="314680" y="252031"/>
                  </a:lnTo>
                  <a:lnTo>
                    <a:pt x="322440" y="248602"/>
                  </a:lnTo>
                  <a:lnTo>
                    <a:pt x="329501" y="239915"/>
                  </a:lnTo>
                  <a:lnTo>
                    <a:pt x="334924" y="227939"/>
                  </a:lnTo>
                  <a:lnTo>
                    <a:pt x="338467" y="215988"/>
                  </a:lnTo>
                  <a:lnTo>
                    <a:pt x="338645" y="205536"/>
                  </a:lnTo>
                  <a:close/>
                </a:path>
                <a:path w="838200" h="381635">
                  <a:moveTo>
                    <a:pt x="837793" y="326491"/>
                  </a:moveTo>
                  <a:lnTo>
                    <a:pt x="834847" y="297522"/>
                  </a:lnTo>
                  <a:lnTo>
                    <a:pt x="823074" y="266725"/>
                  </a:lnTo>
                  <a:lnTo>
                    <a:pt x="823074" y="381469"/>
                  </a:lnTo>
                  <a:lnTo>
                    <a:pt x="833374" y="354266"/>
                  </a:lnTo>
                  <a:lnTo>
                    <a:pt x="837793" y="326491"/>
                  </a:lnTo>
                  <a:close/>
                </a:path>
              </a:pathLst>
            </a:custGeom>
            <a:solidFill>
              <a:srgbClr val="FFFFFF"/>
            </a:solidFill>
          </p:spPr>
          <p:txBody>
            <a:bodyPr wrap="square" lIns="0" tIns="0" rIns="0" bIns="0" rtlCol="0"/>
            <a:lstStyle/>
            <a:p>
              <a:endParaRPr/>
            </a:p>
          </p:txBody>
        </p:sp>
      </p:grpSp>
      <p:sp>
        <p:nvSpPr>
          <p:cNvPr id="22" name="object 22"/>
          <p:cNvSpPr/>
          <p:nvPr/>
        </p:nvSpPr>
        <p:spPr>
          <a:xfrm>
            <a:off x="7179166" y="4462408"/>
            <a:ext cx="4300220" cy="1065530"/>
          </a:xfrm>
          <a:custGeom>
            <a:avLst/>
            <a:gdLst/>
            <a:ahLst/>
            <a:cxnLst/>
            <a:rect l="l" t="t" r="r" b="b"/>
            <a:pathLst>
              <a:path w="4300220" h="1065529">
                <a:moveTo>
                  <a:pt x="4299928" y="1065262"/>
                </a:moveTo>
                <a:lnTo>
                  <a:pt x="0" y="1065262"/>
                </a:lnTo>
                <a:lnTo>
                  <a:pt x="0" y="0"/>
                </a:lnTo>
                <a:lnTo>
                  <a:pt x="4299928" y="0"/>
                </a:lnTo>
                <a:lnTo>
                  <a:pt x="4299928" y="1065262"/>
                </a:lnTo>
                <a:close/>
              </a:path>
            </a:pathLst>
          </a:custGeom>
          <a:solidFill>
            <a:srgbClr val="FFFFFF"/>
          </a:solidFill>
        </p:spPr>
        <p:txBody>
          <a:bodyPr wrap="square" lIns="0" tIns="0" rIns="0" bIns="0" rtlCol="0"/>
          <a:lstStyle/>
          <a:p>
            <a:endParaRPr/>
          </a:p>
        </p:txBody>
      </p:sp>
      <p:sp>
        <p:nvSpPr>
          <p:cNvPr id="23" name="object 23"/>
          <p:cNvSpPr txBox="1"/>
          <p:nvPr/>
        </p:nvSpPr>
        <p:spPr>
          <a:xfrm>
            <a:off x="7845080" y="4538885"/>
            <a:ext cx="3501390" cy="730250"/>
          </a:xfrm>
          <a:prstGeom prst="rect">
            <a:avLst/>
          </a:prstGeom>
        </p:spPr>
        <p:txBody>
          <a:bodyPr vert="horz" wrap="square" lIns="0" tIns="12065" rIns="0" bIns="0" rtlCol="0">
            <a:spAutoFit/>
          </a:bodyPr>
          <a:lstStyle/>
          <a:p>
            <a:pPr marL="567690" marR="5080" indent="-555625">
              <a:lnSpc>
                <a:spcPct val="121700"/>
              </a:lnSpc>
              <a:spcBef>
                <a:spcPts val="95"/>
              </a:spcBef>
            </a:pPr>
            <a:r>
              <a:rPr sz="1900" dirty="0">
                <a:solidFill>
                  <a:srgbClr val="737373"/>
                </a:solidFill>
                <a:latin typeface="Roboto"/>
                <a:cs typeface="Roboto"/>
              </a:rPr>
              <a:t>Creación</a:t>
            </a:r>
            <a:r>
              <a:rPr sz="1900" spc="-35" dirty="0">
                <a:solidFill>
                  <a:srgbClr val="737373"/>
                </a:solidFill>
                <a:latin typeface="Roboto"/>
                <a:cs typeface="Roboto"/>
              </a:rPr>
              <a:t> </a:t>
            </a:r>
            <a:r>
              <a:rPr sz="1900" dirty="0">
                <a:solidFill>
                  <a:srgbClr val="737373"/>
                </a:solidFill>
                <a:latin typeface="Roboto"/>
                <a:cs typeface="Roboto"/>
              </a:rPr>
              <a:t>de</a:t>
            </a:r>
            <a:r>
              <a:rPr sz="1900" spc="-35" dirty="0">
                <a:solidFill>
                  <a:srgbClr val="737373"/>
                </a:solidFill>
                <a:latin typeface="Roboto"/>
                <a:cs typeface="Roboto"/>
              </a:rPr>
              <a:t> </a:t>
            </a:r>
            <a:r>
              <a:rPr sz="1900" b="1" dirty="0">
                <a:solidFill>
                  <a:srgbClr val="E3112B"/>
                </a:solidFill>
                <a:latin typeface="Roboto"/>
                <a:cs typeface="Roboto"/>
              </a:rPr>
              <a:t>contenidos</a:t>
            </a:r>
            <a:r>
              <a:rPr sz="1900" b="1" spc="-40" dirty="0">
                <a:solidFill>
                  <a:srgbClr val="E3112B"/>
                </a:solidFill>
                <a:latin typeface="Roboto"/>
                <a:cs typeface="Roboto"/>
              </a:rPr>
              <a:t> </a:t>
            </a:r>
            <a:r>
              <a:rPr sz="1900" dirty="0">
                <a:solidFill>
                  <a:srgbClr val="737373"/>
                </a:solidFill>
                <a:latin typeface="Roboto"/>
                <a:cs typeface="Roboto"/>
              </a:rPr>
              <a:t>de</a:t>
            </a:r>
            <a:r>
              <a:rPr sz="1900" spc="-30" dirty="0">
                <a:solidFill>
                  <a:srgbClr val="737373"/>
                </a:solidFill>
                <a:latin typeface="Roboto"/>
                <a:cs typeface="Roboto"/>
              </a:rPr>
              <a:t> </a:t>
            </a:r>
            <a:r>
              <a:rPr sz="1900" spc="-10" dirty="0">
                <a:solidFill>
                  <a:srgbClr val="737373"/>
                </a:solidFill>
                <a:latin typeface="Roboto"/>
                <a:cs typeface="Roboto"/>
              </a:rPr>
              <a:t>valor </a:t>
            </a:r>
            <a:r>
              <a:rPr sz="1900" dirty="0">
                <a:solidFill>
                  <a:srgbClr val="737373"/>
                </a:solidFill>
                <a:latin typeface="Roboto"/>
                <a:cs typeface="Roboto"/>
              </a:rPr>
              <a:t>del</a:t>
            </a:r>
            <a:r>
              <a:rPr sz="1900" spc="-70" dirty="0">
                <a:solidFill>
                  <a:srgbClr val="737373"/>
                </a:solidFill>
                <a:latin typeface="Roboto"/>
                <a:cs typeface="Roboto"/>
              </a:rPr>
              <a:t> </a:t>
            </a:r>
            <a:r>
              <a:rPr sz="1900" dirty="0">
                <a:solidFill>
                  <a:srgbClr val="737373"/>
                </a:solidFill>
                <a:latin typeface="Roboto"/>
                <a:cs typeface="Roboto"/>
              </a:rPr>
              <a:t>destino</a:t>
            </a:r>
            <a:r>
              <a:rPr sz="1900" spc="-65" dirty="0">
                <a:solidFill>
                  <a:srgbClr val="737373"/>
                </a:solidFill>
                <a:latin typeface="Roboto"/>
                <a:cs typeface="Roboto"/>
              </a:rPr>
              <a:t> </a:t>
            </a:r>
            <a:r>
              <a:rPr sz="1900" dirty="0">
                <a:solidFill>
                  <a:srgbClr val="737373"/>
                </a:solidFill>
                <a:latin typeface="Roboto"/>
                <a:cs typeface="Roboto"/>
              </a:rPr>
              <a:t>para</a:t>
            </a:r>
            <a:r>
              <a:rPr sz="1900" spc="-65" dirty="0">
                <a:solidFill>
                  <a:srgbClr val="737373"/>
                </a:solidFill>
                <a:latin typeface="Roboto"/>
                <a:cs typeface="Roboto"/>
              </a:rPr>
              <a:t> </a:t>
            </a:r>
            <a:r>
              <a:rPr sz="1900" spc="-20" dirty="0">
                <a:solidFill>
                  <a:srgbClr val="737373"/>
                </a:solidFill>
                <a:latin typeface="Roboto"/>
                <a:cs typeface="Roboto"/>
              </a:rPr>
              <a:t>MICE</a:t>
            </a:r>
            <a:endParaRPr sz="1900">
              <a:latin typeface="Roboto"/>
              <a:cs typeface="Roboto"/>
            </a:endParaRPr>
          </a:p>
        </p:txBody>
      </p:sp>
      <p:sp>
        <p:nvSpPr>
          <p:cNvPr id="24" name="object 24"/>
          <p:cNvSpPr/>
          <p:nvPr/>
        </p:nvSpPr>
        <p:spPr>
          <a:xfrm>
            <a:off x="6644471" y="4461125"/>
            <a:ext cx="1069975" cy="1069975"/>
          </a:xfrm>
          <a:custGeom>
            <a:avLst/>
            <a:gdLst/>
            <a:ahLst/>
            <a:cxnLst/>
            <a:rect l="l" t="t" r="r" b="b"/>
            <a:pathLst>
              <a:path w="1069975" h="1069975">
                <a:moveTo>
                  <a:pt x="534702" y="1069390"/>
                </a:moveTo>
                <a:lnTo>
                  <a:pt x="486026" y="1067205"/>
                </a:lnTo>
                <a:lnTo>
                  <a:pt x="438583" y="1060776"/>
                </a:lnTo>
                <a:lnTo>
                  <a:pt x="392551" y="1050290"/>
                </a:lnTo>
                <a:lnTo>
                  <a:pt x="348122" y="1035938"/>
                </a:lnTo>
                <a:lnTo>
                  <a:pt x="305483" y="1017908"/>
                </a:lnTo>
                <a:lnTo>
                  <a:pt x="264824" y="996389"/>
                </a:lnTo>
                <a:lnTo>
                  <a:pt x="226332" y="971568"/>
                </a:lnTo>
                <a:lnTo>
                  <a:pt x="190197" y="943636"/>
                </a:lnTo>
                <a:lnTo>
                  <a:pt x="156608" y="912781"/>
                </a:lnTo>
                <a:lnTo>
                  <a:pt x="125753" y="879192"/>
                </a:lnTo>
                <a:lnTo>
                  <a:pt x="97821" y="843057"/>
                </a:lnTo>
                <a:lnTo>
                  <a:pt x="73001" y="804566"/>
                </a:lnTo>
                <a:lnTo>
                  <a:pt x="51481" y="763906"/>
                </a:lnTo>
                <a:lnTo>
                  <a:pt x="33451" y="721267"/>
                </a:lnTo>
                <a:lnTo>
                  <a:pt x="19099" y="676838"/>
                </a:lnTo>
                <a:lnTo>
                  <a:pt x="8614" y="630807"/>
                </a:lnTo>
                <a:lnTo>
                  <a:pt x="2184" y="583363"/>
                </a:lnTo>
                <a:lnTo>
                  <a:pt x="0" y="534700"/>
                </a:lnTo>
                <a:lnTo>
                  <a:pt x="2184" y="486026"/>
                </a:lnTo>
                <a:lnTo>
                  <a:pt x="8614" y="438583"/>
                </a:lnTo>
                <a:lnTo>
                  <a:pt x="19099" y="392551"/>
                </a:lnTo>
                <a:lnTo>
                  <a:pt x="33451" y="348122"/>
                </a:lnTo>
                <a:lnTo>
                  <a:pt x="51481" y="305483"/>
                </a:lnTo>
                <a:lnTo>
                  <a:pt x="73001" y="264824"/>
                </a:lnTo>
                <a:lnTo>
                  <a:pt x="97821" y="226332"/>
                </a:lnTo>
                <a:lnTo>
                  <a:pt x="125753" y="190197"/>
                </a:lnTo>
                <a:lnTo>
                  <a:pt x="156608" y="156608"/>
                </a:lnTo>
                <a:lnTo>
                  <a:pt x="190197" y="125753"/>
                </a:lnTo>
                <a:lnTo>
                  <a:pt x="226332" y="97821"/>
                </a:lnTo>
                <a:lnTo>
                  <a:pt x="264824" y="73001"/>
                </a:lnTo>
                <a:lnTo>
                  <a:pt x="305483" y="51482"/>
                </a:lnTo>
                <a:lnTo>
                  <a:pt x="348122" y="33451"/>
                </a:lnTo>
                <a:lnTo>
                  <a:pt x="392551" y="19099"/>
                </a:lnTo>
                <a:lnTo>
                  <a:pt x="438583" y="8614"/>
                </a:lnTo>
                <a:lnTo>
                  <a:pt x="486026"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7"/>
                </a:lnTo>
                <a:lnTo>
                  <a:pt x="971568" y="226332"/>
                </a:lnTo>
                <a:lnTo>
                  <a:pt x="996388" y="264824"/>
                </a:lnTo>
                <a:lnTo>
                  <a:pt x="1017907" y="305483"/>
                </a:lnTo>
                <a:lnTo>
                  <a:pt x="1035938" y="348122"/>
                </a:lnTo>
                <a:lnTo>
                  <a:pt x="1050290" y="392551"/>
                </a:lnTo>
                <a:lnTo>
                  <a:pt x="1060775" y="438583"/>
                </a:lnTo>
                <a:lnTo>
                  <a:pt x="1067204" y="486026"/>
                </a:lnTo>
                <a:lnTo>
                  <a:pt x="1069389" y="534689"/>
                </a:lnTo>
                <a:lnTo>
                  <a:pt x="1067204" y="583363"/>
                </a:lnTo>
                <a:lnTo>
                  <a:pt x="1060775" y="630807"/>
                </a:lnTo>
                <a:lnTo>
                  <a:pt x="1050290" y="676838"/>
                </a:lnTo>
                <a:lnTo>
                  <a:pt x="1035938" y="721267"/>
                </a:lnTo>
                <a:lnTo>
                  <a:pt x="1017907" y="763906"/>
                </a:lnTo>
                <a:lnTo>
                  <a:pt x="996388" y="804566"/>
                </a:lnTo>
                <a:lnTo>
                  <a:pt x="971568" y="843057"/>
                </a:lnTo>
                <a:lnTo>
                  <a:pt x="943636" y="879192"/>
                </a:lnTo>
                <a:lnTo>
                  <a:pt x="912781" y="912781"/>
                </a:lnTo>
                <a:lnTo>
                  <a:pt x="879192" y="943636"/>
                </a:lnTo>
                <a:lnTo>
                  <a:pt x="843057" y="971568"/>
                </a:lnTo>
                <a:lnTo>
                  <a:pt x="804566" y="996389"/>
                </a:lnTo>
                <a:lnTo>
                  <a:pt x="763906" y="1017908"/>
                </a:lnTo>
                <a:lnTo>
                  <a:pt x="721267" y="1035938"/>
                </a:lnTo>
                <a:lnTo>
                  <a:pt x="676838" y="1050290"/>
                </a:lnTo>
                <a:lnTo>
                  <a:pt x="630807" y="1060776"/>
                </a:lnTo>
                <a:lnTo>
                  <a:pt x="583363" y="1067205"/>
                </a:lnTo>
                <a:lnTo>
                  <a:pt x="534702" y="1069390"/>
                </a:lnTo>
                <a:close/>
              </a:path>
            </a:pathLst>
          </a:custGeom>
          <a:solidFill>
            <a:srgbClr val="003793"/>
          </a:solidFill>
        </p:spPr>
        <p:txBody>
          <a:bodyPr wrap="square" lIns="0" tIns="0" rIns="0" bIns="0" rtlCol="0"/>
          <a:lstStyle/>
          <a:p>
            <a:endParaRPr/>
          </a:p>
        </p:txBody>
      </p:sp>
      <p:sp>
        <p:nvSpPr>
          <p:cNvPr id="25" name="object 25"/>
          <p:cNvSpPr txBox="1"/>
          <p:nvPr/>
        </p:nvSpPr>
        <p:spPr>
          <a:xfrm>
            <a:off x="6870015" y="4727321"/>
            <a:ext cx="618490" cy="506730"/>
          </a:xfrm>
          <a:prstGeom prst="rect">
            <a:avLst/>
          </a:prstGeom>
        </p:spPr>
        <p:txBody>
          <a:bodyPr vert="horz" wrap="square" lIns="0" tIns="13335" rIns="0" bIns="0" rtlCol="0">
            <a:spAutoFit/>
          </a:bodyPr>
          <a:lstStyle/>
          <a:p>
            <a:pPr marL="12700">
              <a:lnSpc>
                <a:spcPct val="100000"/>
              </a:lnSpc>
              <a:spcBef>
                <a:spcPts val="105"/>
              </a:spcBef>
            </a:pPr>
            <a:r>
              <a:rPr sz="3150" b="1" spc="540" dirty="0">
                <a:solidFill>
                  <a:srgbClr val="FFFFFF"/>
                </a:solidFill>
                <a:latin typeface="Arial"/>
                <a:cs typeface="Arial"/>
              </a:rPr>
              <a:t>02</a:t>
            </a:r>
            <a:endParaRPr sz="3150">
              <a:latin typeface="Arial"/>
              <a:cs typeface="Arial"/>
            </a:endParaRPr>
          </a:p>
        </p:txBody>
      </p:sp>
      <p:pic>
        <p:nvPicPr>
          <p:cNvPr id="26" name="object 26"/>
          <p:cNvPicPr/>
          <p:nvPr/>
        </p:nvPicPr>
        <p:blipFill>
          <a:blip r:embed="rId5" cstate="print"/>
          <a:stretch>
            <a:fillRect/>
          </a:stretch>
        </p:blipFill>
        <p:spPr>
          <a:xfrm>
            <a:off x="17316450" y="237491"/>
            <a:ext cx="742949" cy="819149"/>
          </a:xfrm>
          <a:prstGeom prst="rect">
            <a:avLst/>
          </a:prstGeom>
        </p:spPr>
      </p:pic>
      <p:sp>
        <p:nvSpPr>
          <p:cNvPr id="27" name="object 27"/>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28" name="object 28"/>
          <p:cNvSpPr txBox="1"/>
          <p:nvPr/>
        </p:nvSpPr>
        <p:spPr>
          <a:xfrm>
            <a:off x="17811802" y="9932972"/>
            <a:ext cx="220979"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5</a:t>
            </a:r>
            <a:endParaRPr sz="900">
              <a:latin typeface="Arial"/>
              <a:cs typeface="Arial"/>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4"/>
            <a:ext cx="17954625" cy="8662035"/>
          </a:xfrm>
          <a:custGeom>
            <a:avLst/>
            <a:gdLst/>
            <a:ahLst/>
            <a:cxnLst/>
            <a:rect l="l" t="t" r="r" b="b"/>
            <a:pathLst>
              <a:path w="17954625" h="8662035">
                <a:moveTo>
                  <a:pt x="0" y="8661679"/>
                </a:moveTo>
                <a:lnTo>
                  <a:pt x="17954029" y="8661679"/>
                </a:lnTo>
                <a:lnTo>
                  <a:pt x="17954029" y="0"/>
                </a:lnTo>
                <a:lnTo>
                  <a:pt x="0" y="0"/>
                </a:lnTo>
                <a:lnTo>
                  <a:pt x="0" y="8661679"/>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4"/>
            <a:ext cx="17954625" cy="1394460"/>
            <a:chOff x="166956" y="171494"/>
            <a:chExt cx="17954625" cy="1394460"/>
          </a:xfrm>
        </p:grpSpPr>
        <p:sp>
          <p:nvSpPr>
            <p:cNvPr id="4" name="object 4"/>
            <p:cNvSpPr/>
            <p:nvPr/>
          </p:nvSpPr>
          <p:spPr>
            <a:xfrm>
              <a:off x="166956" y="171494"/>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grpSp>
      <p:sp>
        <p:nvSpPr>
          <p:cNvPr id="6" name="object 6"/>
          <p:cNvSpPr/>
          <p:nvPr/>
        </p:nvSpPr>
        <p:spPr>
          <a:xfrm>
            <a:off x="1427952" y="4462409"/>
            <a:ext cx="4214495" cy="1065530"/>
          </a:xfrm>
          <a:custGeom>
            <a:avLst/>
            <a:gdLst/>
            <a:ahLst/>
            <a:cxnLst/>
            <a:rect l="l" t="t" r="r" b="b"/>
            <a:pathLst>
              <a:path w="4214495" h="1065529">
                <a:moveTo>
                  <a:pt x="4214396" y="1065262"/>
                </a:moveTo>
                <a:lnTo>
                  <a:pt x="0" y="1065262"/>
                </a:lnTo>
                <a:lnTo>
                  <a:pt x="0" y="0"/>
                </a:lnTo>
                <a:lnTo>
                  <a:pt x="4214396" y="0"/>
                </a:lnTo>
                <a:lnTo>
                  <a:pt x="4214396" y="1065262"/>
                </a:lnTo>
                <a:close/>
              </a:path>
            </a:pathLst>
          </a:custGeom>
          <a:solidFill>
            <a:srgbClr val="FFFFFF"/>
          </a:solidFill>
        </p:spPr>
        <p:txBody>
          <a:bodyPr wrap="square" lIns="0" tIns="0" rIns="0" bIns="0" rtlCol="0"/>
          <a:lstStyle/>
          <a:p>
            <a:endParaRPr/>
          </a:p>
        </p:txBody>
      </p:sp>
      <p:grpSp>
        <p:nvGrpSpPr>
          <p:cNvPr id="7" name="object 7"/>
          <p:cNvGrpSpPr/>
          <p:nvPr/>
        </p:nvGrpSpPr>
        <p:grpSpPr>
          <a:xfrm>
            <a:off x="2488748" y="2480898"/>
            <a:ext cx="1858010" cy="1858010"/>
            <a:chOff x="2488748" y="2480898"/>
            <a:chExt cx="1858010" cy="1858010"/>
          </a:xfrm>
        </p:grpSpPr>
        <p:sp>
          <p:nvSpPr>
            <p:cNvPr id="8" name="object 8"/>
            <p:cNvSpPr/>
            <p:nvPr/>
          </p:nvSpPr>
          <p:spPr>
            <a:xfrm>
              <a:off x="2488748" y="2480898"/>
              <a:ext cx="1858010" cy="1858010"/>
            </a:xfrm>
            <a:custGeom>
              <a:avLst/>
              <a:gdLst/>
              <a:ahLst/>
              <a:cxnLst/>
              <a:rect l="l" t="t" r="r" b="b"/>
              <a:pathLst>
                <a:path w="1858010" h="1858010">
                  <a:moveTo>
                    <a:pt x="928915" y="1857797"/>
                  </a:moveTo>
                  <a:lnTo>
                    <a:pt x="881097" y="1856588"/>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7" y="1585729"/>
                  </a:lnTo>
                  <a:lnTo>
                    <a:pt x="241310" y="1553469"/>
                  </a:lnTo>
                  <a:lnTo>
                    <a:pt x="212115" y="1519764"/>
                  </a:lnTo>
                  <a:lnTo>
                    <a:pt x="184539" y="1484673"/>
                  </a:lnTo>
                  <a:lnTo>
                    <a:pt x="158641" y="1448254"/>
                  </a:lnTo>
                  <a:lnTo>
                    <a:pt x="134479" y="1410566"/>
                  </a:lnTo>
                  <a:lnTo>
                    <a:pt x="112112" y="1371667"/>
                  </a:lnTo>
                  <a:lnTo>
                    <a:pt x="91599" y="1331614"/>
                  </a:lnTo>
                  <a:lnTo>
                    <a:pt x="72997" y="1290468"/>
                  </a:lnTo>
                  <a:lnTo>
                    <a:pt x="56365" y="1248285"/>
                  </a:lnTo>
                  <a:lnTo>
                    <a:pt x="41761" y="1205124"/>
                  </a:lnTo>
                  <a:lnTo>
                    <a:pt x="29243" y="1161045"/>
                  </a:lnTo>
                  <a:lnTo>
                    <a:pt x="18871" y="1116104"/>
                  </a:lnTo>
                  <a:lnTo>
                    <a:pt x="10702" y="1070360"/>
                  </a:lnTo>
                  <a:lnTo>
                    <a:pt x="4795" y="1023873"/>
                  </a:lnTo>
                  <a:lnTo>
                    <a:pt x="1208" y="976699"/>
                  </a:lnTo>
                  <a:lnTo>
                    <a:pt x="0" y="928889"/>
                  </a:lnTo>
                  <a:lnTo>
                    <a:pt x="1208" y="881097"/>
                  </a:lnTo>
                  <a:lnTo>
                    <a:pt x="4795" y="833924"/>
                  </a:lnTo>
                  <a:lnTo>
                    <a:pt x="10702" y="787436"/>
                  </a:lnTo>
                  <a:lnTo>
                    <a:pt x="18871" y="741693"/>
                  </a:lnTo>
                  <a:lnTo>
                    <a:pt x="29243" y="696752"/>
                  </a:lnTo>
                  <a:lnTo>
                    <a:pt x="41761" y="652672"/>
                  </a:lnTo>
                  <a:lnTo>
                    <a:pt x="56365" y="609512"/>
                  </a:lnTo>
                  <a:lnTo>
                    <a:pt x="72997" y="567329"/>
                  </a:lnTo>
                  <a:lnTo>
                    <a:pt x="91599" y="526182"/>
                  </a:lnTo>
                  <a:lnTo>
                    <a:pt x="112112" y="486130"/>
                  </a:lnTo>
                  <a:lnTo>
                    <a:pt x="134479" y="447230"/>
                  </a:lnTo>
                  <a:lnTo>
                    <a:pt x="158641" y="409542"/>
                  </a:lnTo>
                  <a:lnTo>
                    <a:pt x="184539" y="373123"/>
                  </a:lnTo>
                  <a:lnTo>
                    <a:pt x="212115" y="338032"/>
                  </a:lnTo>
                  <a:lnTo>
                    <a:pt x="241310" y="304328"/>
                  </a:lnTo>
                  <a:lnTo>
                    <a:pt x="272067"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3" y="4795"/>
                  </a:lnTo>
                  <a:lnTo>
                    <a:pt x="1070360" y="10703"/>
                  </a:lnTo>
                  <a:lnTo>
                    <a:pt x="1116104" y="18871"/>
                  </a:lnTo>
                  <a:lnTo>
                    <a:pt x="1161045" y="29244"/>
                  </a:lnTo>
                  <a:lnTo>
                    <a:pt x="1205124" y="41761"/>
                  </a:lnTo>
                  <a:lnTo>
                    <a:pt x="1248285" y="56365"/>
                  </a:lnTo>
                  <a:lnTo>
                    <a:pt x="1290468" y="72997"/>
                  </a:lnTo>
                  <a:lnTo>
                    <a:pt x="1331614" y="91599"/>
                  </a:lnTo>
                  <a:lnTo>
                    <a:pt x="1371667" y="112113"/>
                  </a:lnTo>
                  <a:lnTo>
                    <a:pt x="1410566" y="134479"/>
                  </a:lnTo>
                  <a:lnTo>
                    <a:pt x="1448254" y="158641"/>
                  </a:lnTo>
                  <a:lnTo>
                    <a:pt x="1484673" y="184539"/>
                  </a:lnTo>
                  <a:lnTo>
                    <a:pt x="1519764" y="212115"/>
                  </a:lnTo>
                  <a:lnTo>
                    <a:pt x="1553469" y="241311"/>
                  </a:lnTo>
                  <a:lnTo>
                    <a:pt x="1585729" y="272068"/>
                  </a:lnTo>
                  <a:lnTo>
                    <a:pt x="1616486" y="304328"/>
                  </a:lnTo>
                  <a:lnTo>
                    <a:pt x="1645682" y="338032"/>
                  </a:lnTo>
                  <a:lnTo>
                    <a:pt x="1673258" y="373123"/>
                  </a:lnTo>
                  <a:lnTo>
                    <a:pt x="1699156" y="409542"/>
                  </a:lnTo>
                  <a:lnTo>
                    <a:pt x="1723317" y="447230"/>
                  </a:lnTo>
                  <a:lnTo>
                    <a:pt x="1745684" y="486130"/>
                  </a:lnTo>
                  <a:lnTo>
                    <a:pt x="1766198" y="526182"/>
                  </a:lnTo>
                  <a:lnTo>
                    <a:pt x="1784800" y="567329"/>
                  </a:lnTo>
                  <a:lnTo>
                    <a:pt x="1801432" y="609512"/>
                  </a:lnTo>
                  <a:lnTo>
                    <a:pt x="1816036" y="652672"/>
                  </a:lnTo>
                  <a:lnTo>
                    <a:pt x="1828553" y="696752"/>
                  </a:lnTo>
                  <a:lnTo>
                    <a:pt x="1838925" y="741693"/>
                  </a:lnTo>
                  <a:lnTo>
                    <a:pt x="1847094" y="787436"/>
                  </a:lnTo>
                  <a:lnTo>
                    <a:pt x="1853001" y="833924"/>
                  </a:lnTo>
                  <a:lnTo>
                    <a:pt x="1856588" y="881097"/>
                  </a:lnTo>
                  <a:lnTo>
                    <a:pt x="1857797" y="928900"/>
                  </a:lnTo>
                  <a:lnTo>
                    <a:pt x="1856588" y="976699"/>
                  </a:lnTo>
                  <a:lnTo>
                    <a:pt x="1853001" y="1023873"/>
                  </a:lnTo>
                  <a:lnTo>
                    <a:pt x="1847094" y="1070360"/>
                  </a:lnTo>
                  <a:lnTo>
                    <a:pt x="1838925" y="1116104"/>
                  </a:lnTo>
                  <a:lnTo>
                    <a:pt x="1828553" y="1161045"/>
                  </a:lnTo>
                  <a:lnTo>
                    <a:pt x="1816036" y="1205124"/>
                  </a:lnTo>
                  <a:lnTo>
                    <a:pt x="1801432" y="1248285"/>
                  </a:lnTo>
                  <a:lnTo>
                    <a:pt x="1784800" y="1290468"/>
                  </a:lnTo>
                  <a:lnTo>
                    <a:pt x="1766198" y="1331614"/>
                  </a:lnTo>
                  <a:lnTo>
                    <a:pt x="1745684" y="1371667"/>
                  </a:lnTo>
                  <a:lnTo>
                    <a:pt x="1723317" y="1410566"/>
                  </a:lnTo>
                  <a:lnTo>
                    <a:pt x="1699156" y="1448254"/>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7" y="1745684"/>
                  </a:lnTo>
                  <a:lnTo>
                    <a:pt x="1331614" y="1766198"/>
                  </a:lnTo>
                  <a:lnTo>
                    <a:pt x="1290468" y="1784800"/>
                  </a:lnTo>
                  <a:lnTo>
                    <a:pt x="1248285" y="1801432"/>
                  </a:lnTo>
                  <a:lnTo>
                    <a:pt x="1205124" y="1816036"/>
                  </a:lnTo>
                  <a:lnTo>
                    <a:pt x="1161045" y="1828553"/>
                  </a:lnTo>
                  <a:lnTo>
                    <a:pt x="1116104" y="1838925"/>
                  </a:lnTo>
                  <a:lnTo>
                    <a:pt x="1070360" y="1847094"/>
                  </a:lnTo>
                  <a:lnTo>
                    <a:pt x="1023873" y="1853001"/>
                  </a:lnTo>
                  <a:lnTo>
                    <a:pt x="976699" y="1856588"/>
                  </a:lnTo>
                  <a:lnTo>
                    <a:pt x="928915" y="1857797"/>
                  </a:lnTo>
                  <a:close/>
                </a:path>
              </a:pathLst>
            </a:custGeom>
            <a:solidFill>
              <a:srgbClr val="0090AE"/>
            </a:solidFill>
          </p:spPr>
          <p:txBody>
            <a:bodyPr wrap="square" lIns="0" tIns="0" rIns="0" bIns="0" rtlCol="0"/>
            <a:lstStyle/>
            <a:p>
              <a:endParaRPr/>
            </a:p>
          </p:txBody>
        </p:sp>
        <p:sp>
          <p:nvSpPr>
            <p:cNvPr id="9" name="object 9"/>
            <p:cNvSpPr/>
            <p:nvPr/>
          </p:nvSpPr>
          <p:spPr>
            <a:xfrm>
              <a:off x="2813599" y="2797204"/>
              <a:ext cx="1221740" cy="1218565"/>
            </a:xfrm>
            <a:custGeom>
              <a:avLst/>
              <a:gdLst/>
              <a:ahLst/>
              <a:cxnLst/>
              <a:rect l="l" t="t" r="r" b="b"/>
              <a:pathLst>
                <a:path w="1221739" h="1218564">
                  <a:moveTo>
                    <a:pt x="362056" y="868972"/>
                  </a:moveTo>
                  <a:lnTo>
                    <a:pt x="242222" y="614244"/>
                  </a:lnTo>
                  <a:lnTo>
                    <a:pt x="329807" y="555004"/>
                  </a:lnTo>
                  <a:lnTo>
                    <a:pt x="372384" y="525221"/>
                  </a:lnTo>
                  <a:lnTo>
                    <a:pt x="413327" y="493819"/>
                  </a:lnTo>
                  <a:lnTo>
                    <a:pt x="450228" y="461258"/>
                  </a:lnTo>
                  <a:lnTo>
                    <a:pt x="483736" y="426124"/>
                  </a:lnTo>
                  <a:lnTo>
                    <a:pt x="513268" y="388159"/>
                  </a:lnTo>
                  <a:lnTo>
                    <a:pt x="538241" y="347108"/>
                  </a:lnTo>
                  <a:lnTo>
                    <a:pt x="558073" y="302715"/>
                  </a:lnTo>
                  <a:lnTo>
                    <a:pt x="572181" y="254725"/>
                  </a:lnTo>
                  <a:lnTo>
                    <a:pt x="578008" y="198752"/>
                  </a:lnTo>
                  <a:lnTo>
                    <a:pt x="577896" y="179937"/>
                  </a:lnTo>
                  <a:lnTo>
                    <a:pt x="577434" y="169630"/>
                  </a:lnTo>
                  <a:lnTo>
                    <a:pt x="577674" y="159937"/>
                  </a:lnTo>
                  <a:lnTo>
                    <a:pt x="581055" y="151811"/>
                  </a:lnTo>
                  <a:lnTo>
                    <a:pt x="590016" y="146205"/>
                  </a:lnTo>
                  <a:lnTo>
                    <a:pt x="601791" y="145456"/>
                  </a:lnTo>
                  <a:lnTo>
                    <a:pt x="609599" y="150693"/>
                  </a:lnTo>
                  <a:lnTo>
                    <a:pt x="614957" y="159434"/>
                  </a:lnTo>
                  <a:lnTo>
                    <a:pt x="619379" y="169197"/>
                  </a:lnTo>
                  <a:lnTo>
                    <a:pt x="849718" y="658763"/>
                  </a:lnTo>
                  <a:lnTo>
                    <a:pt x="915871" y="799184"/>
                  </a:lnTo>
                  <a:lnTo>
                    <a:pt x="640059" y="799184"/>
                  </a:lnTo>
                  <a:lnTo>
                    <a:pt x="587353" y="803619"/>
                  </a:lnTo>
                  <a:lnTo>
                    <a:pt x="535156" y="812533"/>
                  </a:lnTo>
                  <a:lnTo>
                    <a:pt x="483415" y="825399"/>
                  </a:lnTo>
                  <a:lnTo>
                    <a:pt x="432081" y="841695"/>
                  </a:lnTo>
                  <a:lnTo>
                    <a:pt x="397869" y="854656"/>
                  </a:lnTo>
                  <a:lnTo>
                    <a:pt x="362056" y="868972"/>
                  </a:lnTo>
                  <a:close/>
                </a:path>
                <a:path w="1221739" h="1218564">
                  <a:moveTo>
                    <a:pt x="848964" y="555895"/>
                  </a:moveTo>
                  <a:lnTo>
                    <a:pt x="795871" y="443303"/>
                  </a:lnTo>
                  <a:lnTo>
                    <a:pt x="824755" y="438556"/>
                  </a:lnTo>
                  <a:lnTo>
                    <a:pt x="847983" y="441632"/>
                  </a:lnTo>
                  <a:lnTo>
                    <a:pt x="866044" y="452425"/>
                  </a:lnTo>
                  <a:lnTo>
                    <a:pt x="879428" y="470827"/>
                  </a:lnTo>
                  <a:lnTo>
                    <a:pt x="886642" y="493447"/>
                  </a:lnTo>
                  <a:lnTo>
                    <a:pt x="884279" y="514833"/>
                  </a:lnTo>
                  <a:lnTo>
                    <a:pt x="871874" y="535484"/>
                  </a:lnTo>
                  <a:lnTo>
                    <a:pt x="848964" y="555895"/>
                  </a:lnTo>
                  <a:close/>
                </a:path>
                <a:path w="1221739" h="1218564">
                  <a:moveTo>
                    <a:pt x="141751" y="956586"/>
                  </a:moveTo>
                  <a:lnTo>
                    <a:pt x="92507" y="947851"/>
                  </a:lnTo>
                  <a:lnTo>
                    <a:pt x="49588" y="922174"/>
                  </a:lnTo>
                  <a:lnTo>
                    <a:pt x="18606" y="882913"/>
                  </a:lnTo>
                  <a:lnTo>
                    <a:pt x="11930" y="867576"/>
                  </a:lnTo>
                  <a:lnTo>
                    <a:pt x="8591" y="859892"/>
                  </a:lnTo>
                  <a:lnTo>
                    <a:pt x="78" y="812533"/>
                  </a:lnTo>
                  <a:lnTo>
                    <a:pt x="0" y="809987"/>
                  </a:lnTo>
                  <a:lnTo>
                    <a:pt x="258" y="802337"/>
                  </a:lnTo>
                  <a:lnTo>
                    <a:pt x="9006" y="761537"/>
                  </a:lnTo>
                  <a:lnTo>
                    <a:pt x="34554" y="718600"/>
                  </a:lnTo>
                  <a:lnTo>
                    <a:pt x="66338" y="691676"/>
                  </a:lnTo>
                  <a:lnTo>
                    <a:pt x="129985" y="658507"/>
                  </a:lnTo>
                  <a:lnTo>
                    <a:pt x="196995" y="626988"/>
                  </a:lnTo>
                  <a:lnTo>
                    <a:pt x="321559" y="891454"/>
                  </a:lnTo>
                  <a:lnTo>
                    <a:pt x="285543" y="908199"/>
                  </a:lnTo>
                  <a:lnTo>
                    <a:pt x="249091" y="923886"/>
                  </a:lnTo>
                  <a:lnTo>
                    <a:pt x="212201" y="938515"/>
                  </a:lnTo>
                  <a:lnTo>
                    <a:pt x="174874" y="952086"/>
                  </a:lnTo>
                  <a:lnTo>
                    <a:pt x="158492" y="955464"/>
                  </a:lnTo>
                  <a:lnTo>
                    <a:pt x="141751" y="956586"/>
                  </a:lnTo>
                  <a:close/>
                </a:path>
                <a:path w="1221739" h="1218564">
                  <a:moveTo>
                    <a:pt x="942901" y="893786"/>
                  </a:moveTo>
                  <a:lnTo>
                    <a:pt x="935217" y="892522"/>
                  </a:lnTo>
                  <a:lnTo>
                    <a:pt x="927289" y="891504"/>
                  </a:lnTo>
                  <a:lnTo>
                    <a:pt x="920035" y="889796"/>
                  </a:lnTo>
                  <a:lnTo>
                    <a:pt x="914375" y="886462"/>
                  </a:lnTo>
                  <a:lnTo>
                    <a:pt x="896636" y="870823"/>
                  </a:lnTo>
                  <a:lnTo>
                    <a:pt x="877848" y="856703"/>
                  </a:lnTo>
                  <a:lnTo>
                    <a:pt x="837121" y="833015"/>
                  </a:lnTo>
                  <a:lnTo>
                    <a:pt x="793225" y="815896"/>
                  </a:lnTo>
                  <a:lnTo>
                    <a:pt x="747195" y="805844"/>
                  </a:lnTo>
                  <a:lnTo>
                    <a:pt x="693322" y="799751"/>
                  </a:lnTo>
                  <a:lnTo>
                    <a:pt x="640059" y="799184"/>
                  </a:lnTo>
                  <a:lnTo>
                    <a:pt x="915871" y="799184"/>
                  </a:lnTo>
                  <a:lnTo>
                    <a:pt x="941406" y="853387"/>
                  </a:lnTo>
                  <a:lnTo>
                    <a:pt x="943180" y="857017"/>
                  </a:lnTo>
                  <a:lnTo>
                    <a:pt x="944247" y="859299"/>
                  </a:lnTo>
                  <a:lnTo>
                    <a:pt x="952327" y="879729"/>
                  </a:lnTo>
                  <a:lnTo>
                    <a:pt x="950931" y="884229"/>
                  </a:lnTo>
                  <a:lnTo>
                    <a:pt x="950356" y="885723"/>
                  </a:lnTo>
                  <a:lnTo>
                    <a:pt x="948845" y="889312"/>
                  </a:lnTo>
                  <a:lnTo>
                    <a:pt x="946360" y="892000"/>
                  </a:lnTo>
                  <a:lnTo>
                    <a:pt x="942901" y="893786"/>
                  </a:lnTo>
                  <a:close/>
                </a:path>
                <a:path w="1221739" h="1218564">
                  <a:moveTo>
                    <a:pt x="413721" y="976457"/>
                  </a:moveTo>
                  <a:lnTo>
                    <a:pt x="407349" y="964420"/>
                  </a:lnTo>
                  <a:lnTo>
                    <a:pt x="390088" y="932464"/>
                  </a:lnTo>
                  <a:lnTo>
                    <a:pt x="382371" y="917780"/>
                  </a:lnTo>
                  <a:lnTo>
                    <a:pt x="471462" y="878251"/>
                  </a:lnTo>
                  <a:lnTo>
                    <a:pt x="485788" y="911387"/>
                  </a:lnTo>
                  <a:lnTo>
                    <a:pt x="484875" y="936530"/>
                  </a:lnTo>
                  <a:lnTo>
                    <a:pt x="462821" y="957085"/>
                  </a:lnTo>
                  <a:lnTo>
                    <a:pt x="413721" y="976457"/>
                  </a:lnTo>
                  <a:close/>
                </a:path>
                <a:path w="1221739" h="1218564">
                  <a:moveTo>
                    <a:pt x="429725" y="1218345"/>
                  </a:moveTo>
                  <a:lnTo>
                    <a:pt x="418315" y="1216052"/>
                  </a:lnTo>
                  <a:lnTo>
                    <a:pt x="408513" y="1209016"/>
                  </a:lnTo>
                  <a:lnTo>
                    <a:pt x="399976" y="1198110"/>
                  </a:lnTo>
                  <a:lnTo>
                    <a:pt x="371295" y="1153330"/>
                  </a:lnTo>
                  <a:lnTo>
                    <a:pt x="254752" y="972630"/>
                  </a:lnTo>
                  <a:lnTo>
                    <a:pt x="339459" y="932560"/>
                  </a:lnTo>
                  <a:lnTo>
                    <a:pt x="342842" y="938587"/>
                  </a:lnTo>
                  <a:lnTo>
                    <a:pt x="346159" y="943612"/>
                  </a:lnTo>
                  <a:lnTo>
                    <a:pt x="451739" y="1167975"/>
                  </a:lnTo>
                  <a:lnTo>
                    <a:pt x="457232" y="1183883"/>
                  </a:lnTo>
                  <a:lnTo>
                    <a:pt x="457659" y="1197258"/>
                  </a:lnTo>
                  <a:lnTo>
                    <a:pt x="452963" y="1207755"/>
                  </a:lnTo>
                  <a:lnTo>
                    <a:pt x="443085" y="1215025"/>
                  </a:lnTo>
                  <a:lnTo>
                    <a:pt x="429725" y="1218345"/>
                  </a:lnTo>
                  <a:close/>
                </a:path>
                <a:path w="1221739" h="1218564">
                  <a:moveTo>
                    <a:pt x="808156" y="124886"/>
                  </a:moveTo>
                  <a:lnTo>
                    <a:pt x="783147" y="100066"/>
                  </a:lnTo>
                  <a:lnTo>
                    <a:pt x="784029" y="90180"/>
                  </a:lnTo>
                  <a:lnTo>
                    <a:pt x="785699" y="85694"/>
                  </a:lnTo>
                  <a:lnTo>
                    <a:pt x="788596" y="81665"/>
                  </a:lnTo>
                  <a:lnTo>
                    <a:pt x="800132" y="64432"/>
                  </a:lnTo>
                  <a:lnTo>
                    <a:pt x="811751" y="47301"/>
                  </a:lnTo>
                  <a:lnTo>
                    <a:pt x="823452" y="30273"/>
                  </a:lnTo>
                  <a:lnTo>
                    <a:pt x="835235" y="13348"/>
                  </a:lnTo>
                  <a:lnTo>
                    <a:pt x="837996" y="9155"/>
                  </a:lnTo>
                  <a:lnTo>
                    <a:pt x="841592" y="5879"/>
                  </a:lnTo>
                  <a:lnTo>
                    <a:pt x="850452" y="1157"/>
                  </a:lnTo>
                  <a:lnTo>
                    <a:pt x="855177" y="0"/>
                  </a:lnTo>
                  <a:lnTo>
                    <a:pt x="860197" y="46"/>
                  </a:lnTo>
                  <a:lnTo>
                    <a:pt x="885159" y="15171"/>
                  </a:lnTo>
                  <a:lnTo>
                    <a:pt x="886966" y="17782"/>
                  </a:lnTo>
                  <a:lnTo>
                    <a:pt x="886309" y="21067"/>
                  </a:lnTo>
                  <a:lnTo>
                    <a:pt x="885652" y="24680"/>
                  </a:lnTo>
                  <a:lnTo>
                    <a:pt x="885488" y="26486"/>
                  </a:lnTo>
                  <a:lnTo>
                    <a:pt x="885185" y="32151"/>
                  </a:lnTo>
                  <a:lnTo>
                    <a:pt x="883652" y="37461"/>
                  </a:lnTo>
                  <a:lnTo>
                    <a:pt x="856995" y="78176"/>
                  </a:lnTo>
                  <a:lnTo>
                    <a:pt x="833100" y="112704"/>
                  </a:lnTo>
                  <a:lnTo>
                    <a:pt x="815277" y="124639"/>
                  </a:lnTo>
                  <a:lnTo>
                    <a:pt x="808156" y="124886"/>
                  </a:lnTo>
                  <a:close/>
                </a:path>
                <a:path w="1221739" h="1218564">
                  <a:moveTo>
                    <a:pt x="1021675" y="413849"/>
                  </a:moveTo>
                  <a:lnTo>
                    <a:pt x="999090" y="382188"/>
                  </a:lnTo>
                  <a:lnTo>
                    <a:pt x="1000287" y="377558"/>
                  </a:lnTo>
                  <a:lnTo>
                    <a:pt x="1005155" y="368936"/>
                  </a:lnTo>
                  <a:lnTo>
                    <a:pt x="1008502" y="365520"/>
                  </a:lnTo>
                  <a:lnTo>
                    <a:pt x="1012762" y="362998"/>
                  </a:lnTo>
                  <a:lnTo>
                    <a:pt x="1030406" y="352072"/>
                  </a:lnTo>
                  <a:lnTo>
                    <a:pt x="1065878" y="330527"/>
                  </a:lnTo>
                  <a:lnTo>
                    <a:pt x="1083706" y="319971"/>
                  </a:lnTo>
                  <a:lnTo>
                    <a:pt x="1087893" y="317283"/>
                  </a:lnTo>
                  <a:lnTo>
                    <a:pt x="1092468" y="315779"/>
                  </a:lnTo>
                  <a:lnTo>
                    <a:pt x="1102396" y="315137"/>
                  </a:lnTo>
                  <a:lnTo>
                    <a:pt x="1107127" y="316039"/>
                  </a:lnTo>
                  <a:lnTo>
                    <a:pt x="1128375" y="342141"/>
                  </a:lnTo>
                  <a:lnTo>
                    <a:pt x="1128868" y="345426"/>
                  </a:lnTo>
                  <a:lnTo>
                    <a:pt x="1126733" y="348053"/>
                  </a:lnTo>
                  <a:lnTo>
                    <a:pt x="1125912" y="349531"/>
                  </a:lnTo>
                  <a:lnTo>
                    <a:pt x="1124927" y="351009"/>
                  </a:lnTo>
                  <a:lnTo>
                    <a:pt x="1123941" y="352651"/>
                  </a:lnTo>
                  <a:lnTo>
                    <a:pt x="1121351" y="357683"/>
                  </a:lnTo>
                  <a:lnTo>
                    <a:pt x="1117793" y="361898"/>
                  </a:lnTo>
                  <a:lnTo>
                    <a:pt x="1076706" y="388001"/>
                  </a:lnTo>
                  <a:lnTo>
                    <a:pt x="1040515" y="409473"/>
                  </a:lnTo>
                  <a:lnTo>
                    <a:pt x="1036276" y="412247"/>
                  </a:lnTo>
                  <a:lnTo>
                    <a:pt x="1031623" y="413670"/>
                  </a:lnTo>
                  <a:lnTo>
                    <a:pt x="1021675" y="413849"/>
                  </a:lnTo>
                  <a:close/>
                </a:path>
                <a:path w="1221739" h="1218564">
                  <a:moveTo>
                    <a:pt x="1192274" y="813828"/>
                  </a:moveTo>
                  <a:lnTo>
                    <a:pt x="1186675" y="812972"/>
                  </a:lnTo>
                  <a:lnTo>
                    <a:pt x="1165806" y="807758"/>
                  </a:lnTo>
                  <a:lnTo>
                    <a:pt x="1144983" y="802297"/>
                  </a:lnTo>
                  <a:lnTo>
                    <a:pt x="1104399" y="791130"/>
                  </a:lnTo>
                  <a:lnTo>
                    <a:pt x="1099537" y="789934"/>
                  </a:lnTo>
                  <a:lnTo>
                    <a:pt x="1083529" y="767035"/>
                  </a:lnTo>
                  <a:lnTo>
                    <a:pt x="1083623" y="762319"/>
                  </a:lnTo>
                  <a:lnTo>
                    <a:pt x="1109274" y="737558"/>
                  </a:lnTo>
                  <a:lnTo>
                    <a:pt x="1114068" y="737598"/>
                  </a:lnTo>
                  <a:lnTo>
                    <a:pt x="1118850" y="738907"/>
                  </a:lnTo>
                  <a:lnTo>
                    <a:pt x="1179079" y="754703"/>
                  </a:lnTo>
                  <a:lnTo>
                    <a:pt x="1198992" y="760256"/>
                  </a:lnTo>
                  <a:lnTo>
                    <a:pt x="1203818" y="761447"/>
                  </a:lnTo>
                  <a:lnTo>
                    <a:pt x="1208067" y="763717"/>
                  </a:lnTo>
                  <a:lnTo>
                    <a:pt x="1221516" y="789091"/>
                  </a:lnTo>
                  <a:lnTo>
                    <a:pt x="1219473" y="799250"/>
                  </a:lnTo>
                  <a:lnTo>
                    <a:pt x="1217287" y="803765"/>
                  </a:lnTo>
                  <a:lnTo>
                    <a:pt x="1213907" y="807758"/>
                  </a:lnTo>
                  <a:lnTo>
                    <a:pt x="1211965" y="810508"/>
                  </a:lnTo>
                  <a:lnTo>
                    <a:pt x="1208517" y="810837"/>
                  </a:lnTo>
                  <a:lnTo>
                    <a:pt x="1206875" y="811165"/>
                  </a:lnTo>
                  <a:lnTo>
                    <a:pt x="1205068" y="811494"/>
                  </a:lnTo>
                  <a:lnTo>
                    <a:pt x="1197803" y="813499"/>
                  </a:lnTo>
                  <a:lnTo>
                    <a:pt x="1192274" y="813828"/>
                  </a:lnTo>
                  <a:close/>
                </a:path>
              </a:pathLst>
            </a:custGeom>
            <a:solidFill>
              <a:srgbClr val="FFFFFF"/>
            </a:solidFill>
          </p:spPr>
          <p:txBody>
            <a:bodyPr wrap="square" lIns="0" tIns="0" rIns="0" bIns="0" rtlCol="0"/>
            <a:lstStyle/>
            <a:p>
              <a:endParaRPr/>
            </a:p>
          </p:txBody>
        </p:sp>
      </p:grpSp>
      <p:sp>
        <p:nvSpPr>
          <p:cNvPr id="10" name="object 10"/>
          <p:cNvSpPr txBox="1"/>
          <p:nvPr/>
        </p:nvSpPr>
        <p:spPr>
          <a:xfrm>
            <a:off x="2259999" y="4587203"/>
            <a:ext cx="2804795" cy="692150"/>
          </a:xfrm>
          <a:prstGeom prst="rect">
            <a:avLst/>
          </a:prstGeom>
        </p:spPr>
        <p:txBody>
          <a:bodyPr vert="horz" wrap="square" lIns="0" tIns="12065" rIns="0" bIns="0" rtlCol="0">
            <a:spAutoFit/>
          </a:bodyPr>
          <a:lstStyle/>
          <a:p>
            <a:pPr marL="847090" marR="5080" indent="-835025">
              <a:lnSpc>
                <a:spcPct val="115100"/>
              </a:lnSpc>
              <a:spcBef>
                <a:spcPts val="95"/>
              </a:spcBef>
            </a:pPr>
            <a:r>
              <a:rPr sz="1900" spc="-10" dirty="0">
                <a:solidFill>
                  <a:srgbClr val="737373"/>
                </a:solidFill>
                <a:latin typeface="Roboto"/>
                <a:cs typeface="Roboto"/>
              </a:rPr>
              <a:t>Actualización</a:t>
            </a:r>
            <a:r>
              <a:rPr sz="1900" spc="-80" dirty="0">
                <a:solidFill>
                  <a:srgbClr val="737373"/>
                </a:solidFill>
                <a:latin typeface="Roboto"/>
                <a:cs typeface="Roboto"/>
              </a:rPr>
              <a:t> </a:t>
            </a:r>
            <a:r>
              <a:rPr sz="1900" dirty="0">
                <a:solidFill>
                  <a:srgbClr val="737373"/>
                </a:solidFill>
                <a:latin typeface="Roboto"/>
                <a:cs typeface="Roboto"/>
              </a:rPr>
              <a:t>y</a:t>
            </a:r>
            <a:r>
              <a:rPr sz="1900" spc="-80" dirty="0">
                <a:solidFill>
                  <a:srgbClr val="737373"/>
                </a:solidFill>
                <a:latin typeface="Roboto"/>
                <a:cs typeface="Roboto"/>
              </a:rPr>
              <a:t> </a:t>
            </a:r>
            <a:r>
              <a:rPr sz="1900" spc="-10" dirty="0">
                <a:solidFill>
                  <a:srgbClr val="737373"/>
                </a:solidFill>
                <a:latin typeface="Roboto"/>
                <a:cs typeface="Roboto"/>
              </a:rPr>
              <a:t>desarrollo </a:t>
            </a:r>
            <a:r>
              <a:rPr sz="1900" dirty="0">
                <a:solidFill>
                  <a:srgbClr val="737373"/>
                </a:solidFill>
                <a:latin typeface="Roboto"/>
                <a:cs typeface="Roboto"/>
              </a:rPr>
              <a:t>de</a:t>
            </a:r>
            <a:r>
              <a:rPr sz="1900" spc="-20" dirty="0">
                <a:solidFill>
                  <a:srgbClr val="737373"/>
                </a:solidFill>
                <a:latin typeface="Roboto"/>
                <a:cs typeface="Roboto"/>
              </a:rPr>
              <a:t> </a:t>
            </a:r>
            <a:r>
              <a:rPr sz="1900" b="1" spc="-10" dirty="0">
                <a:solidFill>
                  <a:srgbClr val="E3112B"/>
                </a:solidFill>
                <a:latin typeface="Roboto"/>
                <a:cs typeface="Roboto"/>
              </a:rPr>
              <a:t>canales</a:t>
            </a:r>
            <a:endParaRPr sz="1900">
              <a:latin typeface="Roboto"/>
              <a:cs typeface="Roboto"/>
            </a:endParaRPr>
          </a:p>
        </p:txBody>
      </p:sp>
      <p:sp>
        <p:nvSpPr>
          <p:cNvPr id="11" name="object 11"/>
          <p:cNvSpPr/>
          <p:nvPr/>
        </p:nvSpPr>
        <p:spPr>
          <a:xfrm>
            <a:off x="823475" y="4461126"/>
            <a:ext cx="1069975" cy="1069975"/>
          </a:xfrm>
          <a:custGeom>
            <a:avLst/>
            <a:gdLst/>
            <a:ahLst/>
            <a:cxnLst/>
            <a:rect l="l" t="t" r="r" b="b"/>
            <a:pathLst>
              <a:path w="1069975" h="1069975">
                <a:moveTo>
                  <a:pt x="534696" y="1069390"/>
                </a:moveTo>
                <a:lnTo>
                  <a:pt x="486027" y="1067205"/>
                </a:lnTo>
                <a:lnTo>
                  <a:pt x="438583" y="1060775"/>
                </a:lnTo>
                <a:lnTo>
                  <a:pt x="392552" y="1050290"/>
                </a:lnTo>
                <a:lnTo>
                  <a:pt x="348122" y="1035938"/>
                </a:lnTo>
                <a:lnTo>
                  <a:pt x="305483" y="1017908"/>
                </a:lnTo>
                <a:lnTo>
                  <a:pt x="264824" y="996388"/>
                </a:lnTo>
                <a:lnTo>
                  <a:pt x="226332" y="971568"/>
                </a:lnTo>
                <a:lnTo>
                  <a:pt x="190197" y="943636"/>
                </a:lnTo>
                <a:lnTo>
                  <a:pt x="156608" y="912781"/>
                </a:lnTo>
                <a:lnTo>
                  <a:pt x="125753" y="879192"/>
                </a:lnTo>
                <a:lnTo>
                  <a:pt x="97821" y="843057"/>
                </a:lnTo>
                <a:lnTo>
                  <a:pt x="73001" y="804566"/>
                </a:lnTo>
                <a:lnTo>
                  <a:pt x="51482" y="763906"/>
                </a:lnTo>
                <a:lnTo>
                  <a:pt x="33451" y="721267"/>
                </a:lnTo>
                <a:lnTo>
                  <a:pt x="19099" y="676838"/>
                </a:lnTo>
                <a:lnTo>
                  <a:pt x="8614" y="630807"/>
                </a:lnTo>
                <a:lnTo>
                  <a:pt x="2185" y="583363"/>
                </a:lnTo>
                <a:lnTo>
                  <a:pt x="0" y="534695"/>
                </a:lnTo>
                <a:lnTo>
                  <a:pt x="2185" y="486026"/>
                </a:lnTo>
                <a:lnTo>
                  <a:pt x="8614" y="438582"/>
                </a:lnTo>
                <a:lnTo>
                  <a:pt x="19099" y="392551"/>
                </a:lnTo>
                <a:lnTo>
                  <a:pt x="33451" y="348122"/>
                </a:lnTo>
                <a:lnTo>
                  <a:pt x="51482" y="305483"/>
                </a:lnTo>
                <a:lnTo>
                  <a:pt x="73001" y="264824"/>
                </a:lnTo>
                <a:lnTo>
                  <a:pt x="97821" y="226332"/>
                </a:lnTo>
                <a:lnTo>
                  <a:pt x="125753" y="190197"/>
                </a:lnTo>
                <a:lnTo>
                  <a:pt x="156608" y="156608"/>
                </a:lnTo>
                <a:lnTo>
                  <a:pt x="190197" y="125753"/>
                </a:lnTo>
                <a:lnTo>
                  <a:pt x="226332" y="97821"/>
                </a:lnTo>
                <a:lnTo>
                  <a:pt x="264824" y="73001"/>
                </a:lnTo>
                <a:lnTo>
                  <a:pt x="305483" y="51482"/>
                </a:lnTo>
                <a:lnTo>
                  <a:pt x="348122" y="33451"/>
                </a:lnTo>
                <a:lnTo>
                  <a:pt x="392552" y="19099"/>
                </a:lnTo>
                <a:lnTo>
                  <a:pt x="438583" y="8614"/>
                </a:lnTo>
                <a:lnTo>
                  <a:pt x="486027"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7"/>
                </a:lnTo>
                <a:lnTo>
                  <a:pt x="971568" y="226332"/>
                </a:lnTo>
                <a:lnTo>
                  <a:pt x="996388" y="264824"/>
                </a:lnTo>
                <a:lnTo>
                  <a:pt x="1017908" y="305483"/>
                </a:lnTo>
                <a:lnTo>
                  <a:pt x="1035938" y="348122"/>
                </a:lnTo>
                <a:lnTo>
                  <a:pt x="1050290" y="392551"/>
                </a:lnTo>
                <a:lnTo>
                  <a:pt x="1060775" y="438582"/>
                </a:lnTo>
                <a:lnTo>
                  <a:pt x="1067205" y="486026"/>
                </a:lnTo>
                <a:lnTo>
                  <a:pt x="1069390" y="534695"/>
                </a:lnTo>
                <a:lnTo>
                  <a:pt x="1067205" y="583363"/>
                </a:lnTo>
                <a:lnTo>
                  <a:pt x="1060775" y="630807"/>
                </a:lnTo>
                <a:lnTo>
                  <a:pt x="1050290" y="676838"/>
                </a:lnTo>
                <a:lnTo>
                  <a:pt x="1035938" y="721267"/>
                </a:lnTo>
                <a:lnTo>
                  <a:pt x="1017908" y="763906"/>
                </a:lnTo>
                <a:lnTo>
                  <a:pt x="996388" y="804566"/>
                </a:lnTo>
                <a:lnTo>
                  <a:pt x="971568" y="843057"/>
                </a:lnTo>
                <a:lnTo>
                  <a:pt x="943636" y="879192"/>
                </a:lnTo>
                <a:lnTo>
                  <a:pt x="912781" y="912781"/>
                </a:lnTo>
                <a:lnTo>
                  <a:pt x="879192" y="943636"/>
                </a:lnTo>
                <a:lnTo>
                  <a:pt x="843057" y="971568"/>
                </a:lnTo>
                <a:lnTo>
                  <a:pt x="804566" y="996388"/>
                </a:lnTo>
                <a:lnTo>
                  <a:pt x="763906" y="1017908"/>
                </a:lnTo>
                <a:lnTo>
                  <a:pt x="721267" y="1035938"/>
                </a:lnTo>
                <a:lnTo>
                  <a:pt x="676838" y="1050290"/>
                </a:lnTo>
                <a:lnTo>
                  <a:pt x="630807" y="1060775"/>
                </a:lnTo>
                <a:lnTo>
                  <a:pt x="583363" y="1067205"/>
                </a:lnTo>
                <a:lnTo>
                  <a:pt x="534696" y="1069390"/>
                </a:lnTo>
                <a:close/>
              </a:path>
            </a:pathLst>
          </a:custGeom>
          <a:solidFill>
            <a:srgbClr val="003793"/>
          </a:solidFill>
        </p:spPr>
        <p:txBody>
          <a:bodyPr wrap="square" lIns="0" tIns="0" rIns="0" bIns="0" rtlCol="0"/>
          <a:lstStyle/>
          <a:p>
            <a:endParaRPr/>
          </a:p>
        </p:txBody>
      </p:sp>
      <p:sp>
        <p:nvSpPr>
          <p:cNvPr id="12" name="object 12"/>
          <p:cNvSpPr txBox="1"/>
          <p:nvPr/>
        </p:nvSpPr>
        <p:spPr>
          <a:xfrm>
            <a:off x="1117115" y="4727321"/>
            <a:ext cx="482600" cy="506730"/>
          </a:xfrm>
          <a:prstGeom prst="rect">
            <a:avLst/>
          </a:prstGeom>
        </p:spPr>
        <p:txBody>
          <a:bodyPr vert="horz" wrap="square" lIns="0" tIns="13335" rIns="0" bIns="0" rtlCol="0">
            <a:spAutoFit/>
          </a:bodyPr>
          <a:lstStyle/>
          <a:p>
            <a:pPr marL="12700">
              <a:lnSpc>
                <a:spcPct val="100000"/>
              </a:lnSpc>
              <a:spcBef>
                <a:spcPts val="105"/>
              </a:spcBef>
            </a:pPr>
            <a:r>
              <a:rPr sz="3150" b="1" spc="-25" dirty="0">
                <a:solidFill>
                  <a:srgbClr val="FFFFFF"/>
                </a:solidFill>
                <a:latin typeface="Arial"/>
                <a:cs typeface="Arial"/>
              </a:rPr>
              <a:t>01</a:t>
            </a:r>
            <a:endParaRPr sz="3150">
              <a:latin typeface="Arial"/>
              <a:cs typeface="Arial"/>
            </a:endParaRPr>
          </a:p>
        </p:txBody>
      </p:sp>
      <p:sp>
        <p:nvSpPr>
          <p:cNvPr id="13" name="object 13"/>
          <p:cNvSpPr txBox="1"/>
          <p:nvPr/>
        </p:nvSpPr>
        <p:spPr>
          <a:xfrm>
            <a:off x="637985" y="384150"/>
            <a:ext cx="818832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2.</a:t>
            </a:r>
            <a:r>
              <a:rPr sz="3000" spc="-60" dirty="0">
                <a:solidFill>
                  <a:srgbClr val="FFFFFF"/>
                </a:solidFill>
                <a:latin typeface="Roboto"/>
                <a:cs typeface="Roboto"/>
              </a:rPr>
              <a:t> </a:t>
            </a:r>
            <a:r>
              <a:rPr sz="3000" dirty="0">
                <a:solidFill>
                  <a:srgbClr val="FFFFFF"/>
                </a:solidFill>
                <a:latin typeface="Roboto"/>
                <a:cs typeface="Roboto"/>
              </a:rPr>
              <a:t>¿Cómo</a:t>
            </a:r>
            <a:r>
              <a:rPr sz="3000" spc="-55" dirty="0">
                <a:solidFill>
                  <a:srgbClr val="FFFFFF"/>
                </a:solidFill>
                <a:latin typeface="Roboto"/>
                <a:cs typeface="Roboto"/>
              </a:rPr>
              <a:t> </a:t>
            </a:r>
            <a:r>
              <a:rPr sz="3000" spc="-10" dirty="0">
                <a:solidFill>
                  <a:srgbClr val="FFFFFF"/>
                </a:solidFill>
                <a:latin typeface="Roboto"/>
                <a:cs typeface="Roboto"/>
              </a:rPr>
              <a:t>promocionamos</a:t>
            </a:r>
            <a:r>
              <a:rPr sz="3000" spc="-55" dirty="0">
                <a:solidFill>
                  <a:srgbClr val="FFFFFF"/>
                </a:solidFill>
                <a:latin typeface="Roboto"/>
                <a:cs typeface="Roboto"/>
              </a:rPr>
              <a:t> </a:t>
            </a:r>
            <a:r>
              <a:rPr sz="3000" dirty="0">
                <a:solidFill>
                  <a:srgbClr val="FFFFFF"/>
                </a:solidFill>
                <a:latin typeface="Roboto"/>
                <a:cs typeface="Roboto"/>
              </a:rPr>
              <a:t>MICE</a:t>
            </a:r>
            <a:r>
              <a:rPr sz="3000" spc="-55" dirty="0">
                <a:solidFill>
                  <a:srgbClr val="FFFFFF"/>
                </a:solidFill>
                <a:latin typeface="Roboto"/>
                <a:cs typeface="Roboto"/>
              </a:rPr>
              <a:t> </a:t>
            </a:r>
            <a:r>
              <a:rPr sz="3000" spc="-20" dirty="0">
                <a:solidFill>
                  <a:srgbClr val="FFFFFF"/>
                </a:solidFill>
                <a:latin typeface="Roboto"/>
                <a:cs typeface="Roboto"/>
              </a:rPr>
              <a:t>internacional?</a:t>
            </a:r>
            <a:endParaRPr sz="3000">
              <a:latin typeface="Roboto"/>
              <a:cs typeface="Roboto"/>
            </a:endParaRPr>
          </a:p>
        </p:txBody>
      </p:sp>
      <p:sp>
        <p:nvSpPr>
          <p:cNvPr id="14" name="object 14"/>
          <p:cNvSpPr txBox="1">
            <a:spLocks noGrp="1"/>
          </p:cNvSpPr>
          <p:nvPr>
            <p:ph type="title"/>
          </p:nvPr>
        </p:nvSpPr>
        <p:spPr>
          <a:xfrm>
            <a:off x="5939109" y="1510460"/>
            <a:ext cx="6318250" cy="643890"/>
          </a:xfrm>
          <a:prstGeom prst="rect">
            <a:avLst/>
          </a:prstGeom>
        </p:spPr>
        <p:txBody>
          <a:bodyPr vert="horz" wrap="square" lIns="0" tIns="13335" rIns="0" bIns="0" rtlCol="0">
            <a:spAutoFit/>
          </a:bodyPr>
          <a:lstStyle/>
          <a:p>
            <a:pPr marL="12700">
              <a:lnSpc>
                <a:spcPct val="100000"/>
              </a:lnSpc>
              <a:spcBef>
                <a:spcPts val="105"/>
              </a:spcBef>
            </a:pPr>
            <a:r>
              <a:rPr sz="4050" b="1" dirty="0">
                <a:solidFill>
                  <a:srgbClr val="E3112B"/>
                </a:solidFill>
                <a:latin typeface="Roboto"/>
                <a:cs typeface="Roboto"/>
              </a:rPr>
              <a:t>Estrategia</a:t>
            </a:r>
            <a:r>
              <a:rPr sz="4050" b="1" spc="-90" dirty="0">
                <a:solidFill>
                  <a:srgbClr val="E3112B"/>
                </a:solidFill>
                <a:latin typeface="Roboto"/>
                <a:cs typeface="Roboto"/>
              </a:rPr>
              <a:t> </a:t>
            </a:r>
            <a:r>
              <a:rPr sz="4050" b="1" dirty="0">
                <a:solidFill>
                  <a:srgbClr val="E3112B"/>
                </a:solidFill>
                <a:latin typeface="Roboto"/>
                <a:cs typeface="Roboto"/>
              </a:rPr>
              <a:t>y</a:t>
            </a:r>
            <a:r>
              <a:rPr sz="4050" b="1" spc="-90" dirty="0">
                <a:solidFill>
                  <a:srgbClr val="E3112B"/>
                </a:solidFill>
                <a:latin typeface="Roboto"/>
                <a:cs typeface="Roboto"/>
              </a:rPr>
              <a:t> </a:t>
            </a:r>
            <a:r>
              <a:rPr sz="4050" b="1" dirty="0">
                <a:solidFill>
                  <a:srgbClr val="E3112B"/>
                </a:solidFill>
                <a:latin typeface="Roboto"/>
                <a:cs typeface="Roboto"/>
              </a:rPr>
              <a:t>acciones</a:t>
            </a:r>
            <a:r>
              <a:rPr sz="4050" b="1" spc="-90" dirty="0">
                <a:solidFill>
                  <a:srgbClr val="E3112B"/>
                </a:solidFill>
                <a:latin typeface="Roboto"/>
                <a:cs typeface="Roboto"/>
              </a:rPr>
              <a:t> </a:t>
            </a:r>
            <a:r>
              <a:rPr sz="4050" b="1" spc="-20" dirty="0">
                <a:solidFill>
                  <a:srgbClr val="E3112B"/>
                </a:solidFill>
                <a:latin typeface="Roboto"/>
                <a:cs typeface="Roboto"/>
              </a:rPr>
              <a:t>MICE</a:t>
            </a:r>
            <a:endParaRPr sz="4050">
              <a:latin typeface="Roboto"/>
              <a:cs typeface="Roboto"/>
            </a:endParaRPr>
          </a:p>
        </p:txBody>
      </p:sp>
      <p:grpSp>
        <p:nvGrpSpPr>
          <p:cNvPr id="15" name="object 15"/>
          <p:cNvGrpSpPr/>
          <p:nvPr/>
        </p:nvGrpSpPr>
        <p:grpSpPr>
          <a:xfrm>
            <a:off x="8132058" y="2480898"/>
            <a:ext cx="1858010" cy="1858010"/>
            <a:chOff x="8132058" y="2480898"/>
            <a:chExt cx="1858010" cy="1858010"/>
          </a:xfrm>
        </p:grpSpPr>
        <p:sp>
          <p:nvSpPr>
            <p:cNvPr id="16" name="object 16"/>
            <p:cNvSpPr/>
            <p:nvPr/>
          </p:nvSpPr>
          <p:spPr>
            <a:xfrm>
              <a:off x="8132058" y="2480898"/>
              <a:ext cx="1858010" cy="1858010"/>
            </a:xfrm>
            <a:custGeom>
              <a:avLst/>
              <a:gdLst/>
              <a:ahLst/>
              <a:cxnLst/>
              <a:rect l="l" t="t" r="r" b="b"/>
              <a:pathLst>
                <a:path w="1858009" h="1858010">
                  <a:moveTo>
                    <a:pt x="928915" y="1857797"/>
                  </a:moveTo>
                  <a:lnTo>
                    <a:pt x="881097" y="1856588"/>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7" y="1585729"/>
                  </a:lnTo>
                  <a:lnTo>
                    <a:pt x="241310" y="1553469"/>
                  </a:lnTo>
                  <a:lnTo>
                    <a:pt x="212115" y="1519764"/>
                  </a:lnTo>
                  <a:lnTo>
                    <a:pt x="184539" y="1484673"/>
                  </a:lnTo>
                  <a:lnTo>
                    <a:pt x="158641" y="1448254"/>
                  </a:lnTo>
                  <a:lnTo>
                    <a:pt x="134479" y="1410566"/>
                  </a:lnTo>
                  <a:lnTo>
                    <a:pt x="112112" y="1371667"/>
                  </a:lnTo>
                  <a:lnTo>
                    <a:pt x="91599" y="1331614"/>
                  </a:lnTo>
                  <a:lnTo>
                    <a:pt x="72997" y="1290468"/>
                  </a:lnTo>
                  <a:lnTo>
                    <a:pt x="56365" y="1248285"/>
                  </a:lnTo>
                  <a:lnTo>
                    <a:pt x="41761" y="1205124"/>
                  </a:lnTo>
                  <a:lnTo>
                    <a:pt x="29243" y="1161045"/>
                  </a:lnTo>
                  <a:lnTo>
                    <a:pt x="18871" y="1116104"/>
                  </a:lnTo>
                  <a:lnTo>
                    <a:pt x="10702" y="1070360"/>
                  </a:lnTo>
                  <a:lnTo>
                    <a:pt x="4795" y="1023873"/>
                  </a:lnTo>
                  <a:lnTo>
                    <a:pt x="1208" y="976699"/>
                  </a:lnTo>
                  <a:lnTo>
                    <a:pt x="0" y="928890"/>
                  </a:lnTo>
                  <a:lnTo>
                    <a:pt x="1208" y="881097"/>
                  </a:lnTo>
                  <a:lnTo>
                    <a:pt x="4795" y="833924"/>
                  </a:lnTo>
                  <a:lnTo>
                    <a:pt x="10702" y="787436"/>
                  </a:lnTo>
                  <a:lnTo>
                    <a:pt x="18871" y="741693"/>
                  </a:lnTo>
                  <a:lnTo>
                    <a:pt x="29243" y="696752"/>
                  </a:lnTo>
                  <a:lnTo>
                    <a:pt x="41761" y="652672"/>
                  </a:lnTo>
                  <a:lnTo>
                    <a:pt x="56365" y="609512"/>
                  </a:lnTo>
                  <a:lnTo>
                    <a:pt x="72997" y="567329"/>
                  </a:lnTo>
                  <a:lnTo>
                    <a:pt x="91599" y="526182"/>
                  </a:lnTo>
                  <a:lnTo>
                    <a:pt x="112112" y="486130"/>
                  </a:lnTo>
                  <a:lnTo>
                    <a:pt x="134479" y="447230"/>
                  </a:lnTo>
                  <a:lnTo>
                    <a:pt x="158641" y="409542"/>
                  </a:lnTo>
                  <a:lnTo>
                    <a:pt x="184539" y="373123"/>
                  </a:lnTo>
                  <a:lnTo>
                    <a:pt x="212115" y="338032"/>
                  </a:lnTo>
                  <a:lnTo>
                    <a:pt x="241310" y="304328"/>
                  </a:lnTo>
                  <a:lnTo>
                    <a:pt x="272067"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2" y="4795"/>
                  </a:lnTo>
                  <a:lnTo>
                    <a:pt x="1070360" y="10703"/>
                  </a:lnTo>
                  <a:lnTo>
                    <a:pt x="1116103" y="18871"/>
                  </a:lnTo>
                  <a:lnTo>
                    <a:pt x="1161044" y="29244"/>
                  </a:lnTo>
                  <a:lnTo>
                    <a:pt x="1205124" y="41761"/>
                  </a:lnTo>
                  <a:lnTo>
                    <a:pt x="1248285" y="56365"/>
                  </a:lnTo>
                  <a:lnTo>
                    <a:pt x="1290467" y="72997"/>
                  </a:lnTo>
                  <a:lnTo>
                    <a:pt x="1331614" y="91599"/>
                  </a:lnTo>
                  <a:lnTo>
                    <a:pt x="1371666" y="112113"/>
                  </a:lnTo>
                  <a:lnTo>
                    <a:pt x="1410566" y="134479"/>
                  </a:lnTo>
                  <a:lnTo>
                    <a:pt x="1448254" y="158641"/>
                  </a:lnTo>
                  <a:lnTo>
                    <a:pt x="1484673" y="184539"/>
                  </a:lnTo>
                  <a:lnTo>
                    <a:pt x="1519764" y="212115"/>
                  </a:lnTo>
                  <a:lnTo>
                    <a:pt x="1553469" y="241311"/>
                  </a:lnTo>
                  <a:lnTo>
                    <a:pt x="1585729" y="272068"/>
                  </a:lnTo>
                  <a:lnTo>
                    <a:pt x="1616486" y="304328"/>
                  </a:lnTo>
                  <a:lnTo>
                    <a:pt x="1645682" y="338032"/>
                  </a:lnTo>
                  <a:lnTo>
                    <a:pt x="1673258" y="373123"/>
                  </a:lnTo>
                  <a:lnTo>
                    <a:pt x="1699156" y="409542"/>
                  </a:lnTo>
                  <a:lnTo>
                    <a:pt x="1723317" y="447230"/>
                  </a:lnTo>
                  <a:lnTo>
                    <a:pt x="1745684" y="486130"/>
                  </a:lnTo>
                  <a:lnTo>
                    <a:pt x="1766197" y="526182"/>
                  </a:lnTo>
                  <a:lnTo>
                    <a:pt x="1784800" y="567329"/>
                  </a:lnTo>
                  <a:lnTo>
                    <a:pt x="1801432" y="609512"/>
                  </a:lnTo>
                  <a:lnTo>
                    <a:pt x="1816036" y="652672"/>
                  </a:lnTo>
                  <a:lnTo>
                    <a:pt x="1828553" y="696752"/>
                  </a:lnTo>
                  <a:lnTo>
                    <a:pt x="1838925" y="741693"/>
                  </a:lnTo>
                  <a:lnTo>
                    <a:pt x="1847094" y="787436"/>
                  </a:lnTo>
                  <a:lnTo>
                    <a:pt x="1853001" y="833924"/>
                  </a:lnTo>
                  <a:lnTo>
                    <a:pt x="1856588" y="881097"/>
                  </a:lnTo>
                  <a:lnTo>
                    <a:pt x="1857797" y="928898"/>
                  </a:lnTo>
                  <a:lnTo>
                    <a:pt x="1856588" y="976699"/>
                  </a:lnTo>
                  <a:lnTo>
                    <a:pt x="1853001" y="1023873"/>
                  </a:lnTo>
                  <a:lnTo>
                    <a:pt x="1847094" y="1070360"/>
                  </a:lnTo>
                  <a:lnTo>
                    <a:pt x="1838925" y="1116104"/>
                  </a:lnTo>
                  <a:lnTo>
                    <a:pt x="1828553" y="1161045"/>
                  </a:lnTo>
                  <a:lnTo>
                    <a:pt x="1816036" y="1205124"/>
                  </a:lnTo>
                  <a:lnTo>
                    <a:pt x="1801432" y="1248285"/>
                  </a:lnTo>
                  <a:lnTo>
                    <a:pt x="1784800" y="1290468"/>
                  </a:lnTo>
                  <a:lnTo>
                    <a:pt x="1766197" y="1331614"/>
                  </a:lnTo>
                  <a:lnTo>
                    <a:pt x="1745684" y="1371667"/>
                  </a:lnTo>
                  <a:lnTo>
                    <a:pt x="1723317" y="1410566"/>
                  </a:lnTo>
                  <a:lnTo>
                    <a:pt x="1699156" y="1448254"/>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6" y="1745684"/>
                  </a:lnTo>
                  <a:lnTo>
                    <a:pt x="1331614" y="1766198"/>
                  </a:lnTo>
                  <a:lnTo>
                    <a:pt x="1290467" y="1784800"/>
                  </a:lnTo>
                  <a:lnTo>
                    <a:pt x="1248285" y="1801432"/>
                  </a:lnTo>
                  <a:lnTo>
                    <a:pt x="1205124" y="1816036"/>
                  </a:lnTo>
                  <a:lnTo>
                    <a:pt x="1161044" y="1828553"/>
                  </a:lnTo>
                  <a:lnTo>
                    <a:pt x="1116103" y="1838925"/>
                  </a:lnTo>
                  <a:lnTo>
                    <a:pt x="1070360" y="1847094"/>
                  </a:lnTo>
                  <a:lnTo>
                    <a:pt x="1023872" y="1853001"/>
                  </a:lnTo>
                  <a:lnTo>
                    <a:pt x="976699" y="1856588"/>
                  </a:lnTo>
                  <a:lnTo>
                    <a:pt x="928915" y="1857797"/>
                  </a:lnTo>
                  <a:close/>
                </a:path>
              </a:pathLst>
            </a:custGeom>
            <a:solidFill>
              <a:srgbClr val="21408B"/>
            </a:solidFill>
          </p:spPr>
          <p:txBody>
            <a:bodyPr wrap="square" lIns="0" tIns="0" rIns="0" bIns="0" rtlCol="0"/>
            <a:lstStyle/>
            <a:p>
              <a:endParaRPr/>
            </a:p>
          </p:txBody>
        </p:sp>
        <p:sp>
          <p:nvSpPr>
            <p:cNvPr id="17" name="object 17"/>
            <p:cNvSpPr/>
            <p:nvPr/>
          </p:nvSpPr>
          <p:spPr>
            <a:xfrm>
              <a:off x="8500173" y="2851111"/>
              <a:ext cx="1115060" cy="1109980"/>
            </a:xfrm>
            <a:custGeom>
              <a:avLst/>
              <a:gdLst/>
              <a:ahLst/>
              <a:cxnLst/>
              <a:rect l="l" t="t" r="r" b="b"/>
              <a:pathLst>
                <a:path w="1115059" h="1109979">
                  <a:moveTo>
                    <a:pt x="712558" y="1074940"/>
                  </a:moveTo>
                  <a:lnTo>
                    <a:pt x="701903" y="1028255"/>
                  </a:lnTo>
                  <a:lnTo>
                    <a:pt x="677570" y="983157"/>
                  </a:lnTo>
                  <a:lnTo>
                    <a:pt x="642912" y="943559"/>
                  </a:lnTo>
                  <a:lnTo>
                    <a:pt x="601243" y="913345"/>
                  </a:lnTo>
                  <a:lnTo>
                    <a:pt x="555929" y="896429"/>
                  </a:lnTo>
                  <a:lnTo>
                    <a:pt x="544410" y="910094"/>
                  </a:lnTo>
                  <a:lnTo>
                    <a:pt x="533120" y="911860"/>
                  </a:lnTo>
                  <a:lnTo>
                    <a:pt x="521982" y="905700"/>
                  </a:lnTo>
                  <a:lnTo>
                    <a:pt x="510921" y="895553"/>
                  </a:lnTo>
                  <a:lnTo>
                    <a:pt x="467766" y="915936"/>
                  </a:lnTo>
                  <a:lnTo>
                    <a:pt x="430022" y="941705"/>
                  </a:lnTo>
                  <a:lnTo>
                    <a:pt x="398487" y="973810"/>
                  </a:lnTo>
                  <a:lnTo>
                    <a:pt x="373964" y="1013231"/>
                  </a:lnTo>
                  <a:lnTo>
                    <a:pt x="357225" y="1060907"/>
                  </a:lnTo>
                  <a:lnTo>
                    <a:pt x="338201" y="1005840"/>
                  </a:lnTo>
                  <a:lnTo>
                    <a:pt x="307708" y="962215"/>
                  </a:lnTo>
                  <a:lnTo>
                    <a:pt x="267703" y="928281"/>
                  </a:lnTo>
                  <a:lnTo>
                    <a:pt x="220167" y="902284"/>
                  </a:lnTo>
                  <a:lnTo>
                    <a:pt x="203060" y="899896"/>
                  </a:lnTo>
                  <a:lnTo>
                    <a:pt x="184226" y="902677"/>
                  </a:lnTo>
                  <a:lnTo>
                    <a:pt x="164795" y="904240"/>
                  </a:lnTo>
                  <a:lnTo>
                    <a:pt x="105549" y="917079"/>
                  </a:lnTo>
                  <a:lnTo>
                    <a:pt x="68148" y="947572"/>
                  </a:lnTo>
                  <a:lnTo>
                    <a:pt x="36677" y="985977"/>
                  </a:lnTo>
                  <a:lnTo>
                    <a:pt x="14122" y="1028649"/>
                  </a:lnTo>
                  <a:lnTo>
                    <a:pt x="3479" y="1071968"/>
                  </a:lnTo>
                  <a:lnTo>
                    <a:pt x="2781" y="1080020"/>
                  </a:lnTo>
                  <a:lnTo>
                    <a:pt x="0" y="1093101"/>
                  </a:lnTo>
                  <a:lnTo>
                    <a:pt x="8496" y="1094359"/>
                  </a:lnTo>
                  <a:lnTo>
                    <a:pt x="23710" y="1096162"/>
                  </a:lnTo>
                  <a:lnTo>
                    <a:pt x="39103" y="1097013"/>
                  </a:lnTo>
                  <a:lnTo>
                    <a:pt x="54444" y="1096645"/>
                  </a:lnTo>
                  <a:lnTo>
                    <a:pt x="69494" y="1094790"/>
                  </a:lnTo>
                  <a:lnTo>
                    <a:pt x="74650" y="1091006"/>
                  </a:lnTo>
                  <a:lnTo>
                    <a:pt x="75514" y="1083881"/>
                  </a:lnTo>
                  <a:lnTo>
                    <a:pt x="74764" y="1075359"/>
                  </a:lnTo>
                  <a:lnTo>
                    <a:pt x="75120" y="1067384"/>
                  </a:lnTo>
                  <a:lnTo>
                    <a:pt x="76581" y="1060894"/>
                  </a:lnTo>
                  <a:lnTo>
                    <a:pt x="78422" y="1054227"/>
                  </a:lnTo>
                  <a:lnTo>
                    <a:pt x="81699" y="1047457"/>
                  </a:lnTo>
                  <a:lnTo>
                    <a:pt x="87439" y="1040625"/>
                  </a:lnTo>
                  <a:lnTo>
                    <a:pt x="87782" y="1066444"/>
                  </a:lnTo>
                  <a:lnTo>
                    <a:pt x="87210" y="1073988"/>
                  </a:lnTo>
                  <a:lnTo>
                    <a:pt x="87388" y="1085786"/>
                  </a:lnTo>
                  <a:lnTo>
                    <a:pt x="91516" y="1092974"/>
                  </a:lnTo>
                  <a:lnTo>
                    <a:pt x="99453" y="1096327"/>
                  </a:lnTo>
                  <a:lnTo>
                    <a:pt x="111048" y="1096657"/>
                  </a:lnTo>
                  <a:lnTo>
                    <a:pt x="126796" y="1095984"/>
                  </a:lnTo>
                  <a:lnTo>
                    <a:pt x="142773" y="1095946"/>
                  </a:lnTo>
                  <a:lnTo>
                    <a:pt x="176072" y="1096314"/>
                  </a:lnTo>
                  <a:lnTo>
                    <a:pt x="161810" y="1058125"/>
                  </a:lnTo>
                  <a:lnTo>
                    <a:pt x="164160" y="1020991"/>
                  </a:lnTo>
                  <a:lnTo>
                    <a:pt x="173431" y="984427"/>
                  </a:lnTo>
                  <a:lnTo>
                    <a:pt x="179882" y="947928"/>
                  </a:lnTo>
                  <a:lnTo>
                    <a:pt x="187718" y="984008"/>
                  </a:lnTo>
                  <a:lnTo>
                    <a:pt x="197053" y="1019949"/>
                  </a:lnTo>
                  <a:lnTo>
                    <a:pt x="199669" y="1056284"/>
                  </a:lnTo>
                  <a:lnTo>
                    <a:pt x="187401" y="1093597"/>
                  </a:lnTo>
                  <a:lnTo>
                    <a:pt x="232625" y="1098765"/>
                  </a:lnTo>
                  <a:lnTo>
                    <a:pt x="257340" y="1094740"/>
                  </a:lnTo>
                  <a:lnTo>
                    <a:pt x="269176" y="1076934"/>
                  </a:lnTo>
                  <a:lnTo>
                    <a:pt x="275793" y="1040765"/>
                  </a:lnTo>
                  <a:lnTo>
                    <a:pt x="281266" y="1050429"/>
                  </a:lnTo>
                  <a:lnTo>
                    <a:pt x="284937" y="1059815"/>
                  </a:lnTo>
                  <a:lnTo>
                    <a:pt x="286791" y="1069098"/>
                  </a:lnTo>
                  <a:lnTo>
                    <a:pt x="286842" y="1078407"/>
                  </a:lnTo>
                  <a:lnTo>
                    <a:pt x="287197" y="1087704"/>
                  </a:lnTo>
                  <a:lnTo>
                    <a:pt x="290398" y="1093355"/>
                  </a:lnTo>
                  <a:lnTo>
                    <a:pt x="296532" y="1096086"/>
                  </a:lnTo>
                  <a:lnTo>
                    <a:pt x="305701" y="1096645"/>
                  </a:lnTo>
                  <a:lnTo>
                    <a:pt x="331533" y="1096111"/>
                  </a:lnTo>
                  <a:lnTo>
                    <a:pt x="357378" y="1095971"/>
                  </a:lnTo>
                  <a:lnTo>
                    <a:pt x="409054" y="1096581"/>
                  </a:lnTo>
                  <a:lnTo>
                    <a:pt x="417766" y="1096187"/>
                  </a:lnTo>
                  <a:lnTo>
                    <a:pt x="423926" y="1093851"/>
                  </a:lnTo>
                  <a:lnTo>
                    <a:pt x="427621" y="1088491"/>
                  </a:lnTo>
                  <a:lnTo>
                    <a:pt x="428967" y="1078992"/>
                  </a:lnTo>
                  <a:lnTo>
                    <a:pt x="429056" y="1069555"/>
                  </a:lnTo>
                  <a:lnTo>
                    <a:pt x="430212" y="1059649"/>
                  </a:lnTo>
                  <a:lnTo>
                    <a:pt x="434251" y="1050175"/>
                  </a:lnTo>
                  <a:lnTo>
                    <a:pt x="443014" y="1042060"/>
                  </a:lnTo>
                  <a:lnTo>
                    <a:pt x="443026" y="1096683"/>
                  </a:lnTo>
                  <a:lnTo>
                    <a:pt x="452691" y="1096264"/>
                  </a:lnTo>
                  <a:lnTo>
                    <a:pt x="471716" y="1096137"/>
                  </a:lnTo>
                  <a:lnTo>
                    <a:pt x="490677" y="1096594"/>
                  </a:lnTo>
                  <a:lnTo>
                    <a:pt x="509409" y="1096403"/>
                  </a:lnTo>
                  <a:lnTo>
                    <a:pt x="527723" y="1094282"/>
                  </a:lnTo>
                  <a:lnTo>
                    <a:pt x="516788" y="1052131"/>
                  </a:lnTo>
                  <a:lnTo>
                    <a:pt x="519976" y="1011453"/>
                  </a:lnTo>
                  <a:lnTo>
                    <a:pt x="528764" y="971524"/>
                  </a:lnTo>
                  <a:lnTo>
                    <a:pt x="534593" y="931697"/>
                  </a:lnTo>
                  <a:lnTo>
                    <a:pt x="537845" y="940650"/>
                  </a:lnTo>
                  <a:lnTo>
                    <a:pt x="540499" y="949566"/>
                  </a:lnTo>
                  <a:lnTo>
                    <a:pt x="542277" y="958443"/>
                  </a:lnTo>
                  <a:lnTo>
                    <a:pt x="542925" y="967320"/>
                  </a:lnTo>
                  <a:lnTo>
                    <a:pt x="547103" y="999312"/>
                  </a:lnTo>
                  <a:lnTo>
                    <a:pt x="553707" y="1031481"/>
                  </a:lnTo>
                  <a:lnTo>
                    <a:pt x="553580" y="1063815"/>
                  </a:lnTo>
                  <a:lnTo>
                    <a:pt x="537565" y="1096340"/>
                  </a:lnTo>
                  <a:lnTo>
                    <a:pt x="571563" y="1096340"/>
                  </a:lnTo>
                  <a:lnTo>
                    <a:pt x="603440" y="1095514"/>
                  </a:lnTo>
                  <a:lnTo>
                    <a:pt x="620128" y="1089761"/>
                  </a:lnTo>
                  <a:lnTo>
                    <a:pt x="627087" y="1074115"/>
                  </a:lnTo>
                  <a:lnTo>
                    <a:pt x="629767" y="1043647"/>
                  </a:lnTo>
                  <a:lnTo>
                    <a:pt x="635088" y="1048931"/>
                  </a:lnTo>
                  <a:lnTo>
                    <a:pt x="638390" y="1054989"/>
                  </a:lnTo>
                  <a:lnTo>
                    <a:pt x="639838" y="1061516"/>
                  </a:lnTo>
                  <a:lnTo>
                    <a:pt x="639572" y="1068158"/>
                  </a:lnTo>
                  <a:lnTo>
                    <a:pt x="639584" y="1084427"/>
                  </a:lnTo>
                  <a:lnTo>
                    <a:pt x="645617" y="1093546"/>
                  </a:lnTo>
                  <a:lnTo>
                    <a:pt x="656577" y="1097064"/>
                  </a:lnTo>
                  <a:lnTo>
                    <a:pt x="671372" y="1096505"/>
                  </a:lnTo>
                  <a:lnTo>
                    <a:pt x="677799" y="1095667"/>
                  </a:lnTo>
                  <a:lnTo>
                    <a:pt x="684491" y="1095641"/>
                  </a:lnTo>
                  <a:lnTo>
                    <a:pt x="690905" y="1096505"/>
                  </a:lnTo>
                  <a:lnTo>
                    <a:pt x="701700" y="1096594"/>
                  </a:lnTo>
                  <a:lnTo>
                    <a:pt x="708571" y="1093152"/>
                  </a:lnTo>
                  <a:lnTo>
                    <a:pt x="712025" y="1085989"/>
                  </a:lnTo>
                  <a:lnTo>
                    <a:pt x="712558" y="1074940"/>
                  </a:lnTo>
                  <a:close/>
                </a:path>
                <a:path w="1115059" h="1109979">
                  <a:moveTo>
                    <a:pt x="1114513" y="494893"/>
                  </a:moveTo>
                  <a:lnTo>
                    <a:pt x="1111897" y="443407"/>
                  </a:lnTo>
                  <a:lnTo>
                    <a:pt x="1096276" y="390410"/>
                  </a:lnTo>
                  <a:lnTo>
                    <a:pt x="1070203" y="346138"/>
                  </a:lnTo>
                  <a:lnTo>
                    <a:pt x="1035545" y="309016"/>
                  </a:lnTo>
                  <a:lnTo>
                    <a:pt x="1025880" y="301663"/>
                  </a:lnTo>
                  <a:lnTo>
                    <a:pt x="1025880" y="480161"/>
                  </a:lnTo>
                  <a:lnTo>
                    <a:pt x="1021473" y="507936"/>
                  </a:lnTo>
                  <a:lnTo>
                    <a:pt x="1011174" y="535139"/>
                  </a:lnTo>
                  <a:lnTo>
                    <a:pt x="1011174" y="493560"/>
                  </a:lnTo>
                  <a:lnTo>
                    <a:pt x="1011174" y="420395"/>
                  </a:lnTo>
                  <a:lnTo>
                    <a:pt x="1022934" y="451192"/>
                  </a:lnTo>
                  <a:lnTo>
                    <a:pt x="1025880" y="480161"/>
                  </a:lnTo>
                  <a:lnTo>
                    <a:pt x="1025880" y="301663"/>
                  </a:lnTo>
                  <a:lnTo>
                    <a:pt x="1002639" y="283959"/>
                  </a:lnTo>
                  <a:lnTo>
                    <a:pt x="994168" y="277520"/>
                  </a:lnTo>
                  <a:lnTo>
                    <a:pt x="978039" y="267944"/>
                  </a:lnTo>
                  <a:lnTo>
                    <a:pt x="974115" y="265607"/>
                  </a:lnTo>
                  <a:lnTo>
                    <a:pt x="947966" y="250088"/>
                  </a:lnTo>
                  <a:lnTo>
                    <a:pt x="936180" y="244830"/>
                  </a:lnTo>
                  <a:lnTo>
                    <a:pt x="925106" y="243128"/>
                  </a:lnTo>
                  <a:lnTo>
                    <a:pt x="919657" y="244932"/>
                  </a:lnTo>
                  <a:lnTo>
                    <a:pt x="919657" y="447903"/>
                  </a:lnTo>
                  <a:lnTo>
                    <a:pt x="915111" y="464781"/>
                  </a:lnTo>
                  <a:lnTo>
                    <a:pt x="906145" y="479742"/>
                  </a:lnTo>
                  <a:lnTo>
                    <a:pt x="893876" y="493560"/>
                  </a:lnTo>
                  <a:lnTo>
                    <a:pt x="880046" y="478967"/>
                  </a:lnTo>
                  <a:lnTo>
                    <a:pt x="871093" y="462826"/>
                  </a:lnTo>
                  <a:lnTo>
                    <a:pt x="867371" y="444538"/>
                  </a:lnTo>
                  <a:lnTo>
                    <a:pt x="869226" y="423532"/>
                  </a:lnTo>
                  <a:lnTo>
                    <a:pt x="875766" y="389077"/>
                  </a:lnTo>
                  <a:lnTo>
                    <a:pt x="880999" y="356095"/>
                  </a:lnTo>
                  <a:lnTo>
                    <a:pt x="881202" y="354888"/>
                  </a:lnTo>
                  <a:lnTo>
                    <a:pt x="883069" y="342074"/>
                  </a:lnTo>
                  <a:lnTo>
                    <a:pt x="886053" y="321513"/>
                  </a:lnTo>
                  <a:lnTo>
                    <a:pt x="891489" y="284886"/>
                  </a:lnTo>
                  <a:lnTo>
                    <a:pt x="895451" y="283959"/>
                  </a:lnTo>
                  <a:lnTo>
                    <a:pt x="900887" y="319620"/>
                  </a:lnTo>
                  <a:lnTo>
                    <a:pt x="905802" y="352475"/>
                  </a:lnTo>
                  <a:lnTo>
                    <a:pt x="912126" y="392353"/>
                  </a:lnTo>
                  <a:lnTo>
                    <a:pt x="918641" y="428294"/>
                  </a:lnTo>
                  <a:lnTo>
                    <a:pt x="919657" y="447903"/>
                  </a:lnTo>
                  <a:lnTo>
                    <a:pt x="919657" y="244932"/>
                  </a:lnTo>
                  <a:lnTo>
                    <a:pt x="914806" y="246519"/>
                  </a:lnTo>
                  <a:lnTo>
                    <a:pt x="905383" y="256514"/>
                  </a:lnTo>
                  <a:lnTo>
                    <a:pt x="899985" y="262940"/>
                  </a:lnTo>
                  <a:lnTo>
                    <a:pt x="894283" y="265607"/>
                  </a:lnTo>
                  <a:lnTo>
                    <a:pt x="888403" y="263918"/>
                  </a:lnTo>
                  <a:lnTo>
                    <a:pt x="882459" y="257251"/>
                  </a:lnTo>
                  <a:lnTo>
                    <a:pt x="872705" y="246532"/>
                  </a:lnTo>
                  <a:lnTo>
                    <a:pt x="861961" y="242722"/>
                  </a:lnTo>
                  <a:lnTo>
                    <a:pt x="850303" y="244449"/>
                  </a:lnTo>
                  <a:lnTo>
                    <a:pt x="837819" y="250393"/>
                  </a:lnTo>
                  <a:lnTo>
                    <a:pt x="831126" y="254025"/>
                  </a:lnTo>
                  <a:lnTo>
                    <a:pt x="824230" y="257238"/>
                  </a:lnTo>
                  <a:lnTo>
                    <a:pt x="817130" y="260210"/>
                  </a:lnTo>
                  <a:lnTo>
                    <a:pt x="810018" y="263017"/>
                  </a:lnTo>
                  <a:lnTo>
                    <a:pt x="771969" y="267944"/>
                  </a:lnTo>
                  <a:lnTo>
                    <a:pt x="737793" y="255371"/>
                  </a:lnTo>
                  <a:lnTo>
                    <a:pt x="713155" y="229057"/>
                  </a:lnTo>
                  <a:lnTo>
                    <a:pt x="703681" y="192760"/>
                  </a:lnTo>
                  <a:lnTo>
                    <a:pt x="703491" y="168275"/>
                  </a:lnTo>
                  <a:lnTo>
                    <a:pt x="703224" y="144297"/>
                  </a:lnTo>
                  <a:lnTo>
                    <a:pt x="703199" y="111391"/>
                  </a:lnTo>
                  <a:lnTo>
                    <a:pt x="704088" y="84328"/>
                  </a:lnTo>
                  <a:lnTo>
                    <a:pt x="702729" y="57010"/>
                  </a:lnTo>
                  <a:lnTo>
                    <a:pt x="698322" y="43853"/>
                  </a:lnTo>
                  <a:lnTo>
                    <a:pt x="698169" y="43408"/>
                  </a:lnTo>
                  <a:lnTo>
                    <a:pt x="694931" y="33718"/>
                  </a:lnTo>
                  <a:lnTo>
                    <a:pt x="679856" y="14643"/>
                  </a:lnTo>
                  <a:lnTo>
                    <a:pt x="662305" y="3568"/>
                  </a:lnTo>
                  <a:lnTo>
                    <a:pt x="662305" y="333159"/>
                  </a:lnTo>
                  <a:lnTo>
                    <a:pt x="661987" y="373875"/>
                  </a:lnTo>
                  <a:lnTo>
                    <a:pt x="661911" y="392353"/>
                  </a:lnTo>
                  <a:lnTo>
                    <a:pt x="661873" y="564095"/>
                  </a:lnTo>
                  <a:lnTo>
                    <a:pt x="660476" y="583171"/>
                  </a:lnTo>
                  <a:lnTo>
                    <a:pt x="655040" y="594461"/>
                  </a:lnTo>
                  <a:lnTo>
                    <a:pt x="643648" y="599859"/>
                  </a:lnTo>
                  <a:lnTo>
                    <a:pt x="624357" y="601230"/>
                  </a:lnTo>
                  <a:lnTo>
                    <a:pt x="451624" y="601294"/>
                  </a:lnTo>
                  <a:lnTo>
                    <a:pt x="90627" y="601230"/>
                  </a:lnTo>
                  <a:lnTo>
                    <a:pt x="54876" y="582599"/>
                  </a:lnTo>
                  <a:lnTo>
                    <a:pt x="53378" y="263918"/>
                  </a:lnTo>
                  <a:lnTo>
                    <a:pt x="53251" y="156286"/>
                  </a:lnTo>
                  <a:lnTo>
                    <a:pt x="53022" y="79451"/>
                  </a:lnTo>
                  <a:lnTo>
                    <a:pt x="71970" y="45351"/>
                  </a:lnTo>
                  <a:lnTo>
                    <a:pt x="88976" y="43408"/>
                  </a:lnTo>
                  <a:lnTo>
                    <a:pt x="332841" y="43903"/>
                  </a:lnTo>
                  <a:lnTo>
                    <a:pt x="527939" y="43853"/>
                  </a:lnTo>
                  <a:lnTo>
                    <a:pt x="625487" y="43878"/>
                  </a:lnTo>
                  <a:lnTo>
                    <a:pt x="660819" y="61125"/>
                  </a:lnTo>
                  <a:lnTo>
                    <a:pt x="661949" y="96939"/>
                  </a:lnTo>
                  <a:lnTo>
                    <a:pt x="661949" y="166687"/>
                  </a:lnTo>
                  <a:lnTo>
                    <a:pt x="656005" y="168275"/>
                  </a:lnTo>
                  <a:lnTo>
                    <a:pt x="649211" y="156286"/>
                  </a:lnTo>
                  <a:lnTo>
                    <a:pt x="642454" y="144297"/>
                  </a:lnTo>
                  <a:lnTo>
                    <a:pt x="635609" y="132359"/>
                  </a:lnTo>
                  <a:lnTo>
                    <a:pt x="628548" y="120561"/>
                  </a:lnTo>
                  <a:lnTo>
                    <a:pt x="615746" y="105422"/>
                  </a:lnTo>
                  <a:lnTo>
                    <a:pt x="600608" y="96939"/>
                  </a:lnTo>
                  <a:lnTo>
                    <a:pt x="583996" y="95288"/>
                  </a:lnTo>
                  <a:lnTo>
                    <a:pt x="566712" y="100647"/>
                  </a:lnTo>
                  <a:lnTo>
                    <a:pt x="553072" y="111531"/>
                  </a:lnTo>
                  <a:lnTo>
                    <a:pt x="545503" y="126365"/>
                  </a:lnTo>
                  <a:lnTo>
                    <a:pt x="544537" y="143929"/>
                  </a:lnTo>
                  <a:lnTo>
                    <a:pt x="550722" y="162991"/>
                  </a:lnTo>
                  <a:lnTo>
                    <a:pt x="570280" y="198297"/>
                  </a:lnTo>
                  <a:lnTo>
                    <a:pt x="592289" y="231889"/>
                  </a:lnTo>
                  <a:lnTo>
                    <a:pt x="617156" y="263398"/>
                  </a:lnTo>
                  <a:lnTo>
                    <a:pt x="645312" y="292417"/>
                  </a:lnTo>
                  <a:lnTo>
                    <a:pt x="653364" y="301371"/>
                  </a:lnTo>
                  <a:lnTo>
                    <a:pt x="658660" y="310832"/>
                  </a:lnTo>
                  <a:lnTo>
                    <a:pt x="661517" y="321284"/>
                  </a:lnTo>
                  <a:lnTo>
                    <a:pt x="662305" y="333159"/>
                  </a:lnTo>
                  <a:lnTo>
                    <a:pt x="662305" y="3568"/>
                  </a:lnTo>
                  <a:lnTo>
                    <a:pt x="656666" y="0"/>
                  </a:lnTo>
                  <a:lnTo>
                    <a:pt x="58039" y="0"/>
                  </a:lnTo>
                  <a:lnTo>
                    <a:pt x="35648" y="15036"/>
                  </a:lnTo>
                  <a:lnTo>
                    <a:pt x="21285" y="34150"/>
                  </a:lnTo>
                  <a:lnTo>
                    <a:pt x="13703" y="57404"/>
                  </a:lnTo>
                  <a:lnTo>
                    <a:pt x="11722" y="84328"/>
                  </a:lnTo>
                  <a:lnTo>
                    <a:pt x="11836" y="100647"/>
                  </a:lnTo>
                  <a:lnTo>
                    <a:pt x="12242" y="144297"/>
                  </a:lnTo>
                  <a:lnTo>
                    <a:pt x="12560" y="198297"/>
                  </a:lnTo>
                  <a:lnTo>
                    <a:pt x="12674" y="231889"/>
                  </a:lnTo>
                  <a:lnTo>
                    <a:pt x="12560" y="482714"/>
                  </a:lnTo>
                  <a:lnTo>
                    <a:pt x="12496" y="566547"/>
                  </a:lnTo>
                  <a:lnTo>
                    <a:pt x="16510" y="601637"/>
                  </a:lnTo>
                  <a:lnTo>
                    <a:pt x="29502" y="625005"/>
                  </a:lnTo>
                  <a:lnTo>
                    <a:pt x="52870" y="638035"/>
                  </a:lnTo>
                  <a:lnTo>
                    <a:pt x="88087" y="642086"/>
                  </a:lnTo>
                  <a:lnTo>
                    <a:pt x="333400" y="642226"/>
                  </a:lnTo>
                  <a:lnTo>
                    <a:pt x="627773" y="642086"/>
                  </a:lnTo>
                  <a:lnTo>
                    <a:pt x="662559" y="637933"/>
                  </a:lnTo>
                  <a:lnTo>
                    <a:pt x="685939" y="624713"/>
                  </a:lnTo>
                  <a:lnTo>
                    <a:pt x="699096" y="601319"/>
                  </a:lnTo>
                  <a:lnTo>
                    <a:pt x="699198" y="601154"/>
                  </a:lnTo>
                  <a:lnTo>
                    <a:pt x="703567" y="565988"/>
                  </a:lnTo>
                  <a:lnTo>
                    <a:pt x="703668" y="543890"/>
                  </a:lnTo>
                  <a:lnTo>
                    <a:pt x="703757" y="389077"/>
                  </a:lnTo>
                  <a:lnTo>
                    <a:pt x="703021" y="377786"/>
                  </a:lnTo>
                  <a:lnTo>
                    <a:pt x="701878" y="364756"/>
                  </a:lnTo>
                  <a:lnTo>
                    <a:pt x="702678" y="352793"/>
                  </a:lnTo>
                  <a:lnTo>
                    <a:pt x="707682" y="343141"/>
                  </a:lnTo>
                  <a:lnTo>
                    <a:pt x="714451" y="342074"/>
                  </a:lnTo>
                  <a:lnTo>
                    <a:pt x="725462" y="345109"/>
                  </a:lnTo>
                  <a:lnTo>
                    <a:pt x="738289" y="349910"/>
                  </a:lnTo>
                  <a:lnTo>
                    <a:pt x="750531" y="354126"/>
                  </a:lnTo>
                  <a:lnTo>
                    <a:pt x="753186" y="354888"/>
                  </a:lnTo>
                  <a:lnTo>
                    <a:pt x="755992" y="356362"/>
                  </a:lnTo>
                  <a:lnTo>
                    <a:pt x="758571" y="356095"/>
                  </a:lnTo>
                  <a:lnTo>
                    <a:pt x="776325" y="420395"/>
                  </a:lnTo>
                  <a:lnTo>
                    <a:pt x="776909" y="482714"/>
                  </a:lnTo>
                  <a:lnTo>
                    <a:pt x="777595" y="537146"/>
                  </a:lnTo>
                  <a:lnTo>
                    <a:pt x="778687" y="590664"/>
                  </a:lnTo>
                  <a:lnTo>
                    <a:pt x="782091" y="696455"/>
                  </a:lnTo>
                  <a:lnTo>
                    <a:pt x="782942" y="746887"/>
                  </a:lnTo>
                  <a:lnTo>
                    <a:pt x="783234" y="797344"/>
                  </a:lnTo>
                  <a:lnTo>
                    <a:pt x="783120" y="847801"/>
                  </a:lnTo>
                  <a:lnTo>
                    <a:pt x="782777" y="898283"/>
                  </a:lnTo>
                  <a:lnTo>
                    <a:pt x="782383" y="948753"/>
                  </a:lnTo>
                  <a:lnTo>
                    <a:pt x="782091" y="999236"/>
                  </a:lnTo>
                  <a:lnTo>
                    <a:pt x="782091" y="1049693"/>
                  </a:lnTo>
                  <a:lnTo>
                    <a:pt x="785317" y="1074864"/>
                  </a:lnTo>
                  <a:lnTo>
                    <a:pt x="794588" y="1093203"/>
                  </a:lnTo>
                  <a:lnTo>
                    <a:pt x="809586" y="1104747"/>
                  </a:lnTo>
                  <a:lnTo>
                    <a:pt x="830033" y="1109522"/>
                  </a:lnTo>
                  <a:lnTo>
                    <a:pt x="851763" y="1107528"/>
                  </a:lnTo>
                  <a:lnTo>
                    <a:pt x="868400" y="1098461"/>
                  </a:lnTo>
                  <a:lnTo>
                    <a:pt x="880059" y="1082192"/>
                  </a:lnTo>
                  <a:lnTo>
                    <a:pt x="886853" y="1058837"/>
                  </a:lnTo>
                  <a:lnTo>
                    <a:pt x="886968" y="693724"/>
                  </a:lnTo>
                  <a:lnTo>
                    <a:pt x="895337" y="693623"/>
                  </a:lnTo>
                  <a:lnTo>
                    <a:pt x="895337" y="1058837"/>
                  </a:lnTo>
                  <a:lnTo>
                    <a:pt x="899109" y="1077366"/>
                  </a:lnTo>
                  <a:lnTo>
                    <a:pt x="907173" y="1092301"/>
                  </a:lnTo>
                  <a:lnTo>
                    <a:pt x="920051" y="1103007"/>
                  </a:lnTo>
                  <a:lnTo>
                    <a:pt x="938237" y="1108862"/>
                  </a:lnTo>
                  <a:lnTo>
                    <a:pt x="963510" y="1108202"/>
                  </a:lnTo>
                  <a:lnTo>
                    <a:pt x="994778" y="1079144"/>
                  </a:lnTo>
                  <a:lnTo>
                    <a:pt x="999185" y="1004265"/>
                  </a:lnTo>
                  <a:lnTo>
                    <a:pt x="999236" y="956297"/>
                  </a:lnTo>
                  <a:lnTo>
                    <a:pt x="999337" y="693623"/>
                  </a:lnTo>
                  <a:lnTo>
                    <a:pt x="999375" y="668464"/>
                  </a:lnTo>
                  <a:lnTo>
                    <a:pt x="999007" y="662622"/>
                  </a:lnTo>
                  <a:lnTo>
                    <a:pt x="998664" y="656539"/>
                  </a:lnTo>
                  <a:lnTo>
                    <a:pt x="999578" y="650290"/>
                  </a:lnTo>
                  <a:lnTo>
                    <a:pt x="1002944" y="643902"/>
                  </a:lnTo>
                  <a:lnTo>
                    <a:pt x="1020279" y="651141"/>
                  </a:lnTo>
                  <a:lnTo>
                    <a:pt x="1037285" y="653084"/>
                  </a:lnTo>
                  <a:lnTo>
                    <a:pt x="1088783" y="590664"/>
                  </a:lnTo>
                  <a:lnTo>
                    <a:pt x="1106068" y="543890"/>
                  </a:lnTo>
                  <a:lnTo>
                    <a:pt x="1107579" y="535139"/>
                  </a:lnTo>
                  <a:lnTo>
                    <a:pt x="1114513" y="494893"/>
                  </a:lnTo>
                  <a:close/>
                </a:path>
              </a:pathLst>
            </a:custGeom>
            <a:solidFill>
              <a:srgbClr val="FFFFFF"/>
            </a:solidFill>
          </p:spPr>
          <p:txBody>
            <a:bodyPr wrap="square" lIns="0" tIns="0" rIns="0" bIns="0" rtlCol="0"/>
            <a:lstStyle/>
            <a:p>
              <a:endParaRPr/>
            </a:p>
          </p:txBody>
        </p:sp>
        <p:pic>
          <p:nvPicPr>
            <p:cNvPr id="18" name="object 18"/>
            <p:cNvPicPr/>
            <p:nvPr/>
          </p:nvPicPr>
          <p:blipFill>
            <a:blip r:embed="rId2" cstate="print"/>
            <a:stretch>
              <a:fillRect/>
            </a:stretch>
          </p:blipFill>
          <p:spPr>
            <a:xfrm>
              <a:off x="9279626" y="2856406"/>
              <a:ext cx="229089" cy="228051"/>
            </a:xfrm>
            <a:prstGeom prst="rect">
              <a:avLst/>
            </a:prstGeom>
          </p:spPr>
        </p:pic>
        <p:pic>
          <p:nvPicPr>
            <p:cNvPr id="19" name="object 19"/>
            <p:cNvPicPr/>
            <p:nvPr/>
          </p:nvPicPr>
          <p:blipFill>
            <a:blip r:embed="rId3" cstate="print"/>
            <a:stretch>
              <a:fillRect/>
            </a:stretch>
          </p:blipFill>
          <p:spPr>
            <a:xfrm>
              <a:off x="8591025" y="3558886"/>
              <a:ext cx="179808" cy="180120"/>
            </a:xfrm>
            <a:prstGeom prst="rect">
              <a:avLst/>
            </a:prstGeom>
          </p:spPr>
        </p:pic>
        <p:pic>
          <p:nvPicPr>
            <p:cNvPr id="20" name="object 20"/>
            <p:cNvPicPr/>
            <p:nvPr/>
          </p:nvPicPr>
          <p:blipFill>
            <a:blip r:embed="rId4" cstate="print"/>
            <a:stretch>
              <a:fillRect/>
            </a:stretch>
          </p:blipFill>
          <p:spPr>
            <a:xfrm>
              <a:off x="8946121" y="3558796"/>
              <a:ext cx="178235" cy="204160"/>
            </a:xfrm>
            <a:prstGeom prst="rect">
              <a:avLst/>
            </a:prstGeom>
          </p:spPr>
        </p:pic>
        <p:sp>
          <p:nvSpPr>
            <p:cNvPr id="21" name="object 21"/>
            <p:cNvSpPr/>
            <p:nvPr/>
          </p:nvSpPr>
          <p:spPr>
            <a:xfrm>
              <a:off x="8688273" y="3004781"/>
              <a:ext cx="838200" cy="381635"/>
            </a:xfrm>
            <a:custGeom>
              <a:avLst/>
              <a:gdLst/>
              <a:ahLst/>
              <a:cxnLst/>
              <a:rect l="l" t="t" r="r" b="b"/>
              <a:pathLst>
                <a:path w="838200" h="381635">
                  <a:moveTo>
                    <a:pt x="338645" y="205536"/>
                  </a:moveTo>
                  <a:lnTo>
                    <a:pt x="334137" y="196443"/>
                  </a:lnTo>
                  <a:lnTo>
                    <a:pt x="323684" y="188569"/>
                  </a:lnTo>
                  <a:lnTo>
                    <a:pt x="310718" y="177203"/>
                  </a:lnTo>
                  <a:lnTo>
                    <a:pt x="305650" y="162763"/>
                  </a:lnTo>
                  <a:lnTo>
                    <a:pt x="308711" y="148196"/>
                  </a:lnTo>
                  <a:lnTo>
                    <a:pt x="320128" y="136436"/>
                  </a:lnTo>
                  <a:lnTo>
                    <a:pt x="330835" y="127127"/>
                  </a:lnTo>
                  <a:lnTo>
                    <a:pt x="334581" y="116941"/>
                  </a:lnTo>
                  <a:lnTo>
                    <a:pt x="333286" y="105829"/>
                  </a:lnTo>
                  <a:lnTo>
                    <a:pt x="328879" y="93776"/>
                  </a:lnTo>
                  <a:lnTo>
                    <a:pt x="322732" y="82778"/>
                  </a:lnTo>
                  <a:lnTo>
                    <a:pt x="321017" y="81241"/>
                  </a:lnTo>
                  <a:lnTo>
                    <a:pt x="314883" y="75742"/>
                  </a:lnTo>
                  <a:lnTo>
                    <a:pt x="312915" y="75196"/>
                  </a:lnTo>
                  <a:lnTo>
                    <a:pt x="304800" y="72948"/>
                  </a:lnTo>
                  <a:lnTo>
                    <a:pt x="291973" y="74688"/>
                  </a:lnTo>
                  <a:lnTo>
                    <a:pt x="275247" y="75196"/>
                  </a:lnTo>
                  <a:lnTo>
                    <a:pt x="261950" y="67945"/>
                  </a:lnTo>
                  <a:lnTo>
                    <a:pt x="255955" y="57848"/>
                  </a:lnTo>
                  <a:lnTo>
                    <a:pt x="255955" y="168643"/>
                  </a:lnTo>
                  <a:lnTo>
                    <a:pt x="249072" y="202171"/>
                  </a:lnTo>
                  <a:lnTo>
                    <a:pt x="230479" y="229069"/>
                  </a:lnTo>
                  <a:lnTo>
                    <a:pt x="202704" y="246900"/>
                  </a:lnTo>
                  <a:lnTo>
                    <a:pt x="168224" y="253276"/>
                  </a:lnTo>
                  <a:lnTo>
                    <a:pt x="135115" y="246494"/>
                  </a:lnTo>
                  <a:lnTo>
                    <a:pt x="108026" y="228333"/>
                  </a:lnTo>
                  <a:lnTo>
                    <a:pt x="89687" y="201510"/>
                  </a:lnTo>
                  <a:lnTo>
                    <a:pt x="82854" y="168757"/>
                  </a:lnTo>
                  <a:lnTo>
                    <a:pt x="89725" y="135407"/>
                  </a:lnTo>
                  <a:lnTo>
                    <a:pt x="108546" y="107619"/>
                  </a:lnTo>
                  <a:lnTo>
                    <a:pt x="136220" y="88519"/>
                  </a:lnTo>
                  <a:lnTo>
                    <a:pt x="155181" y="84391"/>
                  </a:lnTo>
                  <a:lnTo>
                    <a:pt x="169633" y="81241"/>
                  </a:lnTo>
                  <a:lnTo>
                    <a:pt x="202704" y="88099"/>
                  </a:lnTo>
                  <a:lnTo>
                    <a:pt x="230263" y="107137"/>
                  </a:lnTo>
                  <a:lnTo>
                    <a:pt x="249085" y="135077"/>
                  </a:lnTo>
                  <a:lnTo>
                    <a:pt x="255955" y="168643"/>
                  </a:lnTo>
                  <a:lnTo>
                    <a:pt x="255955" y="57848"/>
                  </a:lnTo>
                  <a:lnTo>
                    <a:pt x="254241" y="54952"/>
                  </a:lnTo>
                  <a:lnTo>
                    <a:pt x="254279" y="38252"/>
                  </a:lnTo>
                  <a:lnTo>
                    <a:pt x="254825" y="31788"/>
                  </a:lnTo>
                  <a:lnTo>
                    <a:pt x="255346" y="25781"/>
                  </a:lnTo>
                  <a:lnTo>
                    <a:pt x="251650" y="16738"/>
                  </a:lnTo>
                  <a:lnTo>
                    <a:pt x="244119" y="10223"/>
                  </a:lnTo>
                  <a:lnTo>
                    <a:pt x="233705" y="5283"/>
                  </a:lnTo>
                  <a:lnTo>
                    <a:pt x="221500" y="1231"/>
                  </a:lnTo>
                  <a:lnTo>
                    <a:pt x="209981" y="0"/>
                  </a:lnTo>
                  <a:lnTo>
                    <a:pt x="199428" y="3581"/>
                  </a:lnTo>
                  <a:lnTo>
                    <a:pt x="190157" y="14020"/>
                  </a:lnTo>
                  <a:lnTo>
                    <a:pt x="178130" y="27063"/>
                  </a:lnTo>
                  <a:lnTo>
                    <a:pt x="163677" y="31788"/>
                  </a:lnTo>
                  <a:lnTo>
                    <a:pt x="148983" y="27990"/>
                  </a:lnTo>
                  <a:lnTo>
                    <a:pt x="136245" y="15481"/>
                  </a:lnTo>
                  <a:lnTo>
                    <a:pt x="126860" y="5638"/>
                  </a:lnTo>
                  <a:lnTo>
                    <a:pt x="116916" y="2705"/>
                  </a:lnTo>
                  <a:lnTo>
                    <a:pt x="76949" y="21996"/>
                  </a:lnTo>
                  <a:lnTo>
                    <a:pt x="73279" y="31508"/>
                  </a:lnTo>
                  <a:lnTo>
                    <a:pt x="75717" y="45085"/>
                  </a:lnTo>
                  <a:lnTo>
                    <a:pt x="77012" y="61696"/>
                  </a:lnTo>
                  <a:lnTo>
                    <a:pt x="69557" y="75526"/>
                  </a:lnTo>
                  <a:lnTo>
                    <a:pt x="55854" y="83959"/>
                  </a:lnTo>
                  <a:lnTo>
                    <a:pt x="38392" y="84391"/>
                  </a:lnTo>
                  <a:lnTo>
                    <a:pt x="24790" y="83693"/>
                  </a:lnTo>
                  <a:lnTo>
                    <a:pt x="15570" y="88353"/>
                  </a:lnTo>
                  <a:lnTo>
                    <a:pt x="9283" y="96875"/>
                  </a:lnTo>
                  <a:lnTo>
                    <a:pt x="4495" y="107746"/>
                  </a:lnTo>
                  <a:lnTo>
                    <a:pt x="711" y="119570"/>
                  </a:lnTo>
                  <a:lnTo>
                    <a:pt x="0" y="130581"/>
                  </a:lnTo>
                  <a:lnTo>
                    <a:pt x="4343" y="139903"/>
                  </a:lnTo>
                  <a:lnTo>
                    <a:pt x="15697" y="146685"/>
                  </a:lnTo>
                  <a:lnTo>
                    <a:pt x="24765" y="151015"/>
                  </a:lnTo>
                  <a:lnTo>
                    <a:pt x="30213" y="156883"/>
                  </a:lnTo>
                  <a:lnTo>
                    <a:pt x="32219" y="164617"/>
                  </a:lnTo>
                  <a:lnTo>
                    <a:pt x="30975" y="174574"/>
                  </a:lnTo>
                  <a:lnTo>
                    <a:pt x="32626" y="183222"/>
                  </a:lnTo>
                  <a:lnTo>
                    <a:pt x="31140" y="190550"/>
                  </a:lnTo>
                  <a:lnTo>
                    <a:pt x="26212" y="196659"/>
                  </a:lnTo>
                  <a:lnTo>
                    <a:pt x="17538" y="201650"/>
                  </a:lnTo>
                  <a:lnTo>
                    <a:pt x="6642" y="209435"/>
                  </a:lnTo>
                  <a:lnTo>
                    <a:pt x="3505" y="219189"/>
                  </a:lnTo>
                  <a:lnTo>
                    <a:pt x="5549" y="230124"/>
                  </a:lnTo>
                  <a:lnTo>
                    <a:pt x="10160" y="241439"/>
                  </a:lnTo>
                  <a:lnTo>
                    <a:pt x="15748" y="252133"/>
                  </a:lnTo>
                  <a:lnTo>
                    <a:pt x="22847" y="260121"/>
                  </a:lnTo>
                  <a:lnTo>
                    <a:pt x="32562" y="263956"/>
                  </a:lnTo>
                  <a:lnTo>
                    <a:pt x="45986" y="262153"/>
                  </a:lnTo>
                  <a:lnTo>
                    <a:pt x="63068" y="261239"/>
                  </a:lnTo>
                  <a:lnTo>
                    <a:pt x="77317" y="268351"/>
                  </a:lnTo>
                  <a:lnTo>
                    <a:pt x="85864" y="281101"/>
                  </a:lnTo>
                  <a:lnTo>
                    <a:pt x="85864" y="297141"/>
                  </a:lnTo>
                  <a:lnTo>
                    <a:pt x="84124" y="310705"/>
                  </a:lnTo>
                  <a:lnTo>
                    <a:pt x="87998" y="319925"/>
                  </a:lnTo>
                  <a:lnTo>
                    <a:pt x="96113" y="326301"/>
                  </a:lnTo>
                  <a:lnTo>
                    <a:pt x="107073" y="331381"/>
                  </a:lnTo>
                  <a:lnTo>
                    <a:pt x="119405" y="335559"/>
                  </a:lnTo>
                  <a:lnTo>
                    <a:pt x="130606" y="336372"/>
                  </a:lnTo>
                  <a:lnTo>
                    <a:pt x="140601" y="332092"/>
                  </a:lnTo>
                  <a:lnTo>
                    <a:pt x="149301" y="321030"/>
                  </a:lnTo>
                  <a:lnTo>
                    <a:pt x="160642" y="308114"/>
                  </a:lnTo>
                  <a:lnTo>
                    <a:pt x="174840" y="303707"/>
                  </a:lnTo>
                  <a:lnTo>
                    <a:pt x="189699" y="307797"/>
                  </a:lnTo>
                  <a:lnTo>
                    <a:pt x="213334" y="330161"/>
                  </a:lnTo>
                  <a:lnTo>
                    <a:pt x="224180" y="332600"/>
                  </a:lnTo>
                  <a:lnTo>
                    <a:pt x="263715" y="312216"/>
                  </a:lnTo>
                  <a:lnTo>
                    <a:pt x="266001" y="303707"/>
                  </a:lnTo>
                  <a:lnTo>
                    <a:pt x="266230" y="302856"/>
                  </a:lnTo>
                  <a:lnTo>
                    <a:pt x="263499" y="290398"/>
                  </a:lnTo>
                  <a:lnTo>
                    <a:pt x="262267" y="274713"/>
                  </a:lnTo>
                  <a:lnTo>
                    <a:pt x="269455" y="261239"/>
                  </a:lnTo>
                  <a:lnTo>
                    <a:pt x="281660" y="253276"/>
                  </a:lnTo>
                  <a:lnTo>
                    <a:pt x="282448" y="252768"/>
                  </a:lnTo>
                  <a:lnTo>
                    <a:pt x="298589" y="252031"/>
                  </a:lnTo>
                  <a:lnTo>
                    <a:pt x="312534" y="252971"/>
                  </a:lnTo>
                  <a:lnTo>
                    <a:pt x="314680" y="252031"/>
                  </a:lnTo>
                  <a:lnTo>
                    <a:pt x="322440" y="248602"/>
                  </a:lnTo>
                  <a:lnTo>
                    <a:pt x="329501" y="239915"/>
                  </a:lnTo>
                  <a:lnTo>
                    <a:pt x="334924" y="227939"/>
                  </a:lnTo>
                  <a:lnTo>
                    <a:pt x="338467" y="215988"/>
                  </a:lnTo>
                  <a:lnTo>
                    <a:pt x="338645" y="205536"/>
                  </a:lnTo>
                  <a:close/>
                </a:path>
                <a:path w="838200" h="381635">
                  <a:moveTo>
                    <a:pt x="837793" y="326491"/>
                  </a:moveTo>
                  <a:lnTo>
                    <a:pt x="834847" y="297522"/>
                  </a:lnTo>
                  <a:lnTo>
                    <a:pt x="823074" y="266725"/>
                  </a:lnTo>
                  <a:lnTo>
                    <a:pt x="823074" y="381469"/>
                  </a:lnTo>
                  <a:lnTo>
                    <a:pt x="833374" y="354266"/>
                  </a:lnTo>
                  <a:lnTo>
                    <a:pt x="837793" y="326491"/>
                  </a:lnTo>
                  <a:close/>
                </a:path>
              </a:pathLst>
            </a:custGeom>
            <a:solidFill>
              <a:srgbClr val="FFFFFF"/>
            </a:solidFill>
          </p:spPr>
          <p:txBody>
            <a:bodyPr wrap="square" lIns="0" tIns="0" rIns="0" bIns="0" rtlCol="0"/>
            <a:lstStyle/>
            <a:p>
              <a:endParaRPr/>
            </a:p>
          </p:txBody>
        </p:sp>
      </p:grpSp>
      <p:sp>
        <p:nvSpPr>
          <p:cNvPr id="22" name="object 22"/>
          <p:cNvSpPr/>
          <p:nvPr/>
        </p:nvSpPr>
        <p:spPr>
          <a:xfrm>
            <a:off x="7179166" y="4462409"/>
            <a:ext cx="4300220" cy="1065530"/>
          </a:xfrm>
          <a:custGeom>
            <a:avLst/>
            <a:gdLst/>
            <a:ahLst/>
            <a:cxnLst/>
            <a:rect l="l" t="t" r="r" b="b"/>
            <a:pathLst>
              <a:path w="4300220" h="1065529">
                <a:moveTo>
                  <a:pt x="4299928" y="1065262"/>
                </a:moveTo>
                <a:lnTo>
                  <a:pt x="0" y="1065262"/>
                </a:lnTo>
                <a:lnTo>
                  <a:pt x="0" y="0"/>
                </a:lnTo>
                <a:lnTo>
                  <a:pt x="4299928" y="0"/>
                </a:lnTo>
                <a:lnTo>
                  <a:pt x="4299928" y="1065262"/>
                </a:lnTo>
                <a:close/>
              </a:path>
            </a:pathLst>
          </a:custGeom>
          <a:solidFill>
            <a:srgbClr val="FFFFFF"/>
          </a:solidFill>
        </p:spPr>
        <p:txBody>
          <a:bodyPr wrap="square" lIns="0" tIns="0" rIns="0" bIns="0" rtlCol="0"/>
          <a:lstStyle/>
          <a:p>
            <a:endParaRPr/>
          </a:p>
        </p:txBody>
      </p:sp>
      <p:sp>
        <p:nvSpPr>
          <p:cNvPr id="23" name="object 23"/>
          <p:cNvSpPr txBox="1"/>
          <p:nvPr/>
        </p:nvSpPr>
        <p:spPr>
          <a:xfrm>
            <a:off x="7845080" y="4538886"/>
            <a:ext cx="3501390" cy="730250"/>
          </a:xfrm>
          <a:prstGeom prst="rect">
            <a:avLst/>
          </a:prstGeom>
        </p:spPr>
        <p:txBody>
          <a:bodyPr vert="horz" wrap="square" lIns="0" tIns="12065" rIns="0" bIns="0" rtlCol="0">
            <a:spAutoFit/>
          </a:bodyPr>
          <a:lstStyle/>
          <a:p>
            <a:pPr marL="567690" marR="5080" indent="-555625">
              <a:lnSpc>
                <a:spcPct val="121700"/>
              </a:lnSpc>
              <a:spcBef>
                <a:spcPts val="95"/>
              </a:spcBef>
            </a:pPr>
            <a:r>
              <a:rPr sz="1900" dirty="0">
                <a:solidFill>
                  <a:srgbClr val="737373"/>
                </a:solidFill>
                <a:latin typeface="Roboto"/>
                <a:cs typeface="Roboto"/>
              </a:rPr>
              <a:t>Creación</a:t>
            </a:r>
            <a:r>
              <a:rPr sz="1900" spc="-35" dirty="0">
                <a:solidFill>
                  <a:srgbClr val="737373"/>
                </a:solidFill>
                <a:latin typeface="Roboto"/>
                <a:cs typeface="Roboto"/>
              </a:rPr>
              <a:t> </a:t>
            </a:r>
            <a:r>
              <a:rPr sz="1900" dirty="0">
                <a:solidFill>
                  <a:srgbClr val="737373"/>
                </a:solidFill>
                <a:latin typeface="Roboto"/>
                <a:cs typeface="Roboto"/>
              </a:rPr>
              <a:t>de</a:t>
            </a:r>
            <a:r>
              <a:rPr sz="1900" spc="-35" dirty="0">
                <a:solidFill>
                  <a:srgbClr val="737373"/>
                </a:solidFill>
                <a:latin typeface="Roboto"/>
                <a:cs typeface="Roboto"/>
              </a:rPr>
              <a:t> </a:t>
            </a:r>
            <a:r>
              <a:rPr sz="1900" b="1" dirty="0">
                <a:solidFill>
                  <a:srgbClr val="E3112B"/>
                </a:solidFill>
                <a:latin typeface="Roboto"/>
                <a:cs typeface="Roboto"/>
              </a:rPr>
              <a:t>contenidos</a:t>
            </a:r>
            <a:r>
              <a:rPr sz="1900" b="1" spc="-40" dirty="0">
                <a:solidFill>
                  <a:srgbClr val="E3112B"/>
                </a:solidFill>
                <a:latin typeface="Roboto"/>
                <a:cs typeface="Roboto"/>
              </a:rPr>
              <a:t> </a:t>
            </a:r>
            <a:r>
              <a:rPr sz="1900" dirty="0">
                <a:solidFill>
                  <a:srgbClr val="737373"/>
                </a:solidFill>
                <a:latin typeface="Roboto"/>
                <a:cs typeface="Roboto"/>
              </a:rPr>
              <a:t>de</a:t>
            </a:r>
            <a:r>
              <a:rPr sz="1900" spc="-30" dirty="0">
                <a:solidFill>
                  <a:srgbClr val="737373"/>
                </a:solidFill>
                <a:latin typeface="Roboto"/>
                <a:cs typeface="Roboto"/>
              </a:rPr>
              <a:t> </a:t>
            </a:r>
            <a:r>
              <a:rPr sz="1900" spc="-10" dirty="0">
                <a:solidFill>
                  <a:srgbClr val="737373"/>
                </a:solidFill>
                <a:latin typeface="Roboto"/>
                <a:cs typeface="Roboto"/>
              </a:rPr>
              <a:t>valor </a:t>
            </a:r>
            <a:r>
              <a:rPr sz="1900" dirty="0">
                <a:solidFill>
                  <a:srgbClr val="737373"/>
                </a:solidFill>
                <a:latin typeface="Roboto"/>
                <a:cs typeface="Roboto"/>
              </a:rPr>
              <a:t>del</a:t>
            </a:r>
            <a:r>
              <a:rPr sz="1900" spc="-70" dirty="0">
                <a:solidFill>
                  <a:srgbClr val="737373"/>
                </a:solidFill>
                <a:latin typeface="Roboto"/>
                <a:cs typeface="Roboto"/>
              </a:rPr>
              <a:t> </a:t>
            </a:r>
            <a:r>
              <a:rPr sz="1900" dirty="0">
                <a:solidFill>
                  <a:srgbClr val="737373"/>
                </a:solidFill>
                <a:latin typeface="Roboto"/>
                <a:cs typeface="Roboto"/>
              </a:rPr>
              <a:t>destino</a:t>
            </a:r>
            <a:r>
              <a:rPr sz="1900" spc="-65" dirty="0">
                <a:solidFill>
                  <a:srgbClr val="737373"/>
                </a:solidFill>
                <a:latin typeface="Roboto"/>
                <a:cs typeface="Roboto"/>
              </a:rPr>
              <a:t> </a:t>
            </a:r>
            <a:r>
              <a:rPr sz="1900" dirty="0">
                <a:solidFill>
                  <a:srgbClr val="737373"/>
                </a:solidFill>
                <a:latin typeface="Roboto"/>
                <a:cs typeface="Roboto"/>
              </a:rPr>
              <a:t>para</a:t>
            </a:r>
            <a:r>
              <a:rPr sz="1900" spc="-65" dirty="0">
                <a:solidFill>
                  <a:srgbClr val="737373"/>
                </a:solidFill>
                <a:latin typeface="Roboto"/>
                <a:cs typeface="Roboto"/>
              </a:rPr>
              <a:t> </a:t>
            </a:r>
            <a:r>
              <a:rPr sz="1900" spc="-20" dirty="0">
                <a:solidFill>
                  <a:srgbClr val="737373"/>
                </a:solidFill>
                <a:latin typeface="Roboto"/>
                <a:cs typeface="Roboto"/>
              </a:rPr>
              <a:t>MICE</a:t>
            </a:r>
            <a:endParaRPr sz="1900">
              <a:latin typeface="Roboto"/>
              <a:cs typeface="Roboto"/>
            </a:endParaRPr>
          </a:p>
        </p:txBody>
      </p:sp>
      <p:sp>
        <p:nvSpPr>
          <p:cNvPr id="24" name="object 24"/>
          <p:cNvSpPr/>
          <p:nvPr/>
        </p:nvSpPr>
        <p:spPr>
          <a:xfrm>
            <a:off x="6644471" y="4461126"/>
            <a:ext cx="1069975" cy="1069975"/>
          </a:xfrm>
          <a:custGeom>
            <a:avLst/>
            <a:gdLst/>
            <a:ahLst/>
            <a:cxnLst/>
            <a:rect l="l" t="t" r="r" b="b"/>
            <a:pathLst>
              <a:path w="1069975" h="1069975">
                <a:moveTo>
                  <a:pt x="534696" y="1069390"/>
                </a:moveTo>
                <a:lnTo>
                  <a:pt x="486026" y="1067205"/>
                </a:lnTo>
                <a:lnTo>
                  <a:pt x="438583" y="1060775"/>
                </a:lnTo>
                <a:lnTo>
                  <a:pt x="392551" y="1050290"/>
                </a:lnTo>
                <a:lnTo>
                  <a:pt x="348122" y="1035938"/>
                </a:lnTo>
                <a:lnTo>
                  <a:pt x="305483" y="1017908"/>
                </a:lnTo>
                <a:lnTo>
                  <a:pt x="264824" y="996388"/>
                </a:lnTo>
                <a:lnTo>
                  <a:pt x="226332" y="971568"/>
                </a:lnTo>
                <a:lnTo>
                  <a:pt x="190197" y="943636"/>
                </a:lnTo>
                <a:lnTo>
                  <a:pt x="156608" y="912781"/>
                </a:lnTo>
                <a:lnTo>
                  <a:pt x="125753" y="879192"/>
                </a:lnTo>
                <a:lnTo>
                  <a:pt x="97821" y="843057"/>
                </a:lnTo>
                <a:lnTo>
                  <a:pt x="73001" y="804566"/>
                </a:lnTo>
                <a:lnTo>
                  <a:pt x="51481" y="763906"/>
                </a:lnTo>
                <a:lnTo>
                  <a:pt x="33451" y="721267"/>
                </a:lnTo>
                <a:lnTo>
                  <a:pt x="19099" y="676838"/>
                </a:lnTo>
                <a:lnTo>
                  <a:pt x="8614" y="630807"/>
                </a:lnTo>
                <a:lnTo>
                  <a:pt x="2184" y="583363"/>
                </a:lnTo>
                <a:lnTo>
                  <a:pt x="0" y="534700"/>
                </a:lnTo>
                <a:lnTo>
                  <a:pt x="2184" y="486026"/>
                </a:lnTo>
                <a:lnTo>
                  <a:pt x="8614" y="438582"/>
                </a:lnTo>
                <a:lnTo>
                  <a:pt x="19099" y="392551"/>
                </a:lnTo>
                <a:lnTo>
                  <a:pt x="33451" y="348122"/>
                </a:lnTo>
                <a:lnTo>
                  <a:pt x="51481" y="305483"/>
                </a:lnTo>
                <a:lnTo>
                  <a:pt x="73001" y="264824"/>
                </a:lnTo>
                <a:lnTo>
                  <a:pt x="97821" y="226332"/>
                </a:lnTo>
                <a:lnTo>
                  <a:pt x="125753" y="190197"/>
                </a:lnTo>
                <a:lnTo>
                  <a:pt x="156608" y="156608"/>
                </a:lnTo>
                <a:lnTo>
                  <a:pt x="190197" y="125753"/>
                </a:lnTo>
                <a:lnTo>
                  <a:pt x="226332" y="97821"/>
                </a:lnTo>
                <a:lnTo>
                  <a:pt x="264824" y="73001"/>
                </a:lnTo>
                <a:lnTo>
                  <a:pt x="305483" y="51482"/>
                </a:lnTo>
                <a:lnTo>
                  <a:pt x="348122" y="33451"/>
                </a:lnTo>
                <a:lnTo>
                  <a:pt x="392551" y="19099"/>
                </a:lnTo>
                <a:lnTo>
                  <a:pt x="438583" y="8614"/>
                </a:lnTo>
                <a:lnTo>
                  <a:pt x="486026"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7"/>
                </a:lnTo>
                <a:lnTo>
                  <a:pt x="971568" y="226332"/>
                </a:lnTo>
                <a:lnTo>
                  <a:pt x="996388" y="264824"/>
                </a:lnTo>
                <a:lnTo>
                  <a:pt x="1017907" y="305483"/>
                </a:lnTo>
                <a:lnTo>
                  <a:pt x="1035938" y="348122"/>
                </a:lnTo>
                <a:lnTo>
                  <a:pt x="1050290" y="392551"/>
                </a:lnTo>
                <a:lnTo>
                  <a:pt x="1060775" y="438582"/>
                </a:lnTo>
                <a:lnTo>
                  <a:pt x="1067204" y="486026"/>
                </a:lnTo>
                <a:lnTo>
                  <a:pt x="1069389" y="534689"/>
                </a:lnTo>
                <a:lnTo>
                  <a:pt x="1067204" y="583363"/>
                </a:lnTo>
                <a:lnTo>
                  <a:pt x="1060775" y="630807"/>
                </a:lnTo>
                <a:lnTo>
                  <a:pt x="1050290" y="676838"/>
                </a:lnTo>
                <a:lnTo>
                  <a:pt x="1035938" y="721267"/>
                </a:lnTo>
                <a:lnTo>
                  <a:pt x="1017907" y="763906"/>
                </a:lnTo>
                <a:lnTo>
                  <a:pt x="996388" y="804566"/>
                </a:lnTo>
                <a:lnTo>
                  <a:pt x="971568" y="843057"/>
                </a:lnTo>
                <a:lnTo>
                  <a:pt x="943636" y="879192"/>
                </a:lnTo>
                <a:lnTo>
                  <a:pt x="912781" y="912781"/>
                </a:lnTo>
                <a:lnTo>
                  <a:pt x="879192" y="943636"/>
                </a:lnTo>
                <a:lnTo>
                  <a:pt x="843057" y="971568"/>
                </a:lnTo>
                <a:lnTo>
                  <a:pt x="804566" y="996388"/>
                </a:lnTo>
                <a:lnTo>
                  <a:pt x="763906" y="1017908"/>
                </a:lnTo>
                <a:lnTo>
                  <a:pt x="721267" y="1035938"/>
                </a:lnTo>
                <a:lnTo>
                  <a:pt x="676838" y="1050290"/>
                </a:lnTo>
                <a:lnTo>
                  <a:pt x="630807" y="1060775"/>
                </a:lnTo>
                <a:lnTo>
                  <a:pt x="583363" y="1067205"/>
                </a:lnTo>
                <a:lnTo>
                  <a:pt x="534696" y="1069390"/>
                </a:lnTo>
                <a:close/>
              </a:path>
            </a:pathLst>
          </a:custGeom>
          <a:solidFill>
            <a:srgbClr val="003793"/>
          </a:solidFill>
        </p:spPr>
        <p:txBody>
          <a:bodyPr wrap="square" lIns="0" tIns="0" rIns="0" bIns="0" rtlCol="0"/>
          <a:lstStyle/>
          <a:p>
            <a:endParaRPr/>
          </a:p>
        </p:txBody>
      </p:sp>
      <p:sp>
        <p:nvSpPr>
          <p:cNvPr id="25" name="object 25"/>
          <p:cNvSpPr txBox="1"/>
          <p:nvPr/>
        </p:nvSpPr>
        <p:spPr>
          <a:xfrm>
            <a:off x="6870015" y="4727321"/>
            <a:ext cx="618490" cy="506730"/>
          </a:xfrm>
          <a:prstGeom prst="rect">
            <a:avLst/>
          </a:prstGeom>
        </p:spPr>
        <p:txBody>
          <a:bodyPr vert="horz" wrap="square" lIns="0" tIns="13335" rIns="0" bIns="0" rtlCol="0">
            <a:spAutoFit/>
          </a:bodyPr>
          <a:lstStyle/>
          <a:p>
            <a:pPr marL="12700">
              <a:lnSpc>
                <a:spcPct val="100000"/>
              </a:lnSpc>
              <a:spcBef>
                <a:spcPts val="105"/>
              </a:spcBef>
            </a:pPr>
            <a:r>
              <a:rPr sz="3150" b="1" spc="540" dirty="0">
                <a:solidFill>
                  <a:srgbClr val="FFFFFF"/>
                </a:solidFill>
                <a:latin typeface="Arial"/>
                <a:cs typeface="Arial"/>
              </a:rPr>
              <a:t>02</a:t>
            </a:r>
            <a:endParaRPr sz="3150">
              <a:latin typeface="Arial"/>
              <a:cs typeface="Arial"/>
            </a:endParaRPr>
          </a:p>
        </p:txBody>
      </p:sp>
      <p:pic>
        <p:nvPicPr>
          <p:cNvPr id="26" name="object 26"/>
          <p:cNvPicPr/>
          <p:nvPr/>
        </p:nvPicPr>
        <p:blipFill>
          <a:blip r:embed="rId5" cstate="print"/>
          <a:stretch>
            <a:fillRect/>
          </a:stretch>
        </p:blipFill>
        <p:spPr>
          <a:xfrm>
            <a:off x="14340692" y="2480898"/>
            <a:ext cx="1857796" cy="1857797"/>
          </a:xfrm>
          <a:prstGeom prst="rect">
            <a:avLst/>
          </a:prstGeom>
        </p:spPr>
      </p:pic>
      <p:grpSp>
        <p:nvGrpSpPr>
          <p:cNvPr id="27" name="object 27"/>
          <p:cNvGrpSpPr/>
          <p:nvPr/>
        </p:nvGrpSpPr>
        <p:grpSpPr>
          <a:xfrm>
            <a:off x="12793874" y="4461126"/>
            <a:ext cx="4953635" cy="1069975"/>
            <a:chOff x="12793874" y="4461126"/>
            <a:chExt cx="4953635" cy="1069975"/>
          </a:xfrm>
        </p:grpSpPr>
        <p:sp>
          <p:nvSpPr>
            <p:cNvPr id="28" name="object 28"/>
            <p:cNvSpPr/>
            <p:nvPr/>
          </p:nvSpPr>
          <p:spPr>
            <a:xfrm>
              <a:off x="13486253" y="4462409"/>
              <a:ext cx="4261485" cy="1065530"/>
            </a:xfrm>
            <a:custGeom>
              <a:avLst/>
              <a:gdLst/>
              <a:ahLst/>
              <a:cxnLst/>
              <a:rect l="l" t="t" r="r" b="b"/>
              <a:pathLst>
                <a:path w="4261484" h="1065529">
                  <a:moveTo>
                    <a:pt x="4261050" y="1065262"/>
                  </a:moveTo>
                  <a:lnTo>
                    <a:pt x="0" y="1065262"/>
                  </a:lnTo>
                  <a:lnTo>
                    <a:pt x="0" y="0"/>
                  </a:lnTo>
                  <a:lnTo>
                    <a:pt x="4261050" y="0"/>
                  </a:lnTo>
                  <a:lnTo>
                    <a:pt x="4261050" y="1065262"/>
                  </a:lnTo>
                  <a:close/>
                </a:path>
              </a:pathLst>
            </a:custGeom>
            <a:solidFill>
              <a:srgbClr val="FFFFFF"/>
            </a:solidFill>
          </p:spPr>
          <p:txBody>
            <a:bodyPr wrap="square" lIns="0" tIns="0" rIns="0" bIns="0" rtlCol="0"/>
            <a:lstStyle/>
            <a:p>
              <a:endParaRPr/>
            </a:p>
          </p:txBody>
        </p:sp>
        <p:sp>
          <p:nvSpPr>
            <p:cNvPr id="29" name="object 29"/>
            <p:cNvSpPr/>
            <p:nvPr/>
          </p:nvSpPr>
          <p:spPr>
            <a:xfrm>
              <a:off x="12793874" y="4461126"/>
              <a:ext cx="1069975" cy="1069975"/>
            </a:xfrm>
            <a:custGeom>
              <a:avLst/>
              <a:gdLst/>
              <a:ahLst/>
              <a:cxnLst/>
              <a:rect l="l" t="t" r="r" b="b"/>
              <a:pathLst>
                <a:path w="1069975" h="1069975">
                  <a:moveTo>
                    <a:pt x="534695" y="1069390"/>
                  </a:moveTo>
                  <a:lnTo>
                    <a:pt x="486026" y="1067205"/>
                  </a:lnTo>
                  <a:lnTo>
                    <a:pt x="438582" y="1060775"/>
                  </a:lnTo>
                  <a:lnTo>
                    <a:pt x="392551" y="1050290"/>
                  </a:lnTo>
                  <a:lnTo>
                    <a:pt x="348122" y="1035938"/>
                  </a:lnTo>
                  <a:lnTo>
                    <a:pt x="305483" y="1017908"/>
                  </a:lnTo>
                  <a:lnTo>
                    <a:pt x="264823" y="996388"/>
                  </a:lnTo>
                  <a:lnTo>
                    <a:pt x="226332" y="971568"/>
                  </a:lnTo>
                  <a:lnTo>
                    <a:pt x="190197" y="943636"/>
                  </a:lnTo>
                  <a:lnTo>
                    <a:pt x="156608" y="912781"/>
                  </a:lnTo>
                  <a:lnTo>
                    <a:pt x="125753" y="879192"/>
                  </a:lnTo>
                  <a:lnTo>
                    <a:pt x="97821" y="843057"/>
                  </a:lnTo>
                  <a:lnTo>
                    <a:pt x="73001" y="804566"/>
                  </a:lnTo>
                  <a:lnTo>
                    <a:pt x="51481" y="763906"/>
                  </a:lnTo>
                  <a:lnTo>
                    <a:pt x="33451" y="721267"/>
                  </a:lnTo>
                  <a:lnTo>
                    <a:pt x="19099" y="676838"/>
                  </a:lnTo>
                  <a:lnTo>
                    <a:pt x="8614" y="630807"/>
                  </a:lnTo>
                  <a:lnTo>
                    <a:pt x="2184" y="583363"/>
                  </a:lnTo>
                  <a:lnTo>
                    <a:pt x="0" y="534681"/>
                  </a:lnTo>
                  <a:lnTo>
                    <a:pt x="2184" y="486026"/>
                  </a:lnTo>
                  <a:lnTo>
                    <a:pt x="8614" y="438582"/>
                  </a:lnTo>
                  <a:lnTo>
                    <a:pt x="19099" y="392551"/>
                  </a:lnTo>
                  <a:lnTo>
                    <a:pt x="33451" y="348122"/>
                  </a:lnTo>
                  <a:lnTo>
                    <a:pt x="51481" y="305483"/>
                  </a:lnTo>
                  <a:lnTo>
                    <a:pt x="73001" y="264824"/>
                  </a:lnTo>
                  <a:lnTo>
                    <a:pt x="97821" y="226332"/>
                  </a:lnTo>
                  <a:lnTo>
                    <a:pt x="125753" y="190197"/>
                  </a:lnTo>
                  <a:lnTo>
                    <a:pt x="156608" y="156608"/>
                  </a:lnTo>
                  <a:lnTo>
                    <a:pt x="190197" y="125753"/>
                  </a:lnTo>
                  <a:lnTo>
                    <a:pt x="226332" y="97821"/>
                  </a:lnTo>
                  <a:lnTo>
                    <a:pt x="264823" y="73001"/>
                  </a:lnTo>
                  <a:lnTo>
                    <a:pt x="305483" y="51482"/>
                  </a:lnTo>
                  <a:lnTo>
                    <a:pt x="348122" y="33451"/>
                  </a:lnTo>
                  <a:lnTo>
                    <a:pt x="392551" y="19099"/>
                  </a:lnTo>
                  <a:lnTo>
                    <a:pt x="438582" y="8614"/>
                  </a:lnTo>
                  <a:lnTo>
                    <a:pt x="486026" y="2185"/>
                  </a:lnTo>
                  <a:lnTo>
                    <a:pt x="534694" y="0"/>
                  </a:lnTo>
                  <a:lnTo>
                    <a:pt x="583362" y="2185"/>
                  </a:lnTo>
                  <a:lnTo>
                    <a:pt x="630806" y="8614"/>
                  </a:lnTo>
                  <a:lnTo>
                    <a:pt x="676837" y="19099"/>
                  </a:lnTo>
                  <a:lnTo>
                    <a:pt x="721267" y="33451"/>
                  </a:lnTo>
                  <a:lnTo>
                    <a:pt x="763906" y="51482"/>
                  </a:lnTo>
                  <a:lnTo>
                    <a:pt x="804565" y="73001"/>
                  </a:lnTo>
                  <a:lnTo>
                    <a:pt x="843057" y="97821"/>
                  </a:lnTo>
                  <a:lnTo>
                    <a:pt x="879192" y="125753"/>
                  </a:lnTo>
                  <a:lnTo>
                    <a:pt x="912781" y="156608"/>
                  </a:lnTo>
                  <a:lnTo>
                    <a:pt x="943636" y="190197"/>
                  </a:lnTo>
                  <a:lnTo>
                    <a:pt x="971568" y="226332"/>
                  </a:lnTo>
                  <a:lnTo>
                    <a:pt x="996388" y="264824"/>
                  </a:lnTo>
                  <a:lnTo>
                    <a:pt x="1017908" y="305483"/>
                  </a:lnTo>
                  <a:lnTo>
                    <a:pt x="1035938" y="348122"/>
                  </a:lnTo>
                  <a:lnTo>
                    <a:pt x="1050290" y="392551"/>
                  </a:lnTo>
                  <a:lnTo>
                    <a:pt x="1060775" y="438582"/>
                  </a:lnTo>
                  <a:lnTo>
                    <a:pt x="1067205" y="486026"/>
                  </a:lnTo>
                  <a:lnTo>
                    <a:pt x="1069389" y="534695"/>
                  </a:lnTo>
                  <a:lnTo>
                    <a:pt x="1067205" y="583363"/>
                  </a:lnTo>
                  <a:lnTo>
                    <a:pt x="1060775" y="630807"/>
                  </a:lnTo>
                  <a:lnTo>
                    <a:pt x="1050290" y="676838"/>
                  </a:lnTo>
                  <a:lnTo>
                    <a:pt x="1035938" y="721267"/>
                  </a:lnTo>
                  <a:lnTo>
                    <a:pt x="1017908" y="763906"/>
                  </a:lnTo>
                  <a:lnTo>
                    <a:pt x="996388" y="804566"/>
                  </a:lnTo>
                  <a:lnTo>
                    <a:pt x="971568" y="843057"/>
                  </a:lnTo>
                  <a:lnTo>
                    <a:pt x="943636" y="879192"/>
                  </a:lnTo>
                  <a:lnTo>
                    <a:pt x="912781" y="912781"/>
                  </a:lnTo>
                  <a:lnTo>
                    <a:pt x="879192" y="943636"/>
                  </a:lnTo>
                  <a:lnTo>
                    <a:pt x="843057" y="971568"/>
                  </a:lnTo>
                  <a:lnTo>
                    <a:pt x="804565" y="996388"/>
                  </a:lnTo>
                  <a:lnTo>
                    <a:pt x="763906" y="1017908"/>
                  </a:lnTo>
                  <a:lnTo>
                    <a:pt x="721267" y="1035938"/>
                  </a:lnTo>
                  <a:lnTo>
                    <a:pt x="676837" y="1050290"/>
                  </a:lnTo>
                  <a:lnTo>
                    <a:pt x="630806" y="1060775"/>
                  </a:lnTo>
                  <a:lnTo>
                    <a:pt x="583362" y="1067205"/>
                  </a:lnTo>
                  <a:lnTo>
                    <a:pt x="534695" y="1069390"/>
                  </a:lnTo>
                  <a:close/>
                </a:path>
              </a:pathLst>
            </a:custGeom>
            <a:solidFill>
              <a:srgbClr val="003793"/>
            </a:solidFill>
          </p:spPr>
          <p:txBody>
            <a:bodyPr wrap="square" lIns="0" tIns="0" rIns="0" bIns="0" rtlCol="0"/>
            <a:lstStyle/>
            <a:p>
              <a:endParaRPr/>
            </a:p>
          </p:txBody>
        </p:sp>
      </p:grpSp>
      <p:sp>
        <p:nvSpPr>
          <p:cNvPr id="30" name="object 30"/>
          <p:cNvSpPr txBox="1"/>
          <p:nvPr/>
        </p:nvSpPr>
        <p:spPr>
          <a:xfrm>
            <a:off x="13037021" y="4727321"/>
            <a:ext cx="583565" cy="506730"/>
          </a:xfrm>
          <a:prstGeom prst="rect">
            <a:avLst/>
          </a:prstGeom>
        </p:spPr>
        <p:txBody>
          <a:bodyPr vert="horz" wrap="square" lIns="0" tIns="13335" rIns="0" bIns="0" rtlCol="0">
            <a:spAutoFit/>
          </a:bodyPr>
          <a:lstStyle/>
          <a:p>
            <a:pPr marL="12700">
              <a:lnSpc>
                <a:spcPct val="100000"/>
              </a:lnSpc>
              <a:spcBef>
                <a:spcPts val="105"/>
              </a:spcBef>
            </a:pPr>
            <a:r>
              <a:rPr sz="3150" b="1" spc="400" dirty="0">
                <a:solidFill>
                  <a:srgbClr val="FFFFFF"/>
                </a:solidFill>
                <a:latin typeface="Arial"/>
                <a:cs typeface="Arial"/>
              </a:rPr>
              <a:t>03</a:t>
            </a:r>
            <a:endParaRPr sz="3150">
              <a:latin typeface="Arial"/>
              <a:cs typeface="Arial"/>
            </a:endParaRPr>
          </a:p>
        </p:txBody>
      </p:sp>
      <p:sp>
        <p:nvSpPr>
          <p:cNvPr id="31" name="object 31"/>
          <p:cNvSpPr txBox="1"/>
          <p:nvPr/>
        </p:nvSpPr>
        <p:spPr>
          <a:xfrm>
            <a:off x="14230970" y="4640543"/>
            <a:ext cx="3158490" cy="692150"/>
          </a:xfrm>
          <a:prstGeom prst="rect">
            <a:avLst/>
          </a:prstGeom>
        </p:spPr>
        <p:txBody>
          <a:bodyPr vert="horz" wrap="square" lIns="0" tIns="55880" rIns="0" bIns="0" rtlCol="0">
            <a:spAutoFit/>
          </a:bodyPr>
          <a:lstStyle/>
          <a:p>
            <a:pPr algn="ctr">
              <a:lnSpc>
                <a:spcPct val="100000"/>
              </a:lnSpc>
              <a:spcBef>
                <a:spcPts val="440"/>
              </a:spcBef>
            </a:pPr>
            <a:r>
              <a:rPr sz="1900" dirty="0">
                <a:solidFill>
                  <a:srgbClr val="737373"/>
                </a:solidFill>
                <a:latin typeface="Roboto"/>
                <a:cs typeface="Roboto"/>
              </a:rPr>
              <a:t>Foco</a:t>
            </a:r>
            <a:r>
              <a:rPr sz="1900" spc="-60" dirty="0">
                <a:solidFill>
                  <a:srgbClr val="737373"/>
                </a:solidFill>
                <a:latin typeface="Roboto"/>
                <a:cs typeface="Roboto"/>
              </a:rPr>
              <a:t> </a:t>
            </a:r>
            <a:r>
              <a:rPr sz="1900" dirty="0">
                <a:solidFill>
                  <a:srgbClr val="737373"/>
                </a:solidFill>
                <a:latin typeface="Roboto"/>
                <a:cs typeface="Roboto"/>
              </a:rPr>
              <a:t>en</a:t>
            </a:r>
            <a:r>
              <a:rPr sz="1900" spc="-55" dirty="0">
                <a:solidFill>
                  <a:srgbClr val="737373"/>
                </a:solidFill>
                <a:latin typeface="Roboto"/>
                <a:cs typeface="Roboto"/>
              </a:rPr>
              <a:t> </a:t>
            </a:r>
            <a:r>
              <a:rPr sz="1900" spc="-10" dirty="0">
                <a:solidFill>
                  <a:srgbClr val="737373"/>
                </a:solidFill>
                <a:latin typeface="Roboto"/>
                <a:cs typeface="Roboto"/>
              </a:rPr>
              <a:t>captación</a:t>
            </a:r>
            <a:r>
              <a:rPr sz="1900" spc="-55" dirty="0">
                <a:solidFill>
                  <a:srgbClr val="737373"/>
                </a:solidFill>
                <a:latin typeface="Roboto"/>
                <a:cs typeface="Roboto"/>
              </a:rPr>
              <a:t> </a:t>
            </a:r>
            <a:r>
              <a:rPr sz="1900" spc="-10" dirty="0">
                <a:solidFill>
                  <a:srgbClr val="737373"/>
                </a:solidFill>
                <a:latin typeface="Roboto"/>
                <a:cs typeface="Roboto"/>
              </a:rPr>
              <a:t>mercados</a:t>
            </a:r>
            <a:endParaRPr sz="1900">
              <a:latin typeface="Roboto"/>
              <a:cs typeface="Roboto"/>
            </a:endParaRPr>
          </a:p>
          <a:p>
            <a:pPr marL="59690" algn="ctr">
              <a:lnSpc>
                <a:spcPct val="100000"/>
              </a:lnSpc>
              <a:spcBef>
                <a:spcPts val="345"/>
              </a:spcBef>
            </a:pPr>
            <a:r>
              <a:rPr sz="1900" b="1" dirty="0">
                <a:solidFill>
                  <a:srgbClr val="E3112B"/>
                </a:solidFill>
                <a:latin typeface="Roboto"/>
                <a:cs typeface="Roboto"/>
              </a:rPr>
              <a:t>regionales</a:t>
            </a:r>
            <a:r>
              <a:rPr sz="1900" b="1" spc="5" dirty="0">
                <a:solidFill>
                  <a:srgbClr val="E3112B"/>
                </a:solidFill>
                <a:latin typeface="Roboto"/>
                <a:cs typeface="Roboto"/>
              </a:rPr>
              <a:t> </a:t>
            </a:r>
            <a:r>
              <a:rPr sz="1900" b="1" dirty="0">
                <a:solidFill>
                  <a:srgbClr val="E3112B"/>
                </a:solidFill>
                <a:latin typeface="Roboto"/>
                <a:cs typeface="Roboto"/>
              </a:rPr>
              <a:t>y</a:t>
            </a:r>
            <a:r>
              <a:rPr sz="1900" b="1" spc="5" dirty="0">
                <a:solidFill>
                  <a:srgbClr val="E3112B"/>
                </a:solidFill>
                <a:latin typeface="Roboto"/>
                <a:cs typeface="Roboto"/>
              </a:rPr>
              <a:t> </a:t>
            </a:r>
            <a:r>
              <a:rPr sz="1900" b="1" spc="-20" dirty="0">
                <a:solidFill>
                  <a:srgbClr val="E3112B"/>
                </a:solidFill>
                <a:latin typeface="Roboto"/>
                <a:cs typeface="Roboto"/>
              </a:rPr>
              <a:t>EEUU</a:t>
            </a:r>
            <a:endParaRPr sz="1900">
              <a:latin typeface="Roboto"/>
              <a:cs typeface="Roboto"/>
            </a:endParaRPr>
          </a:p>
        </p:txBody>
      </p:sp>
      <p:pic>
        <p:nvPicPr>
          <p:cNvPr id="32" name="object 32"/>
          <p:cNvPicPr/>
          <p:nvPr/>
        </p:nvPicPr>
        <p:blipFill>
          <a:blip r:embed="rId6" cstate="print"/>
          <a:stretch>
            <a:fillRect/>
          </a:stretch>
        </p:blipFill>
        <p:spPr>
          <a:xfrm>
            <a:off x="17316450" y="237491"/>
            <a:ext cx="742949" cy="819149"/>
          </a:xfrm>
          <a:prstGeom prst="rect">
            <a:avLst/>
          </a:prstGeom>
        </p:spPr>
      </p:pic>
      <p:sp>
        <p:nvSpPr>
          <p:cNvPr id="33" name="object 33"/>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34" name="object 34"/>
          <p:cNvSpPr txBox="1"/>
          <p:nvPr/>
        </p:nvSpPr>
        <p:spPr>
          <a:xfrm>
            <a:off x="17811802" y="9932972"/>
            <a:ext cx="220979"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5</a:t>
            </a:r>
            <a:endParaRPr sz="900">
              <a:latin typeface="Arial"/>
              <a:cs typeface="Arial"/>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4"/>
            <a:ext cx="17954625" cy="8662035"/>
          </a:xfrm>
          <a:custGeom>
            <a:avLst/>
            <a:gdLst/>
            <a:ahLst/>
            <a:cxnLst/>
            <a:rect l="l" t="t" r="r" b="b"/>
            <a:pathLst>
              <a:path w="17954625" h="8662035">
                <a:moveTo>
                  <a:pt x="0" y="8661681"/>
                </a:moveTo>
                <a:lnTo>
                  <a:pt x="17954029" y="8661681"/>
                </a:lnTo>
                <a:lnTo>
                  <a:pt x="17954029" y="0"/>
                </a:lnTo>
                <a:lnTo>
                  <a:pt x="0" y="0"/>
                </a:lnTo>
                <a:lnTo>
                  <a:pt x="0" y="8661681"/>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6"/>
            <a:ext cx="17954625" cy="1394460"/>
            <a:chOff x="166956" y="171496"/>
            <a:chExt cx="17954625" cy="1394460"/>
          </a:xfrm>
        </p:grpSpPr>
        <p:sp>
          <p:nvSpPr>
            <p:cNvPr id="4" name="object 4"/>
            <p:cNvSpPr/>
            <p:nvPr/>
          </p:nvSpPr>
          <p:spPr>
            <a:xfrm>
              <a:off x="166956" y="171496"/>
              <a:ext cx="17954625" cy="13335"/>
            </a:xfrm>
            <a:custGeom>
              <a:avLst/>
              <a:gdLst/>
              <a:ahLst/>
              <a:cxnLst/>
              <a:rect l="l" t="t" r="r" b="b"/>
              <a:pathLst>
                <a:path w="17954625" h="13335">
                  <a:moveTo>
                    <a:pt x="0" y="13336"/>
                  </a:moveTo>
                  <a:lnTo>
                    <a:pt x="17954029" y="13336"/>
                  </a:lnTo>
                  <a:lnTo>
                    <a:pt x="17954029" y="0"/>
                  </a:lnTo>
                  <a:lnTo>
                    <a:pt x="0" y="0"/>
                  </a:lnTo>
                  <a:lnTo>
                    <a:pt x="0" y="13336"/>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grpSp>
      <p:sp>
        <p:nvSpPr>
          <p:cNvPr id="6" name="object 6"/>
          <p:cNvSpPr/>
          <p:nvPr/>
        </p:nvSpPr>
        <p:spPr>
          <a:xfrm>
            <a:off x="1427952" y="4462410"/>
            <a:ext cx="4214495" cy="1065530"/>
          </a:xfrm>
          <a:custGeom>
            <a:avLst/>
            <a:gdLst/>
            <a:ahLst/>
            <a:cxnLst/>
            <a:rect l="l" t="t" r="r" b="b"/>
            <a:pathLst>
              <a:path w="4214495" h="1065529">
                <a:moveTo>
                  <a:pt x="4214396" y="1065262"/>
                </a:moveTo>
                <a:lnTo>
                  <a:pt x="0" y="1065262"/>
                </a:lnTo>
                <a:lnTo>
                  <a:pt x="0" y="0"/>
                </a:lnTo>
                <a:lnTo>
                  <a:pt x="4214396" y="0"/>
                </a:lnTo>
                <a:lnTo>
                  <a:pt x="4214396" y="1065262"/>
                </a:lnTo>
                <a:close/>
              </a:path>
            </a:pathLst>
          </a:custGeom>
          <a:solidFill>
            <a:srgbClr val="FFFFFF"/>
          </a:solidFill>
        </p:spPr>
        <p:txBody>
          <a:bodyPr wrap="square" lIns="0" tIns="0" rIns="0" bIns="0" rtlCol="0"/>
          <a:lstStyle/>
          <a:p>
            <a:endParaRPr/>
          </a:p>
        </p:txBody>
      </p:sp>
      <p:grpSp>
        <p:nvGrpSpPr>
          <p:cNvPr id="7" name="object 7"/>
          <p:cNvGrpSpPr/>
          <p:nvPr/>
        </p:nvGrpSpPr>
        <p:grpSpPr>
          <a:xfrm>
            <a:off x="2488748" y="2480901"/>
            <a:ext cx="1858010" cy="1858010"/>
            <a:chOff x="2488748" y="2480901"/>
            <a:chExt cx="1858010" cy="1858010"/>
          </a:xfrm>
        </p:grpSpPr>
        <p:sp>
          <p:nvSpPr>
            <p:cNvPr id="8" name="object 8"/>
            <p:cNvSpPr/>
            <p:nvPr/>
          </p:nvSpPr>
          <p:spPr>
            <a:xfrm>
              <a:off x="2488748" y="2480901"/>
              <a:ext cx="1858010" cy="1858010"/>
            </a:xfrm>
            <a:custGeom>
              <a:avLst/>
              <a:gdLst/>
              <a:ahLst/>
              <a:cxnLst/>
              <a:rect l="l" t="t" r="r" b="b"/>
              <a:pathLst>
                <a:path w="1858010" h="1858010">
                  <a:moveTo>
                    <a:pt x="928922" y="1857797"/>
                  </a:moveTo>
                  <a:lnTo>
                    <a:pt x="881097" y="1856588"/>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7" y="1585729"/>
                  </a:lnTo>
                  <a:lnTo>
                    <a:pt x="241310" y="1553469"/>
                  </a:lnTo>
                  <a:lnTo>
                    <a:pt x="212115" y="1519764"/>
                  </a:lnTo>
                  <a:lnTo>
                    <a:pt x="184539" y="1484673"/>
                  </a:lnTo>
                  <a:lnTo>
                    <a:pt x="158641" y="1448254"/>
                  </a:lnTo>
                  <a:lnTo>
                    <a:pt x="134479" y="1410566"/>
                  </a:lnTo>
                  <a:lnTo>
                    <a:pt x="112112" y="1371667"/>
                  </a:lnTo>
                  <a:lnTo>
                    <a:pt x="91599" y="1331614"/>
                  </a:lnTo>
                  <a:lnTo>
                    <a:pt x="72997" y="1290468"/>
                  </a:lnTo>
                  <a:lnTo>
                    <a:pt x="56365" y="1248285"/>
                  </a:lnTo>
                  <a:lnTo>
                    <a:pt x="41761" y="1205124"/>
                  </a:lnTo>
                  <a:lnTo>
                    <a:pt x="29243" y="1161045"/>
                  </a:lnTo>
                  <a:lnTo>
                    <a:pt x="18871" y="1116104"/>
                  </a:lnTo>
                  <a:lnTo>
                    <a:pt x="10702" y="1070360"/>
                  </a:lnTo>
                  <a:lnTo>
                    <a:pt x="4795" y="1023873"/>
                  </a:lnTo>
                  <a:lnTo>
                    <a:pt x="1208" y="976699"/>
                  </a:lnTo>
                  <a:lnTo>
                    <a:pt x="0" y="928889"/>
                  </a:lnTo>
                  <a:lnTo>
                    <a:pt x="1208" y="881097"/>
                  </a:lnTo>
                  <a:lnTo>
                    <a:pt x="4795" y="833924"/>
                  </a:lnTo>
                  <a:lnTo>
                    <a:pt x="10702" y="787436"/>
                  </a:lnTo>
                  <a:lnTo>
                    <a:pt x="18871" y="741693"/>
                  </a:lnTo>
                  <a:lnTo>
                    <a:pt x="29243" y="696752"/>
                  </a:lnTo>
                  <a:lnTo>
                    <a:pt x="41761" y="652672"/>
                  </a:lnTo>
                  <a:lnTo>
                    <a:pt x="56365" y="609512"/>
                  </a:lnTo>
                  <a:lnTo>
                    <a:pt x="72997" y="567329"/>
                  </a:lnTo>
                  <a:lnTo>
                    <a:pt x="91599" y="526182"/>
                  </a:lnTo>
                  <a:lnTo>
                    <a:pt x="112112" y="486130"/>
                  </a:lnTo>
                  <a:lnTo>
                    <a:pt x="134479" y="447230"/>
                  </a:lnTo>
                  <a:lnTo>
                    <a:pt x="158641" y="409542"/>
                  </a:lnTo>
                  <a:lnTo>
                    <a:pt x="184539" y="373123"/>
                  </a:lnTo>
                  <a:lnTo>
                    <a:pt x="212115" y="338032"/>
                  </a:lnTo>
                  <a:lnTo>
                    <a:pt x="241310" y="304328"/>
                  </a:lnTo>
                  <a:lnTo>
                    <a:pt x="272067"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3" y="4795"/>
                  </a:lnTo>
                  <a:lnTo>
                    <a:pt x="1070360" y="10703"/>
                  </a:lnTo>
                  <a:lnTo>
                    <a:pt x="1116104" y="18871"/>
                  </a:lnTo>
                  <a:lnTo>
                    <a:pt x="1161045" y="29244"/>
                  </a:lnTo>
                  <a:lnTo>
                    <a:pt x="1205124" y="41761"/>
                  </a:lnTo>
                  <a:lnTo>
                    <a:pt x="1248285" y="56365"/>
                  </a:lnTo>
                  <a:lnTo>
                    <a:pt x="1290468" y="72997"/>
                  </a:lnTo>
                  <a:lnTo>
                    <a:pt x="1331614" y="91599"/>
                  </a:lnTo>
                  <a:lnTo>
                    <a:pt x="1371667" y="112113"/>
                  </a:lnTo>
                  <a:lnTo>
                    <a:pt x="1410566" y="134479"/>
                  </a:lnTo>
                  <a:lnTo>
                    <a:pt x="1448254" y="158641"/>
                  </a:lnTo>
                  <a:lnTo>
                    <a:pt x="1484673" y="184539"/>
                  </a:lnTo>
                  <a:lnTo>
                    <a:pt x="1519764" y="212115"/>
                  </a:lnTo>
                  <a:lnTo>
                    <a:pt x="1553469" y="241311"/>
                  </a:lnTo>
                  <a:lnTo>
                    <a:pt x="1585729" y="272068"/>
                  </a:lnTo>
                  <a:lnTo>
                    <a:pt x="1616486" y="304328"/>
                  </a:lnTo>
                  <a:lnTo>
                    <a:pt x="1645682" y="338032"/>
                  </a:lnTo>
                  <a:lnTo>
                    <a:pt x="1673258" y="373123"/>
                  </a:lnTo>
                  <a:lnTo>
                    <a:pt x="1699156" y="409542"/>
                  </a:lnTo>
                  <a:lnTo>
                    <a:pt x="1723317" y="447230"/>
                  </a:lnTo>
                  <a:lnTo>
                    <a:pt x="1745684" y="486130"/>
                  </a:lnTo>
                  <a:lnTo>
                    <a:pt x="1766198" y="526182"/>
                  </a:lnTo>
                  <a:lnTo>
                    <a:pt x="1784800" y="567329"/>
                  </a:lnTo>
                  <a:lnTo>
                    <a:pt x="1801432" y="609512"/>
                  </a:lnTo>
                  <a:lnTo>
                    <a:pt x="1816036" y="652672"/>
                  </a:lnTo>
                  <a:lnTo>
                    <a:pt x="1828553" y="696752"/>
                  </a:lnTo>
                  <a:lnTo>
                    <a:pt x="1838925" y="741693"/>
                  </a:lnTo>
                  <a:lnTo>
                    <a:pt x="1847094" y="787436"/>
                  </a:lnTo>
                  <a:lnTo>
                    <a:pt x="1853001" y="833924"/>
                  </a:lnTo>
                  <a:lnTo>
                    <a:pt x="1856588" y="881097"/>
                  </a:lnTo>
                  <a:lnTo>
                    <a:pt x="1857797" y="928900"/>
                  </a:lnTo>
                  <a:lnTo>
                    <a:pt x="1856588" y="976699"/>
                  </a:lnTo>
                  <a:lnTo>
                    <a:pt x="1853001" y="1023873"/>
                  </a:lnTo>
                  <a:lnTo>
                    <a:pt x="1847094" y="1070360"/>
                  </a:lnTo>
                  <a:lnTo>
                    <a:pt x="1838925" y="1116104"/>
                  </a:lnTo>
                  <a:lnTo>
                    <a:pt x="1828553" y="1161045"/>
                  </a:lnTo>
                  <a:lnTo>
                    <a:pt x="1816036" y="1205124"/>
                  </a:lnTo>
                  <a:lnTo>
                    <a:pt x="1801432" y="1248285"/>
                  </a:lnTo>
                  <a:lnTo>
                    <a:pt x="1784800" y="1290468"/>
                  </a:lnTo>
                  <a:lnTo>
                    <a:pt x="1766198" y="1331614"/>
                  </a:lnTo>
                  <a:lnTo>
                    <a:pt x="1745684" y="1371667"/>
                  </a:lnTo>
                  <a:lnTo>
                    <a:pt x="1723317" y="1410566"/>
                  </a:lnTo>
                  <a:lnTo>
                    <a:pt x="1699156" y="1448254"/>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7" y="1745684"/>
                  </a:lnTo>
                  <a:lnTo>
                    <a:pt x="1331614" y="1766198"/>
                  </a:lnTo>
                  <a:lnTo>
                    <a:pt x="1290468" y="1784800"/>
                  </a:lnTo>
                  <a:lnTo>
                    <a:pt x="1248285" y="1801432"/>
                  </a:lnTo>
                  <a:lnTo>
                    <a:pt x="1205124" y="1816036"/>
                  </a:lnTo>
                  <a:lnTo>
                    <a:pt x="1161045" y="1828553"/>
                  </a:lnTo>
                  <a:lnTo>
                    <a:pt x="1116104" y="1838925"/>
                  </a:lnTo>
                  <a:lnTo>
                    <a:pt x="1070360" y="1847094"/>
                  </a:lnTo>
                  <a:lnTo>
                    <a:pt x="1023873" y="1853001"/>
                  </a:lnTo>
                  <a:lnTo>
                    <a:pt x="976699" y="1856588"/>
                  </a:lnTo>
                  <a:lnTo>
                    <a:pt x="928922" y="1857797"/>
                  </a:lnTo>
                  <a:close/>
                </a:path>
              </a:pathLst>
            </a:custGeom>
            <a:solidFill>
              <a:srgbClr val="0090AE"/>
            </a:solidFill>
          </p:spPr>
          <p:txBody>
            <a:bodyPr wrap="square" lIns="0" tIns="0" rIns="0" bIns="0" rtlCol="0"/>
            <a:lstStyle/>
            <a:p>
              <a:endParaRPr/>
            </a:p>
          </p:txBody>
        </p:sp>
        <p:sp>
          <p:nvSpPr>
            <p:cNvPr id="9" name="object 9"/>
            <p:cNvSpPr/>
            <p:nvPr/>
          </p:nvSpPr>
          <p:spPr>
            <a:xfrm>
              <a:off x="2813599" y="2797207"/>
              <a:ext cx="1221740" cy="1218565"/>
            </a:xfrm>
            <a:custGeom>
              <a:avLst/>
              <a:gdLst/>
              <a:ahLst/>
              <a:cxnLst/>
              <a:rect l="l" t="t" r="r" b="b"/>
              <a:pathLst>
                <a:path w="1221739" h="1218564">
                  <a:moveTo>
                    <a:pt x="362056" y="868972"/>
                  </a:moveTo>
                  <a:lnTo>
                    <a:pt x="242222" y="614244"/>
                  </a:lnTo>
                  <a:lnTo>
                    <a:pt x="329807" y="555004"/>
                  </a:lnTo>
                  <a:lnTo>
                    <a:pt x="372384" y="525221"/>
                  </a:lnTo>
                  <a:lnTo>
                    <a:pt x="413327" y="493819"/>
                  </a:lnTo>
                  <a:lnTo>
                    <a:pt x="450228" y="461258"/>
                  </a:lnTo>
                  <a:lnTo>
                    <a:pt x="483736" y="426124"/>
                  </a:lnTo>
                  <a:lnTo>
                    <a:pt x="513268" y="388159"/>
                  </a:lnTo>
                  <a:lnTo>
                    <a:pt x="538241" y="347108"/>
                  </a:lnTo>
                  <a:lnTo>
                    <a:pt x="558073" y="302715"/>
                  </a:lnTo>
                  <a:lnTo>
                    <a:pt x="572181" y="254725"/>
                  </a:lnTo>
                  <a:lnTo>
                    <a:pt x="578008" y="198752"/>
                  </a:lnTo>
                  <a:lnTo>
                    <a:pt x="577896" y="179937"/>
                  </a:lnTo>
                  <a:lnTo>
                    <a:pt x="577434" y="169630"/>
                  </a:lnTo>
                  <a:lnTo>
                    <a:pt x="577674" y="159937"/>
                  </a:lnTo>
                  <a:lnTo>
                    <a:pt x="581055" y="151811"/>
                  </a:lnTo>
                  <a:lnTo>
                    <a:pt x="590016" y="146205"/>
                  </a:lnTo>
                  <a:lnTo>
                    <a:pt x="601791" y="145456"/>
                  </a:lnTo>
                  <a:lnTo>
                    <a:pt x="609599" y="150693"/>
                  </a:lnTo>
                  <a:lnTo>
                    <a:pt x="614957" y="159434"/>
                  </a:lnTo>
                  <a:lnTo>
                    <a:pt x="619379" y="169197"/>
                  </a:lnTo>
                  <a:lnTo>
                    <a:pt x="849718" y="658763"/>
                  </a:lnTo>
                  <a:lnTo>
                    <a:pt x="915871" y="799184"/>
                  </a:lnTo>
                  <a:lnTo>
                    <a:pt x="640059" y="799184"/>
                  </a:lnTo>
                  <a:lnTo>
                    <a:pt x="587353" y="803619"/>
                  </a:lnTo>
                  <a:lnTo>
                    <a:pt x="535156" y="812533"/>
                  </a:lnTo>
                  <a:lnTo>
                    <a:pt x="483415" y="825399"/>
                  </a:lnTo>
                  <a:lnTo>
                    <a:pt x="432081" y="841695"/>
                  </a:lnTo>
                  <a:lnTo>
                    <a:pt x="397869" y="854656"/>
                  </a:lnTo>
                  <a:lnTo>
                    <a:pt x="362056" y="868972"/>
                  </a:lnTo>
                  <a:close/>
                </a:path>
                <a:path w="1221739" h="1218564">
                  <a:moveTo>
                    <a:pt x="848964" y="555895"/>
                  </a:moveTo>
                  <a:lnTo>
                    <a:pt x="795871" y="443303"/>
                  </a:lnTo>
                  <a:lnTo>
                    <a:pt x="824755" y="438556"/>
                  </a:lnTo>
                  <a:lnTo>
                    <a:pt x="847983" y="441632"/>
                  </a:lnTo>
                  <a:lnTo>
                    <a:pt x="866044" y="452425"/>
                  </a:lnTo>
                  <a:lnTo>
                    <a:pt x="879428" y="470827"/>
                  </a:lnTo>
                  <a:lnTo>
                    <a:pt x="886642" y="493447"/>
                  </a:lnTo>
                  <a:lnTo>
                    <a:pt x="884279" y="514833"/>
                  </a:lnTo>
                  <a:lnTo>
                    <a:pt x="871874" y="535484"/>
                  </a:lnTo>
                  <a:lnTo>
                    <a:pt x="848964" y="555895"/>
                  </a:lnTo>
                  <a:close/>
                </a:path>
                <a:path w="1221739" h="1218564">
                  <a:moveTo>
                    <a:pt x="141751" y="956586"/>
                  </a:moveTo>
                  <a:lnTo>
                    <a:pt x="92507" y="947851"/>
                  </a:lnTo>
                  <a:lnTo>
                    <a:pt x="49588" y="922174"/>
                  </a:lnTo>
                  <a:lnTo>
                    <a:pt x="18606" y="882913"/>
                  </a:lnTo>
                  <a:lnTo>
                    <a:pt x="11930" y="867576"/>
                  </a:lnTo>
                  <a:lnTo>
                    <a:pt x="8591" y="859892"/>
                  </a:lnTo>
                  <a:lnTo>
                    <a:pt x="78" y="812533"/>
                  </a:lnTo>
                  <a:lnTo>
                    <a:pt x="0" y="809987"/>
                  </a:lnTo>
                  <a:lnTo>
                    <a:pt x="258" y="802337"/>
                  </a:lnTo>
                  <a:lnTo>
                    <a:pt x="9006" y="761537"/>
                  </a:lnTo>
                  <a:lnTo>
                    <a:pt x="34554" y="718600"/>
                  </a:lnTo>
                  <a:lnTo>
                    <a:pt x="66338" y="691676"/>
                  </a:lnTo>
                  <a:lnTo>
                    <a:pt x="129985" y="658507"/>
                  </a:lnTo>
                  <a:lnTo>
                    <a:pt x="196995" y="626988"/>
                  </a:lnTo>
                  <a:lnTo>
                    <a:pt x="321559" y="891454"/>
                  </a:lnTo>
                  <a:lnTo>
                    <a:pt x="285543" y="908199"/>
                  </a:lnTo>
                  <a:lnTo>
                    <a:pt x="249091" y="923886"/>
                  </a:lnTo>
                  <a:lnTo>
                    <a:pt x="212201" y="938515"/>
                  </a:lnTo>
                  <a:lnTo>
                    <a:pt x="174874" y="952086"/>
                  </a:lnTo>
                  <a:lnTo>
                    <a:pt x="158492" y="955464"/>
                  </a:lnTo>
                  <a:lnTo>
                    <a:pt x="141751" y="956586"/>
                  </a:lnTo>
                  <a:close/>
                </a:path>
                <a:path w="1221739" h="1218564">
                  <a:moveTo>
                    <a:pt x="942901" y="893786"/>
                  </a:moveTo>
                  <a:lnTo>
                    <a:pt x="935217" y="892522"/>
                  </a:lnTo>
                  <a:lnTo>
                    <a:pt x="927289" y="891504"/>
                  </a:lnTo>
                  <a:lnTo>
                    <a:pt x="920035" y="889796"/>
                  </a:lnTo>
                  <a:lnTo>
                    <a:pt x="914375" y="886462"/>
                  </a:lnTo>
                  <a:lnTo>
                    <a:pt x="896636" y="870823"/>
                  </a:lnTo>
                  <a:lnTo>
                    <a:pt x="877848" y="856703"/>
                  </a:lnTo>
                  <a:lnTo>
                    <a:pt x="837121" y="833015"/>
                  </a:lnTo>
                  <a:lnTo>
                    <a:pt x="793225" y="815896"/>
                  </a:lnTo>
                  <a:lnTo>
                    <a:pt x="747195" y="805844"/>
                  </a:lnTo>
                  <a:lnTo>
                    <a:pt x="693322" y="799751"/>
                  </a:lnTo>
                  <a:lnTo>
                    <a:pt x="640059" y="799184"/>
                  </a:lnTo>
                  <a:lnTo>
                    <a:pt x="915871" y="799184"/>
                  </a:lnTo>
                  <a:lnTo>
                    <a:pt x="941406" y="853387"/>
                  </a:lnTo>
                  <a:lnTo>
                    <a:pt x="943180" y="857017"/>
                  </a:lnTo>
                  <a:lnTo>
                    <a:pt x="944247" y="859299"/>
                  </a:lnTo>
                  <a:lnTo>
                    <a:pt x="952327" y="879729"/>
                  </a:lnTo>
                  <a:lnTo>
                    <a:pt x="950931" y="884229"/>
                  </a:lnTo>
                  <a:lnTo>
                    <a:pt x="950356" y="885723"/>
                  </a:lnTo>
                  <a:lnTo>
                    <a:pt x="948845" y="889312"/>
                  </a:lnTo>
                  <a:lnTo>
                    <a:pt x="946360" y="892000"/>
                  </a:lnTo>
                  <a:lnTo>
                    <a:pt x="942901" y="893786"/>
                  </a:lnTo>
                  <a:close/>
                </a:path>
                <a:path w="1221739" h="1218564">
                  <a:moveTo>
                    <a:pt x="413721" y="976457"/>
                  </a:moveTo>
                  <a:lnTo>
                    <a:pt x="407349" y="964420"/>
                  </a:lnTo>
                  <a:lnTo>
                    <a:pt x="390088" y="932464"/>
                  </a:lnTo>
                  <a:lnTo>
                    <a:pt x="382371" y="917780"/>
                  </a:lnTo>
                  <a:lnTo>
                    <a:pt x="471462" y="878251"/>
                  </a:lnTo>
                  <a:lnTo>
                    <a:pt x="485788" y="911387"/>
                  </a:lnTo>
                  <a:lnTo>
                    <a:pt x="484875" y="936530"/>
                  </a:lnTo>
                  <a:lnTo>
                    <a:pt x="462821" y="957085"/>
                  </a:lnTo>
                  <a:lnTo>
                    <a:pt x="413721" y="976457"/>
                  </a:lnTo>
                  <a:close/>
                </a:path>
                <a:path w="1221739" h="1218564">
                  <a:moveTo>
                    <a:pt x="429725" y="1218345"/>
                  </a:moveTo>
                  <a:lnTo>
                    <a:pt x="418315" y="1216052"/>
                  </a:lnTo>
                  <a:lnTo>
                    <a:pt x="408513" y="1209016"/>
                  </a:lnTo>
                  <a:lnTo>
                    <a:pt x="399976" y="1198110"/>
                  </a:lnTo>
                  <a:lnTo>
                    <a:pt x="371295" y="1153330"/>
                  </a:lnTo>
                  <a:lnTo>
                    <a:pt x="254752" y="972630"/>
                  </a:lnTo>
                  <a:lnTo>
                    <a:pt x="339459" y="932560"/>
                  </a:lnTo>
                  <a:lnTo>
                    <a:pt x="342842" y="938587"/>
                  </a:lnTo>
                  <a:lnTo>
                    <a:pt x="346159" y="943612"/>
                  </a:lnTo>
                  <a:lnTo>
                    <a:pt x="451739" y="1167975"/>
                  </a:lnTo>
                  <a:lnTo>
                    <a:pt x="457232" y="1183883"/>
                  </a:lnTo>
                  <a:lnTo>
                    <a:pt x="457659" y="1197258"/>
                  </a:lnTo>
                  <a:lnTo>
                    <a:pt x="452963" y="1207755"/>
                  </a:lnTo>
                  <a:lnTo>
                    <a:pt x="443085" y="1215025"/>
                  </a:lnTo>
                  <a:lnTo>
                    <a:pt x="429725" y="1218345"/>
                  </a:lnTo>
                  <a:close/>
                </a:path>
                <a:path w="1221739" h="1218564">
                  <a:moveTo>
                    <a:pt x="808156" y="124886"/>
                  </a:moveTo>
                  <a:lnTo>
                    <a:pt x="783147" y="100066"/>
                  </a:lnTo>
                  <a:lnTo>
                    <a:pt x="784029" y="90180"/>
                  </a:lnTo>
                  <a:lnTo>
                    <a:pt x="785699" y="85694"/>
                  </a:lnTo>
                  <a:lnTo>
                    <a:pt x="788596" y="81665"/>
                  </a:lnTo>
                  <a:lnTo>
                    <a:pt x="800132" y="64432"/>
                  </a:lnTo>
                  <a:lnTo>
                    <a:pt x="811751" y="47301"/>
                  </a:lnTo>
                  <a:lnTo>
                    <a:pt x="823452" y="30273"/>
                  </a:lnTo>
                  <a:lnTo>
                    <a:pt x="835235" y="13348"/>
                  </a:lnTo>
                  <a:lnTo>
                    <a:pt x="837996" y="9155"/>
                  </a:lnTo>
                  <a:lnTo>
                    <a:pt x="841592" y="5879"/>
                  </a:lnTo>
                  <a:lnTo>
                    <a:pt x="850452" y="1157"/>
                  </a:lnTo>
                  <a:lnTo>
                    <a:pt x="855177" y="0"/>
                  </a:lnTo>
                  <a:lnTo>
                    <a:pt x="860197" y="46"/>
                  </a:lnTo>
                  <a:lnTo>
                    <a:pt x="885159" y="15171"/>
                  </a:lnTo>
                  <a:lnTo>
                    <a:pt x="886966" y="17782"/>
                  </a:lnTo>
                  <a:lnTo>
                    <a:pt x="886309" y="21067"/>
                  </a:lnTo>
                  <a:lnTo>
                    <a:pt x="885652" y="24680"/>
                  </a:lnTo>
                  <a:lnTo>
                    <a:pt x="885488" y="26486"/>
                  </a:lnTo>
                  <a:lnTo>
                    <a:pt x="885185" y="32151"/>
                  </a:lnTo>
                  <a:lnTo>
                    <a:pt x="883652" y="37461"/>
                  </a:lnTo>
                  <a:lnTo>
                    <a:pt x="856995" y="78176"/>
                  </a:lnTo>
                  <a:lnTo>
                    <a:pt x="833100" y="112704"/>
                  </a:lnTo>
                  <a:lnTo>
                    <a:pt x="815277" y="124639"/>
                  </a:lnTo>
                  <a:lnTo>
                    <a:pt x="808156" y="124886"/>
                  </a:lnTo>
                  <a:close/>
                </a:path>
                <a:path w="1221739" h="1218564">
                  <a:moveTo>
                    <a:pt x="1021675" y="413849"/>
                  </a:moveTo>
                  <a:lnTo>
                    <a:pt x="999090" y="382188"/>
                  </a:lnTo>
                  <a:lnTo>
                    <a:pt x="1000287" y="377558"/>
                  </a:lnTo>
                  <a:lnTo>
                    <a:pt x="1005155" y="368936"/>
                  </a:lnTo>
                  <a:lnTo>
                    <a:pt x="1008502" y="365520"/>
                  </a:lnTo>
                  <a:lnTo>
                    <a:pt x="1012762" y="362998"/>
                  </a:lnTo>
                  <a:lnTo>
                    <a:pt x="1030406" y="352072"/>
                  </a:lnTo>
                  <a:lnTo>
                    <a:pt x="1065878" y="330527"/>
                  </a:lnTo>
                  <a:lnTo>
                    <a:pt x="1083706" y="319971"/>
                  </a:lnTo>
                  <a:lnTo>
                    <a:pt x="1087893" y="317283"/>
                  </a:lnTo>
                  <a:lnTo>
                    <a:pt x="1092468" y="315779"/>
                  </a:lnTo>
                  <a:lnTo>
                    <a:pt x="1102396" y="315137"/>
                  </a:lnTo>
                  <a:lnTo>
                    <a:pt x="1107127" y="316039"/>
                  </a:lnTo>
                  <a:lnTo>
                    <a:pt x="1128375" y="342141"/>
                  </a:lnTo>
                  <a:lnTo>
                    <a:pt x="1128868" y="345426"/>
                  </a:lnTo>
                  <a:lnTo>
                    <a:pt x="1126733" y="348053"/>
                  </a:lnTo>
                  <a:lnTo>
                    <a:pt x="1125912" y="349531"/>
                  </a:lnTo>
                  <a:lnTo>
                    <a:pt x="1124927" y="351009"/>
                  </a:lnTo>
                  <a:lnTo>
                    <a:pt x="1123941" y="352651"/>
                  </a:lnTo>
                  <a:lnTo>
                    <a:pt x="1121351" y="357683"/>
                  </a:lnTo>
                  <a:lnTo>
                    <a:pt x="1117793" y="361898"/>
                  </a:lnTo>
                  <a:lnTo>
                    <a:pt x="1076706" y="388001"/>
                  </a:lnTo>
                  <a:lnTo>
                    <a:pt x="1040515" y="409473"/>
                  </a:lnTo>
                  <a:lnTo>
                    <a:pt x="1036276" y="412247"/>
                  </a:lnTo>
                  <a:lnTo>
                    <a:pt x="1031623" y="413670"/>
                  </a:lnTo>
                  <a:lnTo>
                    <a:pt x="1021675" y="413849"/>
                  </a:lnTo>
                  <a:close/>
                </a:path>
                <a:path w="1221739" h="1218564">
                  <a:moveTo>
                    <a:pt x="1192274" y="813828"/>
                  </a:moveTo>
                  <a:lnTo>
                    <a:pt x="1186675" y="812972"/>
                  </a:lnTo>
                  <a:lnTo>
                    <a:pt x="1165806" y="807758"/>
                  </a:lnTo>
                  <a:lnTo>
                    <a:pt x="1144983" y="802297"/>
                  </a:lnTo>
                  <a:lnTo>
                    <a:pt x="1104399" y="791130"/>
                  </a:lnTo>
                  <a:lnTo>
                    <a:pt x="1099537" y="789934"/>
                  </a:lnTo>
                  <a:lnTo>
                    <a:pt x="1083529" y="767035"/>
                  </a:lnTo>
                  <a:lnTo>
                    <a:pt x="1083623" y="762319"/>
                  </a:lnTo>
                  <a:lnTo>
                    <a:pt x="1109274" y="737558"/>
                  </a:lnTo>
                  <a:lnTo>
                    <a:pt x="1114068" y="737598"/>
                  </a:lnTo>
                  <a:lnTo>
                    <a:pt x="1118850" y="738907"/>
                  </a:lnTo>
                  <a:lnTo>
                    <a:pt x="1179079" y="754703"/>
                  </a:lnTo>
                  <a:lnTo>
                    <a:pt x="1198992" y="760256"/>
                  </a:lnTo>
                  <a:lnTo>
                    <a:pt x="1203818" y="761447"/>
                  </a:lnTo>
                  <a:lnTo>
                    <a:pt x="1208067" y="763717"/>
                  </a:lnTo>
                  <a:lnTo>
                    <a:pt x="1221516" y="789091"/>
                  </a:lnTo>
                  <a:lnTo>
                    <a:pt x="1219473" y="799250"/>
                  </a:lnTo>
                  <a:lnTo>
                    <a:pt x="1217287" y="803765"/>
                  </a:lnTo>
                  <a:lnTo>
                    <a:pt x="1213907" y="807758"/>
                  </a:lnTo>
                  <a:lnTo>
                    <a:pt x="1211965" y="810508"/>
                  </a:lnTo>
                  <a:lnTo>
                    <a:pt x="1208517" y="810837"/>
                  </a:lnTo>
                  <a:lnTo>
                    <a:pt x="1206875" y="811165"/>
                  </a:lnTo>
                  <a:lnTo>
                    <a:pt x="1205068" y="811494"/>
                  </a:lnTo>
                  <a:lnTo>
                    <a:pt x="1197803" y="813499"/>
                  </a:lnTo>
                  <a:lnTo>
                    <a:pt x="1192274" y="813828"/>
                  </a:lnTo>
                  <a:close/>
                </a:path>
              </a:pathLst>
            </a:custGeom>
            <a:solidFill>
              <a:srgbClr val="FFFFFF"/>
            </a:solidFill>
          </p:spPr>
          <p:txBody>
            <a:bodyPr wrap="square" lIns="0" tIns="0" rIns="0" bIns="0" rtlCol="0"/>
            <a:lstStyle/>
            <a:p>
              <a:endParaRPr/>
            </a:p>
          </p:txBody>
        </p:sp>
      </p:grpSp>
      <p:sp>
        <p:nvSpPr>
          <p:cNvPr id="10" name="object 10"/>
          <p:cNvSpPr txBox="1"/>
          <p:nvPr/>
        </p:nvSpPr>
        <p:spPr>
          <a:xfrm>
            <a:off x="2259999" y="4587204"/>
            <a:ext cx="2804795" cy="692150"/>
          </a:xfrm>
          <a:prstGeom prst="rect">
            <a:avLst/>
          </a:prstGeom>
        </p:spPr>
        <p:txBody>
          <a:bodyPr vert="horz" wrap="square" lIns="0" tIns="12065" rIns="0" bIns="0" rtlCol="0">
            <a:spAutoFit/>
          </a:bodyPr>
          <a:lstStyle/>
          <a:p>
            <a:pPr marL="847090" marR="5080" indent="-835025">
              <a:lnSpc>
                <a:spcPct val="115100"/>
              </a:lnSpc>
              <a:spcBef>
                <a:spcPts val="95"/>
              </a:spcBef>
            </a:pPr>
            <a:r>
              <a:rPr sz="1900" spc="-10" dirty="0">
                <a:solidFill>
                  <a:srgbClr val="737373"/>
                </a:solidFill>
                <a:latin typeface="Roboto"/>
                <a:cs typeface="Roboto"/>
              </a:rPr>
              <a:t>Actualización</a:t>
            </a:r>
            <a:r>
              <a:rPr sz="1900" spc="-80" dirty="0">
                <a:solidFill>
                  <a:srgbClr val="737373"/>
                </a:solidFill>
                <a:latin typeface="Roboto"/>
                <a:cs typeface="Roboto"/>
              </a:rPr>
              <a:t> </a:t>
            </a:r>
            <a:r>
              <a:rPr sz="1900" dirty="0">
                <a:solidFill>
                  <a:srgbClr val="737373"/>
                </a:solidFill>
                <a:latin typeface="Roboto"/>
                <a:cs typeface="Roboto"/>
              </a:rPr>
              <a:t>y</a:t>
            </a:r>
            <a:r>
              <a:rPr sz="1900" spc="-80" dirty="0">
                <a:solidFill>
                  <a:srgbClr val="737373"/>
                </a:solidFill>
                <a:latin typeface="Roboto"/>
                <a:cs typeface="Roboto"/>
              </a:rPr>
              <a:t> </a:t>
            </a:r>
            <a:r>
              <a:rPr sz="1900" spc="-10" dirty="0">
                <a:solidFill>
                  <a:srgbClr val="737373"/>
                </a:solidFill>
                <a:latin typeface="Roboto"/>
                <a:cs typeface="Roboto"/>
              </a:rPr>
              <a:t>desarrollo </a:t>
            </a:r>
            <a:r>
              <a:rPr sz="1900" dirty="0">
                <a:solidFill>
                  <a:srgbClr val="737373"/>
                </a:solidFill>
                <a:latin typeface="Roboto"/>
                <a:cs typeface="Roboto"/>
              </a:rPr>
              <a:t>de</a:t>
            </a:r>
            <a:r>
              <a:rPr sz="1900" spc="-20" dirty="0">
                <a:solidFill>
                  <a:srgbClr val="737373"/>
                </a:solidFill>
                <a:latin typeface="Roboto"/>
                <a:cs typeface="Roboto"/>
              </a:rPr>
              <a:t> </a:t>
            </a:r>
            <a:r>
              <a:rPr sz="1900" b="1" spc="-10" dirty="0">
                <a:solidFill>
                  <a:srgbClr val="E3112B"/>
                </a:solidFill>
                <a:latin typeface="Roboto"/>
                <a:cs typeface="Roboto"/>
              </a:rPr>
              <a:t>canales</a:t>
            </a:r>
            <a:endParaRPr sz="1900">
              <a:latin typeface="Roboto"/>
              <a:cs typeface="Roboto"/>
            </a:endParaRPr>
          </a:p>
        </p:txBody>
      </p:sp>
      <p:sp>
        <p:nvSpPr>
          <p:cNvPr id="11" name="object 11"/>
          <p:cNvSpPr/>
          <p:nvPr/>
        </p:nvSpPr>
        <p:spPr>
          <a:xfrm>
            <a:off x="823475" y="4461130"/>
            <a:ext cx="1069975" cy="1069975"/>
          </a:xfrm>
          <a:custGeom>
            <a:avLst/>
            <a:gdLst/>
            <a:ahLst/>
            <a:cxnLst/>
            <a:rect l="l" t="t" r="r" b="b"/>
            <a:pathLst>
              <a:path w="1069975" h="1069975">
                <a:moveTo>
                  <a:pt x="534706" y="1069390"/>
                </a:moveTo>
                <a:lnTo>
                  <a:pt x="486027" y="1067205"/>
                </a:lnTo>
                <a:lnTo>
                  <a:pt x="438583" y="1060776"/>
                </a:lnTo>
                <a:lnTo>
                  <a:pt x="392552" y="1050290"/>
                </a:lnTo>
                <a:lnTo>
                  <a:pt x="348122" y="1035938"/>
                </a:lnTo>
                <a:lnTo>
                  <a:pt x="305483" y="1017908"/>
                </a:lnTo>
                <a:lnTo>
                  <a:pt x="264824" y="996389"/>
                </a:lnTo>
                <a:lnTo>
                  <a:pt x="226332" y="971569"/>
                </a:lnTo>
                <a:lnTo>
                  <a:pt x="190197" y="943637"/>
                </a:lnTo>
                <a:lnTo>
                  <a:pt x="156608" y="912782"/>
                </a:lnTo>
                <a:lnTo>
                  <a:pt x="125753" y="879192"/>
                </a:lnTo>
                <a:lnTo>
                  <a:pt x="97821" y="843057"/>
                </a:lnTo>
                <a:lnTo>
                  <a:pt x="73001" y="804566"/>
                </a:lnTo>
                <a:lnTo>
                  <a:pt x="51482" y="763906"/>
                </a:lnTo>
                <a:lnTo>
                  <a:pt x="33451" y="721267"/>
                </a:lnTo>
                <a:lnTo>
                  <a:pt x="19099" y="676838"/>
                </a:lnTo>
                <a:lnTo>
                  <a:pt x="8614" y="630807"/>
                </a:lnTo>
                <a:lnTo>
                  <a:pt x="2185" y="583363"/>
                </a:lnTo>
                <a:lnTo>
                  <a:pt x="0" y="534695"/>
                </a:lnTo>
                <a:lnTo>
                  <a:pt x="2185" y="486026"/>
                </a:lnTo>
                <a:lnTo>
                  <a:pt x="8614" y="438583"/>
                </a:lnTo>
                <a:lnTo>
                  <a:pt x="19099" y="392551"/>
                </a:lnTo>
                <a:lnTo>
                  <a:pt x="33451" y="348122"/>
                </a:lnTo>
                <a:lnTo>
                  <a:pt x="51482" y="305483"/>
                </a:lnTo>
                <a:lnTo>
                  <a:pt x="73001" y="264824"/>
                </a:lnTo>
                <a:lnTo>
                  <a:pt x="97821" y="226332"/>
                </a:lnTo>
                <a:lnTo>
                  <a:pt x="125753" y="190197"/>
                </a:lnTo>
                <a:lnTo>
                  <a:pt x="156608" y="156608"/>
                </a:lnTo>
                <a:lnTo>
                  <a:pt x="190197" y="125753"/>
                </a:lnTo>
                <a:lnTo>
                  <a:pt x="226332" y="97821"/>
                </a:lnTo>
                <a:lnTo>
                  <a:pt x="264824" y="73001"/>
                </a:lnTo>
                <a:lnTo>
                  <a:pt x="305483" y="51482"/>
                </a:lnTo>
                <a:lnTo>
                  <a:pt x="348122" y="33451"/>
                </a:lnTo>
                <a:lnTo>
                  <a:pt x="392552" y="19099"/>
                </a:lnTo>
                <a:lnTo>
                  <a:pt x="438583" y="8614"/>
                </a:lnTo>
                <a:lnTo>
                  <a:pt x="486027"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7"/>
                </a:lnTo>
                <a:lnTo>
                  <a:pt x="971568" y="226332"/>
                </a:lnTo>
                <a:lnTo>
                  <a:pt x="996388" y="264824"/>
                </a:lnTo>
                <a:lnTo>
                  <a:pt x="1017908" y="305483"/>
                </a:lnTo>
                <a:lnTo>
                  <a:pt x="1035938" y="348122"/>
                </a:lnTo>
                <a:lnTo>
                  <a:pt x="1050290" y="392551"/>
                </a:lnTo>
                <a:lnTo>
                  <a:pt x="1060775" y="438583"/>
                </a:lnTo>
                <a:lnTo>
                  <a:pt x="1067205" y="486026"/>
                </a:lnTo>
                <a:lnTo>
                  <a:pt x="1069390" y="534695"/>
                </a:lnTo>
                <a:lnTo>
                  <a:pt x="1067205" y="583363"/>
                </a:lnTo>
                <a:lnTo>
                  <a:pt x="1060775" y="630807"/>
                </a:lnTo>
                <a:lnTo>
                  <a:pt x="1050290" y="676838"/>
                </a:lnTo>
                <a:lnTo>
                  <a:pt x="1035938" y="721267"/>
                </a:lnTo>
                <a:lnTo>
                  <a:pt x="1017908" y="763906"/>
                </a:lnTo>
                <a:lnTo>
                  <a:pt x="996388" y="804566"/>
                </a:lnTo>
                <a:lnTo>
                  <a:pt x="971568" y="843057"/>
                </a:lnTo>
                <a:lnTo>
                  <a:pt x="943636" y="879192"/>
                </a:lnTo>
                <a:lnTo>
                  <a:pt x="912781" y="912782"/>
                </a:lnTo>
                <a:lnTo>
                  <a:pt x="879192" y="943637"/>
                </a:lnTo>
                <a:lnTo>
                  <a:pt x="843057" y="971569"/>
                </a:lnTo>
                <a:lnTo>
                  <a:pt x="804566" y="996389"/>
                </a:lnTo>
                <a:lnTo>
                  <a:pt x="763906" y="1017908"/>
                </a:lnTo>
                <a:lnTo>
                  <a:pt x="721267" y="1035938"/>
                </a:lnTo>
                <a:lnTo>
                  <a:pt x="676838" y="1050290"/>
                </a:lnTo>
                <a:lnTo>
                  <a:pt x="630807" y="1060776"/>
                </a:lnTo>
                <a:lnTo>
                  <a:pt x="583363" y="1067205"/>
                </a:lnTo>
                <a:lnTo>
                  <a:pt x="534706" y="1069390"/>
                </a:lnTo>
                <a:close/>
              </a:path>
            </a:pathLst>
          </a:custGeom>
          <a:solidFill>
            <a:srgbClr val="003793"/>
          </a:solidFill>
        </p:spPr>
        <p:txBody>
          <a:bodyPr wrap="square" lIns="0" tIns="0" rIns="0" bIns="0" rtlCol="0"/>
          <a:lstStyle/>
          <a:p>
            <a:endParaRPr/>
          </a:p>
        </p:txBody>
      </p:sp>
      <p:sp>
        <p:nvSpPr>
          <p:cNvPr id="12" name="object 12"/>
          <p:cNvSpPr txBox="1"/>
          <p:nvPr/>
        </p:nvSpPr>
        <p:spPr>
          <a:xfrm>
            <a:off x="1117115" y="4727326"/>
            <a:ext cx="482600" cy="506730"/>
          </a:xfrm>
          <a:prstGeom prst="rect">
            <a:avLst/>
          </a:prstGeom>
        </p:spPr>
        <p:txBody>
          <a:bodyPr vert="horz" wrap="square" lIns="0" tIns="13335" rIns="0" bIns="0" rtlCol="0">
            <a:spAutoFit/>
          </a:bodyPr>
          <a:lstStyle/>
          <a:p>
            <a:pPr marL="12700">
              <a:lnSpc>
                <a:spcPct val="100000"/>
              </a:lnSpc>
              <a:spcBef>
                <a:spcPts val="105"/>
              </a:spcBef>
            </a:pPr>
            <a:r>
              <a:rPr sz="3150" b="1" spc="-25" dirty="0">
                <a:solidFill>
                  <a:srgbClr val="FFFFFF"/>
                </a:solidFill>
                <a:latin typeface="Arial"/>
                <a:cs typeface="Arial"/>
              </a:rPr>
              <a:t>01</a:t>
            </a:r>
            <a:endParaRPr sz="3150">
              <a:latin typeface="Arial"/>
              <a:cs typeface="Arial"/>
            </a:endParaRPr>
          </a:p>
        </p:txBody>
      </p:sp>
      <p:sp>
        <p:nvSpPr>
          <p:cNvPr id="13" name="object 13"/>
          <p:cNvSpPr txBox="1"/>
          <p:nvPr/>
        </p:nvSpPr>
        <p:spPr>
          <a:xfrm>
            <a:off x="637985" y="384148"/>
            <a:ext cx="818832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2.</a:t>
            </a:r>
            <a:r>
              <a:rPr sz="3000" spc="-60" dirty="0">
                <a:solidFill>
                  <a:srgbClr val="FFFFFF"/>
                </a:solidFill>
                <a:latin typeface="Roboto"/>
                <a:cs typeface="Roboto"/>
              </a:rPr>
              <a:t> </a:t>
            </a:r>
            <a:r>
              <a:rPr sz="3000" dirty="0">
                <a:solidFill>
                  <a:srgbClr val="FFFFFF"/>
                </a:solidFill>
                <a:latin typeface="Roboto"/>
                <a:cs typeface="Roboto"/>
              </a:rPr>
              <a:t>¿Cómo</a:t>
            </a:r>
            <a:r>
              <a:rPr sz="3000" spc="-55" dirty="0">
                <a:solidFill>
                  <a:srgbClr val="FFFFFF"/>
                </a:solidFill>
                <a:latin typeface="Roboto"/>
                <a:cs typeface="Roboto"/>
              </a:rPr>
              <a:t> </a:t>
            </a:r>
            <a:r>
              <a:rPr sz="3000" spc="-10" dirty="0">
                <a:solidFill>
                  <a:srgbClr val="FFFFFF"/>
                </a:solidFill>
                <a:latin typeface="Roboto"/>
                <a:cs typeface="Roboto"/>
              </a:rPr>
              <a:t>promocionamos</a:t>
            </a:r>
            <a:r>
              <a:rPr sz="3000" spc="-55" dirty="0">
                <a:solidFill>
                  <a:srgbClr val="FFFFFF"/>
                </a:solidFill>
                <a:latin typeface="Roboto"/>
                <a:cs typeface="Roboto"/>
              </a:rPr>
              <a:t> </a:t>
            </a:r>
            <a:r>
              <a:rPr sz="3000" dirty="0">
                <a:solidFill>
                  <a:srgbClr val="FFFFFF"/>
                </a:solidFill>
                <a:latin typeface="Roboto"/>
                <a:cs typeface="Roboto"/>
              </a:rPr>
              <a:t>MICE</a:t>
            </a:r>
            <a:r>
              <a:rPr sz="3000" spc="-55" dirty="0">
                <a:solidFill>
                  <a:srgbClr val="FFFFFF"/>
                </a:solidFill>
                <a:latin typeface="Roboto"/>
                <a:cs typeface="Roboto"/>
              </a:rPr>
              <a:t> </a:t>
            </a:r>
            <a:r>
              <a:rPr sz="3000" spc="-20" dirty="0">
                <a:solidFill>
                  <a:srgbClr val="FFFFFF"/>
                </a:solidFill>
                <a:latin typeface="Roboto"/>
                <a:cs typeface="Roboto"/>
              </a:rPr>
              <a:t>internacional?</a:t>
            </a:r>
            <a:endParaRPr sz="3000">
              <a:latin typeface="Roboto"/>
              <a:cs typeface="Roboto"/>
            </a:endParaRPr>
          </a:p>
        </p:txBody>
      </p:sp>
      <p:sp>
        <p:nvSpPr>
          <p:cNvPr id="14" name="object 14"/>
          <p:cNvSpPr txBox="1">
            <a:spLocks noGrp="1"/>
          </p:cNvSpPr>
          <p:nvPr>
            <p:ph type="title"/>
          </p:nvPr>
        </p:nvSpPr>
        <p:spPr>
          <a:xfrm>
            <a:off x="5939109" y="1510460"/>
            <a:ext cx="6318250" cy="643890"/>
          </a:xfrm>
          <a:prstGeom prst="rect">
            <a:avLst/>
          </a:prstGeom>
        </p:spPr>
        <p:txBody>
          <a:bodyPr vert="horz" wrap="square" lIns="0" tIns="13335" rIns="0" bIns="0" rtlCol="0">
            <a:spAutoFit/>
          </a:bodyPr>
          <a:lstStyle/>
          <a:p>
            <a:pPr marL="12700">
              <a:lnSpc>
                <a:spcPct val="100000"/>
              </a:lnSpc>
              <a:spcBef>
                <a:spcPts val="105"/>
              </a:spcBef>
            </a:pPr>
            <a:r>
              <a:rPr sz="4050" b="1" dirty="0">
                <a:solidFill>
                  <a:srgbClr val="E3112B"/>
                </a:solidFill>
                <a:latin typeface="Roboto"/>
                <a:cs typeface="Roboto"/>
              </a:rPr>
              <a:t>Estrategia</a:t>
            </a:r>
            <a:r>
              <a:rPr sz="4050" b="1" spc="-90" dirty="0">
                <a:solidFill>
                  <a:srgbClr val="E3112B"/>
                </a:solidFill>
                <a:latin typeface="Roboto"/>
                <a:cs typeface="Roboto"/>
              </a:rPr>
              <a:t> </a:t>
            </a:r>
            <a:r>
              <a:rPr sz="4050" b="1" dirty="0">
                <a:solidFill>
                  <a:srgbClr val="E3112B"/>
                </a:solidFill>
                <a:latin typeface="Roboto"/>
                <a:cs typeface="Roboto"/>
              </a:rPr>
              <a:t>y</a:t>
            </a:r>
            <a:r>
              <a:rPr sz="4050" b="1" spc="-90" dirty="0">
                <a:solidFill>
                  <a:srgbClr val="E3112B"/>
                </a:solidFill>
                <a:latin typeface="Roboto"/>
                <a:cs typeface="Roboto"/>
              </a:rPr>
              <a:t> </a:t>
            </a:r>
            <a:r>
              <a:rPr sz="4050" b="1" dirty="0">
                <a:solidFill>
                  <a:srgbClr val="E3112B"/>
                </a:solidFill>
                <a:latin typeface="Roboto"/>
                <a:cs typeface="Roboto"/>
              </a:rPr>
              <a:t>acciones</a:t>
            </a:r>
            <a:r>
              <a:rPr sz="4050" b="1" spc="-90" dirty="0">
                <a:solidFill>
                  <a:srgbClr val="E3112B"/>
                </a:solidFill>
                <a:latin typeface="Roboto"/>
                <a:cs typeface="Roboto"/>
              </a:rPr>
              <a:t> </a:t>
            </a:r>
            <a:r>
              <a:rPr sz="4050" b="1" spc="-20" dirty="0">
                <a:solidFill>
                  <a:srgbClr val="E3112B"/>
                </a:solidFill>
                <a:latin typeface="Roboto"/>
                <a:cs typeface="Roboto"/>
              </a:rPr>
              <a:t>MICE</a:t>
            </a:r>
            <a:endParaRPr sz="4050">
              <a:latin typeface="Roboto"/>
              <a:cs typeface="Roboto"/>
            </a:endParaRPr>
          </a:p>
        </p:txBody>
      </p:sp>
      <p:grpSp>
        <p:nvGrpSpPr>
          <p:cNvPr id="15" name="object 15"/>
          <p:cNvGrpSpPr/>
          <p:nvPr/>
        </p:nvGrpSpPr>
        <p:grpSpPr>
          <a:xfrm>
            <a:off x="8132058" y="2480901"/>
            <a:ext cx="1858010" cy="1858010"/>
            <a:chOff x="8132058" y="2480901"/>
            <a:chExt cx="1858010" cy="1858010"/>
          </a:xfrm>
        </p:grpSpPr>
        <p:sp>
          <p:nvSpPr>
            <p:cNvPr id="16" name="object 16"/>
            <p:cNvSpPr/>
            <p:nvPr/>
          </p:nvSpPr>
          <p:spPr>
            <a:xfrm>
              <a:off x="8132058" y="2480901"/>
              <a:ext cx="1858010" cy="1858010"/>
            </a:xfrm>
            <a:custGeom>
              <a:avLst/>
              <a:gdLst/>
              <a:ahLst/>
              <a:cxnLst/>
              <a:rect l="l" t="t" r="r" b="b"/>
              <a:pathLst>
                <a:path w="1858009" h="1858010">
                  <a:moveTo>
                    <a:pt x="928922" y="1857797"/>
                  </a:moveTo>
                  <a:lnTo>
                    <a:pt x="881097" y="1856588"/>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7" y="1585729"/>
                  </a:lnTo>
                  <a:lnTo>
                    <a:pt x="241310" y="1553469"/>
                  </a:lnTo>
                  <a:lnTo>
                    <a:pt x="212115" y="1519764"/>
                  </a:lnTo>
                  <a:lnTo>
                    <a:pt x="184539" y="1484673"/>
                  </a:lnTo>
                  <a:lnTo>
                    <a:pt x="158641" y="1448254"/>
                  </a:lnTo>
                  <a:lnTo>
                    <a:pt x="134479" y="1410566"/>
                  </a:lnTo>
                  <a:lnTo>
                    <a:pt x="112112" y="1371667"/>
                  </a:lnTo>
                  <a:lnTo>
                    <a:pt x="91599" y="1331614"/>
                  </a:lnTo>
                  <a:lnTo>
                    <a:pt x="72997" y="1290468"/>
                  </a:lnTo>
                  <a:lnTo>
                    <a:pt x="56365" y="1248285"/>
                  </a:lnTo>
                  <a:lnTo>
                    <a:pt x="41761" y="1205124"/>
                  </a:lnTo>
                  <a:lnTo>
                    <a:pt x="29243" y="1161045"/>
                  </a:lnTo>
                  <a:lnTo>
                    <a:pt x="18871" y="1116104"/>
                  </a:lnTo>
                  <a:lnTo>
                    <a:pt x="10702" y="1070360"/>
                  </a:lnTo>
                  <a:lnTo>
                    <a:pt x="4795" y="1023873"/>
                  </a:lnTo>
                  <a:lnTo>
                    <a:pt x="1208" y="976699"/>
                  </a:lnTo>
                  <a:lnTo>
                    <a:pt x="0" y="928890"/>
                  </a:lnTo>
                  <a:lnTo>
                    <a:pt x="1208" y="881097"/>
                  </a:lnTo>
                  <a:lnTo>
                    <a:pt x="4795" y="833924"/>
                  </a:lnTo>
                  <a:lnTo>
                    <a:pt x="10702" y="787436"/>
                  </a:lnTo>
                  <a:lnTo>
                    <a:pt x="18871" y="741693"/>
                  </a:lnTo>
                  <a:lnTo>
                    <a:pt x="29243" y="696752"/>
                  </a:lnTo>
                  <a:lnTo>
                    <a:pt x="41761" y="652672"/>
                  </a:lnTo>
                  <a:lnTo>
                    <a:pt x="56365" y="609512"/>
                  </a:lnTo>
                  <a:lnTo>
                    <a:pt x="72997" y="567329"/>
                  </a:lnTo>
                  <a:lnTo>
                    <a:pt x="91599" y="526182"/>
                  </a:lnTo>
                  <a:lnTo>
                    <a:pt x="112112" y="486130"/>
                  </a:lnTo>
                  <a:lnTo>
                    <a:pt x="134479" y="447230"/>
                  </a:lnTo>
                  <a:lnTo>
                    <a:pt x="158641" y="409542"/>
                  </a:lnTo>
                  <a:lnTo>
                    <a:pt x="184539" y="373123"/>
                  </a:lnTo>
                  <a:lnTo>
                    <a:pt x="212115" y="338032"/>
                  </a:lnTo>
                  <a:lnTo>
                    <a:pt x="241310" y="304328"/>
                  </a:lnTo>
                  <a:lnTo>
                    <a:pt x="272067"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2" y="4795"/>
                  </a:lnTo>
                  <a:lnTo>
                    <a:pt x="1070360" y="10703"/>
                  </a:lnTo>
                  <a:lnTo>
                    <a:pt x="1116103" y="18871"/>
                  </a:lnTo>
                  <a:lnTo>
                    <a:pt x="1161044" y="29244"/>
                  </a:lnTo>
                  <a:lnTo>
                    <a:pt x="1205124" y="41761"/>
                  </a:lnTo>
                  <a:lnTo>
                    <a:pt x="1248285" y="56365"/>
                  </a:lnTo>
                  <a:lnTo>
                    <a:pt x="1290467" y="72997"/>
                  </a:lnTo>
                  <a:lnTo>
                    <a:pt x="1331614" y="91599"/>
                  </a:lnTo>
                  <a:lnTo>
                    <a:pt x="1371666" y="112113"/>
                  </a:lnTo>
                  <a:lnTo>
                    <a:pt x="1410566" y="134479"/>
                  </a:lnTo>
                  <a:lnTo>
                    <a:pt x="1448254" y="158641"/>
                  </a:lnTo>
                  <a:lnTo>
                    <a:pt x="1484673" y="184539"/>
                  </a:lnTo>
                  <a:lnTo>
                    <a:pt x="1519764" y="212115"/>
                  </a:lnTo>
                  <a:lnTo>
                    <a:pt x="1553469" y="241311"/>
                  </a:lnTo>
                  <a:lnTo>
                    <a:pt x="1585729" y="272068"/>
                  </a:lnTo>
                  <a:lnTo>
                    <a:pt x="1616486" y="304328"/>
                  </a:lnTo>
                  <a:lnTo>
                    <a:pt x="1645682" y="338032"/>
                  </a:lnTo>
                  <a:lnTo>
                    <a:pt x="1673258" y="373123"/>
                  </a:lnTo>
                  <a:lnTo>
                    <a:pt x="1699156" y="409542"/>
                  </a:lnTo>
                  <a:lnTo>
                    <a:pt x="1723317" y="447230"/>
                  </a:lnTo>
                  <a:lnTo>
                    <a:pt x="1745684" y="486130"/>
                  </a:lnTo>
                  <a:lnTo>
                    <a:pt x="1766197" y="526182"/>
                  </a:lnTo>
                  <a:lnTo>
                    <a:pt x="1784800" y="567329"/>
                  </a:lnTo>
                  <a:lnTo>
                    <a:pt x="1801432" y="609512"/>
                  </a:lnTo>
                  <a:lnTo>
                    <a:pt x="1816036" y="652672"/>
                  </a:lnTo>
                  <a:lnTo>
                    <a:pt x="1828553" y="696752"/>
                  </a:lnTo>
                  <a:lnTo>
                    <a:pt x="1838925" y="741693"/>
                  </a:lnTo>
                  <a:lnTo>
                    <a:pt x="1847094" y="787436"/>
                  </a:lnTo>
                  <a:lnTo>
                    <a:pt x="1853001" y="833924"/>
                  </a:lnTo>
                  <a:lnTo>
                    <a:pt x="1856588" y="881097"/>
                  </a:lnTo>
                  <a:lnTo>
                    <a:pt x="1857797" y="928898"/>
                  </a:lnTo>
                  <a:lnTo>
                    <a:pt x="1856588" y="976699"/>
                  </a:lnTo>
                  <a:lnTo>
                    <a:pt x="1853001" y="1023873"/>
                  </a:lnTo>
                  <a:lnTo>
                    <a:pt x="1847094" y="1070360"/>
                  </a:lnTo>
                  <a:lnTo>
                    <a:pt x="1838925" y="1116104"/>
                  </a:lnTo>
                  <a:lnTo>
                    <a:pt x="1828553" y="1161045"/>
                  </a:lnTo>
                  <a:lnTo>
                    <a:pt x="1816036" y="1205124"/>
                  </a:lnTo>
                  <a:lnTo>
                    <a:pt x="1801432" y="1248285"/>
                  </a:lnTo>
                  <a:lnTo>
                    <a:pt x="1784800" y="1290468"/>
                  </a:lnTo>
                  <a:lnTo>
                    <a:pt x="1766197" y="1331614"/>
                  </a:lnTo>
                  <a:lnTo>
                    <a:pt x="1745684" y="1371667"/>
                  </a:lnTo>
                  <a:lnTo>
                    <a:pt x="1723317" y="1410566"/>
                  </a:lnTo>
                  <a:lnTo>
                    <a:pt x="1699156" y="1448254"/>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6" y="1745684"/>
                  </a:lnTo>
                  <a:lnTo>
                    <a:pt x="1331614" y="1766198"/>
                  </a:lnTo>
                  <a:lnTo>
                    <a:pt x="1290467" y="1784800"/>
                  </a:lnTo>
                  <a:lnTo>
                    <a:pt x="1248285" y="1801432"/>
                  </a:lnTo>
                  <a:lnTo>
                    <a:pt x="1205124" y="1816036"/>
                  </a:lnTo>
                  <a:lnTo>
                    <a:pt x="1161044" y="1828553"/>
                  </a:lnTo>
                  <a:lnTo>
                    <a:pt x="1116103" y="1838925"/>
                  </a:lnTo>
                  <a:lnTo>
                    <a:pt x="1070360" y="1847094"/>
                  </a:lnTo>
                  <a:lnTo>
                    <a:pt x="1023872" y="1853001"/>
                  </a:lnTo>
                  <a:lnTo>
                    <a:pt x="976699" y="1856588"/>
                  </a:lnTo>
                  <a:lnTo>
                    <a:pt x="928922" y="1857797"/>
                  </a:lnTo>
                  <a:close/>
                </a:path>
              </a:pathLst>
            </a:custGeom>
            <a:solidFill>
              <a:srgbClr val="21408B"/>
            </a:solidFill>
          </p:spPr>
          <p:txBody>
            <a:bodyPr wrap="square" lIns="0" tIns="0" rIns="0" bIns="0" rtlCol="0"/>
            <a:lstStyle/>
            <a:p>
              <a:endParaRPr/>
            </a:p>
          </p:txBody>
        </p:sp>
        <p:sp>
          <p:nvSpPr>
            <p:cNvPr id="17" name="object 17"/>
            <p:cNvSpPr/>
            <p:nvPr/>
          </p:nvSpPr>
          <p:spPr>
            <a:xfrm>
              <a:off x="8500173" y="2851111"/>
              <a:ext cx="1115060" cy="1109980"/>
            </a:xfrm>
            <a:custGeom>
              <a:avLst/>
              <a:gdLst/>
              <a:ahLst/>
              <a:cxnLst/>
              <a:rect l="l" t="t" r="r" b="b"/>
              <a:pathLst>
                <a:path w="1115059" h="1109979">
                  <a:moveTo>
                    <a:pt x="712558" y="1074953"/>
                  </a:moveTo>
                  <a:lnTo>
                    <a:pt x="701903" y="1028255"/>
                  </a:lnTo>
                  <a:lnTo>
                    <a:pt x="677570" y="983157"/>
                  </a:lnTo>
                  <a:lnTo>
                    <a:pt x="642912" y="943559"/>
                  </a:lnTo>
                  <a:lnTo>
                    <a:pt x="601243" y="913345"/>
                  </a:lnTo>
                  <a:lnTo>
                    <a:pt x="555929" y="896442"/>
                  </a:lnTo>
                  <a:lnTo>
                    <a:pt x="544410" y="910094"/>
                  </a:lnTo>
                  <a:lnTo>
                    <a:pt x="533120" y="911872"/>
                  </a:lnTo>
                  <a:lnTo>
                    <a:pt x="521982" y="905700"/>
                  </a:lnTo>
                  <a:lnTo>
                    <a:pt x="510921" y="895553"/>
                  </a:lnTo>
                  <a:lnTo>
                    <a:pt x="467766" y="915936"/>
                  </a:lnTo>
                  <a:lnTo>
                    <a:pt x="430022" y="941705"/>
                  </a:lnTo>
                  <a:lnTo>
                    <a:pt x="398487" y="973810"/>
                  </a:lnTo>
                  <a:lnTo>
                    <a:pt x="373964" y="1013231"/>
                  </a:lnTo>
                  <a:lnTo>
                    <a:pt x="357225" y="1060907"/>
                  </a:lnTo>
                  <a:lnTo>
                    <a:pt x="338201" y="1005840"/>
                  </a:lnTo>
                  <a:lnTo>
                    <a:pt x="307708" y="962215"/>
                  </a:lnTo>
                  <a:lnTo>
                    <a:pt x="267703" y="928281"/>
                  </a:lnTo>
                  <a:lnTo>
                    <a:pt x="220167" y="902284"/>
                  </a:lnTo>
                  <a:lnTo>
                    <a:pt x="203060" y="899896"/>
                  </a:lnTo>
                  <a:lnTo>
                    <a:pt x="184226" y="902690"/>
                  </a:lnTo>
                  <a:lnTo>
                    <a:pt x="164795" y="904240"/>
                  </a:lnTo>
                  <a:lnTo>
                    <a:pt x="105549" y="917092"/>
                  </a:lnTo>
                  <a:lnTo>
                    <a:pt x="68148" y="947572"/>
                  </a:lnTo>
                  <a:lnTo>
                    <a:pt x="36677" y="985977"/>
                  </a:lnTo>
                  <a:lnTo>
                    <a:pt x="14122" y="1028649"/>
                  </a:lnTo>
                  <a:lnTo>
                    <a:pt x="3479" y="1071968"/>
                  </a:lnTo>
                  <a:lnTo>
                    <a:pt x="2781" y="1080020"/>
                  </a:lnTo>
                  <a:lnTo>
                    <a:pt x="0" y="1093101"/>
                  </a:lnTo>
                  <a:lnTo>
                    <a:pt x="8496" y="1094359"/>
                  </a:lnTo>
                  <a:lnTo>
                    <a:pt x="23710" y="1096162"/>
                  </a:lnTo>
                  <a:lnTo>
                    <a:pt x="39103" y="1097013"/>
                  </a:lnTo>
                  <a:lnTo>
                    <a:pt x="54444" y="1096645"/>
                  </a:lnTo>
                  <a:lnTo>
                    <a:pt x="69494" y="1094790"/>
                  </a:lnTo>
                  <a:lnTo>
                    <a:pt x="74650" y="1091006"/>
                  </a:lnTo>
                  <a:lnTo>
                    <a:pt x="75514" y="1083894"/>
                  </a:lnTo>
                  <a:lnTo>
                    <a:pt x="74764" y="1075372"/>
                  </a:lnTo>
                  <a:lnTo>
                    <a:pt x="75120" y="1067384"/>
                  </a:lnTo>
                  <a:lnTo>
                    <a:pt x="76581" y="1060894"/>
                  </a:lnTo>
                  <a:lnTo>
                    <a:pt x="78422" y="1054239"/>
                  </a:lnTo>
                  <a:lnTo>
                    <a:pt x="81699" y="1047457"/>
                  </a:lnTo>
                  <a:lnTo>
                    <a:pt x="87439" y="1040625"/>
                  </a:lnTo>
                  <a:lnTo>
                    <a:pt x="87782" y="1066444"/>
                  </a:lnTo>
                  <a:lnTo>
                    <a:pt x="87210" y="1073988"/>
                  </a:lnTo>
                  <a:lnTo>
                    <a:pt x="87388" y="1085799"/>
                  </a:lnTo>
                  <a:lnTo>
                    <a:pt x="91516" y="1092974"/>
                  </a:lnTo>
                  <a:lnTo>
                    <a:pt x="99453" y="1096327"/>
                  </a:lnTo>
                  <a:lnTo>
                    <a:pt x="111048" y="1096657"/>
                  </a:lnTo>
                  <a:lnTo>
                    <a:pt x="126796" y="1095997"/>
                  </a:lnTo>
                  <a:lnTo>
                    <a:pt x="142773" y="1095946"/>
                  </a:lnTo>
                  <a:lnTo>
                    <a:pt x="176072" y="1096314"/>
                  </a:lnTo>
                  <a:lnTo>
                    <a:pt x="161810" y="1058125"/>
                  </a:lnTo>
                  <a:lnTo>
                    <a:pt x="164160" y="1020991"/>
                  </a:lnTo>
                  <a:lnTo>
                    <a:pt x="173431" y="984427"/>
                  </a:lnTo>
                  <a:lnTo>
                    <a:pt x="179882" y="947928"/>
                  </a:lnTo>
                  <a:lnTo>
                    <a:pt x="187718" y="984008"/>
                  </a:lnTo>
                  <a:lnTo>
                    <a:pt x="197053" y="1019949"/>
                  </a:lnTo>
                  <a:lnTo>
                    <a:pt x="199669" y="1056284"/>
                  </a:lnTo>
                  <a:lnTo>
                    <a:pt x="187401" y="1093597"/>
                  </a:lnTo>
                  <a:lnTo>
                    <a:pt x="232625" y="1098765"/>
                  </a:lnTo>
                  <a:lnTo>
                    <a:pt x="257340" y="1094740"/>
                  </a:lnTo>
                  <a:lnTo>
                    <a:pt x="269176" y="1076934"/>
                  </a:lnTo>
                  <a:lnTo>
                    <a:pt x="275793" y="1040777"/>
                  </a:lnTo>
                  <a:lnTo>
                    <a:pt x="281266" y="1050429"/>
                  </a:lnTo>
                  <a:lnTo>
                    <a:pt x="284937" y="1059815"/>
                  </a:lnTo>
                  <a:lnTo>
                    <a:pt x="286791" y="1069098"/>
                  </a:lnTo>
                  <a:lnTo>
                    <a:pt x="286842" y="1078407"/>
                  </a:lnTo>
                  <a:lnTo>
                    <a:pt x="287197" y="1087716"/>
                  </a:lnTo>
                  <a:lnTo>
                    <a:pt x="290398" y="1093355"/>
                  </a:lnTo>
                  <a:lnTo>
                    <a:pt x="296532" y="1096086"/>
                  </a:lnTo>
                  <a:lnTo>
                    <a:pt x="305701" y="1096645"/>
                  </a:lnTo>
                  <a:lnTo>
                    <a:pt x="331533" y="1096124"/>
                  </a:lnTo>
                  <a:lnTo>
                    <a:pt x="357378" y="1095971"/>
                  </a:lnTo>
                  <a:lnTo>
                    <a:pt x="409054" y="1096594"/>
                  </a:lnTo>
                  <a:lnTo>
                    <a:pt x="417766" y="1096187"/>
                  </a:lnTo>
                  <a:lnTo>
                    <a:pt x="423926" y="1093851"/>
                  </a:lnTo>
                  <a:lnTo>
                    <a:pt x="427621" y="1088491"/>
                  </a:lnTo>
                  <a:lnTo>
                    <a:pt x="428967" y="1078992"/>
                  </a:lnTo>
                  <a:lnTo>
                    <a:pt x="429056" y="1069555"/>
                  </a:lnTo>
                  <a:lnTo>
                    <a:pt x="430212" y="1059649"/>
                  </a:lnTo>
                  <a:lnTo>
                    <a:pt x="434251" y="1050188"/>
                  </a:lnTo>
                  <a:lnTo>
                    <a:pt x="443014" y="1042060"/>
                  </a:lnTo>
                  <a:lnTo>
                    <a:pt x="443026" y="1096683"/>
                  </a:lnTo>
                  <a:lnTo>
                    <a:pt x="452691" y="1096264"/>
                  </a:lnTo>
                  <a:lnTo>
                    <a:pt x="471716" y="1096137"/>
                  </a:lnTo>
                  <a:lnTo>
                    <a:pt x="490677" y="1096594"/>
                  </a:lnTo>
                  <a:lnTo>
                    <a:pt x="509409" y="1096403"/>
                  </a:lnTo>
                  <a:lnTo>
                    <a:pt x="527723" y="1094282"/>
                  </a:lnTo>
                  <a:lnTo>
                    <a:pt x="516788" y="1052144"/>
                  </a:lnTo>
                  <a:lnTo>
                    <a:pt x="519976" y="1011453"/>
                  </a:lnTo>
                  <a:lnTo>
                    <a:pt x="528764" y="971537"/>
                  </a:lnTo>
                  <a:lnTo>
                    <a:pt x="534593" y="931697"/>
                  </a:lnTo>
                  <a:lnTo>
                    <a:pt x="537845" y="940650"/>
                  </a:lnTo>
                  <a:lnTo>
                    <a:pt x="540499" y="949566"/>
                  </a:lnTo>
                  <a:lnTo>
                    <a:pt x="542277" y="958443"/>
                  </a:lnTo>
                  <a:lnTo>
                    <a:pt x="542925" y="967320"/>
                  </a:lnTo>
                  <a:lnTo>
                    <a:pt x="547103" y="999324"/>
                  </a:lnTo>
                  <a:lnTo>
                    <a:pt x="553707" y="1031481"/>
                  </a:lnTo>
                  <a:lnTo>
                    <a:pt x="553580" y="1063815"/>
                  </a:lnTo>
                  <a:lnTo>
                    <a:pt x="537565" y="1096340"/>
                  </a:lnTo>
                  <a:lnTo>
                    <a:pt x="571563" y="1096340"/>
                  </a:lnTo>
                  <a:lnTo>
                    <a:pt x="603440" y="1095514"/>
                  </a:lnTo>
                  <a:lnTo>
                    <a:pt x="620128" y="1089761"/>
                  </a:lnTo>
                  <a:lnTo>
                    <a:pt x="627087" y="1074115"/>
                  </a:lnTo>
                  <a:lnTo>
                    <a:pt x="629767" y="1043647"/>
                  </a:lnTo>
                  <a:lnTo>
                    <a:pt x="635088" y="1048931"/>
                  </a:lnTo>
                  <a:lnTo>
                    <a:pt x="638390" y="1054989"/>
                  </a:lnTo>
                  <a:lnTo>
                    <a:pt x="639838" y="1061516"/>
                  </a:lnTo>
                  <a:lnTo>
                    <a:pt x="639572" y="1068158"/>
                  </a:lnTo>
                  <a:lnTo>
                    <a:pt x="639584" y="1084427"/>
                  </a:lnTo>
                  <a:lnTo>
                    <a:pt x="645617" y="1093546"/>
                  </a:lnTo>
                  <a:lnTo>
                    <a:pt x="656577" y="1097064"/>
                  </a:lnTo>
                  <a:lnTo>
                    <a:pt x="671372" y="1096505"/>
                  </a:lnTo>
                  <a:lnTo>
                    <a:pt x="677799" y="1095667"/>
                  </a:lnTo>
                  <a:lnTo>
                    <a:pt x="684491" y="1095641"/>
                  </a:lnTo>
                  <a:lnTo>
                    <a:pt x="690905" y="1096505"/>
                  </a:lnTo>
                  <a:lnTo>
                    <a:pt x="701700" y="1096594"/>
                  </a:lnTo>
                  <a:lnTo>
                    <a:pt x="708571" y="1093152"/>
                  </a:lnTo>
                  <a:lnTo>
                    <a:pt x="712025" y="1086002"/>
                  </a:lnTo>
                  <a:lnTo>
                    <a:pt x="712558" y="1074953"/>
                  </a:lnTo>
                  <a:close/>
                </a:path>
                <a:path w="1115059" h="1109979">
                  <a:moveTo>
                    <a:pt x="1114513" y="494906"/>
                  </a:moveTo>
                  <a:lnTo>
                    <a:pt x="1111897" y="443407"/>
                  </a:lnTo>
                  <a:lnTo>
                    <a:pt x="1096276" y="390423"/>
                  </a:lnTo>
                  <a:lnTo>
                    <a:pt x="1070203" y="346138"/>
                  </a:lnTo>
                  <a:lnTo>
                    <a:pt x="1035545" y="309029"/>
                  </a:lnTo>
                  <a:lnTo>
                    <a:pt x="1025880" y="301675"/>
                  </a:lnTo>
                  <a:lnTo>
                    <a:pt x="1025880" y="480161"/>
                  </a:lnTo>
                  <a:lnTo>
                    <a:pt x="1021473" y="507936"/>
                  </a:lnTo>
                  <a:lnTo>
                    <a:pt x="1011174" y="535139"/>
                  </a:lnTo>
                  <a:lnTo>
                    <a:pt x="1011174" y="493572"/>
                  </a:lnTo>
                  <a:lnTo>
                    <a:pt x="1011174" y="420395"/>
                  </a:lnTo>
                  <a:lnTo>
                    <a:pt x="1022934" y="451192"/>
                  </a:lnTo>
                  <a:lnTo>
                    <a:pt x="1025880" y="480161"/>
                  </a:lnTo>
                  <a:lnTo>
                    <a:pt x="1025880" y="301675"/>
                  </a:lnTo>
                  <a:lnTo>
                    <a:pt x="1002639" y="283959"/>
                  </a:lnTo>
                  <a:lnTo>
                    <a:pt x="994168" y="277520"/>
                  </a:lnTo>
                  <a:lnTo>
                    <a:pt x="978039" y="267944"/>
                  </a:lnTo>
                  <a:lnTo>
                    <a:pt x="974115" y="265620"/>
                  </a:lnTo>
                  <a:lnTo>
                    <a:pt x="947966" y="250088"/>
                  </a:lnTo>
                  <a:lnTo>
                    <a:pt x="936180" y="244830"/>
                  </a:lnTo>
                  <a:lnTo>
                    <a:pt x="925106" y="243128"/>
                  </a:lnTo>
                  <a:lnTo>
                    <a:pt x="919657" y="244932"/>
                  </a:lnTo>
                  <a:lnTo>
                    <a:pt x="919657" y="447903"/>
                  </a:lnTo>
                  <a:lnTo>
                    <a:pt x="915111" y="464781"/>
                  </a:lnTo>
                  <a:lnTo>
                    <a:pt x="906145" y="479742"/>
                  </a:lnTo>
                  <a:lnTo>
                    <a:pt x="893876" y="493572"/>
                  </a:lnTo>
                  <a:lnTo>
                    <a:pt x="880046" y="478967"/>
                  </a:lnTo>
                  <a:lnTo>
                    <a:pt x="871093" y="462826"/>
                  </a:lnTo>
                  <a:lnTo>
                    <a:pt x="867371" y="444538"/>
                  </a:lnTo>
                  <a:lnTo>
                    <a:pt x="869226" y="423532"/>
                  </a:lnTo>
                  <a:lnTo>
                    <a:pt x="875766" y="389077"/>
                  </a:lnTo>
                  <a:lnTo>
                    <a:pt x="880999" y="356108"/>
                  </a:lnTo>
                  <a:lnTo>
                    <a:pt x="881202" y="354888"/>
                  </a:lnTo>
                  <a:lnTo>
                    <a:pt x="883069" y="342074"/>
                  </a:lnTo>
                  <a:lnTo>
                    <a:pt x="886053" y="321513"/>
                  </a:lnTo>
                  <a:lnTo>
                    <a:pt x="891489" y="284886"/>
                  </a:lnTo>
                  <a:lnTo>
                    <a:pt x="895451" y="283959"/>
                  </a:lnTo>
                  <a:lnTo>
                    <a:pt x="900887" y="319633"/>
                  </a:lnTo>
                  <a:lnTo>
                    <a:pt x="905802" y="352475"/>
                  </a:lnTo>
                  <a:lnTo>
                    <a:pt x="912126" y="392353"/>
                  </a:lnTo>
                  <a:lnTo>
                    <a:pt x="918641" y="428294"/>
                  </a:lnTo>
                  <a:lnTo>
                    <a:pt x="919657" y="447903"/>
                  </a:lnTo>
                  <a:lnTo>
                    <a:pt x="919657" y="244932"/>
                  </a:lnTo>
                  <a:lnTo>
                    <a:pt x="914806" y="246532"/>
                  </a:lnTo>
                  <a:lnTo>
                    <a:pt x="905383" y="256527"/>
                  </a:lnTo>
                  <a:lnTo>
                    <a:pt x="899985" y="262940"/>
                  </a:lnTo>
                  <a:lnTo>
                    <a:pt x="894283" y="265620"/>
                  </a:lnTo>
                  <a:lnTo>
                    <a:pt x="888403" y="263918"/>
                  </a:lnTo>
                  <a:lnTo>
                    <a:pt x="882459" y="257251"/>
                  </a:lnTo>
                  <a:lnTo>
                    <a:pt x="872705" y="246532"/>
                  </a:lnTo>
                  <a:lnTo>
                    <a:pt x="861961" y="242722"/>
                  </a:lnTo>
                  <a:lnTo>
                    <a:pt x="850303" y="244449"/>
                  </a:lnTo>
                  <a:lnTo>
                    <a:pt x="837819" y="250393"/>
                  </a:lnTo>
                  <a:lnTo>
                    <a:pt x="831126" y="254025"/>
                  </a:lnTo>
                  <a:lnTo>
                    <a:pt x="824230" y="257238"/>
                  </a:lnTo>
                  <a:lnTo>
                    <a:pt x="817130" y="260210"/>
                  </a:lnTo>
                  <a:lnTo>
                    <a:pt x="810018" y="263017"/>
                  </a:lnTo>
                  <a:lnTo>
                    <a:pt x="771969" y="267944"/>
                  </a:lnTo>
                  <a:lnTo>
                    <a:pt x="737793" y="255371"/>
                  </a:lnTo>
                  <a:lnTo>
                    <a:pt x="713155" y="229069"/>
                  </a:lnTo>
                  <a:lnTo>
                    <a:pt x="703681" y="192773"/>
                  </a:lnTo>
                  <a:lnTo>
                    <a:pt x="703491" y="168275"/>
                  </a:lnTo>
                  <a:lnTo>
                    <a:pt x="703224" y="144297"/>
                  </a:lnTo>
                  <a:lnTo>
                    <a:pt x="703199" y="111404"/>
                  </a:lnTo>
                  <a:lnTo>
                    <a:pt x="704088" y="84328"/>
                  </a:lnTo>
                  <a:lnTo>
                    <a:pt x="702729" y="57010"/>
                  </a:lnTo>
                  <a:lnTo>
                    <a:pt x="698322" y="43865"/>
                  </a:lnTo>
                  <a:lnTo>
                    <a:pt x="698169" y="43421"/>
                  </a:lnTo>
                  <a:lnTo>
                    <a:pt x="694931" y="33718"/>
                  </a:lnTo>
                  <a:lnTo>
                    <a:pt x="679856" y="14643"/>
                  </a:lnTo>
                  <a:lnTo>
                    <a:pt x="662305" y="3568"/>
                  </a:lnTo>
                  <a:lnTo>
                    <a:pt x="662305" y="333171"/>
                  </a:lnTo>
                  <a:lnTo>
                    <a:pt x="661987" y="373875"/>
                  </a:lnTo>
                  <a:lnTo>
                    <a:pt x="661911" y="392353"/>
                  </a:lnTo>
                  <a:lnTo>
                    <a:pt x="661873" y="564095"/>
                  </a:lnTo>
                  <a:lnTo>
                    <a:pt x="660476" y="583171"/>
                  </a:lnTo>
                  <a:lnTo>
                    <a:pt x="655040" y="594461"/>
                  </a:lnTo>
                  <a:lnTo>
                    <a:pt x="643648" y="599859"/>
                  </a:lnTo>
                  <a:lnTo>
                    <a:pt x="624357" y="601230"/>
                  </a:lnTo>
                  <a:lnTo>
                    <a:pt x="451624" y="601294"/>
                  </a:lnTo>
                  <a:lnTo>
                    <a:pt x="90627" y="601230"/>
                  </a:lnTo>
                  <a:lnTo>
                    <a:pt x="54876" y="582599"/>
                  </a:lnTo>
                  <a:lnTo>
                    <a:pt x="53378" y="263918"/>
                  </a:lnTo>
                  <a:lnTo>
                    <a:pt x="53251" y="156298"/>
                  </a:lnTo>
                  <a:lnTo>
                    <a:pt x="53022" y="79463"/>
                  </a:lnTo>
                  <a:lnTo>
                    <a:pt x="71970" y="45351"/>
                  </a:lnTo>
                  <a:lnTo>
                    <a:pt x="88976" y="43421"/>
                  </a:lnTo>
                  <a:lnTo>
                    <a:pt x="332841" y="43903"/>
                  </a:lnTo>
                  <a:lnTo>
                    <a:pt x="527939" y="43865"/>
                  </a:lnTo>
                  <a:lnTo>
                    <a:pt x="625487" y="43878"/>
                  </a:lnTo>
                  <a:lnTo>
                    <a:pt x="660819" y="61125"/>
                  </a:lnTo>
                  <a:lnTo>
                    <a:pt x="661949" y="96939"/>
                  </a:lnTo>
                  <a:lnTo>
                    <a:pt x="661949" y="166687"/>
                  </a:lnTo>
                  <a:lnTo>
                    <a:pt x="656005" y="168275"/>
                  </a:lnTo>
                  <a:lnTo>
                    <a:pt x="649211" y="156298"/>
                  </a:lnTo>
                  <a:lnTo>
                    <a:pt x="642454" y="144297"/>
                  </a:lnTo>
                  <a:lnTo>
                    <a:pt x="635609" y="132359"/>
                  </a:lnTo>
                  <a:lnTo>
                    <a:pt x="628548" y="120561"/>
                  </a:lnTo>
                  <a:lnTo>
                    <a:pt x="615746" y="105435"/>
                  </a:lnTo>
                  <a:lnTo>
                    <a:pt x="600608" y="96939"/>
                  </a:lnTo>
                  <a:lnTo>
                    <a:pt x="583996" y="95288"/>
                  </a:lnTo>
                  <a:lnTo>
                    <a:pt x="566712" y="100647"/>
                  </a:lnTo>
                  <a:lnTo>
                    <a:pt x="553072" y="111531"/>
                  </a:lnTo>
                  <a:lnTo>
                    <a:pt x="545503" y="126365"/>
                  </a:lnTo>
                  <a:lnTo>
                    <a:pt x="544537" y="143929"/>
                  </a:lnTo>
                  <a:lnTo>
                    <a:pt x="550722" y="163004"/>
                  </a:lnTo>
                  <a:lnTo>
                    <a:pt x="570280" y="198297"/>
                  </a:lnTo>
                  <a:lnTo>
                    <a:pt x="592289" y="231889"/>
                  </a:lnTo>
                  <a:lnTo>
                    <a:pt x="617156" y="263398"/>
                  </a:lnTo>
                  <a:lnTo>
                    <a:pt x="645312" y="292417"/>
                  </a:lnTo>
                  <a:lnTo>
                    <a:pt x="653364" y="301371"/>
                  </a:lnTo>
                  <a:lnTo>
                    <a:pt x="658660" y="310832"/>
                  </a:lnTo>
                  <a:lnTo>
                    <a:pt x="661517" y="321284"/>
                  </a:lnTo>
                  <a:lnTo>
                    <a:pt x="662305" y="333171"/>
                  </a:lnTo>
                  <a:lnTo>
                    <a:pt x="662305" y="3568"/>
                  </a:lnTo>
                  <a:lnTo>
                    <a:pt x="656666" y="0"/>
                  </a:lnTo>
                  <a:lnTo>
                    <a:pt x="58039" y="0"/>
                  </a:lnTo>
                  <a:lnTo>
                    <a:pt x="35648" y="15036"/>
                  </a:lnTo>
                  <a:lnTo>
                    <a:pt x="21285" y="34150"/>
                  </a:lnTo>
                  <a:lnTo>
                    <a:pt x="13703" y="57416"/>
                  </a:lnTo>
                  <a:lnTo>
                    <a:pt x="11722" y="84328"/>
                  </a:lnTo>
                  <a:lnTo>
                    <a:pt x="11836" y="100647"/>
                  </a:lnTo>
                  <a:lnTo>
                    <a:pt x="12242" y="144297"/>
                  </a:lnTo>
                  <a:lnTo>
                    <a:pt x="12560" y="198297"/>
                  </a:lnTo>
                  <a:lnTo>
                    <a:pt x="12674" y="231889"/>
                  </a:lnTo>
                  <a:lnTo>
                    <a:pt x="12560" y="482714"/>
                  </a:lnTo>
                  <a:lnTo>
                    <a:pt x="12496" y="566547"/>
                  </a:lnTo>
                  <a:lnTo>
                    <a:pt x="16510" y="601637"/>
                  </a:lnTo>
                  <a:lnTo>
                    <a:pt x="29502" y="625005"/>
                  </a:lnTo>
                  <a:lnTo>
                    <a:pt x="52870" y="638035"/>
                  </a:lnTo>
                  <a:lnTo>
                    <a:pt x="88087" y="642099"/>
                  </a:lnTo>
                  <a:lnTo>
                    <a:pt x="333400" y="642239"/>
                  </a:lnTo>
                  <a:lnTo>
                    <a:pt x="627773" y="642099"/>
                  </a:lnTo>
                  <a:lnTo>
                    <a:pt x="662559" y="637946"/>
                  </a:lnTo>
                  <a:lnTo>
                    <a:pt x="685939" y="624713"/>
                  </a:lnTo>
                  <a:lnTo>
                    <a:pt x="699096" y="601319"/>
                  </a:lnTo>
                  <a:lnTo>
                    <a:pt x="699198" y="601154"/>
                  </a:lnTo>
                  <a:lnTo>
                    <a:pt x="703567" y="565988"/>
                  </a:lnTo>
                  <a:lnTo>
                    <a:pt x="703668" y="543890"/>
                  </a:lnTo>
                  <a:lnTo>
                    <a:pt x="703757" y="389077"/>
                  </a:lnTo>
                  <a:lnTo>
                    <a:pt x="703021" y="377786"/>
                  </a:lnTo>
                  <a:lnTo>
                    <a:pt x="701878" y="364756"/>
                  </a:lnTo>
                  <a:lnTo>
                    <a:pt x="702678" y="352793"/>
                  </a:lnTo>
                  <a:lnTo>
                    <a:pt x="707682" y="343141"/>
                  </a:lnTo>
                  <a:lnTo>
                    <a:pt x="714451" y="342074"/>
                  </a:lnTo>
                  <a:lnTo>
                    <a:pt x="725462" y="345109"/>
                  </a:lnTo>
                  <a:lnTo>
                    <a:pt x="738289" y="349910"/>
                  </a:lnTo>
                  <a:lnTo>
                    <a:pt x="750531" y="354126"/>
                  </a:lnTo>
                  <a:lnTo>
                    <a:pt x="753186" y="354888"/>
                  </a:lnTo>
                  <a:lnTo>
                    <a:pt x="755992" y="356362"/>
                  </a:lnTo>
                  <a:lnTo>
                    <a:pt x="758571" y="356108"/>
                  </a:lnTo>
                  <a:lnTo>
                    <a:pt x="776325" y="420395"/>
                  </a:lnTo>
                  <a:lnTo>
                    <a:pt x="776909" y="482714"/>
                  </a:lnTo>
                  <a:lnTo>
                    <a:pt x="777595" y="537146"/>
                  </a:lnTo>
                  <a:lnTo>
                    <a:pt x="778687" y="590677"/>
                  </a:lnTo>
                  <a:lnTo>
                    <a:pt x="782091" y="696455"/>
                  </a:lnTo>
                  <a:lnTo>
                    <a:pt x="782942" y="746887"/>
                  </a:lnTo>
                  <a:lnTo>
                    <a:pt x="783234" y="797344"/>
                  </a:lnTo>
                  <a:lnTo>
                    <a:pt x="783120" y="847801"/>
                  </a:lnTo>
                  <a:lnTo>
                    <a:pt x="782777" y="898283"/>
                  </a:lnTo>
                  <a:lnTo>
                    <a:pt x="782383" y="948753"/>
                  </a:lnTo>
                  <a:lnTo>
                    <a:pt x="782091" y="999236"/>
                  </a:lnTo>
                  <a:lnTo>
                    <a:pt x="782091" y="1049693"/>
                  </a:lnTo>
                  <a:lnTo>
                    <a:pt x="785317" y="1074864"/>
                  </a:lnTo>
                  <a:lnTo>
                    <a:pt x="794588" y="1093203"/>
                  </a:lnTo>
                  <a:lnTo>
                    <a:pt x="809586" y="1104747"/>
                  </a:lnTo>
                  <a:lnTo>
                    <a:pt x="830033" y="1109535"/>
                  </a:lnTo>
                  <a:lnTo>
                    <a:pt x="851763" y="1107528"/>
                  </a:lnTo>
                  <a:lnTo>
                    <a:pt x="868400" y="1098461"/>
                  </a:lnTo>
                  <a:lnTo>
                    <a:pt x="880059" y="1082192"/>
                  </a:lnTo>
                  <a:lnTo>
                    <a:pt x="886853" y="1058837"/>
                  </a:lnTo>
                  <a:lnTo>
                    <a:pt x="886968" y="693737"/>
                  </a:lnTo>
                  <a:lnTo>
                    <a:pt x="895337" y="693623"/>
                  </a:lnTo>
                  <a:lnTo>
                    <a:pt x="895337" y="1058837"/>
                  </a:lnTo>
                  <a:lnTo>
                    <a:pt x="899109" y="1077366"/>
                  </a:lnTo>
                  <a:lnTo>
                    <a:pt x="907173" y="1092301"/>
                  </a:lnTo>
                  <a:lnTo>
                    <a:pt x="920051" y="1103007"/>
                  </a:lnTo>
                  <a:lnTo>
                    <a:pt x="938237" y="1108862"/>
                  </a:lnTo>
                  <a:lnTo>
                    <a:pt x="963510" y="1108202"/>
                  </a:lnTo>
                  <a:lnTo>
                    <a:pt x="994778" y="1079144"/>
                  </a:lnTo>
                  <a:lnTo>
                    <a:pt x="999185" y="1004265"/>
                  </a:lnTo>
                  <a:lnTo>
                    <a:pt x="999236" y="956297"/>
                  </a:lnTo>
                  <a:lnTo>
                    <a:pt x="999337" y="693623"/>
                  </a:lnTo>
                  <a:lnTo>
                    <a:pt x="999375" y="668464"/>
                  </a:lnTo>
                  <a:lnTo>
                    <a:pt x="999007" y="662622"/>
                  </a:lnTo>
                  <a:lnTo>
                    <a:pt x="998664" y="656551"/>
                  </a:lnTo>
                  <a:lnTo>
                    <a:pt x="999578" y="650290"/>
                  </a:lnTo>
                  <a:lnTo>
                    <a:pt x="1002944" y="643902"/>
                  </a:lnTo>
                  <a:lnTo>
                    <a:pt x="1020279" y="651141"/>
                  </a:lnTo>
                  <a:lnTo>
                    <a:pt x="1037285" y="653084"/>
                  </a:lnTo>
                  <a:lnTo>
                    <a:pt x="1088783" y="590677"/>
                  </a:lnTo>
                  <a:lnTo>
                    <a:pt x="1106068" y="543890"/>
                  </a:lnTo>
                  <a:lnTo>
                    <a:pt x="1107579" y="535139"/>
                  </a:lnTo>
                  <a:lnTo>
                    <a:pt x="1114513" y="494906"/>
                  </a:lnTo>
                  <a:close/>
                </a:path>
              </a:pathLst>
            </a:custGeom>
            <a:solidFill>
              <a:srgbClr val="FFFFFF"/>
            </a:solidFill>
          </p:spPr>
          <p:txBody>
            <a:bodyPr wrap="square" lIns="0" tIns="0" rIns="0" bIns="0" rtlCol="0"/>
            <a:lstStyle/>
            <a:p>
              <a:endParaRPr/>
            </a:p>
          </p:txBody>
        </p:sp>
        <p:pic>
          <p:nvPicPr>
            <p:cNvPr id="18" name="object 18"/>
            <p:cNvPicPr/>
            <p:nvPr/>
          </p:nvPicPr>
          <p:blipFill>
            <a:blip r:embed="rId2" cstate="print"/>
            <a:stretch>
              <a:fillRect/>
            </a:stretch>
          </p:blipFill>
          <p:spPr>
            <a:xfrm>
              <a:off x="9279626" y="2856408"/>
              <a:ext cx="229089" cy="228051"/>
            </a:xfrm>
            <a:prstGeom prst="rect">
              <a:avLst/>
            </a:prstGeom>
          </p:spPr>
        </p:pic>
        <p:pic>
          <p:nvPicPr>
            <p:cNvPr id="19" name="object 19"/>
            <p:cNvPicPr/>
            <p:nvPr/>
          </p:nvPicPr>
          <p:blipFill>
            <a:blip r:embed="rId3" cstate="print"/>
            <a:stretch>
              <a:fillRect/>
            </a:stretch>
          </p:blipFill>
          <p:spPr>
            <a:xfrm>
              <a:off x="8591025" y="3558888"/>
              <a:ext cx="179808" cy="180120"/>
            </a:xfrm>
            <a:prstGeom prst="rect">
              <a:avLst/>
            </a:prstGeom>
          </p:spPr>
        </p:pic>
        <p:pic>
          <p:nvPicPr>
            <p:cNvPr id="20" name="object 20"/>
            <p:cNvPicPr/>
            <p:nvPr/>
          </p:nvPicPr>
          <p:blipFill>
            <a:blip r:embed="rId4" cstate="print"/>
            <a:stretch>
              <a:fillRect/>
            </a:stretch>
          </p:blipFill>
          <p:spPr>
            <a:xfrm>
              <a:off x="8946121" y="3558798"/>
              <a:ext cx="178235" cy="204160"/>
            </a:xfrm>
            <a:prstGeom prst="rect">
              <a:avLst/>
            </a:prstGeom>
          </p:spPr>
        </p:pic>
        <p:sp>
          <p:nvSpPr>
            <p:cNvPr id="21" name="object 21"/>
            <p:cNvSpPr/>
            <p:nvPr/>
          </p:nvSpPr>
          <p:spPr>
            <a:xfrm>
              <a:off x="8688273" y="3004781"/>
              <a:ext cx="838200" cy="381635"/>
            </a:xfrm>
            <a:custGeom>
              <a:avLst/>
              <a:gdLst/>
              <a:ahLst/>
              <a:cxnLst/>
              <a:rect l="l" t="t" r="r" b="b"/>
              <a:pathLst>
                <a:path w="838200" h="381635">
                  <a:moveTo>
                    <a:pt x="338645" y="205536"/>
                  </a:moveTo>
                  <a:lnTo>
                    <a:pt x="334137" y="196443"/>
                  </a:lnTo>
                  <a:lnTo>
                    <a:pt x="323684" y="188569"/>
                  </a:lnTo>
                  <a:lnTo>
                    <a:pt x="310718" y="177203"/>
                  </a:lnTo>
                  <a:lnTo>
                    <a:pt x="305650" y="162763"/>
                  </a:lnTo>
                  <a:lnTo>
                    <a:pt x="308711" y="148196"/>
                  </a:lnTo>
                  <a:lnTo>
                    <a:pt x="320128" y="136436"/>
                  </a:lnTo>
                  <a:lnTo>
                    <a:pt x="330835" y="127127"/>
                  </a:lnTo>
                  <a:lnTo>
                    <a:pt x="334581" y="116941"/>
                  </a:lnTo>
                  <a:lnTo>
                    <a:pt x="333286" y="105841"/>
                  </a:lnTo>
                  <a:lnTo>
                    <a:pt x="328879" y="93776"/>
                  </a:lnTo>
                  <a:lnTo>
                    <a:pt x="322732" y="82778"/>
                  </a:lnTo>
                  <a:lnTo>
                    <a:pt x="321017" y="81241"/>
                  </a:lnTo>
                  <a:lnTo>
                    <a:pt x="314883" y="75742"/>
                  </a:lnTo>
                  <a:lnTo>
                    <a:pt x="312915" y="75196"/>
                  </a:lnTo>
                  <a:lnTo>
                    <a:pt x="304800" y="72961"/>
                  </a:lnTo>
                  <a:lnTo>
                    <a:pt x="291973" y="74688"/>
                  </a:lnTo>
                  <a:lnTo>
                    <a:pt x="275247" y="75196"/>
                  </a:lnTo>
                  <a:lnTo>
                    <a:pt x="261950" y="67945"/>
                  </a:lnTo>
                  <a:lnTo>
                    <a:pt x="255955" y="57861"/>
                  </a:lnTo>
                  <a:lnTo>
                    <a:pt x="255955" y="168643"/>
                  </a:lnTo>
                  <a:lnTo>
                    <a:pt x="249072" y="202171"/>
                  </a:lnTo>
                  <a:lnTo>
                    <a:pt x="230479" y="229069"/>
                  </a:lnTo>
                  <a:lnTo>
                    <a:pt x="202704" y="246900"/>
                  </a:lnTo>
                  <a:lnTo>
                    <a:pt x="168224" y="253276"/>
                  </a:lnTo>
                  <a:lnTo>
                    <a:pt x="135115" y="246494"/>
                  </a:lnTo>
                  <a:lnTo>
                    <a:pt x="108026" y="228346"/>
                  </a:lnTo>
                  <a:lnTo>
                    <a:pt x="89687" y="201523"/>
                  </a:lnTo>
                  <a:lnTo>
                    <a:pt x="82854" y="168757"/>
                  </a:lnTo>
                  <a:lnTo>
                    <a:pt x="89725" y="135407"/>
                  </a:lnTo>
                  <a:lnTo>
                    <a:pt x="108546" y="107619"/>
                  </a:lnTo>
                  <a:lnTo>
                    <a:pt x="136220" y="88519"/>
                  </a:lnTo>
                  <a:lnTo>
                    <a:pt x="155181" y="84391"/>
                  </a:lnTo>
                  <a:lnTo>
                    <a:pt x="169633" y="81241"/>
                  </a:lnTo>
                  <a:lnTo>
                    <a:pt x="202704" y="88099"/>
                  </a:lnTo>
                  <a:lnTo>
                    <a:pt x="230263" y="107137"/>
                  </a:lnTo>
                  <a:lnTo>
                    <a:pt x="249085" y="135077"/>
                  </a:lnTo>
                  <a:lnTo>
                    <a:pt x="255955" y="168643"/>
                  </a:lnTo>
                  <a:lnTo>
                    <a:pt x="255955" y="57861"/>
                  </a:lnTo>
                  <a:lnTo>
                    <a:pt x="254241" y="54965"/>
                  </a:lnTo>
                  <a:lnTo>
                    <a:pt x="254279" y="38265"/>
                  </a:lnTo>
                  <a:lnTo>
                    <a:pt x="254825" y="31788"/>
                  </a:lnTo>
                  <a:lnTo>
                    <a:pt x="255346" y="25781"/>
                  </a:lnTo>
                  <a:lnTo>
                    <a:pt x="251650" y="16751"/>
                  </a:lnTo>
                  <a:lnTo>
                    <a:pt x="244119" y="10223"/>
                  </a:lnTo>
                  <a:lnTo>
                    <a:pt x="233705" y="5283"/>
                  </a:lnTo>
                  <a:lnTo>
                    <a:pt x="221500" y="1231"/>
                  </a:lnTo>
                  <a:lnTo>
                    <a:pt x="209981" y="0"/>
                  </a:lnTo>
                  <a:lnTo>
                    <a:pt x="199428" y="3594"/>
                  </a:lnTo>
                  <a:lnTo>
                    <a:pt x="190157" y="14020"/>
                  </a:lnTo>
                  <a:lnTo>
                    <a:pt x="178130" y="27063"/>
                  </a:lnTo>
                  <a:lnTo>
                    <a:pt x="163677" y="31788"/>
                  </a:lnTo>
                  <a:lnTo>
                    <a:pt x="148983" y="27990"/>
                  </a:lnTo>
                  <a:lnTo>
                    <a:pt x="136245" y="15481"/>
                  </a:lnTo>
                  <a:lnTo>
                    <a:pt x="126860" y="5638"/>
                  </a:lnTo>
                  <a:lnTo>
                    <a:pt x="116916" y="2705"/>
                  </a:lnTo>
                  <a:lnTo>
                    <a:pt x="76949" y="21996"/>
                  </a:lnTo>
                  <a:lnTo>
                    <a:pt x="73279" y="31521"/>
                  </a:lnTo>
                  <a:lnTo>
                    <a:pt x="75717" y="45085"/>
                  </a:lnTo>
                  <a:lnTo>
                    <a:pt x="77012" y="61709"/>
                  </a:lnTo>
                  <a:lnTo>
                    <a:pt x="69557" y="75526"/>
                  </a:lnTo>
                  <a:lnTo>
                    <a:pt x="55854" y="83959"/>
                  </a:lnTo>
                  <a:lnTo>
                    <a:pt x="38392" y="84391"/>
                  </a:lnTo>
                  <a:lnTo>
                    <a:pt x="24790" y="83693"/>
                  </a:lnTo>
                  <a:lnTo>
                    <a:pt x="15570" y="88353"/>
                  </a:lnTo>
                  <a:lnTo>
                    <a:pt x="9283" y="96875"/>
                  </a:lnTo>
                  <a:lnTo>
                    <a:pt x="4495" y="107746"/>
                  </a:lnTo>
                  <a:lnTo>
                    <a:pt x="711" y="119570"/>
                  </a:lnTo>
                  <a:lnTo>
                    <a:pt x="0" y="130581"/>
                  </a:lnTo>
                  <a:lnTo>
                    <a:pt x="4343" y="139903"/>
                  </a:lnTo>
                  <a:lnTo>
                    <a:pt x="15697" y="146685"/>
                  </a:lnTo>
                  <a:lnTo>
                    <a:pt x="24765" y="151015"/>
                  </a:lnTo>
                  <a:lnTo>
                    <a:pt x="30213" y="156883"/>
                  </a:lnTo>
                  <a:lnTo>
                    <a:pt x="32219" y="164630"/>
                  </a:lnTo>
                  <a:lnTo>
                    <a:pt x="30975" y="174574"/>
                  </a:lnTo>
                  <a:lnTo>
                    <a:pt x="32626" y="183222"/>
                  </a:lnTo>
                  <a:lnTo>
                    <a:pt x="31140" y="190550"/>
                  </a:lnTo>
                  <a:lnTo>
                    <a:pt x="26212" y="196659"/>
                  </a:lnTo>
                  <a:lnTo>
                    <a:pt x="17538" y="201650"/>
                  </a:lnTo>
                  <a:lnTo>
                    <a:pt x="6642" y="209435"/>
                  </a:lnTo>
                  <a:lnTo>
                    <a:pt x="3505" y="219202"/>
                  </a:lnTo>
                  <a:lnTo>
                    <a:pt x="5549" y="230124"/>
                  </a:lnTo>
                  <a:lnTo>
                    <a:pt x="10160" y="241439"/>
                  </a:lnTo>
                  <a:lnTo>
                    <a:pt x="15748" y="252133"/>
                  </a:lnTo>
                  <a:lnTo>
                    <a:pt x="22847" y="260121"/>
                  </a:lnTo>
                  <a:lnTo>
                    <a:pt x="32562" y="263956"/>
                  </a:lnTo>
                  <a:lnTo>
                    <a:pt x="45986" y="262153"/>
                  </a:lnTo>
                  <a:lnTo>
                    <a:pt x="63068" y="261251"/>
                  </a:lnTo>
                  <a:lnTo>
                    <a:pt x="77317" y="268351"/>
                  </a:lnTo>
                  <a:lnTo>
                    <a:pt x="85864" y="281114"/>
                  </a:lnTo>
                  <a:lnTo>
                    <a:pt x="85864" y="297141"/>
                  </a:lnTo>
                  <a:lnTo>
                    <a:pt x="84124" y="310718"/>
                  </a:lnTo>
                  <a:lnTo>
                    <a:pt x="87998" y="319925"/>
                  </a:lnTo>
                  <a:lnTo>
                    <a:pt x="96113" y="326313"/>
                  </a:lnTo>
                  <a:lnTo>
                    <a:pt x="107073" y="331381"/>
                  </a:lnTo>
                  <a:lnTo>
                    <a:pt x="119405" y="335572"/>
                  </a:lnTo>
                  <a:lnTo>
                    <a:pt x="130606" y="336372"/>
                  </a:lnTo>
                  <a:lnTo>
                    <a:pt x="140601" y="332092"/>
                  </a:lnTo>
                  <a:lnTo>
                    <a:pt x="149301" y="321030"/>
                  </a:lnTo>
                  <a:lnTo>
                    <a:pt x="160642" y="308114"/>
                  </a:lnTo>
                  <a:lnTo>
                    <a:pt x="174840" y="303707"/>
                  </a:lnTo>
                  <a:lnTo>
                    <a:pt x="189699" y="307797"/>
                  </a:lnTo>
                  <a:lnTo>
                    <a:pt x="213334" y="330161"/>
                  </a:lnTo>
                  <a:lnTo>
                    <a:pt x="224180" y="332600"/>
                  </a:lnTo>
                  <a:lnTo>
                    <a:pt x="263715" y="312216"/>
                  </a:lnTo>
                  <a:lnTo>
                    <a:pt x="266001" y="303707"/>
                  </a:lnTo>
                  <a:lnTo>
                    <a:pt x="266230" y="302856"/>
                  </a:lnTo>
                  <a:lnTo>
                    <a:pt x="263499" y="290398"/>
                  </a:lnTo>
                  <a:lnTo>
                    <a:pt x="262267" y="274713"/>
                  </a:lnTo>
                  <a:lnTo>
                    <a:pt x="269455" y="261251"/>
                  </a:lnTo>
                  <a:lnTo>
                    <a:pt x="281660" y="253276"/>
                  </a:lnTo>
                  <a:lnTo>
                    <a:pt x="282448" y="252768"/>
                  </a:lnTo>
                  <a:lnTo>
                    <a:pt x="298589" y="252031"/>
                  </a:lnTo>
                  <a:lnTo>
                    <a:pt x="312534" y="252971"/>
                  </a:lnTo>
                  <a:lnTo>
                    <a:pt x="314680" y="252031"/>
                  </a:lnTo>
                  <a:lnTo>
                    <a:pt x="322440" y="248602"/>
                  </a:lnTo>
                  <a:lnTo>
                    <a:pt x="329501" y="239915"/>
                  </a:lnTo>
                  <a:lnTo>
                    <a:pt x="334924" y="227939"/>
                  </a:lnTo>
                  <a:lnTo>
                    <a:pt x="338467" y="215988"/>
                  </a:lnTo>
                  <a:lnTo>
                    <a:pt x="338645" y="205536"/>
                  </a:lnTo>
                  <a:close/>
                </a:path>
                <a:path w="838200" h="381635">
                  <a:moveTo>
                    <a:pt x="837793" y="326491"/>
                  </a:moveTo>
                  <a:lnTo>
                    <a:pt x="834847" y="297522"/>
                  </a:lnTo>
                  <a:lnTo>
                    <a:pt x="823074" y="266725"/>
                  </a:lnTo>
                  <a:lnTo>
                    <a:pt x="823074" y="381469"/>
                  </a:lnTo>
                  <a:lnTo>
                    <a:pt x="833374" y="354266"/>
                  </a:lnTo>
                  <a:lnTo>
                    <a:pt x="837793" y="326491"/>
                  </a:lnTo>
                  <a:close/>
                </a:path>
              </a:pathLst>
            </a:custGeom>
            <a:solidFill>
              <a:srgbClr val="FFFFFF"/>
            </a:solidFill>
          </p:spPr>
          <p:txBody>
            <a:bodyPr wrap="square" lIns="0" tIns="0" rIns="0" bIns="0" rtlCol="0"/>
            <a:lstStyle/>
            <a:p>
              <a:endParaRPr/>
            </a:p>
          </p:txBody>
        </p:sp>
      </p:grpSp>
      <p:sp>
        <p:nvSpPr>
          <p:cNvPr id="22" name="object 22"/>
          <p:cNvSpPr/>
          <p:nvPr/>
        </p:nvSpPr>
        <p:spPr>
          <a:xfrm>
            <a:off x="7179166" y="4462410"/>
            <a:ext cx="4300220" cy="1065530"/>
          </a:xfrm>
          <a:custGeom>
            <a:avLst/>
            <a:gdLst/>
            <a:ahLst/>
            <a:cxnLst/>
            <a:rect l="l" t="t" r="r" b="b"/>
            <a:pathLst>
              <a:path w="4300220" h="1065529">
                <a:moveTo>
                  <a:pt x="4299928" y="1065262"/>
                </a:moveTo>
                <a:lnTo>
                  <a:pt x="0" y="1065262"/>
                </a:lnTo>
                <a:lnTo>
                  <a:pt x="0" y="0"/>
                </a:lnTo>
                <a:lnTo>
                  <a:pt x="4299928" y="0"/>
                </a:lnTo>
                <a:lnTo>
                  <a:pt x="4299928" y="1065262"/>
                </a:lnTo>
                <a:close/>
              </a:path>
            </a:pathLst>
          </a:custGeom>
          <a:solidFill>
            <a:srgbClr val="FFFFFF"/>
          </a:solidFill>
        </p:spPr>
        <p:txBody>
          <a:bodyPr wrap="square" lIns="0" tIns="0" rIns="0" bIns="0" rtlCol="0"/>
          <a:lstStyle/>
          <a:p>
            <a:endParaRPr/>
          </a:p>
        </p:txBody>
      </p:sp>
      <p:sp>
        <p:nvSpPr>
          <p:cNvPr id="23" name="object 23"/>
          <p:cNvSpPr txBox="1"/>
          <p:nvPr/>
        </p:nvSpPr>
        <p:spPr>
          <a:xfrm>
            <a:off x="7845080" y="4538885"/>
            <a:ext cx="3501390" cy="730250"/>
          </a:xfrm>
          <a:prstGeom prst="rect">
            <a:avLst/>
          </a:prstGeom>
        </p:spPr>
        <p:txBody>
          <a:bodyPr vert="horz" wrap="square" lIns="0" tIns="12065" rIns="0" bIns="0" rtlCol="0">
            <a:spAutoFit/>
          </a:bodyPr>
          <a:lstStyle/>
          <a:p>
            <a:pPr marL="567690" marR="5080" indent="-555625">
              <a:lnSpc>
                <a:spcPct val="121700"/>
              </a:lnSpc>
              <a:spcBef>
                <a:spcPts val="95"/>
              </a:spcBef>
            </a:pPr>
            <a:r>
              <a:rPr sz="1900" dirty="0">
                <a:solidFill>
                  <a:srgbClr val="737373"/>
                </a:solidFill>
                <a:latin typeface="Roboto"/>
                <a:cs typeface="Roboto"/>
              </a:rPr>
              <a:t>Creación</a:t>
            </a:r>
            <a:r>
              <a:rPr sz="1900" spc="-35" dirty="0">
                <a:solidFill>
                  <a:srgbClr val="737373"/>
                </a:solidFill>
                <a:latin typeface="Roboto"/>
                <a:cs typeface="Roboto"/>
              </a:rPr>
              <a:t> </a:t>
            </a:r>
            <a:r>
              <a:rPr sz="1900" dirty="0">
                <a:solidFill>
                  <a:srgbClr val="737373"/>
                </a:solidFill>
                <a:latin typeface="Roboto"/>
                <a:cs typeface="Roboto"/>
              </a:rPr>
              <a:t>de</a:t>
            </a:r>
            <a:r>
              <a:rPr sz="1900" spc="-35" dirty="0">
                <a:solidFill>
                  <a:srgbClr val="737373"/>
                </a:solidFill>
                <a:latin typeface="Roboto"/>
                <a:cs typeface="Roboto"/>
              </a:rPr>
              <a:t> </a:t>
            </a:r>
            <a:r>
              <a:rPr sz="1900" b="1" dirty="0">
                <a:solidFill>
                  <a:srgbClr val="E3112B"/>
                </a:solidFill>
                <a:latin typeface="Roboto"/>
                <a:cs typeface="Roboto"/>
              </a:rPr>
              <a:t>contenidos</a:t>
            </a:r>
            <a:r>
              <a:rPr sz="1900" b="1" spc="-40" dirty="0">
                <a:solidFill>
                  <a:srgbClr val="E3112B"/>
                </a:solidFill>
                <a:latin typeface="Roboto"/>
                <a:cs typeface="Roboto"/>
              </a:rPr>
              <a:t> </a:t>
            </a:r>
            <a:r>
              <a:rPr sz="1900" dirty="0">
                <a:solidFill>
                  <a:srgbClr val="737373"/>
                </a:solidFill>
                <a:latin typeface="Roboto"/>
                <a:cs typeface="Roboto"/>
              </a:rPr>
              <a:t>de</a:t>
            </a:r>
            <a:r>
              <a:rPr sz="1900" spc="-30" dirty="0">
                <a:solidFill>
                  <a:srgbClr val="737373"/>
                </a:solidFill>
                <a:latin typeface="Roboto"/>
                <a:cs typeface="Roboto"/>
              </a:rPr>
              <a:t> </a:t>
            </a:r>
            <a:r>
              <a:rPr sz="1900" spc="-10" dirty="0">
                <a:solidFill>
                  <a:srgbClr val="737373"/>
                </a:solidFill>
                <a:latin typeface="Roboto"/>
                <a:cs typeface="Roboto"/>
              </a:rPr>
              <a:t>valor </a:t>
            </a:r>
            <a:r>
              <a:rPr sz="1900" dirty="0">
                <a:solidFill>
                  <a:srgbClr val="737373"/>
                </a:solidFill>
                <a:latin typeface="Roboto"/>
                <a:cs typeface="Roboto"/>
              </a:rPr>
              <a:t>del</a:t>
            </a:r>
            <a:r>
              <a:rPr sz="1900" spc="-70" dirty="0">
                <a:solidFill>
                  <a:srgbClr val="737373"/>
                </a:solidFill>
                <a:latin typeface="Roboto"/>
                <a:cs typeface="Roboto"/>
              </a:rPr>
              <a:t> </a:t>
            </a:r>
            <a:r>
              <a:rPr sz="1900" dirty="0">
                <a:solidFill>
                  <a:srgbClr val="737373"/>
                </a:solidFill>
                <a:latin typeface="Roboto"/>
                <a:cs typeface="Roboto"/>
              </a:rPr>
              <a:t>destino</a:t>
            </a:r>
            <a:r>
              <a:rPr sz="1900" spc="-65" dirty="0">
                <a:solidFill>
                  <a:srgbClr val="737373"/>
                </a:solidFill>
                <a:latin typeface="Roboto"/>
                <a:cs typeface="Roboto"/>
              </a:rPr>
              <a:t> </a:t>
            </a:r>
            <a:r>
              <a:rPr sz="1900" dirty="0">
                <a:solidFill>
                  <a:srgbClr val="737373"/>
                </a:solidFill>
                <a:latin typeface="Roboto"/>
                <a:cs typeface="Roboto"/>
              </a:rPr>
              <a:t>para</a:t>
            </a:r>
            <a:r>
              <a:rPr sz="1900" spc="-65" dirty="0">
                <a:solidFill>
                  <a:srgbClr val="737373"/>
                </a:solidFill>
                <a:latin typeface="Roboto"/>
                <a:cs typeface="Roboto"/>
              </a:rPr>
              <a:t> </a:t>
            </a:r>
            <a:r>
              <a:rPr sz="1900" spc="-20" dirty="0">
                <a:solidFill>
                  <a:srgbClr val="737373"/>
                </a:solidFill>
                <a:latin typeface="Roboto"/>
                <a:cs typeface="Roboto"/>
              </a:rPr>
              <a:t>MICE</a:t>
            </a:r>
            <a:endParaRPr sz="1900">
              <a:latin typeface="Roboto"/>
              <a:cs typeface="Roboto"/>
            </a:endParaRPr>
          </a:p>
        </p:txBody>
      </p:sp>
      <p:sp>
        <p:nvSpPr>
          <p:cNvPr id="24" name="object 24"/>
          <p:cNvSpPr/>
          <p:nvPr/>
        </p:nvSpPr>
        <p:spPr>
          <a:xfrm>
            <a:off x="6644471" y="4461130"/>
            <a:ext cx="1069975" cy="1069975"/>
          </a:xfrm>
          <a:custGeom>
            <a:avLst/>
            <a:gdLst/>
            <a:ahLst/>
            <a:cxnLst/>
            <a:rect l="l" t="t" r="r" b="b"/>
            <a:pathLst>
              <a:path w="1069975" h="1069975">
                <a:moveTo>
                  <a:pt x="534705" y="1069390"/>
                </a:moveTo>
                <a:lnTo>
                  <a:pt x="486026" y="1067205"/>
                </a:lnTo>
                <a:lnTo>
                  <a:pt x="438583" y="1060776"/>
                </a:lnTo>
                <a:lnTo>
                  <a:pt x="392551" y="1050290"/>
                </a:lnTo>
                <a:lnTo>
                  <a:pt x="348122" y="1035938"/>
                </a:lnTo>
                <a:lnTo>
                  <a:pt x="305483" y="1017908"/>
                </a:lnTo>
                <a:lnTo>
                  <a:pt x="264824" y="996389"/>
                </a:lnTo>
                <a:lnTo>
                  <a:pt x="226332" y="971569"/>
                </a:lnTo>
                <a:lnTo>
                  <a:pt x="190197" y="943637"/>
                </a:lnTo>
                <a:lnTo>
                  <a:pt x="156608" y="912782"/>
                </a:lnTo>
                <a:lnTo>
                  <a:pt x="125753" y="879192"/>
                </a:lnTo>
                <a:lnTo>
                  <a:pt x="97821" y="843057"/>
                </a:lnTo>
                <a:lnTo>
                  <a:pt x="73001" y="804566"/>
                </a:lnTo>
                <a:lnTo>
                  <a:pt x="51481" y="763906"/>
                </a:lnTo>
                <a:lnTo>
                  <a:pt x="33451" y="721267"/>
                </a:lnTo>
                <a:lnTo>
                  <a:pt x="19099" y="676838"/>
                </a:lnTo>
                <a:lnTo>
                  <a:pt x="8614" y="630807"/>
                </a:lnTo>
                <a:lnTo>
                  <a:pt x="2184" y="583363"/>
                </a:lnTo>
                <a:lnTo>
                  <a:pt x="0" y="534700"/>
                </a:lnTo>
                <a:lnTo>
                  <a:pt x="2184" y="486026"/>
                </a:lnTo>
                <a:lnTo>
                  <a:pt x="8614" y="438583"/>
                </a:lnTo>
                <a:lnTo>
                  <a:pt x="19099" y="392551"/>
                </a:lnTo>
                <a:lnTo>
                  <a:pt x="33451" y="348122"/>
                </a:lnTo>
                <a:lnTo>
                  <a:pt x="51481" y="305483"/>
                </a:lnTo>
                <a:lnTo>
                  <a:pt x="73001" y="264824"/>
                </a:lnTo>
                <a:lnTo>
                  <a:pt x="97821" y="226332"/>
                </a:lnTo>
                <a:lnTo>
                  <a:pt x="125753" y="190197"/>
                </a:lnTo>
                <a:lnTo>
                  <a:pt x="156608" y="156608"/>
                </a:lnTo>
                <a:lnTo>
                  <a:pt x="190197" y="125753"/>
                </a:lnTo>
                <a:lnTo>
                  <a:pt x="226332" y="97821"/>
                </a:lnTo>
                <a:lnTo>
                  <a:pt x="264824" y="73001"/>
                </a:lnTo>
                <a:lnTo>
                  <a:pt x="305483" y="51482"/>
                </a:lnTo>
                <a:lnTo>
                  <a:pt x="348122" y="33451"/>
                </a:lnTo>
                <a:lnTo>
                  <a:pt x="392551" y="19099"/>
                </a:lnTo>
                <a:lnTo>
                  <a:pt x="438583" y="8614"/>
                </a:lnTo>
                <a:lnTo>
                  <a:pt x="486026"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7"/>
                </a:lnTo>
                <a:lnTo>
                  <a:pt x="971568" y="226332"/>
                </a:lnTo>
                <a:lnTo>
                  <a:pt x="996388" y="264824"/>
                </a:lnTo>
                <a:lnTo>
                  <a:pt x="1017907" y="305483"/>
                </a:lnTo>
                <a:lnTo>
                  <a:pt x="1035938" y="348122"/>
                </a:lnTo>
                <a:lnTo>
                  <a:pt x="1050290" y="392551"/>
                </a:lnTo>
                <a:lnTo>
                  <a:pt x="1060775" y="438583"/>
                </a:lnTo>
                <a:lnTo>
                  <a:pt x="1067204" y="486026"/>
                </a:lnTo>
                <a:lnTo>
                  <a:pt x="1069389" y="534689"/>
                </a:lnTo>
                <a:lnTo>
                  <a:pt x="1067204" y="583363"/>
                </a:lnTo>
                <a:lnTo>
                  <a:pt x="1060775" y="630807"/>
                </a:lnTo>
                <a:lnTo>
                  <a:pt x="1050290" y="676838"/>
                </a:lnTo>
                <a:lnTo>
                  <a:pt x="1035938" y="721267"/>
                </a:lnTo>
                <a:lnTo>
                  <a:pt x="1017907" y="763906"/>
                </a:lnTo>
                <a:lnTo>
                  <a:pt x="996388" y="804566"/>
                </a:lnTo>
                <a:lnTo>
                  <a:pt x="971568" y="843057"/>
                </a:lnTo>
                <a:lnTo>
                  <a:pt x="943636" y="879192"/>
                </a:lnTo>
                <a:lnTo>
                  <a:pt x="912781" y="912782"/>
                </a:lnTo>
                <a:lnTo>
                  <a:pt x="879192" y="943637"/>
                </a:lnTo>
                <a:lnTo>
                  <a:pt x="843057" y="971569"/>
                </a:lnTo>
                <a:lnTo>
                  <a:pt x="804566" y="996389"/>
                </a:lnTo>
                <a:lnTo>
                  <a:pt x="763906" y="1017908"/>
                </a:lnTo>
                <a:lnTo>
                  <a:pt x="721267" y="1035938"/>
                </a:lnTo>
                <a:lnTo>
                  <a:pt x="676838" y="1050290"/>
                </a:lnTo>
                <a:lnTo>
                  <a:pt x="630807" y="1060776"/>
                </a:lnTo>
                <a:lnTo>
                  <a:pt x="583363" y="1067205"/>
                </a:lnTo>
                <a:lnTo>
                  <a:pt x="534705" y="1069390"/>
                </a:lnTo>
                <a:close/>
              </a:path>
            </a:pathLst>
          </a:custGeom>
          <a:solidFill>
            <a:srgbClr val="003793"/>
          </a:solidFill>
        </p:spPr>
        <p:txBody>
          <a:bodyPr wrap="square" lIns="0" tIns="0" rIns="0" bIns="0" rtlCol="0"/>
          <a:lstStyle/>
          <a:p>
            <a:endParaRPr/>
          </a:p>
        </p:txBody>
      </p:sp>
      <p:sp>
        <p:nvSpPr>
          <p:cNvPr id="25" name="object 25"/>
          <p:cNvSpPr txBox="1"/>
          <p:nvPr/>
        </p:nvSpPr>
        <p:spPr>
          <a:xfrm>
            <a:off x="6870015" y="4727326"/>
            <a:ext cx="618490" cy="506730"/>
          </a:xfrm>
          <a:prstGeom prst="rect">
            <a:avLst/>
          </a:prstGeom>
        </p:spPr>
        <p:txBody>
          <a:bodyPr vert="horz" wrap="square" lIns="0" tIns="13335" rIns="0" bIns="0" rtlCol="0">
            <a:spAutoFit/>
          </a:bodyPr>
          <a:lstStyle/>
          <a:p>
            <a:pPr marL="12700">
              <a:lnSpc>
                <a:spcPct val="100000"/>
              </a:lnSpc>
              <a:spcBef>
                <a:spcPts val="105"/>
              </a:spcBef>
            </a:pPr>
            <a:r>
              <a:rPr sz="3150" b="1" spc="540" dirty="0">
                <a:solidFill>
                  <a:srgbClr val="FFFFFF"/>
                </a:solidFill>
                <a:latin typeface="Arial"/>
                <a:cs typeface="Arial"/>
              </a:rPr>
              <a:t>02</a:t>
            </a:r>
            <a:endParaRPr sz="3150">
              <a:latin typeface="Arial"/>
              <a:cs typeface="Arial"/>
            </a:endParaRPr>
          </a:p>
        </p:txBody>
      </p:sp>
      <p:pic>
        <p:nvPicPr>
          <p:cNvPr id="26" name="object 26"/>
          <p:cNvPicPr/>
          <p:nvPr/>
        </p:nvPicPr>
        <p:blipFill>
          <a:blip r:embed="rId5" cstate="print"/>
          <a:stretch>
            <a:fillRect/>
          </a:stretch>
        </p:blipFill>
        <p:spPr>
          <a:xfrm>
            <a:off x="14340692" y="2480901"/>
            <a:ext cx="1857796" cy="1857797"/>
          </a:xfrm>
          <a:prstGeom prst="rect">
            <a:avLst/>
          </a:prstGeom>
        </p:spPr>
      </p:pic>
      <p:grpSp>
        <p:nvGrpSpPr>
          <p:cNvPr id="27" name="object 27"/>
          <p:cNvGrpSpPr/>
          <p:nvPr/>
        </p:nvGrpSpPr>
        <p:grpSpPr>
          <a:xfrm>
            <a:off x="12793874" y="4461130"/>
            <a:ext cx="4953635" cy="1069975"/>
            <a:chOff x="12793874" y="4461130"/>
            <a:chExt cx="4953635" cy="1069975"/>
          </a:xfrm>
        </p:grpSpPr>
        <p:sp>
          <p:nvSpPr>
            <p:cNvPr id="28" name="object 28"/>
            <p:cNvSpPr/>
            <p:nvPr/>
          </p:nvSpPr>
          <p:spPr>
            <a:xfrm>
              <a:off x="13486253" y="4462410"/>
              <a:ext cx="4261485" cy="1065530"/>
            </a:xfrm>
            <a:custGeom>
              <a:avLst/>
              <a:gdLst/>
              <a:ahLst/>
              <a:cxnLst/>
              <a:rect l="l" t="t" r="r" b="b"/>
              <a:pathLst>
                <a:path w="4261484" h="1065529">
                  <a:moveTo>
                    <a:pt x="4261050" y="1065262"/>
                  </a:moveTo>
                  <a:lnTo>
                    <a:pt x="0" y="1065262"/>
                  </a:lnTo>
                  <a:lnTo>
                    <a:pt x="0" y="0"/>
                  </a:lnTo>
                  <a:lnTo>
                    <a:pt x="4261050" y="0"/>
                  </a:lnTo>
                  <a:lnTo>
                    <a:pt x="4261050" y="1065262"/>
                  </a:lnTo>
                  <a:close/>
                </a:path>
              </a:pathLst>
            </a:custGeom>
            <a:solidFill>
              <a:srgbClr val="FFFFFF"/>
            </a:solidFill>
          </p:spPr>
          <p:txBody>
            <a:bodyPr wrap="square" lIns="0" tIns="0" rIns="0" bIns="0" rtlCol="0"/>
            <a:lstStyle/>
            <a:p>
              <a:endParaRPr/>
            </a:p>
          </p:txBody>
        </p:sp>
        <p:sp>
          <p:nvSpPr>
            <p:cNvPr id="29" name="object 29"/>
            <p:cNvSpPr/>
            <p:nvPr/>
          </p:nvSpPr>
          <p:spPr>
            <a:xfrm>
              <a:off x="12793874" y="4461130"/>
              <a:ext cx="1069975" cy="1069975"/>
            </a:xfrm>
            <a:custGeom>
              <a:avLst/>
              <a:gdLst/>
              <a:ahLst/>
              <a:cxnLst/>
              <a:rect l="l" t="t" r="r" b="b"/>
              <a:pathLst>
                <a:path w="1069975" h="1069975">
                  <a:moveTo>
                    <a:pt x="534704" y="1069390"/>
                  </a:moveTo>
                  <a:lnTo>
                    <a:pt x="486026" y="1067205"/>
                  </a:lnTo>
                  <a:lnTo>
                    <a:pt x="438582" y="1060776"/>
                  </a:lnTo>
                  <a:lnTo>
                    <a:pt x="392551" y="1050290"/>
                  </a:lnTo>
                  <a:lnTo>
                    <a:pt x="348122" y="1035938"/>
                  </a:lnTo>
                  <a:lnTo>
                    <a:pt x="305483" y="1017908"/>
                  </a:lnTo>
                  <a:lnTo>
                    <a:pt x="264823" y="996389"/>
                  </a:lnTo>
                  <a:lnTo>
                    <a:pt x="226332" y="971569"/>
                  </a:lnTo>
                  <a:lnTo>
                    <a:pt x="190197" y="943637"/>
                  </a:lnTo>
                  <a:lnTo>
                    <a:pt x="156608" y="912782"/>
                  </a:lnTo>
                  <a:lnTo>
                    <a:pt x="125753" y="879192"/>
                  </a:lnTo>
                  <a:lnTo>
                    <a:pt x="97821" y="843057"/>
                  </a:lnTo>
                  <a:lnTo>
                    <a:pt x="73001" y="804566"/>
                  </a:lnTo>
                  <a:lnTo>
                    <a:pt x="51481" y="763906"/>
                  </a:lnTo>
                  <a:lnTo>
                    <a:pt x="33451" y="721267"/>
                  </a:lnTo>
                  <a:lnTo>
                    <a:pt x="19099" y="676838"/>
                  </a:lnTo>
                  <a:lnTo>
                    <a:pt x="8614" y="630807"/>
                  </a:lnTo>
                  <a:lnTo>
                    <a:pt x="2184" y="583363"/>
                  </a:lnTo>
                  <a:lnTo>
                    <a:pt x="0" y="534681"/>
                  </a:lnTo>
                  <a:lnTo>
                    <a:pt x="2184" y="486026"/>
                  </a:lnTo>
                  <a:lnTo>
                    <a:pt x="8614" y="438583"/>
                  </a:lnTo>
                  <a:lnTo>
                    <a:pt x="19099" y="392551"/>
                  </a:lnTo>
                  <a:lnTo>
                    <a:pt x="33451" y="348122"/>
                  </a:lnTo>
                  <a:lnTo>
                    <a:pt x="51481" y="305483"/>
                  </a:lnTo>
                  <a:lnTo>
                    <a:pt x="73001" y="264824"/>
                  </a:lnTo>
                  <a:lnTo>
                    <a:pt x="97821" y="226332"/>
                  </a:lnTo>
                  <a:lnTo>
                    <a:pt x="125753" y="190197"/>
                  </a:lnTo>
                  <a:lnTo>
                    <a:pt x="156608" y="156608"/>
                  </a:lnTo>
                  <a:lnTo>
                    <a:pt x="190197" y="125753"/>
                  </a:lnTo>
                  <a:lnTo>
                    <a:pt x="226332" y="97821"/>
                  </a:lnTo>
                  <a:lnTo>
                    <a:pt x="264823" y="73001"/>
                  </a:lnTo>
                  <a:lnTo>
                    <a:pt x="305483" y="51482"/>
                  </a:lnTo>
                  <a:lnTo>
                    <a:pt x="348122" y="33451"/>
                  </a:lnTo>
                  <a:lnTo>
                    <a:pt x="392551" y="19099"/>
                  </a:lnTo>
                  <a:lnTo>
                    <a:pt x="438582" y="8614"/>
                  </a:lnTo>
                  <a:lnTo>
                    <a:pt x="486026" y="2185"/>
                  </a:lnTo>
                  <a:lnTo>
                    <a:pt x="534694" y="0"/>
                  </a:lnTo>
                  <a:lnTo>
                    <a:pt x="583362" y="2185"/>
                  </a:lnTo>
                  <a:lnTo>
                    <a:pt x="630806" y="8614"/>
                  </a:lnTo>
                  <a:lnTo>
                    <a:pt x="676837" y="19099"/>
                  </a:lnTo>
                  <a:lnTo>
                    <a:pt x="721267" y="33451"/>
                  </a:lnTo>
                  <a:lnTo>
                    <a:pt x="763906" y="51482"/>
                  </a:lnTo>
                  <a:lnTo>
                    <a:pt x="804565" y="73001"/>
                  </a:lnTo>
                  <a:lnTo>
                    <a:pt x="843057" y="97821"/>
                  </a:lnTo>
                  <a:lnTo>
                    <a:pt x="879192" y="125753"/>
                  </a:lnTo>
                  <a:lnTo>
                    <a:pt x="912781" y="156608"/>
                  </a:lnTo>
                  <a:lnTo>
                    <a:pt x="943636" y="190197"/>
                  </a:lnTo>
                  <a:lnTo>
                    <a:pt x="971568" y="226332"/>
                  </a:lnTo>
                  <a:lnTo>
                    <a:pt x="996388" y="264824"/>
                  </a:lnTo>
                  <a:lnTo>
                    <a:pt x="1017908" y="305483"/>
                  </a:lnTo>
                  <a:lnTo>
                    <a:pt x="1035938" y="348122"/>
                  </a:lnTo>
                  <a:lnTo>
                    <a:pt x="1050290" y="392551"/>
                  </a:lnTo>
                  <a:lnTo>
                    <a:pt x="1060775" y="438583"/>
                  </a:lnTo>
                  <a:lnTo>
                    <a:pt x="1067205" y="486026"/>
                  </a:lnTo>
                  <a:lnTo>
                    <a:pt x="1069389" y="534695"/>
                  </a:lnTo>
                  <a:lnTo>
                    <a:pt x="1067205" y="583363"/>
                  </a:lnTo>
                  <a:lnTo>
                    <a:pt x="1060775" y="630807"/>
                  </a:lnTo>
                  <a:lnTo>
                    <a:pt x="1050290" y="676838"/>
                  </a:lnTo>
                  <a:lnTo>
                    <a:pt x="1035938" y="721267"/>
                  </a:lnTo>
                  <a:lnTo>
                    <a:pt x="1017908" y="763906"/>
                  </a:lnTo>
                  <a:lnTo>
                    <a:pt x="996388" y="804566"/>
                  </a:lnTo>
                  <a:lnTo>
                    <a:pt x="971568" y="843057"/>
                  </a:lnTo>
                  <a:lnTo>
                    <a:pt x="943636" y="879192"/>
                  </a:lnTo>
                  <a:lnTo>
                    <a:pt x="912781" y="912782"/>
                  </a:lnTo>
                  <a:lnTo>
                    <a:pt x="879192" y="943637"/>
                  </a:lnTo>
                  <a:lnTo>
                    <a:pt x="843057" y="971569"/>
                  </a:lnTo>
                  <a:lnTo>
                    <a:pt x="804565" y="996389"/>
                  </a:lnTo>
                  <a:lnTo>
                    <a:pt x="763906" y="1017908"/>
                  </a:lnTo>
                  <a:lnTo>
                    <a:pt x="721267" y="1035938"/>
                  </a:lnTo>
                  <a:lnTo>
                    <a:pt x="676837" y="1050290"/>
                  </a:lnTo>
                  <a:lnTo>
                    <a:pt x="630806" y="1060776"/>
                  </a:lnTo>
                  <a:lnTo>
                    <a:pt x="583362" y="1067205"/>
                  </a:lnTo>
                  <a:lnTo>
                    <a:pt x="534704" y="1069390"/>
                  </a:lnTo>
                  <a:close/>
                </a:path>
              </a:pathLst>
            </a:custGeom>
            <a:solidFill>
              <a:srgbClr val="003793"/>
            </a:solidFill>
          </p:spPr>
          <p:txBody>
            <a:bodyPr wrap="square" lIns="0" tIns="0" rIns="0" bIns="0" rtlCol="0"/>
            <a:lstStyle/>
            <a:p>
              <a:endParaRPr/>
            </a:p>
          </p:txBody>
        </p:sp>
      </p:grpSp>
      <p:sp>
        <p:nvSpPr>
          <p:cNvPr id="30" name="object 30"/>
          <p:cNvSpPr txBox="1"/>
          <p:nvPr/>
        </p:nvSpPr>
        <p:spPr>
          <a:xfrm>
            <a:off x="13037021" y="4727326"/>
            <a:ext cx="583565" cy="506730"/>
          </a:xfrm>
          <a:prstGeom prst="rect">
            <a:avLst/>
          </a:prstGeom>
        </p:spPr>
        <p:txBody>
          <a:bodyPr vert="horz" wrap="square" lIns="0" tIns="13335" rIns="0" bIns="0" rtlCol="0">
            <a:spAutoFit/>
          </a:bodyPr>
          <a:lstStyle/>
          <a:p>
            <a:pPr marL="12700">
              <a:lnSpc>
                <a:spcPct val="100000"/>
              </a:lnSpc>
              <a:spcBef>
                <a:spcPts val="105"/>
              </a:spcBef>
            </a:pPr>
            <a:r>
              <a:rPr sz="3150" b="1" spc="400" dirty="0">
                <a:solidFill>
                  <a:srgbClr val="FFFFFF"/>
                </a:solidFill>
                <a:latin typeface="Arial"/>
                <a:cs typeface="Arial"/>
              </a:rPr>
              <a:t>03</a:t>
            </a:r>
            <a:endParaRPr sz="3150">
              <a:latin typeface="Arial"/>
              <a:cs typeface="Arial"/>
            </a:endParaRPr>
          </a:p>
        </p:txBody>
      </p:sp>
      <p:sp>
        <p:nvSpPr>
          <p:cNvPr id="31" name="object 31"/>
          <p:cNvSpPr txBox="1"/>
          <p:nvPr/>
        </p:nvSpPr>
        <p:spPr>
          <a:xfrm>
            <a:off x="14230970" y="4640544"/>
            <a:ext cx="3158490" cy="692150"/>
          </a:xfrm>
          <a:prstGeom prst="rect">
            <a:avLst/>
          </a:prstGeom>
        </p:spPr>
        <p:txBody>
          <a:bodyPr vert="horz" wrap="square" lIns="0" tIns="55880" rIns="0" bIns="0" rtlCol="0">
            <a:spAutoFit/>
          </a:bodyPr>
          <a:lstStyle/>
          <a:p>
            <a:pPr algn="ctr">
              <a:lnSpc>
                <a:spcPct val="100000"/>
              </a:lnSpc>
              <a:spcBef>
                <a:spcPts val="440"/>
              </a:spcBef>
            </a:pPr>
            <a:r>
              <a:rPr sz="1900" dirty="0">
                <a:solidFill>
                  <a:srgbClr val="737373"/>
                </a:solidFill>
                <a:latin typeface="Roboto"/>
                <a:cs typeface="Roboto"/>
              </a:rPr>
              <a:t>Foco</a:t>
            </a:r>
            <a:r>
              <a:rPr sz="1900" spc="-60" dirty="0">
                <a:solidFill>
                  <a:srgbClr val="737373"/>
                </a:solidFill>
                <a:latin typeface="Roboto"/>
                <a:cs typeface="Roboto"/>
              </a:rPr>
              <a:t> </a:t>
            </a:r>
            <a:r>
              <a:rPr sz="1900" dirty="0">
                <a:solidFill>
                  <a:srgbClr val="737373"/>
                </a:solidFill>
                <a:latin typeface="Roboto"/>
                <a:cs typeface="Roboto"/>
              </a:rPr>
              <a:t>en</a:t>
            </a:r>
            <a:r>
              <a:rPr sz="1900" spc="-55" dirty="0">
                <a:solidFill>
                  <a:srgbClr val="737373"/>
                </a:solidFill>
                <a:latin typeface="Roboto"/>
                <a:cs typeface="Roboto"/>
              </a:rPr>
              <a:t> </a:t>
            </a:r>
            <a:r>
              <a:rPr sz="1900" spc="-10" dirty="0">
                <a:solidFill>
                  <a:srgbClr val="737373"/>
                </a:solidFill>
                <a:latin typeface="Roboto"/>
                <a:cs typeface="Roboto"/>
              </a:rPr>
              <a:t>captación</a:t>
            </a:r>
            <a:r>
              <a:rPr sz="1900" spc="-55" dirty="0">
                <a:solidFill>
                  <a:srgbClr val="737373"/>
                </a:solidFill>
                <a:latin typeface="Roboto"/>
                <a:cs typeface="Roboto"/>
              </a:rPr>
              <a:t> </a:t>
            </a:r>
            <a:r>
              <a:rPr sz="1900" spc="-10" dirty="0">
                <a:solidFill>
                  <a:srgbClr val="737373"/>
                </a:solidFill>
                <a:latin typeface="Roboto"/>
                <a:cs typeface="Roboto"/>
              </a:rPr>
              <a:t>mercados</a:t>
            </a:r>
            <a:endParaRPr sz="1900">
              <a:latin typeface="Roboto"/>
              <a:cs typeface="Roboto"/>
            </a:endParaRPr>
          </a:p>
          <a:p>
            <a:pPr marL="59690" algn="ctr">
              <a:lnSpc>
                <a:spcPct val="100000"/>
              </a:lnSpc>
              <a:spcBef>
                <a:spcPts val="345"/>
              </a:spcBef>
            </a:pPr>
            <a:r>
              <a:rPr sz="1900" b="1" dirty="0">
                <a:solidFill>
                  <a:srgbClr val="E3112B"/>
                </a:solidFill>
                <a:latin typeface="Roboto"/>
                <a:cs typeface="Roboto"/>
              </a:rPr>
              <a:t>regionales</a:t>
            </a:r>
            <a:r>
              <a:rPr sz="1900" b="1" spc="5" dirty="0">
                <a:solidFill>
                  <a:srgbClr val="E3112B"/>
                </a:solidFill>
                <a:latin typeface="Roboto"/>
                <a:cs typeface="Roboto"/>
              </a:rPr>
              <a:t> </a:t>
            </a:r>
            <a:r>
              <a:rPr sz="1900" b="1" dirty="0">
                <a:solidFill>
                  <a:srgbClr val="E3112B"/>
                </a:solidFill>
                <a:latin typeface="Roboto"/>
                <a:cs typeface="Roboto"/>
              </a:rPr>
              <a:t>y</a:t>
            </a:r>
            <a:r>
              <a:rPr sz="1900" b="1" spc="5" dirty="0">
                <a:solidFill>
                  <a:srgbClr val="E3112B"/>
                </a:solidFill>
                <a:latin typeface="Roboto"/>
                <a:cs typeface="Roboto"/>
              </a:rPr>
              <a:t> </a:t>
            </a:r>
            <a:r>
              <a:rPr sz="1900" b="1" spc="-20" dirty="0">
                <a:solidFill>
                  <a:srgbClr val="E3112B"/>
                </a:solidFill>
                <a:latin typeface="Roboto"/>
                <a:cs typeface="Roboto"/>
              </a:rPr>
              <a:t>EEUU</a:t>
            </a:r>
            <a:endParaRPr sz="1900">
              <a:latin typeface="Roboto"/>
              <a:cs typeface="Roboto"/>
            </a:endParaRPr>
          </a:p>
        </p:txBody>
      </p:sp>
      <p:grpSp>
        <p:nvGrpSpPr>
          <p:cNvPr id="32" name="object 32"/>
          <p:cNvGrpSpPr/>
          <p:nvPr/>
        </p:nvGrpSpPr>
        <p:grpSpPr>
          <a:xfrm>
            <a:off x="2304525" y="6047647"/>
            <a:ext cx="1858010" cy="1858010"/>
            <a:chOff x="2304525" y="6047647"/>
            <a:chExt cx="1858010" cy="1858010"/>
          </a:xfrm>
        </p:grpSpPr>
        <p:sp>
          <p:nvSpPr>
            <p:cNvPr id="33" name="object 33"/>
            <p:cNvSpPr/>
            <p:nvPr/>
          </p:nvSpPr>
          <p:spPr>
            <a:xfrm>
              <a:off x="2304525" y="6047647"/>
              <a:ext cx="1858010" cy="1858010"/>
            </a:xfrm>
            <a:custGeom>
              <a:avLst/>
              <a:gdLst/>
              <a:ahLst/>
              <a:cxnLst/>
              <a:rect l="l" t="t" r="r" b="b"/>
              <a:pathLst>
                <a:path w="1858010" h="1858009">
                  <a:moveTo>
                    <a:pt x="928910" y="1857797"/>
                  </a:moveTo>
                  <a:lnTo>
                    <a:pt x="881097" y="1856589"/>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8" y="1585729"/>
                  </a:lnTo>
                  <a:lnTo>
                    <a:pt x="241310" y="1553469"/>
                  </a:lnTo>
                  <a:lnTo>
                    <a:pt x="212115" y="1519764"/>
                  </a:lnTo>
                  <a:lnTo>
                    <a:pt x="184539" y="1484673"/>
                  </a:lnTo>
                  <a:lnTo>
                    <a:pt x="158641" y="1448255"/>
                  </a:lnTo>
                  <a:lnTo>
                    <a:pt x="134479" y="1410566"/>
                  </a:lnTo>
                  <a:lnTo>
                    <a:pt x="112112" y="1371667"/>
                  </a:lnTo>
                  <a:lnTo>
                    <a:pt x="91599" y="1331614"/>
                  </a:lnTo>
                  <a:lnTo>
                    <a:pt x="72997" y="1290468"/>
                  </a:lnTo>
                  <a:lnTo>
                    <a:pt x="56365" y="1248285"/>
                  </a:lnTo>
                  <a:lnTo>
                    <a:pt x="41761" y="1205125"/>
                  </a:lnTo>
                  <a:lnTo>
                    <a:pt x="29244" y="1161045"/>
                  </a:lnTo>
                  <a:lnTo>
                    <a:pt x="18871" y="1116104"/>
                  </a:lnTo>
                  <a:lnTo>
                    <a:pt x="10702" y="1070361"/>
                  </a:lnTo>
                  <a:lnTo>
                    <a:pt x="4795" y="1023873"/>
                  </a:lnTo>
                  <a:lnTo>
                    <a:pt x="1208" y="976700"/>
                  </a:lnTo>
                  <a:lnTo>
                    <a:pt x="0" y="928896"/>
                  </a:lnTo>
                  <a:lnTo>
                    <a:pt x="1208" y="881098"/>
                  </a:lnTo>
                  <a:lnTo>
                    <a:pt x="4795" y="833924"/>
                  </a:lnTo>
                  <a:lnTo>
                    <a:pt x="10702" y="787436"/>
                  </a:lnTo>
                  <a:lnTo>
                    <a:pt x="18871" y="741693"/>
                  </a:lnTo>
                  <a:lnTo>
                    <a:pt x="29244" y="696752"/>
                  </a:lnTo>
                  <a:lnTo>
                    <a:pt x="41761" y="652672"/>
                  </a:lnTo>
                  <a:lnTo>
                    <a:pt x="56365" y="609512"/>
                  </a:lnTo>
                  <a:lnTo>
                    <a:pt x="72997" y="567329"/>
                  </a:lnTo>
                  <a:lnTo>
                    <a:pt x="91599" y="526183"/>
                  </a:lnTo>
                  <a:lnTo>
                    <a:pt x="112112" y="486130"/>
                  </a:lnTo>
                  <a:lnTo>
                    <a:pt x="134479" y="447231"/>
                  </a:lnTo>
                  <a:lnTo>
                    <a:pt x="158641" y="409542"/>
                  </a:lnTo>
                  <a:lnTo>
                    <a:pt x="184539" y="373124"/>
                  </a:lnTo>
                  <a:lnTo>
                    <a:pt x="212115" y="338033"/>
                  </a:lnTo>
                  <a:lnTo>
                    <a:pt x="241310" y="304328"/>
                  </a:lnTo>
                  <a:lnTo>
                    <a:pt x="272068"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3" y="4795"/>
                  </a:lnTo>
                  <a:lnTo>
                    <a:pt x="1070360" y="10703"/>
                  </a:lnTo>
                  <a:lnTo>
                    <a:pt x="1116104" y="18871"/>
                  </a:lnTo>
                  <a:lnTo>
                    <a:pt x="1161044" y="29244"/>
                  </a:lnTo>
                  <a:lnTo>
                    <a:pt x="1205124" y="41761"/>
                  </a:lnTo>
                  <a:lnTo>
                    <a:pt x="1248285" y="56365"/>
                  </a:lnTo>
                  <a:lnTo>
                    <a:pt x="1290467" y="72997"/>
                  </a:lnTo>
                  <a:lnTo>
                    <a:pt x="1331614" y="91599"/>
                  </a:lnTo>
                  <a:lnTo>
                    <a:pt x="1371667" y="112113"/>
                  </a:lnTo>
                  <a:lnTo>
                    <a:pt x="1410566" y="134479"/>
                  </a:lnTo>
                  <a:lnTo>
                    <a:pt x="1448254" y="158641"/>
                  </a:lnTo>
                  <a:lnTo>
                    <a:pt x="1484673" y="184539"/>
                  </a:lnTo>
                  <a:lnTo>
                    <a:pt x="1519764" y="212115"/>
                  </a:lnTo>
                  <a:lnTo>
                    <a:pt x="1553469" y="241311"/>
                  </a:lnTo>
                  <a:lnTo>
                    <a:pt x="1585729" y="272068"/>
                  </a:lnTo>
                  <a:lnTo>
                    <a:pt x="1616486" y="304328"/>
                  </a:lnTo>
                  <a:lnTo>
                    <a:pt x="1645682" y="338033"/>
                  </a:lnTo>
                  <a:lnTo>
                    <a:pt x="1673258" y="373124"/>
                  </a:lnTo>
                  <a:lnTo>
                    <a:pt x="1699156" y="409542"/>
                  </a:lnTo>
                  <a:lnTo>
                    <a:pt x="1723317" y="447231"/>
                  </a:lnTo>
                  <a:lnTo>
                    <a:pt x="1745684" y="486130"/>
                  </a:lnTo>
                  <a:lnTo>
                    <a:pt x="1766197" y="526183"/>
                  </a:lnTo>
                  <a:lnTo>
                    <a:pt x="1784799" y="567329"/>
                  </a:lnTo>
                  <a:lnTo>
                    <a:pt x="1801432" y="609512"/>
                  </a:lnTo>
                  <a:lnTo>
                    <a:pt x="1816035" y="652672"/>
                  </a:lnTo>
                  <a:lnTo>
                    <a:pt x="1828553" y="696752"/>
                  </a:lnTo>
                  <a:lnTo>
                    <a:pt x="1838925" y="741693"/>
                  </a:lnTo>
                  <a:lnTo>
                    <a:pt x="1847094" y="787436"/>
                  </a:lnTo>
                  <a:lnTo>
                    <a:pt x="1853001" y="833924"/>
                  </a:lnTo>
                  <a:lnTo>
                    <a:pt x="1856588" y="881098"/>
                  </a:lnTo>
                  <a:lnTo>
                    <a:pt x="1857797" y="928899"/>
                  </a:lnTo>
                  <a:lnTo>
                    <a:pt x="1856588" y="976700"/>
                  </a:lnTo>
                  <a:lnTo>
                    <a:pt x="1853001" y="1023873"/>
                  </a:lnTo>
                  <a:lnTo>
                    <a:pt x="1847094" y="1070361"/>
                  </a:lnTo>
                  <a:lnTo>
                    <a:pt x="1838925" y="1116104"/>
                  </a:lnTo>
                  <a:lnTo>
                    <a:pt x="1828553" y="1161045"/>
                  </a:lnTo>
                  <a:lnTo>
                    <a:pt x="1816035" y="1205125"/>
                  </a:lnTo>
                  <a:lnTo>
                    <a:pt x="1801432" y="1248285"/>
                  </a:lnTo>
                  <a:lnTo>
                    <a:pt x="1784799" y="1290468"/>
                  </a:lnTo>
                  <a:lnTo>
                    <a:pt x="1766197" y="1331614"/>
                  </a:lnTo>
                  <a:lnTo>
                    <a:pt x="1745684" y="1371667"/>
                  </a:lnTo>
                  <a:lnTo>
                    <a:pt x="1723317" y="1410566"/>
                  </a:lnTo>
                  <a:lnTo>
                    <a:pt x="1699156" y="1448255"/>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7" y="1745684"/>
                  </a:lnTo>
                  <a:lnTo>
                    <a:pt x="1331614" y="1766198"/>
                  </a:lnTo>
                  <a:lnTo>
                    <a:pt x="1290467" y="1784800"/>
                  </a:lnTo>
                  <a:lnTo>
                    <a:pt x="1248285" y="1801432"/>
                  </a:lnTo>
                  <a:lnTo>
                    <a:pt x="1205124" y="1816036"/>
                  </a:lnTo>
                  <a:lnTo>
                    <a:pt x="1161044" y="1828553"/>
                  </a:lnTo>
                  <a:lnTo>
                    <a:pt x="1116104" y="1838925"/>
                  </a:lnTo>
                  <a:lnTo>
                    <a:pt x="1070360" y="1847094"/>
                  </a:lnTo>
                  <a:lnTo>
                    <a:pt x="1023873" y="1853001"/>
                  </a:lnTo>
                  <a:lnTo>
                    <a:pt x="976699" y="1856589"/>
                  </a:lnTo>
                  <a:lnTo>
                    <a:pt x="928910" y="1857797"/>
                  </a:lnTo>
                  <a:close/>
                </a:path>
              </a:pathLst>
            </a:custGeom>
            <a:solidFill>
              <a:srgbClr val="E3112B"/>
            </a:solidFill>
          </p:spPr>
          <p:txBody>
            <a:bodyPr wrap="square" lIns="0" tIns="0" rIns="0" bIns="0" rtlCol="0"/>
            <a:lstStyle/>
            <a:p>
              <a:endParaRPr/>
            </a:p>
          </p:txBody>
        </p:sp>
        <p:sp>
          <p:nvSpPr>
            <p:cNvPr id="34" name="object 34"/>
            <p:cNvSpPr/>
            <p:nvPr/>
          </p:nvSpPr>
          <p:spPr>
            <a:xfrm>
              <a:off x="2615742" y="6424205"/>
              <a:ext cx="1102360" cy="1104900"/>
            </a:xfrm>
            <a:custGeom>
              <a:avLst/>
              <a:gdLst/>
              <a:ahLst/>
              <a:cxnLst/>
              <a:rect l="l" t="t" r="r" b="b"/>
              <a:pathLst>
                <a:path w="1102360" h="1104900">
                  <a:moveTo>
                    <a:pt x="412242" y="305549"/>
                  </a:moveTo>
                  <a:lnTo>
                    <a:pt x="410946" y="305549"/>
                  </a:lnTo>
                  <a:lnTo>
                    <a:pt x="402628" y="307340"/>
                  </a:lnTo>
                  <a:lnTo>
                    <a:pt x="395643" y="312153"/>
                  </a:lnTo>
                  <a:lnTo>
                    <a:pt x="390817" y="319151"/>
                  </a:lnTo>
                  <a:lnTo>
                    <a:pt x="389026" y="327469"/>
                  </a:lnTo>
                  <a:lnTo>
                    <a:pt x="389026" y="357124"/>
                  </a:lnTo>
                  <a:lnTo>
                    <a:pt x="392899" y="366141"/>
                  </a:lnTo>
                  <a:lnTo>
                    <a:pt x="401916" y="368719"/>
                  </a:lnTo>
                  <a:lnTo>
                    <a:pt x="412242" y="372592"/>
                  </a:lnTo>
                  <a:lnTo>
                    <a:pt x="412242" y="305549"/>
                  </a:lnTo>
                  <a:close/>
                </a:path>
                <a:path w="1102360" h="1104900">
                  <a:moveTo>
                    <a:pt x="463804" y="434479"/>
                  </a:moveTo>
                  <a:lnTo>
                    <a:pt x="458647" y="426745"/>
                  </a:lnTo>
                  <a:lnTo>
                    <a:pt x="445757" y="420293"/>
                  </a:lnTo>
                  <a:lnTo>
                    <a:pt x="444461" y="486041"/>
                  </a:lnTo>
                  <a:lnTo>
                    <a:pt x="451840" y="483704"/>
                  </a:lnTo>
                  <a:lnTo>
                    <a:pt x="458000" y="478955"/>
                  </a:lnTo>
                  <a:lnTo>
                    <a:pt x="462241" y="472262"/>
                  </a:lnTo>
                  <a:lnTo>
                    <a:pt x="463804" y="464134"/>
                  </a:lnTo>
                  <a:lnTo>
                    <a:pt x="463804" y="434479"/>
                  </a:lnTo>
                  <a:close/>
                </a:path>
                <a:path w="1102360" h="1104900">
                  <a:moveTo>
                    <a:pt x="683450" y="483933"/>
                  </a:moveTo>
                  <a:lnTo>
                    <a:pt x="681697" y="452526"/>
                  </a:lnTo>
                  <a:lnTo>
                    <a:pt x="668502" y="395084"/>
                  </a:lnTo>
                  <a:lnTo>
                    <a:pt x="651040" y="354545"/>
                  </a:lnTo>
                  <a:lnTo>
                    <a:pt x="645515" y="341693"/>
                  </a:lnTo>
                  <a:lnTo>
                    <a:pt x="616000" y="293433"/>
                  </a:lnTo>
                  <a:lnTo>
                    <a:pt x="583260" y="251345"/>
                  </a:lnTo>
                  <a:lnTo>
                    <a:pt x="550583" y="216496"/>
                  </a:lnTo>
                  <a:lnTo>
                    <a:pt x="521271" y="189941"/>
                  </a:lnTo>
                  <a:lnTo>
                    <a:pt x="498614" y="172758"/>
                  </a:lnTo>
                  <a:lnTo>
                    <a:pt x="509485" y="159867"/>
                  </a:lnTo>
                  <a:lnTo>
                    <a:pt x="550811" y="110871"/>
                  </a:lnTo>
                  <a:lnTo>
                    <a:pt x="561797" y="97980"/>
                  </a:lnTo>
                  <a:lnTo>
                    <a:pt x="564553" y="83248"/>
                  </a:lnTo>
                  <a:lnTo>
                    <a:pt x="561632" y="69126"/>
                  </a:lnTo>
                  <a:lnTo>
                    <a:pt x="560222" y="67030"/>
                  </a:lnTo>
                  <a:lnTo>
                    <a:pt x="553631" y="57188"/>
                  </a:lnTo>
                  <a:lnTo>
                    <a:pt x="541159" y="48983"/>
                  </a:lnTo>
                  <a:lnTo>
                    <a:pt x="530847" y="44869"/>
                  </a:lnTo>
                  <a:lnTo>
                    <a:pt x="530847" y="79933"/>
                  </a:lnTo>
                  <a:lnTo>
                    <a:pt x="530847" y="82511"/>
                  </a:lnTo>
                  <a:lnTo>
                    <a:pt x="497332" y="121183"/>
                  </a:lnTo>
                  <a:lnTo>
                    <a:pt x="497332" y="438340"/>
                  </a:lnTo>
                  <a:lnTo>
                    <a:pt x="497332" y="464134"/>
                  </a:lnTo>
                  <a:lnTo>
                    <a:pt x="493255" y="484378"/>
                  </a:lnTo>
                  <a:lnTo>
                    <a:pt x="482180" y="501357"/>
                  </a:lnTo>
                  <a:lnTo>
                    <a:pt x="465785" y="513257"/>
                  </a:lnTo>
                  <a:lnTo>
                    <a:pt x="445757" y="518274"/>
                  </a:lnTo>
                  <a:lnTo>
                    <a:pt x="445757" y="546646"/>
                  </a:lnTo>
                  <a:lnTo>
                    <a:pt x="438023" y="553085"/>
                  </a:lnTo>
                  <a:lnTo>
                    <a:pt x="422554" y="553085"/>
                  </a:lnTo>
                  <a:lnTo>
                    <a:pt x="414820" y="545350"/>
                  </a:lnTo>
                  <a:lnTo>
                    <a:pt x="414820" y="518274"/>
                  </a:lnTo>
                  <a:lnTo>
                    <a:pt x="413524" y="518274"/>
                  </a:lnTo>
                  <a:lnTo>
                    <a:pt x="392557" y="513994"/>
                  </a:lnTo>
                  <a:lnTo>
                    <a:pt x="375335" y="502323"/>
                  </a:lnTo>
                  <a:lnTo>
                    <a:pt x="363664" y="485101"/>
                  </a:lnTo>
                  <a:lnTo>
                    <a:pt x="359371" y="464134"/>
                  </a:lnTo>
                  <a:lnTo>
                    <a:pt x="359371" y="443496"/>
                  </a:lnTo>
                  <a:lnTo>
                    <a:pt x="367106" y="437057"/>
                  </a:lnTo>
                  <a:lnTo>
                    <a:pt x="383870" y="437057"/>
                  </a:lnTo>
                  <a:lnTo>
                    <a:pt x="390321" y="444792"/>
                  </a:lnTo>
                  <a:lnTo>
                    <a:pt x="390321" y="464134"/>
                  </a:lnTo>
                  <a:lnTo>
                    <a:pt x="392112" y="472452"/>
                  </a:lnTo>
                  <a:lnTo>
                    <a:pt x="396925" y="479437"/>
                  </a:lnTo>
                  <a:lnTo>
                    <a:pt x="403910" y="484251"/>
                  </a:lnTo>
                  <a:lnTo>
                    <a:pt x="412242" y="486041"/>
                  </a:lnTo>
                  <a:lnTo>
                    <a:pt x="413524" y="486041"/>
                  </a:lnTo>
                  <a:lnTo>
                    <a:pt x="413524" y="437057"/>
                  </a:lnTo>
                  <a:lnTo>
                    <a:pt x="413524" y="407403"/>
                  </a:lnTo>
                  <a:lnTo>
                    <a:pt x="371487" y="387515"/>
                  </a:lnTo>
                  <a:lnTo>
                    <a:pt x="356793" y="353250"/>
                  </a:lnTo>
                  <a:lnTo>
                    <a:pt x="356793" y="327469"/>
                  </a:lnTo>
                  <a:lnTo>
                    <a:pt x="361086" y="306501"/>
                  </a:lnTo>
                  <a:lnTo>
                    <a:pt x="372757" y="289267"/>
                  </a:lnTo>
                  <a:lnTo>
                    <a:pt x="389978" y="277609"/>
                  </a:lnTo>
                  <a:lnTo>
                    <a:pt x="410946" y="273316"/>
                  </a:lnTo>
                  <a:lnTo>
                    <a:pt x="413524" y="273316"/>
                  </a:lnTo>
                  <a:lnTo>
                    <a:pt x="413524" y="246240"/>
                  </a:lnTo>
                  <a:lnTo>
                    <a:pt x="421259" y="239801"/>
                  </a:lnTo>
                  <a:lnTo>
                    <a:pt x="436727" y="239801"/>
                  </a:lnTo>
                  <a:lnTo>
                    <a:pt x="444461" y="247535"/>
                  </a:lnTo>
                  <a:lnTo>
                    <a:pt x="444474" y="273316"/>
                  </a:lnTo>
                  <a:lnTo>
                    <a:pt x="464489" y="278155"/>
                  </a:lnTo>
                  <a:lnTo>
                    <a:pt x="480885" y="289763"/>
                  </a:lnTo>
                  <a:lnTo>
                    <a:pt x="491972" y="306679"/>
                  </a:lnTo>
                  <a:lnTo>
                    <a:pt x="496036" y="327469"/>
                  </a:lnTo>
                  <a:lnTo>
                    <a:pt x="496036" y="348094"/>
                  </a:lnTo>
                  <a:lnTo>
                    <a:pt x="488302" y="354545"/>
                  </a:lnTo>
                  <a:lnTo>
                    <a:pt x="472833" y="354545"/>
                  </a:lnTo>
                  <a:lnTo>
                    <a:pt x="465099" y="346811"/>
                  </a:lnTo>
                  <a:lnTo>
                    <a:pt x="465099" y="327469"/>
                  </a:lnTo>
                  <a:lnTo>
                    <a:pt x="463702" y="319874"/>
                  </a:lnTo>
                  <a:lnTo>
                    <a:pt x="459778" y="313118"/>
                  </a:lnTo>
                  <a:lnTo>
                    <a:pt x="453669" y="308063"/>
                  </a:lnTo>
                  <a:lnTo>
                    <a:pt x="445757" y="305549"/>
                  </a:lnTo>
                  <a:lnTo>
                    <a:pt x="445757" y="385483"/>
                  </a:lnTo>
                  <a:lnTo>
                    <a:pt x="467677" y="394512"/>
                  </a:lnTo>
                  <a:lnTo>
                    <a:pt x="479196" y="401358"/>
                  </a:lnTo>
                  <a:lnTo>
                    <a:pt x="488302" y="411594"/>
                  </a:lnTo>
                  <a:lnTo>
                    <a:pt x="494512" y="424243"/>
                  </a:lnTo>
                  <a:lnTo>
                    <a:pt x="497332" y="438340"/>
                  </a:lnTo>
                  <a:lnTo>
                    <a:pt x="497332" y="121183"/>
                  </a:lnTo>
                  <a:lnTo>
                    <a:pt x="463804" y="159867"/>
                  </a:lnTo>
                  <a:lnTo>
                    <a:pt x="444461" y="158407"/>
                  </a:lnTo>
                  <a:lnTo>
                    <a:pt x="425132" y="157924"/>
                  </a:lnTo>
                  <a:lnTo>
                    <a:pt x="405790" y="158407"/>
                  </a:lnTo>
                  <a:lnTo>
                    <a:pt x="386448" y="159867"/>
                  </a:lnTo>
                  <a:lnTo>
                    <a:pt x="319405" y="82511"/>
                  </a:lnTo>
                  <a:lnTo>
                    <a:pt x="320700" y="82511"/>
                  </a:lnTo>
                  <a:lnTo>
                    <a:pt x="321983" y="81216"/>
                  </a:lnTo>
                  <a:lnTo>
                    <a:pt x="324561" y="79933"/>
                  </a:lnTo>
                  <a:lnTo>
                    <a:pt x="350354" y="69608"/>
                  </a:lnTo>
                  <a:lnTo>
                    <a:pt x="369697" y="105714"/>
                  </a:lnTo>
                  <a:lnTo>
                    <a:pt x="372275" y="110871"/>
                  </a:lnTo>
                  <a:lnTo>
                    <a:pt x="377431" y="114744"/>
                  </a:lnTo>
                  <a:lnTo>
                    <a:pt x="392899" y="114744"/>
                  </a:lnTo>
                  <a:lnTo>
                    <a:pt x="400634" y="106997"/>
                  </a:lnTo>
                  <a:lnTo>
                    <a:pt x="399338" y="97980"/>
                  </a:lnTo>
                  <a:lnTo>
                    <a:pt x="399338" y="95402"/>
                  </a:lnTo>
                  <a:lnTo>
                    <a:pt x="398056" y="92824"/>
                  </a:lnTo>
                  <a:lnTo>
                    <a:pt x="398056" y="90246"/>
                  </a:lnTo>
                  <a:lnTo>
                    <a:pt x="386880" y="69608"/>
                  </a:lnTo>
                  <a:lnTo>
                    <a:pt x="384352" y="64935"/>
                  </a:lnTo>
                  <a:lnTo>
                    <a:pt x="374662" y="47269"/>
                  </a:lnTo>
                  <a:lnTo>
                    <a:pt x="369697" y="38671"/>
                  </a:lnTo>
                  <a:lnTo>
                    <a:pt x="370979" y="34810"/>
                  </a:lnTo>
                  <a:lnTo>
                    <a:pt x="374853" y="32219"/>
                  </a:lnTo>
                  <a:lnTo>
                    <a:pt x="476694" y="32219"/>
                  </a:lnTo>
                  <a:lnTo>
                    <a:pt x="480568" y="34810"/>
                  </a:lnTo>
                  <a:lnTo>
                    <a:pt x="481850" y="38671"/>
                  </a:lnTo>
                  <a:lnTo>
                    <a:pt x="454787" y="88950"/>
                  </a:lnTo>
                  <a:lnTo>
                    <a:pt x="453072" y="95097"/>
                  </a:lnTo>
                  <a:lnTo>
                    <a:pt x="453656" y="101358"/>
                  </a:lnTo>
                  <a:lnTo>
                    <a:pt x="456412" y="106908"/>
                  </a:lnTo>
                  <a:lnTo>
                    <a:pt x="461225" y="110871"/>
                  </a:lnTo>
                  <a:lnTo>
                    <a:pt x="463804" y="112166"/>
                  </a:lnTo>
                  <a:lnTo>
                    <a:pt x="475411" y="112166"/>
                  </a:lnTo>
                  <a:lnTo>
                    <a:pt x="480568" y="108292"/>
                  </a:lnTo>
                  <a:lnTo>
                    <a:pt x="483146" y="103136"/>
                  </a:lnTo>
                  <a:lnTo>
                    <a:pt x="502488" y="67030"/>
                  </a:lnTo>
                  <a:lnTo>
                    <a:pt x="526986" y="77355"/>
                  </a:lnTo>
                  <a:lnTo>
                    <a:pt x="529564" y="78638"/>
                  </a:lnTo>
                  <a:lnTo>
                    <a:pt x="530847" y="79933"/>
                  </a:lnTo>
                  <a:lnTo>
                    <a:pt x="530847" y="44869"/>
                  </a:lnTo>
                  <a:lnTo>
                    <a:pt x="515378" y="38671"/>
                  </a:lnTo>
                  <a:lnTo>
                    <a:pt x="513727" y="32219"/>
                  </a:lnTo>
                  <a:lnTo>
                    <a:pt x="511467" y="23380"/>
                  </a:lnTo>
                  <a:lnTo>
                    <a:pt x="502488" y="11112"/>
                  </a:lnTo>
                  <a:lnTo>
                    <a:pt x="489635" y="2959"/>
                  </a:lnTo>
                  <a:lnTo>
                    <a:pt x="474116" y="0"/>
                  </a:lnTo>
                  <a:lnTo>
                    <a:pt x="380009" y="0"/>
                  </a:lnTo>
                  <a:lnTo>
                    <a:pt x="364490" y="2959"/>
                  </a:lnTo>
                  <a:lnTo>
                    <a:pt x="351637" y="11112"/>
                  </a:lnTo>
                  <a:lnTo>
                    <a:pt x="342658" y="23380"/>
                  </a:lnTo>
                  <a:lnTo>
                    <a:pt x="338747" y="38671"/>
                  </a:lnTo>
                  <a:lnTo>
                    <a:pt x="312966" y="48983"/>
                  </a:lnTo>
                  <a:lnTo>
                    <a:pt x="300494" y="57188"/>
                  </a:lnTo>
                  <a:lnTo>
                    <a:pt x="292493" y="69126"/>
                  </a:lnTo>
                  <a:lnTo>
                    <a:pt x="289572" y="83248"/>
                  </a:lnTo>
                  <a:lnTo>
                    <a:pt x="292328" y="97980"/>
                  </a:lnTo>
                  <a:lnTo>
                    <a:pt x="302755" y="110210"/>
                  </a:lnTo>
                  <a:lnTo>
                    <a:pt x="355511" y="172758"/>
                  </a:lnTo>
                  <a:lnTo>
                    <a:pt x="302717" y="217309"/>
                  </a:lnTo>
                  <a:lnTo>
                    <a:pt x="269824" y="252387"/>
                  </a:lnTo>
                  <a:lnTo>
                    <a:pt x="236943" y="294614"/>
                  </a:lnTo>
                  <a:lnTo>
                    <a:pt x="207352" y="342950"/>
                  </a:lnTo>
                  <a:lnTo>
                    <a:pt x="184327" y="396367"/>
                  </a:lnTo>
                  <a:lnTo>
                    <a:pt x="171145" y="453821"/>
                  </a:lnTo>
                  <a:lnTo>
                    <a:pt x="169989" y="483933"/>
                  </a:lnTo>
                  <a:lnTo>
                    <a:pt x="170053" y="486041"/>
                  </a:lnTo>
                  <a:lnTo>
                    <a:pt x="183476" y="538848"/>
                  </a:lnTo>
                  <a:lnTo>
                    <a:pt x="233553" y="587654"/>
                  </a:lnTo>
                  <a:lnTo>
                    <a:pt x="270090" y="601433"/>
                  </a:lnTo>
                  <a:lnTo>
                    <a:pt x="312966" y="607237"/>
                  </a:lnTo>
                  <a:lnTo>
                    <a:pt x="539877" y="607237"/>
                  </a:lnTo>
                  <a:lnTo>
                    <a:pt x="583222" y="601281"/>
                  </a:lnTo>
                  <a:lnTo>
                    <a:pt x="619823" y="587108"/>
                  </a:lnTo>
                  <a:lnTo>
                    <a:pt x="654621" y="559536"/>
                  </a:lnTo>
                  <a:lnTo>
                    <a:pt x="658990" y="553085"/>
                  </a:lnTo>
                  <a:lnTo>
                    <a:pt x="669544" y="537552"/>
                  </a:lnTo>
                  <a:lnTo>
                    <a:pt x="679272" y="512318"/>
                  </a:lnTo>
                  <a:lnTo>
                    <a:pt x="683450" y="483933"/>
                  </a:lnTo>
                  <a:close/>
                </a:path>
                <a:path w="1102360" h="1104900">
                  <a:moveTo>
                    <a:pt x="974356" y="998245"/>
                  </a:moveTo>
                  <a:lnTo>
                    <a:pt x="959815" y="983703"/>
                  </a:lnTo>
                  <a:lnTo>
                    <a:pt x="955370" y="983703"/>
                  </a:lnTo>
                  <a:lnTo>
                    <a:pt x="940828" y="998245"/>
                  </a:lnTo>
                  <a:lnTo>
                    <a:pt x="940828" y="1002690"/>
                  </a:lnTo>
                  <a:lnTo>
                    <a:pt x="955370" y="1017219"/>
                  </a:lnTo>
                  <a:lnTo>
                    <a:pt x="959815" y="1017219"/>
                  </a:lnTo>
                  <a:lnTo>
                    <a:pt x="974356" y="1002690"/>
                  </a:lnTo>
                  <a:lnTo>
                    <a:pt x="974356" y="1000467"/>
                  </a:lnTo>
                  <a:lnTo>
                    <a:pt x="974356" y="998245"/>
                  </a:lnTo>
                  <a:close/>
                </a:path>
                <a:path w="1102360" h="1104900">
                  <a:moveTo>
                    <a:pt x="1101991" y="1081684"/>
                  </a:moveTo>
                  <a:lnTo>
                    <a:pt x="1096835" y="1073950"/>
                  </a:lnTo>
                  <a:lnTo>
                    <a:pt x="885393" y="1073950"/>
                  </a:lnTo>
                  <a:lnTo>
                    <a:pt x="885393" y="946315"/>
                  </a:lnTo>
                  <a:lnTo>
                    <a:pt x="885393" y="747763"/>
                  </a:lnTo>
                  <a:lnTo>
                    <a:pt x="885393" y="718108"/>
                  </a:lnTo>
                  <a:lnTo>
                    <a:pt x="1064602" y="718108"/>
                  </a:lnTo>
                  <a:lnTo>
                    <a:pt x="1071054" y="710374"/>
                  </a:lnTo>
                  <a:lnTo>
                    <a:pt x="1071054" y="694905"/>
                  </a:lnTo>
                  <a:lnTo>
                    <a:pt x="1064602" y="685888"/>
                  </a:lnTo>
                  <a:lnTo>
                    <a:pt x="885393" y="685888"/>
                  </a:lnTo>
                  <a:lnTo>
                    <a:pt x="885393" y="625284"/>
                  </a:lnTo>
                  <a:lnTo>
                    <a:pt x="877658" y="618845"/>
                  </a:lnTo>
                  <a:lnTo>
                    <a:pt x="862190" y="618845"/>
                  </a:lnTo>
                  <a:lnTo>
                    <a:pt x="854456" y="626579"/>
                  </a:lnTo>
                  <a:lnTo>
                    <a:pt x="854456" y="685888"/>
                  </a:lnTo>
                  <a:lnTo>
                    <a:pt x="753897" y="685888"/>
                  </a:lnTo>
                  <a:lnTo>
                    <a:pt x="747445" y="693623"/>
                  </a:lnTo>
                  <a:lnTo>
                    <a:pt x="747445" y="747763"/>
                  </a:lnTo>
                  <a:lnTo>
                    <a:pt x="746150" y="747763"/>
                  </a:lnTo>
                  <a:lnTo>
                    <a:pt x="746150" y="779995"/>
                  </a:lnTo>
                  <a:lnTo>
                    <a:pt x="744867" y="946315"/>
                  </a:lnTo>
                  <a:lnTo>
                    <a:pt x="609498" y="946315"/>
                  </a:lnTo>
                  <a:lnTo>
                    <a:pt x="253657" y="814806"/>
                  </a:lnTo>
                  <a:lnTo>
                    <a:pt x="40932" y="667829"/>
                  </a:lnTo>
                  <a:lnTo>
                    <a:pt x="46088" y="662673"/>
                  </a:lnTo>
                  <a:lnTo>
                    <a:pt x="64998" y="651497"/>
                  </a:lnTo>
                  <a:lnTo>
                    <a:pt x="87185" y="649617"/>
                  </a:lnTo>
                  <a:lnTo>
                    <a:pt x="110083" y="655243"/>
                  </a:lnTo>
                  <a:lnTo>
                    <a:pt x="131178" y="666546"/>
                  </a:lnTo>
                  <a:lnTo>
                    <a:pt x="323278" y="777417"/>
                  </a:lnTo>
                  <a:lnTo>
                    <a:pt x="328434" y="779995"/>
                  </a:lnTo>
                  <a:lnTo>
                    <a:pt x="570814" y="779995"/>
                  </a:lnTo>
                  <a:lnTo>
                    <a:pt x="577265" y="772261"/>
                  </a:lnTo>
                  <a:lnTo>
                    <a:pt x="577265" y="756793"/>
                  </a:lnTo>
                  <a:lnTo>
                    <a:pt x="569531" y="749058"/>
                  </a:lnTo>
                  <a:lnTo>
                    <a:pt x="414820" y="749058"/>
                  </a:lnTo>
                  <a:lnTo>
                    <a:pt x="397789" y="742213"/>
                  </a:lnTo>
                  <a:lnTo>
                    <a:pt x="384035" y="729068"/>
                  </a:lnTo>
                  <a:lnTo>
                    <a:pt x="374383" y="712076"/>
                  </a:lnTo>
                  <a:lnTo>
                    <a:pt x="369697" y="693623"/>
                  </a:lnTo>
                  <a:lnTo>
                    <a:pt x="604342" y="693623"/>
                  </a:lnTo>
                  <a:lnTo>
                    <a:pt x="699744" y="776135"/>
                  </a:lnTo>
                  <a:lnTo>
                    <a:pt x="702322" y="778713"/>
                  </a:lnTo>
                  <a:lnTo>
                    <a:pt x="706183" y="779995"/>
                  </a:lnTo>
                  <a:lnTo>
                    <a:pt x="746150" y="779995"/>
                  </a:lnTo>
                  <a:lnTo>
                    <a:pt x="746150" y="747763"/>
                  </a:lnTo>
                  <a:lnTo>
                    <a:pt x="717791" y="747763"/>
                  </a:lnTo>
                  <a:lnTo>
                    <a:pt x="656031" y="693623"/>
                  </a:lnTo>
                  <a:lnTo>
                    <a:pt x="623671" y="665251"/>
                  </a:lnTo>
                  <a:lnTo>
                    <a:pt x="621093" y="662673"/>
                  </a:lnTo>
                  <a:lnTo>
                    <a:pt x="617232" y="661390"/>
                  </a:lnTo>
                  <a:lnTo>
                    <a:pt x="346481" y="661390"/>
                  </a:lnTo>
                  <a:lnTo>
                    <a:pt x="338747" y="666546"/>
                  </a:lnTo>
                  <a:lnTo>
                    <a:pt x="338747" y="675563"/>
                  </a:lnTo>
                  <a:lnTo>
                    <a:pt x="337464" y="685888"/>
                  </a:lnTo>
                  <a:lnTo>
                    <a:pt x="338886" y="703008"/>
                  </a:lnTo>
                  <a:lnTo>
                    <a:pt x="343103" y="719404"/>
                  </a:lnTo>
                  <a:lnTo>
                    <a:pt x="349973" y="734834"/>
                  </a:lnTo>
                  <a:lnTo>
                    <a:pt x="359371" y="749058"/>
                  </a:lnTo>
                  <a:lnTo>
                    <a:pt x="341325" y="749058"/>
                  </a:lnTo>
                  <a:lnTo>
                    <a:pt x="322313" y="719404"/>
                  </a:lnTo>
                  <a:lnTo>
                    <a:pt x="282016" y="656551"/>
                  </a:lnTo>
                  <a:lnTo>
                    <a:pt x="282016" y="719404"/>
                  </a:lnTo>
                  <a:lnTo>
                    <a:pt x="187909" y="665251"/>
                  </a:lnTo>
                  <a:lnTo>
                    <a:pt x="179336" y="649617"/>
                  </a:lnTo>
                  <a:lnTo>
                    <a:pt x="169519" y="631736"/>
                  </a:lnTo>
                  <a:lnTo>
                    <a:pt x="165989" y="625284"/>
                  </a:lnTo>
                  <a:lnTo>
                    <a:pt x="173723" y="622706"/>
                  </a:lnTo>
                  <a:lnTo>
                    <a:pt x="195173" y="621563"/>
                  </a:lnTo>
                  <a:lnTo>
                    <a:pt x="215785" y="629958"/>
                  </a:lnTo>
                  <a:lnTo>
                    <a:pt x="233730" y="645375"/>
                  </a:lnTo>
                  <a:lnTo>
                    <a:pt x="247205" y="665251"/>
                  </a:lnTo>
                  <a:lnTo>
                    <a:pt x="282016" y="719404"/>
                  </a:lnTo>
                  <a:lnTo>
                    <a:pt x="282016" y="656551"/>
                  </a:lnTo>
                  <a:lnTo>
                    <a:pt x="257848" y="621563"/>
                  </a:lnTo>
                  <a:lnTo>
                    <a:pt x="198907" y="588479"/>
                  </a:lnTo>
                  <a:lnTo>
                    <a:pt x="164693" y="591769"/>
                  </a:lnTo>
                  <a:lnTo>
                    <a:pt x="150329" y="596442"/>
                  </a:lnTo>
                  <a:lnTo>
                    <a:pt x="142621" y="599186"/>
                  </a:lnTo>
                  <a:lnTo>
                    <a:pt x="139496" y="600468"/>
                  </a:lnTo>
                  <a:lnTo>
                    <a:pt x="138912" y="600786"/>
                  </a:lnTo>
                  <a:lnTo>
                    <a:pt x="135039" y="602081"/>
                  </a:lnTo>
                  <a:lnTo>
                    <a:pt x="131178" y="605955"/>
                  </a:lnTo>
                  <a:lnTo>
                    <a:pt x="128600" y="613689"/>
                  </a:lnTo>
                  <a:lnTo>
                    <a:pt x="128600" y="618845"/>
                  </a:lnTo>
                  <a:lnTo>
                    <a:pt x="131178" y="622706"/>
                  </a:lnTo>
                  <a:lnTo>
                    <a:pt x="136334" y="631736"/>
                  </a:lnTo>
                  <a:lnTo>
                    <a:pt x="107924" y="620610"/>
                  </a:lnTo>
                  <a:lnTo>
                    <a:pt x="78320" y="617232"/>
                  </a:lnTo>
                  <a:lnTo>
                    <a:pt x="49669" y="623036"/>
                  </a:lnTo>
                  <a:lnTo>
                    <a:pt x="24168" y="639470"/>
                  </a:lnTo>
                  <a:lnTo>
                    <a:pt x="3543" y="660095"/>
                  </a:lnTo>
                  <a:lnTo>
                    <a:pt x="673" y="665543"/>
                  </a:lnTo>
                  <a:lnTo>
                    <a:pt x="0" y="671703"/>
                  </a:lnTo>
                  <a:lnTo>
                    <a:pt x="1727" y="677862"/>
                  </a:lnTo>
                  <a:lnTo>
                    <a:pt x="6121" y="683310"/>
                  </a:lnTo>
                  <a:lnTo>
                    <a:pt x="236893" y="843178"/>
                  </a:lnTo>
                  <a:lnTo>
                    <a:pt x="600468" y="978547"/>
                  </a:lnTo>
                  <a:lnTo>
                    <a:pt x="744867" y="979830"/>
                  </a:lnTo>
                  <a:lnTo>
                    <a:pt x="744867" y="1014641"/>
                  </a:lnTo>
                  <a:lnTo>
                    <a:pt x="752602" y="1021092"/>
                  </a:lnTo>
                  <a:lnTo>
                    <a:pt x="851877" y="1021092"/>
                  </a:lnTo>
                  <a:lnTo>
                    <a:pt x="851877" y="1098448"/>
                  </a:lnTo>
                  <a:lnTo>
                    <a:pt x="859612" y="1104900"/>
                  </a:lnTo>
                  <a:lnTo>
                    <a:pt x="1095552" y="1104900"/>
                  </a:lnTo>
                  <a:lnTo>
                    <a:pt x="1101991" y="1097153"/>
                  </a:lnTo>
                  <a:lnTo>
                    <a:pt x="1101991" y="1081684"/>
                  </a:lnTo>
                  <a:close/>
                </a:path>
              </a:pathLst>
            </a:custGeom>
            <a:solidFill>
              <a:srgbClr val="FFFFFF"/>
            </a:solidFill>
          </p:spPr>
          <p:txBody>
            <a:bodyPr wrap="square" lIns="0" tIns="0" rIns="0" bIns="0" rtlCol="0"/>
            <a:lstStyle/>
            <a:p>
              <a:endParaRPr/>
            </a:p>
          </p:txBody>
        </p:sp>
      </p:grpSp>
      <p:sp>
        <p:nvSpPr>
          <p:cNvPr id="35" name="object 35"/>
          <p:cNvSpPr/>
          <p:nvPr/>
        </p:nvSpPr>
        <p:spPr>
          <a:xfrm>
            <a:off x="1358170" y="8150153"/>
            <a:ext cx="4284980" cy="1065530"/>
          </a:xfrm>
          <a:custGeom>
            <a:avLst/>
            <a:gdLst/>
            <a:ahLst/>
            <a:cxnLst/>
            <a:rect l="l" t="t" r="r" b="b"/>
            <a:pathLst>
              <a:path w="4284980" h="1065529">
                <a:moveTo>
                  <a:pt x="4284377" y="1065262"/>
                </a:moveTo>
                <a:lnTo>
                  <a:pt x="0" y="1065262"/>
                </a:lnTo>
                <a:lnTo>
                  <a:pt x="0" y="0"/>
                </a:lnTo>
                <a:lnTo>
                  <a:pt x="4284377" y="0"/>
                </a:lnTo>
                <a:lnTo>
                  <a:pt x="4284377" y="1065262"/>
                </a:lnTo>
                <a:close/>
              </a:path>
            </a:pathLst>
          </a:custGeom>
          <a:solidFill>
            <a:srgbClr val="FFFFFF"/>
          </a:solidFill>
        </p:spPr>
        <p:txBody>
          <a:bodyPr wrap="square" lIns="0" tIns="0" rIns="0" bIns="0" rtlCol="0"/>
          <a:lstStyle/>
          <a:p>
            <a:endParaRPr/>
          </a:p>
        </p:txBody>
      </p:sp>
      <p:sp>
        <p:nvSpPr>
          <p:cNvPr id="36" name="object 36"/>
          <p:cNvSpPr txBox="1"/>
          <p:nvPr/>
        </p:nvSpPr>
        <p:spPr>
          <a:xfrm>
            <a:off x="2141703" y="8251869"/>
            <a:ext cx="3020695" cy="692150"/>
          </a:xfrm>
          <a:prstGeom prst="rect">
            <a:avLst/>
          </a:prstGeom>
        </p:spPr>
        <p:txBody>
          <a:bodyPr vert="horz" wrap="square" lIns="0" tIns="12065" rIns="0" bIns="0" rtlCol="0">
            <a:spAutoFit/>
          </a:bodyPr>
          <a:lstStyle/>
          <a:p>
            <a:pPr marL="490855" marR="5080" indent="-478790">
              <a:lnSpc>
                <a:spcPct val="115100"/>
              </a:lnSpc>
              <a:spcBef>
                <a:spcPts val="95"/>
              </a:spcBef>
            </a:pPr>
            <a:r>
              <a:rPr sz="1900" dirty="0">
                <a:solidFill>
                  <a:srgbClr val="737373"/>
                </a:solidFill>
                <a:latin typeface="Roboto"/>
                <a:cs typeface="Roboto"/>
              </a:rPr>
              <a:t>Desarrollo</a:t>
            </a:r>
            <a:r>
              <a:rPr sz="1900" spc="-45" dirty="0">
                <a:solidFill>
                  <a:srgbClr val="737373"/>
                </a:solidFill>
                <a:latin typeface="Roboto"/>
                <a:cs typeface="Roboto"/>
              </a:rPr>
              <a:t> </a:t>
            </a:r>
            <a:r>
              <a:rPr sz="1900" dirty="0">
                <a:solidFill>
                  <a:srgbClr val="737373"/>
                </a:solidFill>
                <a:latin typeface="Roboto"/>
                <a:cs typeface="Roboto"/>
              </a:rPr>
              <a:t>del</a:t>
            </a:r>
            <a:r>
              <a:rPr sz="1900" spc="-40" dirty="0">
                <a:solidFill>
                  <a:srgbClr val="737373"/>
                </a:solidFill>
                <a:latin typeface="Roboto"/>
                <a:cs typeface="Roboto"/>
              </a:rPr>
              <a:t> </a:t>
            </a:r>
            <a:r>
              <a:rPr sz="1900" b="1" dirty="0">
                <a:solidFill>
                  <a:srgbClr val="E3112B"/>
                </a:solidFill>
                <a:latin typeface="Roboto"/>
                <a:cs typeface="Roboto"/>
              </a:rPr>
              <a:t>corporativo</a:t>
            </a:r>
            <a:r>
              <a:rPr sz="1900" b="1" spc="-45" dirty="0">
                <a:solidFill>
                  <a:srgbClr val="E3112B"/>
                </a:solidFill>
                <a:latin typeface="Roboto"/>
                <a:cs typeface="Roboto"/>
              </a:rPr>
              <a:t> </a:t>
            </a:r>
            <a:r>
              <a:rPr sz="1900" b="1" spc="-50" dirty="0">
                <a:solidFill>
                  <a:srgbClr val="E3112B"/>
                </a:solidFill>
                <a:latin typeface="Roboto"/>
                <a:cs typeface="Roboto"/>
              </a:rPr>
              <a:t>e </a:t>
            </a:r>
            <a:r>
              <a:rPr sz="1900" b="1" dirty="0">
                <a:solidFill>
                  <a:srgbClr val="E3112B"/>
                </a:solidFill>
                <a:latin typeface="Roboto"/>
                <a:cs typeface="Roboto"/>
              </a:rPr>
              <a:t>incentivos</a:t>
            </a:r>
            <a:r>
              <a:rPr sz="1900" b="1" spc="-70" dirty="0">
                <a:solidFill>
                  <a:srgbClr val="E3112B"/>
                </a:solidFill>
                <a:latin typeface="Roboto"/>
                <a:cs typeface="Roboto"/>
              </a:rPr>
              <a:t> </a:t>
            </a:r>
            <a:r>
              <a:rPr sz="1900" b="1" spc="-10" dirty="0">
                <a:solidFill>
                  <a:srgbClr val="E3112B"/>
                </a:solidFill>
                <a:latin typeface="Roboto"/>
                <a:cs typeface="Roboto"/>
              </a:rPr>
              <a:t>upscale</a:t>
            </a:r>
            <a:endParaRPr sz="1900">
              <a:latin typeface="Roboto"/>
              <a:cs typeface="Roboto"/>
            </a:endParaRPr>
          </a:p>
        </p:txBody>
      </p:sp>
      <p:sp>
        <p:nvSpPr>
          <p:cNvPr id="37" name="object 37"/>
          <p:cNvSpPr/>
          <p:nvPr/>
        </p:nvSpPr>
        <p:spPr>
          <a:xfrm>
            <a:off x="823475" y="8165876"/>
            <a:ext cx="1069975" cy="1069975"/>
          </a:xfrm>
          <a:custGeom>
            <a:avLst/>
            <a:gdLst/>
            <a:ahLst/>
            <a:cxnLst/>
            <a:rect l="l" t="t" r="r" b="b"/>
            <a:pathLst>
              <a:path w="1069975" h="1069975">
                <a:moveTo>
                  <a:pt x="534695" y="1069390"/>
                </a:moveTo>
                <a:lnTo>
                  <a:pt x="486027" y="1067205"/>
                </a:lnTo>
                <a:lnTo>
                  <a:pt x="438583" y="1060775"/>
                </a:lnTo>
                <a:lnTo>
                  <a:pt x="392552" y="1050290"/>
                </a:lnTo>
                <a:lnTo>
                  <a:pt x="348122" y="1035938"/>
                </a:lnTo>
                <a:lnTo>
                  <a:pt x="305483" y="1017908"/>
                </a:lnTo>
                <a:lnTo>
                  <a:pt x="264824" y="996388"/>
                </a:lnTo>
                <a:lnTo>
                  <a:pt x="226332" y="971568"/>
                </a:lnTo>
                <a:lnTo>
                  <a:pt x="190197" y="943636"/>
                </a:lnTo>
                <a:lnTo>
                  <a:pt x="156608" y="912781"/>
                </a:lnTo>
                <a:lnTo>
                  <a:pt x="125753" y="879192"/>
                </a:lnTo>
                <a:lnTo>
                  <a:pt x="97821" y="843057"/>
                </a:lnTo>
                <a:lnTo>
                  <a:pt x="73001" y="804566"/>
                </a:lnTo>
                <a:lnTo>
                  <a:pt x="51482" y="763906"/>
                </a:lnTo>
                <a:lnTo>
                  <a:pt x="33451" y="721267"/>
                </a:lnTo>
                <a:lnTo>
                  <a:pt x="19099" y="676838"/>
                </a:lnTo>
                <a:lnTo>
                  <a:pt x="8614" y="630807"/>
                </a:lnTo>
                <a:lnTo>
                  <a:pt x="2185" y="583363"/>
                </a:lnTo>
                <a:lnTo>
                  <a:pt x="0" y="534695"/>
                </a:lnTo>
                <a:lnTo>
                  <a:pt x="2185" y="486027"/>
                </a:lnTo>
                <a:lnTo>
                  <a:pt x="8614" y="438583"/>
                </a:lnTo>
                <a:lnTo>
                  <a:pt x="19099" y="392552"/>
                </a:lnTo>
                <a:lnTo>
                  <a:pt x="33451" y="348122"/>
                </a:lnTo>
                <a:lnTo>
                  <a:pt x="51482" y="305484"/>
                </a:lnTo>
                <a:lnTo>
                  <a:pt x="73001" y="264824"/>
                </a:lnTo>
                <a:lnTo>
                  <a:pt x="97821" y="226332"/>
                </a:lnTo>
                <a:lnTo>
                  <a:pt x="125753" y="190198"/>
                </a:lnTo>
                <a:lnTo>
                  <a:pt x="156608" y="156608"/>
                </a:lnTo>
                <a:lnTo>
                  <a:pt x="190197" y="125753"/>
                </a:lnTo>
                <a:lnTo>
                  <a:pt x="226332" y="97821"/>
                </a:lnTo>
                <a:lnTo>
                  <a:pt x="264824" y="73001"/>
                </a:lnTo>
                <a:lnTo>
                  <a:pt x="305483" y="51482"/>
                </a:lnTo>
                <a:lnTo>
                  <a:pt x="348122" y="33451"/>
                </a:lnTo>
                <a:lnTo>
                  <a:pt x="392552" y="19099"/>
                </a:lnTo>
                <a:lnTo>
                  <a:pt x="438583" y="8614"/>
                </a:lnTo>
                <a:lnTo>
                  <a:pt x="486027"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8"/>
                </a:lnTo>
                <a:lnTo>
                  <a:pt x="971568" y="226332"/>
                </a:lnTo>
                <a:lnTo>
                  <a:pt x="996389" y="264824"/>
                </a:lnTo>
                <a:lnTo>
                  <a:pt x="1017908" y="305484"/>
                </a:lnTo>
                <a:lnTo>
                  <a:pt x="1035938" y="348122"/>
                </a:lnTo>
                <a:lnTo>
                  <a:pt x="1050290" y="392552"/>
                </a:lnTo>
                <a:lnTo>
                  <a:pt x="1060775" y="438583"/>
                </a:lnTo>
                <a:lnTo>
                  <a:pt x="1067205" y="486027"/>
                </a:lnTo>
                <a:lnTo>
                  <a:pt x="1069390" y="534695"/>
                </a:lnTo>
                <a:lnTo>
                  <a:pt x="1067205" y="583363"/>
                </a:lnTo>
                <a:lnTo>
                  <a:pt x="1060775" y="630807"/>
                </a:lnTo>
                <a:lnTo>
                  <a:pt x="1050290" y="676838"/>
                </a:lnTo>
                <a:lnTo>
                  <a:pt x="1035938" y="721267"/>
                </a:lnTo>
                <a:lnTo>
                  <a:pt x="1017908" y="763906"/>
                </a:lnTo>
                <a:lnTo>
                  <a:pt x="996389" y="804566"/>
                </a:lnTo>
                <a:lnTo>
                  <a:pt x="971568" y="843057"/>
                </a:lnTo>
                <a:lnTo>
                  <a:pt x="943636" y="879192"/>
                </a:lnTo>
                <a:lnTo>
                  <a:pt x="912781" y="912781"/>
                </a:lnTo>
                <a:lnTo>
                  <a:pt x="879192" y="943636"/>
                </a:lnTo>
                <a:lnTo>
                  <a:pt x="843057" y="971568"/>
                </a:lnTo>
                <a:lnTo>
                  <a:pt x="804566" y="996388"/>
                </a:lnTo>
                <a:lnTo>
                  <a:pt x="763906" y="1017908"/>
                </a:lnTo>
                <a:lnTo>
                  <a:pt x="721267" y="1035938"/>
                </a:lnTo>
                <a:lnTo>
                  <a:pt x="676838" y="1050290"/>
                </a:lnTo>
                <a:lnTo>
                  <a:pt x="630807" y="1060775"/>
                </a:lnTo>
                <a:lnTo>
                  <a:pt x="583363" y="1067205"/>
                </a:lnTo>
                <a:lnTo>
                  <a:pt x="534695" y="1069390"/>
                </a:lnTo>
                <a:close/>
              </a:path>
            </a:pathLst>
          </a:custGeom>
          <a:solidFill>
            <a:srgbClr val="003793"/>
          </a:solidFill>
        </p:spPr>
        <p:txBody>
          <a:bodyPr wrap="square" lIns="0" tIns="0" rIns="0" bIns="0" rtlCol="0"/>
          <a:lstStyle/>
          <a:p>
            <a:endParaRPr/>
          </a:p>
        </p:txBody>
      </p:sp>
      <p:sp>
        <p:nvSpPr>
          <p:cNvPr id="38" name="object 38"/>
          <p:cNvSpPr txBox="1"/>
          <p:nvPr/>
        </p:nvSpPr>
        <p:spPr>
          <a:xfrm>
            <a:off x="1066391" y="8432075"/>
            <a:ext cx="583565" cy="506730"/>
          </a:xfrm>
          <a:prstGeom prst="rect">
            <a:avLst/>
          </a:prstGeom>
        </p:spPr>
        <p:txBody>
          <a:bodyPr vert="horz" wrap="square" lIns="0" tIns="13335" rIns="0" bIns="0" rtlCol="0">
            <a:spAutoFit/>
          </a:bodyPr>
          <a:lstStyle/>
          <a:p>
            <a:pPr marL="12700">
              <a:lnSpc>
                <a:spcPct val="100000"/>
              </a:lnSpc>
              <a:spcBef>
                <a:spcPts val="105"/>
              </a:spcBef>
            </a:pPr>
            <a:r>
              <a:rPr sz="3150" b="1" spc="400" dirty="0">
                <a:solidFill>
                  <a:srgbClr val="FFFFFF"/>
                </a:solidFill>
                <a:latin typeface="Arial"/>
                <a:cs typeface="Arial"/>
              </a:rPr>
              <a:t>04</a:t>
            </a:r>
            <a:endParaRPr sz="3150">
              <a:latin typeface="Arial"/>
              <a:cs typeface="Arial"/>
            </a:endParaRPr>
          </a:p>
        </p:txBody>
      </p:sp>
      <p:pic>
        <p:nvPicPr>
          <p:cNvPr id="39" name="object 39"/>
          <p:cNvPicPr/>
          <p:nvPr/>
        </p:nvPicPr>
        <p:blipFill>
          <a:blip r:embed="rId6" cstate="print"/>
          <a:stretch>
            <a:fillRect/>
          </a:stretch>
        </p:blipFill>
        <p:spPr>
          <a:xfrm>
            <a:off x="17316450" y="237491"/>
            <a:ext cx="742949" cy="819149"/>
          </a:xfrm>
          <a:prstGeom prst="rect">
            <a:avLst/>
          </a:prstGeom>
        </p:spPr>
      </p:pic>
      <p:sp>
        <p:nvSpPr>
          <p:cNvPr id="40" name="object 40"/>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41" name="object 41"/>
          <p:cNvSpPr txBox="1"/>
          <p:nvPr/>
        </p:nvSpPr>
        <p:spPr>
          <a:xfrm>
            <a:off x="17811802" y="9932972"/>
            <a:ext cx="220979"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5</a:t>
            </a:r>
            <a:endParaRPr sz="900">
              <a:latin typeface="Arial"/>
              <a:cs typeface="Arial"/>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1"/>
            <a:ext cx="17954625" cy="8662035"/>
          </a:xfrm>
          <a:custGeom>
            <a:avLst/>
            <a:gdLst/>
            <a:ahLst/>
            <a:cxnLst/>
            <a:rect l="l" t="t" r="r" b="b"/>
            <a:pathLst>
              <a:path w="17954625" h="8662035">
                <a:moveTo>
                  <a:pt x="0" y="8661682"/>
                </a:moveTo>
                <a:lnTo>
                  <a:pt x="17954029" y="8661682"/>
                </a:lnTo>
                <a:lnTo>
                  <a:pt x="17954029" y="0"/>
                </a:lnTo>
                <a:lnTo>
                  <a:pt x="0" y="0"/>
                </a:lnTo>
                <a:lnTo>
                  <a:pt x="0" y="8661682"/>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4"/>
            <a:ext cx="17954625" cy="1394460"/>
            <a:chOff x="166956" y="171494"/>
            <a:chExt cx="17954625" cy="1394460"/>
          </a:xfrm>
        </p:grpSpPr>
        <p:sp>
          <p:nvSpPr>
            <p:cNvPr id="4" name="object 4"/>
            <p:cNvSpPr/>
            <p:nvPr/>
          </p:nvSpPr>
          <p:spPr>
            <a:xfrm>
              <a:off x="166956" y="171494"/>
              <a:ext cx="17954625" cy="13335"/>
            </a:xfrm>
            <a:custGeom>
              <a:avLst/>
              <a:gdLst/>
              <a:ahLst/>
              <a:cxnLst/>
              <a:rect l="l" t="t" r="r" b="b"/>
              <a:pathLst>
                <a:path w="17954625" h="13335">
                  <a:moveTo>
                    <a:pt x="0" y="13334"/>
                  </a:moveTo>
                  <a:lnTo>
                    <a:pt x="17954029" y="13334"/>
                  </a:lnTo>
                  <a:lnTo>
                    <a:pt x="17954029" y="0"/>
                  </a:lnTo>
                  <a:lnTo>
                    <a:pt x="0" y="0"/>
                  </a:lnTo>
                  <a:lnTo>
                    <a:pt x="0" y="13334"/>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grpSp>
      <p:sp>
        <p:nvSpPr>
          <p:cNvPr id="6" name="object 6"/>
          <p:cNvSpPr/>
          <p:nvPr/>
        </p:nvSpPr>
        <p:spPr>
          <a:xfrm>
            <a:off x="1427952" y="4462408"/>
            <a:ext cx="4214495" cy="1065530"/>
          </a:xfrm>
          <a:custGeom>
            <a:avLst/>
            <a:gdLst/>
            <a:ahLst/>
            <a:cxnLst/>
            <a:rect l="l" t="t" r="r" b="b"/>
            <a:pathLst>
              <a:path w="4214495" h="1065529">
                <a:moveTo>
                  <a:pt x="4214396" y="1065262"/>
                </a:moveTo>
                <a:lnTo>
                  <a:pt x="0" y="1065262"/>
                </a:lnTo>
                <a:lnTo>
                  <a:pt x="0" y="0"/>
                </a:lnTo>
                <a:lnTo>
                  <a:pt x="4214396" y="0"/>
                </a:lnTo>
                <a:lnTo>
                  <a:pt x="4214396" y="1065262"/>
                </a:lnTo>
                <a:close/>
              </a:path>
            </a:pathLst>
          </a:custGeom>
          <a:solidFill>
            <a:srgbClr val="FFFFFF"/>
          </a:solidFill>
        </p:spPr>
        <p:txBody>
          <a:bodyPr wrap="square" lIns="0" tIns="0" rIns="0" bIns="0" rtlCol="0"/>
          <a:lstStyle/>
          <a:p>
            <a:endParaRPr/>
          </a:p>
        </p:txBody>
      </p:sp>
      <p:grpSp>
        <p:nvGrpSpPr>
          <p:cNvPr id="7" name="object 7"/>
          <p:cNvGrpSpPr/>
          <p:nvPr/>
        </p:nvGrpSpPr>
        <p:grpSpPr>
          <a:xfrm>
            <a:off x="2488748" y="2480899"/>
            <a:ext cx="1858010" cy="1858010"/>
            <a:chOff x="2488748" y="2480899"/>
            <a:chExt cx="1858010" cy="1858010"/>
          </a:xfrm>
        </p:grpSpPr>
        <p:sp>
          <p:nvSpPr>
            <p:cNvPr id="8" name="object 8"/>
            <p:cNvSpPr/>
            <p:nvPr/>
          </p:nvSpPr>
          <p:spPr>
            <a:xfrm>
              <a:off x="2488748" y="2480899"/>
              <a:ext cx="1858010" cy="1858010"/>
            </a:xfrm>
            <a:custGeom>
              <a:avLst/>
              <a:gdLst/>
              <a:ahLst/>
              <a:cxnLst/>
              <a:rect l="l" t="t" r="r" b="b"/>
              <a:pathLst>
                <a:path w="1858010" h="1858010">
                  <a:moveTo>
                    <a:pt x="928917" y="1857797"/>
                  </a:moveTo>
                  <a:lnTo>
                    <a:pt x="881097" y="1856588"/>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7" y="1585729"/>
                  </a:lnTo>
                  <a:lnTo>
                    <a:pt x="241310" y="1553469"/>
                  </a:lnTo>
                  <a:lnTo>
                    <a:pt x="212115" y="1519764"/>
                  </a:lnTo>
                  <a:lnTo>
                    <a:pt x="184539" y="1484673"/>
                  </a:lnTo>
                  <a:lnTo>
                    <a:pt x="158641" y="1448254"/>
                  </a:lnTo>
                  <a:lnTo>
                    <a:pt x="134479" y="1410566"/>
                  </a:lnTo>
                  <a:lnTo>
                    <a:pt x="112112" y="1371667"/>
                  </a:lnTo>
                  <a:lnTo>
                    <a:pt x="91599" y="1331614"/>
                  </a:lnTo>
                  <a:lnTo>
                    <a:pt x="72997" y="1290468"/>
                  </a:lnTo>
                  <a:lnTo>
                    <a:pt x="56365" y="1248285"/>
                  </a:lnTo>
                  <a:lnTo>
                    <a:pt x="41761" y="1205124"/>
                  </a:lnTo>
                  <a:lnTo>
                    <a:pt x="29243" y="1161045"/>
                  </a:lnTo>
                  <a:lnTo>
                    <a:pt x="18871" y="1116104"/>
                  </a:lnTo>
                  <a:lnTo>
                    <a:pt x="10702" y="1070360"/>
                  </a:lnTo>
                  <a:lnTo>
                    <a:pt x="4795" y="1023873"/>
                  </a:lnTo>
                  <a:lnTo>
                    <a:pt x="1208" y="976699"/>
                  </a:lnTo>
                  <a:lnTo>
                    <a:pt x="0" y="928889"/>
                  </a:lnTo>
                  <a:lnTo>
                    <a:pt x="1208" y="881097"/>
                  </a:lnTo>
                  <a:lnTo>
                    <a:pt x="4795" y="833924"/>
                  </a:lnTo>
                  <a:lnTo>
                    <a:pt x="10702" y="787436"/>
                  </a:lnTo>
                  <a:lnTo>
                    <a:pt x="18871" y="741693"/>
                  </a:lnTo>
                  <a:lnTo>
                    <a:pt x="29243" y="696752"/>
                  </a:lnTo>
                  <a:lnTo>
                    <a:pt x="41761" y="652672"/>
                  </a:lnTo>
                  <a:lnTo>
                    <a:pt x="56365" y="609512"/>
                  </a:lnTo>
                  <a:lnTo>
                    <a:pt x="72997" y="567329"/>
                  </a:lnTo>
                  <a:lnTo>
                    <a:pt x="91599" y="526182"/>
                  </a:lnTo>
                  <a:lnTo>
                    <a:pt x="112112" y="486130"/>
                  </a:lnTo>
                  <a:lnTo>
                    <a:pt x="134479" y="447230"/>
                  </a:lnTo>
                  <a:lnTo>
                    <a:pt x="158641" y="409542"/>
                  </a:lnTo>
                  <a:lnTo>
                    <a:pt x="184539" y="373123"/>
                  </a:lnTo>
                  <a:lnTo>
                    <a:pt x="212115" y="338032"/>
                  </a:lnTo>
                  <a:lnTo>
                    <a:pt x="241310" y="304328"/>
                  </a:lnTo>
                  <a:lnTo>
                    <a:pt x="272067"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3" y="4795"/>
                  </a:lnTo>
                  <a:lnTo>
                    <a:pt x="1070360" y="10703"/>
                  </a:lnTo>
                  <a:lnTo>
                    <a:pt x="1116104" y="18871"/>
                  </a:lnTo>
                  <a:lnTo>
                    <a:pt x="1161045" y="29244"/>
                  </a:lnTo>
                  <a:lnTo>
                    <a:pt x="1205124" y="41761"/>
                  </a:lnTo>
                  <a:lnTo>
                    <a:pt x="1248285" y="56365"/>
                  </a:lnTo>
                  <a:lnTo>
                    <a:pt x="1290468" y="72997"/>
                  </a:lnTo>
                  <a:lnTo>
                    <a:pt x="1331614" y="91599"/>
                  </a:lnTo>
                  <a:lnTo>
                    <a:pt x="1371667" y="112113"/>
                  </a:lnTo>
                  <a:lnTo>
                    <a:pt x="1410566" y="134479"/>
                  </a:lnTo>
                  <a:lnTo>
                    <a:pt x="1448254" y="158641"/>
                  </a:lnTo>
                  <a:lnTo>
                    <a:pt x="1484673" y="184539"/>
                  </a:lnTo>
                  <a:lnTo>
                    <a:pt x="1519764" y="212115"/>
                  </a:lnTo>
                  <a:lnTo>
                    <a:pt x="1553469" y="241311"/>
                  </a:lnTo>
                  <a:lnTo>
                    <a:pt x="1585729" y="272068"/>
                  </a:lnTo>
                  <a:lnTo>
                    <a:pt x="1616486" y="304328"/>
                  </a:lnTo>
                  <a:lnTo>
                    <a:pt x="1645682" y="338032"/>
                  </a:lnTo>
                  <a:lnTo>
                    <a:pt x="1673258" y="373123"/>
                  </a:lnTo>
                  <a:lnTo>
                    <a:pt x="1699156" y="409542"/>
                  </a:lnTo>
                  <a:lnTo>
                    <a:pt x="1723317" y="447230"/>
                  </a:lnTo>
                  <a:lnTo>
                    <a:pt x="1745684" y="486130"/>
                  </a:lnTo>
                  <a:lnTo>
                    <a:pt x="1766198" y="526182"/>
                  </a:lnTo>
                  <a:lnTo>
                    <a:pt x="1784800" y="567329"/>
                  </a:lnTo>
                  <a:lnTo>
                    <a:pt x="1801432" y="609512"/>
                  </a:lnTo>
                  <a:lnTo>
                    <a:pt x="1816036" y="652672"/>
                  </a:lnTo>
                  <a:lnTo>
                    <a:pt x="1828553" y="696752"/>
                  </a:lnTo>
                  <a:lnTo>
                    <a:pt x="1838925" y="741693"/>
                  </a:lnTo>
                  <a:lnTo>
                    <a:pt x="1847094" y="787436"/>
                  </a:lnTo>
                  <a:lnTo>
                    <a:pt x="1853001" y="833924"/>
                  </a:lnTo>
                  <a:lnTo>
                    <a:pt x="1856588" y="881097"/>
                  </a:lnTo>
                  <a:lnTo>
                    <a:pt x="1857797" y="928900"/>
                  </a:lnTo>
                  <a:lnTo>
                    <a:pt x="1856588" y="976699"/>
                  </a:lnTo>
                  <a:lnTo>
                    <a:pt x="1853001" y="1023873"/>
                  </a:lnTo>
                  <a:lnTo>
                    <a:pt x="1847094" y="1070360"/>
                  </a:lnTo>
                  <a:lnTo>
                    <a:pt x="1838925" y="1116104"/>
                  </a:lnTo>
                  <a:lnTo>
                    <a:pt x="1828553" y="1161045"/>
                  </a:lnTo>
                  <a:lnTo>
                    <a:pt x="1816036" y="1205124"/>
                  </a:lnTo>
                  <a:lnTo>
                    <a:pt x="1801432" y="1248285"/>
                  </a:lnTo>
                  <a:lnTo>
                    <a:pt x="1784800" y="1290468"/>
                  </a:lnTo>
                  <a:lnTo>
                    <a:pt x="1766198" y="1331614"/>
                  </a:lnTo>
                  <a:lnTo>
                    <a:pt x="1745684" y="1371667"/>
                  </a:lnTo>
                  <a:lnTo>
                    <a:pt x="1723317" y="1410566"/>
                  </a:lnTo>
                  <a:lnTo>
                    <a:pt x="1699156" y="1448254"/>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7" y="1745684"/>
                  </a:lnTo>
                  <a:lnTo>
                    <a:pt x="1331614" y="1766198"/>
                  </a:lnTo>
                  <a:lnTo>
                    <a:pt x="1290468" y="1784800"/>
                  </a:lnTo>
                  <a:lnTo>
                    <a:pt x="1248285" y="1801432"/>
                  </a:lnTo>
                  <a:lnTo>
                    <a:pt x="1205124" y="1816036"/>
                  </a:lnTo>
                  <a:lnTo>
                    <a:pt x="1161045" y="1828553"/>
                  </a:lnTo>
                  <a:lnTo>
                    <a:pt x="1116104" y="1838925"/>
                  </a:lnTo>
                  <a:lnTo>
                    <a:pt x="1070360" y="1847094"/>
                  </a:lnTo>
                  <a:lnTo>
                    <a:pt x="1023873" y="1853001"/>
                  </a:lnTo>
                  <a:lnTo>
                    <a:pt x="976699" y="1856588"/>
                  </a:lnTo>
                  <a:lnTo>
                    <a:pt x="928917" y="1857797"/>
                  </a:lnTo>
                  <a:close/>
                </a:path>
              </a:pathLst>
            </a:custGeom>
            <a:solidFill>
              <a:srgbClr val="0090AE"/>
            </a:solidFill>
          </p:spPr>
          <p:txBody>
            <a:bodyPr wrap="square" lIns="0" tIns="0" rIns="0" bIns="0" rtlCol="0"/>
            <a:lstStyle/>
            <a:p>
              <a:endParaRPr/>
            </a:p>
          </p:txBody>
        </p:sp>
        <p:sp>
          <p:nvSpPr>
            <p:cNvPr id="9" name="object 9"/>
            <p:cNvSpPr/>
            <p:nvPr/>
          </p:nvSpPr>
          <p:spPr>
            <a:xfrm>
              <a:off x="2813599" y="2797207"/>
              <a:ext cx="1221740" cy="1218565"/>
            </a:xfrm>
            <a:custGeom>
              <a:avLst/>
              <a:gdLst/>
              <a:ahLst/>
              <a:cxnLst/>
              <a:rect l="l" t="t" r="r" b="b"/>
              <a:pathLst>
                <a:path w="1221739" h="1218564">
                  <a:moveTo>
                    <a:pt x="362056" y="868972"/>
                  </a:moveTo>
                  <a:lnTo>
                    <a:pt x="242222" y="614244"/>
                  </a:lnTo>
                  <a:lnTo>
                    <a:pt x="329807" y="555004"/>
                  </a:lnTo>
                  <a:lnTo>
                    <a:pt x="372384" y="525221"/>
                  </a:lnTo>
                  <a:lnTo>
                    <a:pt x="413327" y="493819"/>
                  </a:lnTo>
                  <a:lnTo>
                    <a:pt x="450228" y="461258"/>
                  </a:lnTo>
                  <a:lnTo>
                    <a:pt x="483736" y="426124"/>
                  </a:lnTo>
                  <a:lnTo>
                    <a:pt x="513268" y="388159"/>
                  </a:lnTo>
                  <a:lnTo>
                    <a:pt x="538241" y="347108"/>
                  </a:lnTo>
                  <a:lnTo>
                    <a:pt x="558073" y="302715"/>
                  </a:lnTo>
                  <a:lnTo>
                    <a:pt x="572181" y="254725"/>
                  </a:lnTo>
                  <a:lnTo>
                    <a:pt x="578008" y="198752"/>
                  </a:lnTo>
                  <a:lnTo>
                    <a:pt x="577896" y="179937"/>
                  </a:lnTo>
                  <a:lnTo>
                    <a:pt x="577434" y="169630"/>
                  </a:lnTo>
                  <a:lnTo>
                    <a:pt x="577674" y="159937"/>
                  </a:lnTo>
                  <a:lnTo>
                    <a:pt x="581055" y="151811"/>
                  </a:lnTo>
                  <a:lnTo>
                    <a:pt x="590016" y="146205"/>
                  </a:lnTo>
                  <a:lnTo>
                    <a:pt x="601791" y="145456"/>
                  </a:lnTo>
                  <a:lnTo>
                    <a:pt x="609599" y="150693"/>
                  </a:lnTo>
                  <a:lnTo>
                    <a:pt x="614957" y="159434"/>
                  </a:lnTo>
                  <a:lnTo>
                    <a:pt x="619379" y="169197"/>
                  </a:lnTo>
                  <a:lnTo>
                    <a:pt x="849718" y="658763"/>
                  </a:lnTo>
                  <a:lnTo>
                    <a:pt x="915871" y="799184"/>
                  </a:lnTo>
                  <a:lnTo>
                    <a:pt x="640059" y="799184"/>
                  </a:lnTo>
                  <a:lnTo>
                    <a:pt x="587353" y="803619"/>
                  </a:lnTo>
                  <a:lnTo>
                    <a:pt x="535156" y="812533"/>
                  </a:lnTo>
                  <a:lnTo>
                    <a:pt x="483415" y="825399"/>
                  </a:lnTo>
                  <a:lnTo>
                    <a:pt x="432081" y="841695"/>
                  </a:lnTo>
                  <a:lnTo>
                    <a:pt x="397869" y="854656"/>
                  </a:lnTo>
                  <a:lnTo>
                    <a:pt x="362056" y="868972"/>
                  </a:lnTo>
                  <a:close/>
                </a:path>
                <a:path w="1221739" h="1218564">
                  <a:moveTo>
                    <a:pt x="848964" y="555895"/>
                  </a:moveTo>
                  <a:lnTo>
                    <a:pt x="795871" y="443303"/>
                  </a:lnTo>
                  <a:lnTo>
                    <a:pt x="824755" y="438556"/>
                  </a:lnTo>
                  <a:lnTo>
                    <a:pt x="847983" y="441632"/>
                  </a:lnTo>
                  <a:lnTo>
                    <a:pt x="866044" y="452425"/>
                  </a:lnTo>
                  <a:lnTo>
                    <a:pt x="879428" y="470827"/>
                  </a:lnTo>
                  <a:lnTo>
                    <a:pt x="886642" y="493447"/>
                  </a:lnTo>
                  <a:lnTo>
                    <a:pt x="884279" y="514833"/>
                  </a:lnTo>
                  <a:lnTo>
                    <a:pt x="871874" y="535484"/>
                  </a:lnTo>
                  <a:lnTo>
                    <a:pt x="848964" y="555895"/>
                  </a:lnTo>
                  <a:close/>
                </a:path>
                <a:path w="1221739" h="1218564">
                  <a:moveTo>
                    <a:pt x="141751" y="956586"/>
                  </a:moveTo>
                  <a:lnTo>
                    <a:pt x="92507" y="947851"/>
                  </a:lnTo>
                  <a:lnTo>
                    <a:pt x="49588" y="922174"/>
                  </a:lnTo>
                  <a:lnTo>
                    <a:pt x="18606" y="882913"/>
                  </a:lnTo>
                  <a:lnTo>
                    <a:pt x="11930" y="867576"/>
                  </a:lnTo>
                  <a:lnTo>
                    <a:pt x="8591" y="859892"/>
                  </a:lnTo>
                  <a:lnTo>
                    <a:pt x="78" y="812533"/>
                  </a:lnTo>
                  <a:lnTo>
                    <a:pt x="0" y="809987"/>
                  </a:lnTo>
                  <a:lnTo>
                    <a:pt x="258" y="802337"/>
                  </a:lnTo>
                  <a:lnTo>
                    <a:pt x="9006" y="761537"/>
                  </a:lnTo>
                  <a:lnTo>
                    <a:pt x="34554" y="718600"/>
                  </a:lnTo>
                  <a:lnTo>
                    <a:pt x="66338" y="691676"/>
                  </a:lnTo>
                  <a:lnTo>
                    <a:pt x="129985" y="658507"/>
                  </a:lnTo>
                  <a:lnTo>
                    <a:pt x="196995" y="626988"/>
                  </a:lnTo>
                  <a:lnTo>
                    <a:pt x="321559" y="891454"/>
                  </a:lnTo>
                  <a:lnTo>
                    <a:pt x="285543" y="908199"/>
                  </a:lnTo>
                  <a:lnTo>
                    <a:pt x="249091" y="923886"/>
                  </a:lnTo>
                  <a:lnTo>
                    <a:pt x="212201" y="938515"/>
                  </a:lnTo>
                  <a:lnTo>
                    <a:pt x="174874" y="952086"/>
                  </a:lnTo>
                  <a:lnTo>
                    <a:pt x="158492" y="955464"/>
                  </a:lnTo>
                  <a:lnTo>
                    <a:pt x="141751" y="956586"/>
                  </a:lnTo>
                  <a:close/>
                </a:path>
                <a:path w="1221739" h="1218564">
                  <a:moveTo>
                    <a:pt x="942901" y="893786"/>
                  </a:moveTo>
                  <a:lnTo>
                    <a:pt x="935217" y="892522"/>
                  </a:lnTo>
                  <a:lnTo>
                    <a:pt x="927289" y="891504"/>
                  </a:lnTo>
                  <a:lnTo>
                    <a:pt x="920035" y="889796"/>
                  </a:lnTo>
                  <a:lnTo>
                    <a:pt x="914375" y="886462"/>
                  </a:lnTo>
                  <a:lnTo>
                    <a:pt x="896636" y="870823"/>
                  </a:lnTo>
                  <a:lnTo>
                    <a:pt x="877848" y="856703"/>
                  </a:lnTo>
                  <a:lnTo>
                    <a:pt x="837121" y="833015"/>
                  </a:lnTo>
                  <a:lnTo>
                    <a:pt x="793225" y="815896"/>
                  </a:lnTo>
                  <a:lnTo>
                    <a:pt x="747195" y="805844"/>
                  </a:lnTo>
                  <a:lnTo>
                    <a:pt x="693322" y="799751"/>
                  </a:lnTo>
                  <a:lnTo>
                    <a:pt x="640059" y="799184"/>
                  </a:lnTo>
                  <a:lnTo>
                    <a:pt x="915871" y="799184"/>
                  </a:lnTo>
                  <a:lnTo>
                    <a:pt x="941406" y="853387"/>
                  </a:lnTo>
                  <a:lnTo>
                    <a:pt x="943180" y="857017"/>
                  </a:lnTo>
                  <a:lnTo>
                    <a:pt x="944247" y="859299"/>
                  </a:lnTo>
                  <a:lnTo>
                    <a:pt x="952327" y="879729"/>
                  </a:lnTo>
                  <a:lnTo>
                    <a:pt x="950931" y="884229"/>
                  </a:lnTo>
                  <a:lnTo>
                    <a:pt x="950356" y="885723"/>
                  </a:lnTo>
                  <a:lnTo>
                    <a:pt x="948845" y="889312"/>
                  </a:lnTo>
                  <a:lnTo>
                    <a:pt x="946360" y="892000"/>
                  </a:lnTo>
                  <a:lnTo>
                    <a:pt x="942901" y="893786"/>
                  </a:lnTo>
                  <a:close/>
                </a:path>
                <a:path w="1221739" h="1218564">
                  <a:moveTo>
                    <a:pt x="413721" y="976457"/>
                  </a:moveTo>
                  <a:lnTo>
                    <a:pt x="407349" y="964420"/>
                  </a:lnTo>
                  <a:lnTo>
                    <a:pt x="390088" y="932464"/>
                  </a:lnTo>
                  <a:lnTo>
                    <a:pt x="382371" y="917780"/>
                  </a:lnTo>
                  <a:lnTo>
                    <a:pt x="471462" y="878251"/>
                  </a:lnTo>
                  <a:lnTo>
                    <a:pt x="485788" y="911387"/>
                  </a:lnTo>
                  <a:lnTo>
                    <a:pt x="484875" y="936530"/>
                  </a:lnTo>
                  <a:lnTo>
                    <a:pt x="462821" y="957085"/>
                  </a:lnTo>
                  <a:lnTo>
                    <a:pt x="413721" y="976457"/>
                  </a:lnTo>
                  <a:close/>
                </a:path>
                <a:path w="1221739" h="1218564">
                  <a:moveTo>
                    <a:pt x="429725" y="1218345"/>
                  </a:moveTo>
                  <a:lnTo>
                    <a:pt x="418315" y="1216052"/>
                  </a:lnTo>
                  <a:lnTo>
                    <a:pt x="408513" y="1209016"/>
                  </a:lnTo>
                  <a:lnTo>
                    <a:pt x="399976" y="1198110"/>
                  </a:lnTo>
                  <a:lnTo>
                    <a:pt x="371295" y="1153330"/>
                  </a:lnTo>
                  <a:lnTo>
                    <a:pt x="254752" y="972630"/>
                  </a:lnTo>
                  <a:lnTo>
                    <a:pt x="339459" y="932560"/>
                  </a:lnTo>
                  <a:lnTo>
                    <a:pt x="342842" y="938587"/>
                  </a:lnTo>
                  <a:lnTo>
                    <a:pt x="346159" y="943612"/>
                  </a:lnTo>
                  <a:lnTo>
                    <a:pt x="451739" y="1167975"/>
                  </a:lnTo>
                  <a:lnTo>
                    <a:pt x="457232" y="1183883"/>
                  </a:lnTo>
                  <a:lnTo>
                    <a:pt x="457659" y="1197258"/>
                  </a:lnTo>
                  <a:lnTo>
                    <a:pt x="452963" y="1207755"/>
                  </a:lnTo>
                  <a:lnTo>
                    <a:pt x="443085" y="1215025"/>
                  </a:lnTo>
                  <a:lnTo>
                    <a:pt x="429725" y="1218345"/>
                  </a:lnTo>
                  <a:close/>
                </a:path>
                <a:path w="1221739" h="1218564">
                  <a:moveTo>
                    <a:pt x="808156" y="124886"/>
                  </a:moveTo>
                  <a:lnTo>
                    <a:pt x="783147" y="100066"/>
                  </a:lnTo>
                  <a:lnTo>
                    <a:pt x="784029" y="90180"/>
                  </a:lnTo>
                  <a:lnTo>
                    <a:pt x="785699" y="85694"/>
                  </a:lnTo>
                  <a:lnTo>
                    <a:pt x="788596" y="81665"/>
                  </a:lnTo>
                  <a:lnTo>
                    <a:pt x="800132" y="64432"/>
                  </a:lnTo>
                  <a:lnTo>
                    <a:pt x="811751" y="47301"/>
                  </a:lnTo>
                  <a:lnTo>
                    <a:pt x="823452" y="30273"/>
                  </a:lnTo>
                  <a:lnTo>
                    <a:pt x="835235" y="13348"/>
                  </a:lnTo>
                  <a:lnTo>
                    <a:pt x="837996" y="9155"/>
                  </a:lnTo>
                  <a:lnTo>
                    <a:pt x="841592" y="5879"/>
                  </a:lnTo>
                  <a:lnTo>
                    <a:pt x="850452" y="1157"/>
                  </a:lnTo>
                  <a:lnTo>
                    <a:pt x="855177" y="0"/>
                  </a:lnTo>
                  <a:lnTo>
                    <a:pt x="860197" y="46"/>
                  </a:lnTo>
                  <a:lnTo>
                    <a:pt x="885159" y="15171"/>
                  </a:lnTo>
                  <a:lnTo>
                    <a:pt x="886966" y="17782"/>
                  </a:lnTo>
                  <a:lnTo>
                    <a:pt x="886309" y="21067"/>
                  </a:lnTo>
                  <a:lnTo>
                    <a:pt x="885652" y="24680"/>
                  </a:lnTo>
                  <a:lnTo>
                    <a:pt x="885488" y="26486"/>
                  </a:lnTo>
                  <a:lnTo>
                    <a:pt x="885185" y="32151"/>
                  </a:lnTo>
                  <a:lnTo>
                    <a:pt x="883652" y="37461"/>
                  </a:lnTo>
                  <a:lnTo>
                    <a:pt x="856995" y="78176"/>
                  </a:lnTo>
                  <a:lnTo>
                    <a:pt x="833100" y="112704"/>
                  </a:lnTo>
                  <a:lnTo>
                    <a:pt x="815277" y="124639"/>
                  </a:lnTo>
                  <a:lnTo>
                    <a:pt x="808156" y="124886"/>
                  </a:lnTo>
                  <a:close/>
                </a:path>
                <a:path w="1221739" h="1218564">
                  <a:moveTo>
                    <a:pt x="1021675" y="413849"/>
                  </a:moveTo>
                  <a:lnTo>
                    <a:pt x="999090" y="382188"/>
                  </a:lnTo>
                  <a:lnTo>
                    <a:pt x="1000287" y="377558"/>
                  </a:lnTo>
                  <a:lnTo>
                    <a:pt x="1005155" y="368936"/>
                  </a:lnTo>
                  <a:lnTo>
                    <a:pt x="1008502" y="365520"/>
                  </a:lnTo>
                  <a:lnTo>
                    <a:pt x="1012762" y="362998"/>
                  </a:lnTo>
                  <a:lnTo>
                    <a:pt x="1030406" y="352072"/>
                  </a:lnTo>
                  <a:lnTo>
                    <a:pt x="1065878" y="330527"/>
                  </a:lnTo>
                  <a:lnTo>
                    <a:pt x="1083706" y="319971"/>
                  </a:lnTo>
                  <a:lnTo>
                    <a:pt x="1087893" y="317283"/>
                  </a:lnTo>
                  <a:lnTo>
                    <a:pt x="1092468" y="315779"/>
                  </a:lnTo>
                  <a:lnTo>
                    <a:pt x="1102396" y="315137"/>
                  </a:lnTo>
                  <a:lnTo>
                    <a:pt x="1107127" y="316039"/>
                  </a:lnTo>
                  <a:lnTo>
                    <a:pt x="1128375" y="342141"/>
                  </a:lnTo>
                  <a:lnTo>
                    <a:pt x="1128868" y="345426"/>
                  </a:lnTo>
                  <a:lnTo>
                    <a:pt x="1126733" y="348053"/>
                  </a:lnTo>
                  <a:lnTo>
                    <a:pt x="1125912" y="349531"/>
                  </a:lnTo>
                  <a:lnTo>
                    <a:pt x="1124927" y="351009"/>
                  </a:lnTo>
                  <a:lnTo>
                    <a:pt x="1123941" y="352651"/>
                  </a:lnTo>
                  <a:lnTo>
                    <a:pt x="1121351" y="357683"/>
                  </a:lnTo>
                  <a:lnTo>
                    <a:pt x="1117793" y="361898"/>
                  </a:lnTo>
                  <a:lnTo>
                    <a:pt x="1076706" y="388001"/>
                  </a:lnTo>
                  <a:lnTo>
                    <a:pt x="1040515" y="409473"/>
                  </a:lnTo>
                  <a:lnTo>
                    <a:pt x="1036276" y="412247"/>
                  </a:lnTo>
                  <a:lnTo>
                    <a:pt x="1031623" y="413670"/>
                  </a:lnTo>
                  <a:lnTo>
                    <a:pt x="1021675" y="413849"/>
                  </a:lnTo>
                  <a:close/>
                </a:path>
                <a:path w="1221739" h="1218564">
                  <a:moveTo>
                    <a:pt x="1192274" y="813828"/>
                  </a:moveTo>
                  <a:lnTo>
                    <a:pt x="1186675" y="812972"/>
                  </a:lnTo>
                  <a:lnTo>
                    <a:pt x="1165806" y="807758"/>
                  </a:lnTo>
                  <a:lnTo>
                    <a:pt x="1144983" y="802297"/>
                  </a:lnTo>
                  <a:lnTo>
                    <a:pt x="1104399" y="791130"/>
                  </a:lnTo>
                  <a:lnTo>
                    <a:pt x="1099537" y="789934"/>
                  </a:lnTo>
                  <a:lnTo>
                    <a:pt x="1083529" y="767035"/>
                  </a:lnTo>
                  <a:lnTo>
                    <a:pt x="1083623" y="762319"/>
                  </a:lnTo>
                  <a:lnTo>
                    <a:pt x="1109274" y="737558"/>
                  </a:lnTo>
                  <a:lnTo>
                    <a:pt x="1114068" y="737598"/>
                  </a:lnTo>
                  <a:lnTo>
                    <a:pt x="1118850" y="738907"/>
                  </a:lnTo>
                  <a:lnTo>
                    <a:pt x="1179079" y="754703"/>
                  </a:lnTo>
                  <a:lnTo>
                    <a:pt x="1198992" y="760256"/>
                  </a:lnTo>
                  <a:lnTo>
                    <a:pt x="1203818" y="761447"/>
                  </a:lnTo>
                  <a:lnTo>
                    <a:pt x="1208067" y="763717"/>
                  </a:lnTo>
                  <a:lnTo>
                    <a:pt x="1221516" y="789091"/>
                  </a:lnTo>
                  <a:lnTo>
                    <a:pt x="1219473" y="799250"/>
                  </a:lnTo>
                  <a:lnTo>
                    <a:pt x="1217287" y="803765"/>
                  </a:lnTo>
                  <a:lnTo>
                    <a:pt x="1213907" y="807758"/>
                  </a:lnTo>
                  <a:lnTo>
                    <a:pt x="1211965" y="810508"/>
                  </a:lnTo>
                  <a:lnTo>
                    <a:pt x="1208517" y="810837"/>
                  </a:lnTo>
                  <a:lnTo>
                    <a:pt x="1206875" y="811165"/>
                  </a:lnTo>
                  <a:lnTo>
                    <a:pt x="1205068" y="811494"/>
                  </a:lnTo>
                  <a:lnTo>
                    <a:pt x="1197803" y="813499"/>
                  </a:lnTo>
                  <a:lnTo>
                    <a:pt x="1192274" y="813828"/>
                  </a:lnTo>
                  <a:close/>
                </a:path>
              </a:pathLst>
            </a:custGeom>
            <a:solidFill>
              <a:srgbClr val="FFFFFF"/>
            </a:solidFill>
          </p:spPr>
          <p:txBody>
            <a:bodyPr wrap="square" lIns="0" tIns="0" rIns="0" bIns="0" rtlCol="0"/>
            <a:lstStyle/>
            <a:p>
              <a:endParaRPr/>
            </a:p>
          </p:txBody>
        </p:sp>
      </p:grpSp>
      <p:sp>
        <p:nvSpPr>
          <p:cNvPr id="10" name="object 10"/>
          <p:cNvSpPr txBox="1"/>
          <p:nvPr/>
        </p:nvSpPr>
        <p:spPr>
          <a:xfrm>
            <a:off x="2259999" y="4587202"/>
            <a:ext cx="2804795" cy="692150"/>
          </a:xfrm>
          <a:prstGeom prst="rect">
            <a:avLst/>
          </a:prstGeom>
        </p:spPr>
        <p:txBody>
          <a:bodyPr vert="horz" wrap="square" lIns="0" tIns="12065" rIns="0" bIns="0" rtlCol="0">
            <a:spAutoFit/>
          </a:bodyPr>
          <a:lstStyle/>
          <a:p>
            <a:pPr marL="847090" marR="5080" indent="-835025">
              <a:lnSpc>
                <a:spcPct val="115100"/>
              </a:lnSpc>
              <a:spcBef>
                <a:spcPts val="95"/>
              </a:spcBef>
            </a:pPr>
            <a:r>
              <a:rPr sz="1900" spc="-10" dirty="0">
                <a:solidFill>
                  <a:srgbClr val="737373"/>
                </a:solidFill>
                <a:latin typeface="Roboto"/>
                <a:cs typeface="Roboto"/>
              </a:rPr>
              <a:t>Actualización</a:t>
            </a:r>
            <a:r>
              <a:rPr sz="1900" spc="-80" dirty="0">
                <a:solidFill>
                  <a:srgbClr val="737373"/>
                </a:solidFill>
                <a:latin typeface="Roboto"/>
                <a:cs typeface="Roboto"/>
              </a:rPr>
              <a:t> </a:t>
            </a:r>
            <a:r>
              <a:rPr sz="1900" dirty="0">
                <a:solidFill>
                  <a:srgbClr val="737373"/>
                </a:solidFill>
                <a:latin typeface="Roboto"/>
                <a:cs typeface="Roboto"/>
              </a:rPr>
              <a:t>y</a:t>
            </a:r>
            <a:r>
              <a:rPr sz="1900" spc="-80" dirty="0">
                <a:solidFill>
                  <a:srgbClr val="737373"/>
                </a:solidFill>
                <a:latin typeface="Roboto"/>
                <a:cs typeface="Roboto"/>
              </a:rPr>
              <a:t> </a:t>
            </a:r>
            <a:r>
              <a:rPr sz="1900" spc="-10" dirty="0">
                <a:solidFill>
                  <a:srgbClr val="737373"/>
                </a:solidFill>
                <a:latin typeface="Roboto"/>
                <a:cs typeface="Roboto"/>
              </a:rPr>
              <a:t>desarrollo </a:t>
            </a:r>
            <a:r>
              <a:rPr sz="1900" dirty="0">
                <a:solidFill>
                  <a:srgbClr val="737373"/>
                </a:solidFill>
                <a:latin typeface="Roboto"/>
                <a:cs typeface="Roboto"/>
              </a:rPr>
              <a:t>de</a:t>
            </a:r>
            <a:r>
              <a:rPr sz="1900" spc="-20" dirty="0">
                <a:solidFill>
                  <a:srgbClr val="737373"/>
                </a:solidFill>
                <a:latin typeface="Roboto"/>
                <a:cs typeface="Roboto"/>
              </a:rPr>
              <a:t> </a:t>
            </a:r>
            <a:r>
              <a:rPr sz="1900" b="1" spc="-10" dirty="0">
                <a:solidFill>
                  <a:srgbClr val="E3112B"/>
                </a:solidFill>
                <a:latin typeface="Roboto"/>
                <a:cs typeface="Roboto"/>
              </a:rPr>
              <a:t>canales</a:t>
            </a:r>
            <a:endParaRPr sz="1900">
              <a:latin typeface="Roboto"/>
              <a:cs typeface="Roboto"/>
            </a:endParaRPr>
          </a:p>
        </p:txBody>
      </p:sp>
      <p:sp>
        <p:nvSpPr>
          <p:cNvPr id="11" name="object 11"/>
          <p:cNvSpPr/>
          <p:nvPr/>
        </p:nvSpPr>
        <p:spPr>
          <a:xfrm>
            <a:off x="823475" y="4461128"/>
            <a:ext cx="1069975" cy="1069975"/>
          </a:xfrm>
          <a:custGeom>
            <a:avLst/>
            <a:gdLst/>
            <a:ahLst/>
            <a:cxnLst/>
            <a:rect l="l" t="t" r="r" b="b"/>
            <a:pathLst>
              <a:path w="1069975" h="1069975">
                <a:moveTo>
                  <a:pt x="534698" y="1069390"/>
                </a:moveTo>
                <a:lnTo>
                  <a:pt x="486027" y="1067205"/>
                </a:lnTo>
                <a:lnTo>
                  <a:pt x="438583" y="1060776"/>
                </a:lnTo>
                <a:lnTo>
                  <a:pt x="392552" y="1050290"/>
                </a:lnTo>
                <a:lnTo>
                  <a:pt x="348122" y="1035938"/>
                </a:lnTo>
                <a:lnTo>
                  <a:pt x="305483" y="1017908"/>
                </a:lnTo>
                <a:lnTo>
                  <a:pt x="264824" y="996389"/>
                </a:lnTo>
                <a:lnTo>
                  <a:pt x="226332" y="971569"/>
                </a:lnTo>
                <a:lnTo>
                  <a:pt x="190197" y="943637"/>
                </a:lnTo>
                <a:lnTo>
                  <a:pt x="156608" y="912782"/>
                </a:lnTo>
                <a:lnTo>
                  <a:pt x="125753" y="879192"/>
                </a:lnTo>
                <a:lnTo>
                  <a:pt x="97821" y="843057"/>
                </a:lnTo>
                <a:lnTo>
                  <a:pt x="73001" y="804566"/>
                </a:lnTo>
                <a:lnTo>
                  <a:pt x="51482" y="763906"/>
                </a:lnTo>
                <a:lnTo>
                  <a:pt x="33451" y="721267"/>
                </a:lnTo>
                <a:lnTo>
                  <a:pt x="19099" y="676838"/>
                </a:lnTo>
                <a:lnTo>
                  <a:pt x="8614" y="630807"/>
                </a:lnTo>
                <a:lnTo>
                  <a:pt x="2185" y="583363"/>
                </a:lnTo>
                <a:lnTo>
                  <a:pt x="0" y="534695"/>
                </a:lnTo>
                <a:lnTo>
                  <a:pt x="2185" y="486026"/>
                </a:lnTo>
                <a:lnTo>
                  <a:pt x="8614" y="438583"/>
                </a:lnTo>
                <a:lnTo>
                  <a:pt x="19099" y="392551"/>
                </a:lnTo>
                <a:lnTo>
                  <a:pt x="33451" y="348122"/>
                </a:lnTo>
                <a:lnTo>
                  <a:pt x="51482" y="305483"/>
                </a:lnTo>
                <a:lnTo>
                  <a:pt x="73001" y="264824"/>
                </a:lnTo>
                <a:lnTo>
                  <a:pt x="97821" y="226332"/>
                </a:lnTo>
                <a:lnTo>
                  <a:pt x="125753" y="190197"/>
                </a:lnTo>
                <a:lnTo>
                  <a:pt x="156608" y="156608"/>
                </a:lnTo>
                <a:lnTo>
                  <a:pt x="190197" y="125753"/>
                </a:lnTo>
                <a:lnTo>
                  <a:pt x="226332" y="97821"/>
                </a:lnTo>
                <a:lnTo>
                  <a:pt x="264824" y="73001"/>
                </a:lnTo>
                <a:lnTo>
                  <a:pt x="305483" y="51482"/>
                </a:lnTo>
                <a:lnTo>
                  <a:pt x="348122" y="33451"/>
                </a:lnTo>
                <a:lnTo>
                  <a:pt x="392552" y="19099"/>
                </a:lnTo>
                <a:lnTo>
                  <a:pt x="438583" y="8614"/>
                </a:lnTo>
                <a:lnTo>
                  <a:pt x="486027"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7"/>
                </a:lnTo>
                <a:lnTo>
                  <a:pt x="971568" y="226332"/>
                </a:lnTo>
                <a:lnTo>
                  <a:pt x="996388" y="264824"/>
                </a:lnTo>
                <a:lnTo>
                  <a:pt x="1017908" y="305483"/>
                </a:lnTo>
                <a:lnTo>
                  <a:pt x="1035938" y="348122"/>
                </a:lnTo>
                <a:lnTo>
                  <a:pt x="1050290" y="392551"/>
                </a:lnTo>
                <a:lnTo>
                  <a:pt x="1060775" y="438583"/>
                </a:lnTo>
                <a:lnTo>
                  <a:pt x="1067205" y="486026"/>
                </a:lnTo>
                <a:lnTo>
                  <a:pt x="1069390" y="534695"/>
                </a:lnTo>
                <a:lnTo>
                  <a:pt x="1067205" y="583363"/>
                </a:lnTo>
                <a:lnTo>
                  <a:pt x="1060775" y="630807"/>
                </a:lnTo>
                <a:lnTo>
                  <a:pt x="1050290" y="676838"/>
                </a:lnTo>
                <a:lnTo>
                  <a:pt x="1035938" y="721267"/>
                </a:lnTo>
                <a:lnTo>
                  <a:pt x="1017908" y="763906"/>
                </a:lnTo>
                <a:lnTo>
                  <a:pt x="996388" y="804566"/>
                </a:lnTo>
                <a:lnTo>
                  <a:pt x="971568" y="843057"/>
                </a:lnTo>
                <a:lnTo>
                  <a:pt x="943636" y="879192"/>
                </a:lnTo>
                <a:lnTo>
                  <a:pt x="912781" y="912782"/>
                </a:lnTo>
                <a:lnTo>
                  <a:pt x="879192" y="943637"/>
                </a:lnTo>
                <a:lnTo>
                  <a:pt x="843057" y="971569"/>
                </a:lnTo>
                <a:lnTo>
                  <a:pt x="804566" y="996389"/>
                </a:lnTo>
                <a:lnTo>
                  <a:pt x="763906" y="1017908"/>
                </a:lnTo>
                <a:lnTo>
                  <a:pt x="721267" y="1035938"/>
                </a:lnTo>
                <a:lnTo>
                  <a:pt x="676838" y="1050290"/>
                </a:lnTo>
                <a:lnTo>
                  <a:pt x="630807" y="1060776"/>
                </a:lnTo>
                <a:lnTo>
                  <a:pt x="583363" y="1067205"/>
                </a:lnTo>
                <a:lnTo>
                  <a:pt x="534698" y="1069390"/>
                </a:lnTo>
                <a:close/>
              </a:path>
            </a:pathLst>
          </a:custGeom>
          <a:solidFill>
            <a:srgbClr val="003793"/>
          </a:solidFill>
        </p:spPr>
        <p:txBody>
          <a:bodyPr wrap="square" lIns="0" tIns="0" rIns="0" bIns="0" rtlCol="0"/>
          <a:lstStyle/>
          <a:p>
            <a:endParaRPr/>
          </a:p>
        </p:txBody>
      </p:sp>
      <p:sp>
        <p:nvSpPr>
          <p:cNvPr id="12" name="object 12"/>
          <p:cNvSpPr txBox="1"/>
          <p:nvPr/>
        </p:nvSpPr>
        <p:spPr>
          <a:xfrm>
            <a:off x="1117115" y="4727325"/>
            <a:ext cx="482600" cy="506730"/>
          </a:xfrm>
          <a:prstGeom prst="rect">
            <a:avLst/>
          </a:prstGeom>
        </p:spPr>
        <p:txBody>
          <a:bodyPr vert="horz" wrap="square" lIns="0" tIns="13335" rIns="0" bIns="0" rtlCol="0">
            <a:spAutoFit/>
          </a:bodyPr>
          <a:lstStyle/>
          <a:p>
            <a:pPr marL="12700">
              <a:lnSpc>
                <a:spcPct val="100000"/>
              </a:lnSpc>
              <a:spcBef>
                <a:spcPts val="105"/>
              </a:spcBef>
            </a:pPr>
            <a:r>
              <a:rPr sz="3150" b="1" spc="-25" dirty="0">
                <a:solidFill>
                  <a:srgbClr val="FFFFFF"/>
                </a:solidFill>
                <a:latin typeface="Arial"/>
                <a:cs typeface="Arial"/>
              </a:rPr>
              <a:t>01</a:t>
            </a:r>
            <a:endParaRPr sz="3150">
              <a:latin typeface="Arial"/>
              <a:cs typeface="Arial"/>
            </a:endParaRPr>
          </a:p>
        </p:txBody>
      </p:sp>
      <p:sp>
        <p:nvSpPr>
          <p:cNvPr id="13" name="object 13"/>
          <p:cNvSpPr txBox="1"/>
          <p:nvPr/>
        </p:nvSpPr>
        <p:spPr>
          <a:xfrm>
            <a:off x="637985" y="384147"/>
            <a:ext cx="818832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2.</a:t>
            </a:r>
            <a:r>
              <a:rPr sz="3000" spc="-60" dirty="0">
                <a:solidFill>
                  <a:srgbClr val="FFFFFF"/>
                </a:solidFill>
                <a:latin typeface="Roboto"/>
                <a:cs typeface="Roboto"/>
              </a:rPr>
              <a:t> </a:t>
            </a:r>
            <a:r>
              <a:rPr sz="3000" dirty="0">
                <a:solidFill>
                  <a:srgbClr val="FFFFFF"/>
                </a:solidFill>
                <a:latin typeface="Roboto"/>
                <a:cs typeface="Roboto"/>
              </a:rPr>
              <a:t>¿Cómo</a:t>
            </a:r>
            <a:r>
              <a:rPr sz="3000" spc="-55" dirty="0">
                <a:solidFill>
                  <a:srgbClr val="FFFFFF"/>
                </a:solidFill>
                <a:latin typeface="Roboto"/>
                <a:cs typeface="Roboto"/>
              </a:rPr>
              <a:t> </a:t>
            </a:r>
            <a:r>
              <a:rPr sz="3000" spc="-10" dirty="0">
                <a:solidFill>
                  <a:srgbClr val="FFFFFF"/>
                </a:solidFill>
                <a:latin typeface="Roboto"/>
                <a:cs typeface="Roboto"/>
              </a:rPr>
              <a:t>promocionamos</a:t>
            </a:r>
            <a:r>
              <a:rPr sz="3000" spc="-55" dirty="0">
                <a:solidFill>
                  <a:srgbClr val="FFFFFF"/>
                </a:solidFill>
                <a:latin typeface="Roboto"/>
                <a:cs typeface="Roboto"/>
              </a:rPr>
              <a:t> </a:t>
            </a:r>
            <a:r>
              <a:rPr sz="3000" dirty="0">
                <a:solidFill>
                  <a:srgbClr val="FFFFFF"/>
                </a:solidFill>
                <a:latin typeface="Roboto"/>
                <a:cs typeface="Roboto"/>
              </a:rPr>
              <a:t>MICE</a:t>
            </a:r>
            <a:r>
              <a:rPr sz="3000" spc="-55" dirty="0">
                <a:solidFill>
                  <a:srgbClr val="FFFFFF"/>
                </a:solidFill>
                <a:latin typeface="Roboto"/>
                <a:cs typeface="Roboto"/>
              </a:rPr>
              <a:t> </a:t>
            </a:r>
            <a:r>
              <a:rPr sz="3000" spc="-20" dirty="0">
                <a:solidFill>
                  <a:srgbClr val="FFFFFF"/>
                </a:solidFill>
                <a:latin typeface="Roboto"/>
                <a:cs typeface="Roboto"/>
              </a:rPr>
              <a:t>internacional?</a:t>
            </a:r>
            <a:endParaRPr sz="3000">
              <a:latin typeface="Roboto"/>
              <a:cs typeface="Roboto"/>
            </a:endParaRPr>
          </a:p>
        </p:txBody>
      </p:sp>
      <p:sp>
        <p:nvSpPr>
          <p:cNvPr id="14" name="object 14"/>
          <p:cNvSpPr txBox="1">
            <a:spLocks noGrp="1"/>
          </p:cNvSpPr>
          <p:nvPr>
            <p:ph type="title"/>
          </p:nvPr>
        </p:nvSpPr>
        <p:spPr>
          <a:xfrm>
            <a:off x="5939109" y="1510457"/>
            <a:ext cx="6318250" cy="643890"/>
          </a:xfrm>
          <a:prstGeom prst="rect">
            <a:avLst/>
          </a:prstGeom>
        </p:spPr>
        <p:txBody>
          <a:bodyPr vert="horz" wrap="square" lIns="0" tIns="13335" rIns="0" bIns="0" rtlCol="0">
            <a:spAutoFit/>
          </a:bodyPr>
          <a:lstStyle/>
          <a:p>
            <a:pPr marL="12700">
              <a:lnSpc>
                <a:spcPct val="100000"/>
              </a:lnSpc>
              <a:spcBef>
                <a:spcPts val="105"/>
              </a:spcBef>
            </a:pPr>
            <a:r>
              <a:rPr sz="4050" b="1" dirty="0">
                <a:solidFill>
                  <a:srgbClr val="E3112B"/>
                </a:solidFill>
                <a:latin typeface="Roboto"/>
                <a:cs typeface="Roboto"/>
              </a:rPr>
              <a:t>Estrategia</a:t>
            </a:r>
            <a:r>
              <a:rPr sz="4050" b="1" spc="-90" dirty="0">
                <a:solidFill>
                  <a:srgbClr val="E3112B"/>
                </a:solidFill>
                <a:latin typeface="Roboto"/>
                <a:cs typeface="Roboto"/>
              </a:rPr>
              <a:t> </a:t>
            </a:r>
            <a:r>
              <a:rPr sz="4050" b="1" dirty="0">
                <a:solidFill>
                  <a:srgbClr val="E3112B"/>
                </a:solidFill>
                <a:latin typeface="Roboto"/>
                <a:cs typeface="Roboto"/>
              </a:rPr>
              <a:t>y</a:t>
            </a:r>
            <a:r>
              <a:rPr sz="4050" b="1" spc="-90" dirty="0">
                <a:solidFill>
                  <a:srgbClr val="E3112B"/>
                </a:solidFill>
                <a:latin typeface="Roboto"/>
                <a:cs typeface="Roboto"/>
              </a:rPr>
              <a:t> </a:t>
            </a:r>
            <a:r>
              <a:rPr sz="4050" b="1" dirty="0">
                <a:solidFill>
                  <a:srgbClr val="E3112B"/>
                </a:solidFill>
                <a:latin typeface="Roboto"/>
                <a:cs typeface="Roboto"/>
              </a:rPr>
              <a:t>acciones</a:t>
            </a:r>
            <a:r>
              <a:rPr sz="4050" b="1" spc="-90" dirty="0">
                <a:solidFill>
                  <a:srgbClr val="E3112B"/>
                </a:solidFill>
                <a:latin typeface="Roboto"/>
                <a:cs typeface="Roboto"/>
              </a:rPr>
              <a:t> </a:t>
            </a:r>
            <a:r>
              <a:rPr sz="4050" b="1" spc="-20" dirty="0">
                <a:solidFill>
                  <a:srgbClr val="E3112B"/>
                </a:solidFill>
                <a:latin typeface="Roboto"/>
                <a:cs typeface="Roboto"/>
              </a:rPr>
              <a:t>MICE</a:t>
            </a:r>
            <a:endParaRPr sz="4050">
              <a:latin typeface="Roboto"/>
              <a:cs typeface="Roboto"/>
            </a:endParaRPr>
          </a:p>
        </p:txBody>
      </p:sp>
      <p:grpSp>
        <p:nvGrpSpPr>
          <p:cNvPr id="15" name="object 15"/>
          <p:cNvGrpSpPr/>
          <p:nvPr/>
        </p:nvGrpSpPr>
        <p:grpSpPr>
          <a:xfrm>
            <a:off x="8132058" y="2480899"/>
            <a:ext cx="1858010" cy="1858010"/>
            <a:chOff x="8132058" y="2480899"/>
            <a:chExt cx="1858010" cy="1858010"/>
          </a:xfrm>
        </p:grpSpPr>
        <p:sp>
          <p:nvSpPr>
            <p:cNvPr id="16" name="object 16"/>
            <p:cNvSpPr/>
            <p:nvPr/>
          </p:nvSpPr>
          <p:spPr>
            <a:xfrm>
              <a:off x="8132058" y="2480899"/>
              <a:ext cx="1858010" cy="1858010"/>
            </a:xfrm>
            <a:custGeom>
              <a:avLst/>
              <a:gdLst/>
              <a:ahLst/>
              <a:cxnLst/>
              <a:rect l="l" t="t" r="r" b="b"/>
              <a:pathLst>
                <a:path w="1858009" h="1858010">
                  <a:moveTo>
                    <a:pt x="928917" y="1857797"/>
                  </a:moveTo>
                  <a:lnTo>
                    <a:pt x="881097" y="1856588"/>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7" y="1585729"/>
                  </a:lnTo>
                  <a:lnTo>
                    <a:pt x="241310" y="1553469"/>
                  </a:lnTo>
                  <a:lnTo>
                    <a:pt x="212115" y="1519764"/>
                  </a:lnTo>
                  <a:lnTo>
                    <a:pt x="184539" y="1484673"/>
                  </a:lnTo>
                  <a:lnTo>
                    <a:pt x="158641" y="1448254"/>
                  </a:lnTo>
                  <a:lnTo>
                    <a:pt x="134479" y="1410566"/>
                  </a:lnTo>
                  <a:lnTo>
                    <a:pt x="112112" y="1371667"/>
                  </a:lnTo>
                  <a:lnTo>
                    <a:pt x="91599" y="1331614"/>
                  </a:lnTo>
                  <a:lnTo>
                    <a:pt x="72997" y="1290468"/>
                  </a:lnTo>
                  <a:lnTo>
                    <a:pt x="56365" y="1248285"/>
                  </a:lnTo>
                  <a:lnTo>
                    <a:pt x="41761" y="1205124"/>
                  </a:lnTo>
                  <a:lnTo>
                    <a:pt x="29243" y="1161045"/>
                  </a:lnTo>
                  <a:lnTo>
                    <a:pt x="18871" y="1116104"/>
                  </a:lnTo>
                  <a:lnTo>
                    <a:pt x="10702" y="1070360"/>
                  </a:lnTo>
                  <a:lnTo>
                    <a:pt x="4795" y="1023873"/>
                  </a:lnTo>
                  <a:lnTo>
                    <a:pt x="1208" y="976699"/>
                  </a:lnTo>
                  <a:lnTo>
                    <a:pt x="0" y="928890"/>
                  </a:lnTo>
                  <a:lnTo>
                    <a:pt x="1208" y="881097"/>
                  </a:lnTo>
                  <a:lnTo>
                    <a:pt x="4795" y="833924"/>
                  </a:lnTo>
                  <a:lnTo>
                    <a:pt x="10702" y="787436"/>
                  </a:lnTo>
                  <a:lnTo>
                    <a:pt x="18871" y="741693"/>
                  </a:lnTo>
                  <a:lnTo>
                    <a:pt x="29243" y="696752"/>
                  </a:lnTo>
                  <a:lnTo>
                    <a:pt x="41761" y="652672"/>
                  </a:lnTo>
                  <a:lnTo>
                    <a:pt x="56365" y="609512"/>
                  </a:lnTo>
                  <a:lnTo>
                    <a:pt x="72997" y="567329"/>
                  </a:lnTo>
                  <a:lnTo>
                    <a:pt x="91599" y="526182"/>
                  </a:lnTo>
                  <a:lnTo>
                    <a:pt x="112112" y="486130"/>
                  </a:lnTo>
                  <a:lnTo>
                    <a:pt x="134479" y="447230"/>
                  </a:lnTo>
                  <a:lnTo>
                    <a:pt x="158641" y="409542"/>
                  </a:lnTo>
                  <a:lnTo>
                    <a:pt x="184539" y="373123"/>
                  </a:lnTo>
                  <a:lnTo>
                    <a:pt x="212115" y="338032"/>
                  </a:lnTo>
                  <a:lnTo>
                    <a:pt x="241310" y="304328"/>
                  </a:lnTo>
                  <a:lnTo>
                    <a:pt x="272067"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2" y="4795"/>
                  </a:lnTo>
                  <a:lnTo>
                    <a:pt x="1070360" y="10703"/>
                  </a:lnTo>
                  <a:lnTo>
                    <a:pt x="1116103" y="18871"/>
                  </a:lnTo>
                  <a:lnTo>
                    <a:pt x="1161044" y="29244"/>
                  </a:lnTo>
                  <a:lnTo>
                    <a:pt x="1205124" y="41761"/>
                  </a:lnTo>
                  <a:lnTo>
                    <a:pt x="1248285" y="56365"/>
                  </a:lnTo>
                  <a:lnTo>
                    <a:pt x="1290467" y="72997"/>
                  </a:lnTo>
                  <a:lnTo>
                    <a:pt x="1331614" y="91599"/>
                  </a:lnTo>
                  <a:lnTo>
                    <a:pt x="1371666" y="112113"/>
                  </a:lnTo>
                  <a:lnTo>
                    <a:pt x="1410566" y="134479"/>
                  </a:lnTo>
                  <a:lnTo>
                    <a:pt x="1448254" y="158641"/>
                  </a:lnTo>
                  <a:lnTo>
                    <a:pt x="1484673" y="184539"/>
                  </a:lnTo>
                  <a:lnTo>
                    <a:pt x="1519764" y="212115"/>
                  </a:lnTo>
                  <a:lnTo>
                    <a:pt x="1553469" y="241311"/>
                  </a:lnTo>
                  <a:lnTo>
                    <a:pt x="1585729" y="272068"/>
                  </a:lnTo>
                  <a:lnTo>
                    <a:pt x="1616486" y="304328"/>
                  </a:lnTo>
                  <a:lnTo>
                    <a:pt x="1645682" y="338032"/>
                  </a:lnTo>
                  <a:lnTo>
                    <a:pt x="1673258" y="373123"/>
                  </a:lnTo>
                  <a:lnTo>
                    <a:pt x="1699156" y="409542"/>
                  </a:lnTo>
                  <a:lnTo>
                    <a:pt x="1723317" y="447230"/>
                  </a:lnTo>
                  <a:lnTo>
                    <a:pt x="1745684" y="486130"/>
                  </a:lnTo>
                  <a:lnTo>
                    <a:pt x="1766197" y="526182"/>
                  </a:lnTo>
                  <a:lnTo>
                    <a:pt x="1784800" y="567329"/>
                  </a:lnTo>
                  <a:lnTo>
                    <a:pt x="1801432" y="609512"/>
                  </a:lnTo>
                  <a:lnTo>
                    <a:pt x="1816036" y="652672"/>
                  </a:lnTo>
                  <a:lnTo>
                    <a:pt x="1828553" y="696752"/>
                  </a:lnTo>
                  <a:lnTo>
                    <a:pt x="1838925" y="741693"/>
                  </a:lnTo>
                  <a:lnTo>
                    <a:pt x="1847094" y="787436"/>
                  </a:lnTo>
                  <a:lnTo>
                    <a:pt x="1853001" y="833924"/>
                  </a:lnTo>
                  <a:lnTo>
                    <a:pt x="1856588" y="881097"/>
                  </a:lnTo>
                  <a:lnTo>
                    <a:pt x="1857797" y="928898"/>
                  </a:lnTo>
                  <a:lnTo>
                    <a:pt x="1856588" y="976699"/>
                  </a:lnTo>
                  <a:lnTo>
                    <a:pt x="1853001" y="1023873"/>
                  </a:lnTo>
                  <a:lnTo>
                    <a:pt x="1847094" y="1070360"/>
                  </a:lnTo>
                  <a:lnTo>
                    <a:pt x="1838925" y="1116104"/>
                  </a:lnTo>
                  <a:lnTo>
                    <a:pt x="1828553" y="1161045"/>
                  </a:lnTo>
                  <a:lnTo>
                    <a:pt x="1816036" y="1205124"/>
                  </a:lnTo>
                  <a:lnTo>
                    <a:pt x="1801432" y="1248285"/>
                  </a:lnTo>
                  <a:lnTo>
                    <a:pt x="1784800" y="1290468"/>
                  </a:lnTo>
                  <a:lnTo>
                    <a:pt x="1766197" y="1331614"/>
                  </a:lnTo>
                  <a:lnTo>
                    <a:pt x="1745684" y="1371667"/>
                  </a:lnTo>
                  <a:lnTo>
                    <a:pt x="1723317" y="1410566"/>
                  </a:lnTo>
                  <a:lnTo>
                    <a:pt x="1699156" y="1448254"/>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6" y="1745684"/>
                  </a:lnTo>
                  <a:lnTo>
                    <a:pt x="1331614" y="1766198"/>
                  </a:lnTo>
                  <a:lnTo>
                    <a:pt x="1290467" y="1784800"/>
                  </a:lnTo>
                  <a:lnTo>
                    <a:pt x="1248285" y="1801432"/>
                  </a:lnTo>
                  <a:lnTo>
                    <a:pt x="1205124" y="1816036"/>
                  </a:lnTo>
                  <a:lnTo>
                    <a:pt x="1161044" y="1828553"/>
                  </a:lnTo>
                  <a:lnTo>
                    <a:pt x="1116103" y="1838925"/>
                  </a:lnTo>
                  <a:lnTo>
                    <a:pt x="1070360" y="1847094"/>
                  </a:lnTo>
                  <a:lnTo>
                    <a:pt x="1023872" y="1853001"/>
                  </a:lnTo>
                  <a:lnTo>
                    <a:pt x="976699" y="1856588"/>
                  </a:lnTo>
                  <a:lnTo>
                    <a:pt x="928917" y="1857797"/>
                  </a:lnTo>
                  <a:close/>
                </a:path>
              </a:pathLst>
            </a:custGeom>
            <a:solidFill>
              <a:srgbClr val="21408B"/>
            </a:solidFill>
          </p:spPr>
          <p:txBody>
            <a:bodyPr wrap="square" lIns="0" tIns="0" rIns="0" bIns="0" rtlCol="0"/>
            <a:lstStyle/>
            <a:p>
              <a:endParaRPr/>
            </a:p>
          </p:txBody>
        </p:sp>
        <p:sp>
          <p:nvSpPr>
            <p:cNvPr id="17" name="object 17"/>
            <p:cNvSpPr/>
            <p:nvPr/>
          </p:nvSpPr>
          <p:spPr>
            <a:xfrm>
              <a:off x="8500173" y="2851111"/>
              <a:ext cx="1115060" cy="1109980"/>
            </a:xfrm>
            <a:custGeom>
              <a:avLst/>
              <a:gdLst/>
              <a:ahLst/>
              <a:cxnLst/>
              <a:rect l="l" t="t" r="r" b="b"/>
              <a:pathLst>
                <a:path w="1115059" h="1109979">
                  <a:moveTo>
                    <a:pt x="712558" y="1074940"/>
                  </a:moveTo>
                  <a:lnTo>
                    <a:pt x="701903" y="1028255"/>
                  </a:lnTo>
                  <a:lnTo>
                    <a:pt x="677570" y="983157"/>
                  </a:lnTo>
                  <a:lnTo>
                    <a:pt x="642912" y="943559"/>
                  </a:lnTo>
                  <a:lnTo>
                    <a:pt x="601243" y="913345"/>
                  </a:lnTo>
                  <a:lnTo>
                    <a:pt x="555929" y="896442"/>
                  </a:lnTo>
                  <a:lnTo>
                    <a:pt x="544410" y="910094"/>
                  </a:lnTo>
                  <a:lnTo>
                    <a:pt x="533120" y="911860"/>
                  </a:lnTo>
                  <a:lnTo>
                    <a:pt x="521982" y="905700"/>
                  </a:lnTo>
                  <a:lnTo>
                    <a:pt x="510921" y="895553"/>
                  </a:lnTo>
                  <a:lnTo>
                    <a:pt x="467766" y="915936"/>
                  </a:lnTo>
                  <a:lnTo>
                    <a:pt x="430022" y="941705"/>
                  </a:lnTo>
                  <a:lnTo>
                    <a:pt x="398487" y="973810"/>
                  </a:lnTo>
                  <a:lnTo>
                    <a:pt x="373964" y="1013231"/>
                  </a:lnTo>
                  <a:lnTo>
                    <a:pt x="357225" y="1060907"/>
                  </a:lnTo>
                  <a:lnTo>
                    <a:pt x="338201" y="1005840"/>
                  </a:lnTo>
                  <a:lnTo>
                    <a:pt x="307708" y="962215"/>
                  </a:lnTo>
                  <a:lnTo>
                    <a:pt x="267703" y="928281"/>
                  </a:lnTo>
                  <a:lnTo>
                    <a:pt x="220167" y="902284"/>
                  </a:lnTo>
                  <a:lnTo>
                    <a:pt x="203060" y="899896"/>
                  </a:lnTo>
                  <a:lnTo>
                    <a:pt x="184226" y="902690"/>
                  </a:lnTo>
                  <a:lnTo>
                    <a:pt x="164795" y="904240"/>
                  </a:lnTo>
                  <a:lnTo>
                    <a:pt x="105549" y="917079"/>
                  </a:lnTo>
                  <a:lnTo>
                    <a:pt x="68148" y="947572"/>
                  </a:lnTo>
                  <a:lnTo>
                    <a:pt x="36677" y="985977"/>
                  </a:lnTo>
                  <a:lnTo>
                    <a:pt x="14122" y="1028649"/>
                  </a:lnTo>
                  <a:lnTo>
                    <a:pt x="3479" y="1071968"/>
                  </a:lnTo>
                  <a:lnTo>
                    <a:pt x="2781" y="1080020"/>
                  </a:lnTo>
                  <a:lnTo>
                    <a:pt x="0" y="1093101"/>
                  </a:lnTo>
                  <a:lnTo>
                    <a:pt x="8496" y="1094359"/>
                  </a:lnTo>
                  <a:lnTo>
                    <a:pt x="23710" y="1096162"/>
                  </a:lnTo>
                  <a:lnTo>
                    <a:pt x="39103" y="1097013"/>
                  </a:lnTo>
                  <a:lnTo>
                    <a:pt x="54444" y="1096645"/>
                  </a:lnTo>
                  <a:lnTo>
                    <a:pt x="69494" y="1094790"/>
                  </a:lnTo>
                  <a:lnTo>
                    <a:pt x="74650" y="1091006"/>
                  </a:lnTo>
                  <a:lnTo>
                    <a:pt x="75514" y="1083881"/>
                  </a:lnTo>
                  <a:lnTo>
                    <a:pt x="74764" y="1075359"/>
                  </a:lnTo>
                  <a:lnTo>
                    <a:pt x="75120" y="1067384"/>
                  </a:lnTo>
                  <a:lnTo>
                    <a:pt x="76581" y="1060894"/>
                  </a:lnTo>
                  <a:lnTo>
                    <a:pt x="78422" y="1054227"/>
                  </a:lnTo>
                  <a:lnTo>
                    <a:pt x="81699" y="1047457"/>
                  </a:lnTo>
                  <a:lnTo>
                    <a:pt x="87439" y="1040625"/>
                  </a:lnTo>
                  <a:lnTo>
                    <a:pt x="87782" y="1066444"/>
                  </a:lnTo>
                  <a:lnTo>
                    <a:pt x="87210" y="1073988"/>
                  </a:lnTo>
                  <a:lnTo>
                    <a:pt x="87388" y="1085786"/>
                  </a:lnTo>
                  <a:lnTo>
                    <a:pt x="91516" y="1092974"/>
                  </a:lnTo>
                  <a:lnTo>
                    <a:pt x="99453" y="1096327"/>
                  </a:lnTo>
                  <a:lnTo>
                    <a:pt x="111048" y="1096657"/>
                  </a:lnTo>
                  <a:lnTo>
                    <a:pt x="126796" y="1095984"/>
                  </a:lnTo>
                  <a:lnTo>
                    <a:pt x="142773" y="1095946"/>
                  </a:lnTo>
                  <a:lnTo>
                    <a:pt x="176072" y="1096314"/>
                  </a:lnTo>
                  <a:lnTo>
                    <a:pt x="161810" y="1058125"/>
                  </a:lnTo>
                  <a:lnTo>
                    <a:pt x="164160" y="1020991"/>
                  </a:lnTo>
                  <a:lnTo>
                    <a:pt x="173431" y="984427"/>
                  </a:lnTo>
                  <a:lnTo>
                    <a:pt x="179882" y="947928"/>
                  </a:lnTo>
                  <a:lnTo>
                    <a:pt x="187718" y="984008"/>
                  </a:lnTo>
                  <a:lnTo>
                    <a:pt x="197053" y="1019949"/>
                  </a:lnTo>
                  <a:lnTo>
                    <a:pt x="199669" y="1056284"/>
                  </a:lnTo>
                  <a:lnTo>
                    <a:pt x="187401" y="1093597"/>
                  </a:lnTo>
                  <a:lnTo>
                    <a:pt x="232625" y="1098765"/>
                  </a:lnTo>
                  <a:lnTo>
                    <a:pt x="257340" y="1094740"/>
                  </a:lnTo>
                  <a:lnTo>
                    <a:pt x="269176" y="1076934"/>
                  </a:lnTo>
                  <a:lnTo>
                    <a:pt x="275793" y="1040765"/>
                  </a:lnTo>
                  <a:lnTo>
                    <a:pt x="281266" y="1050429"/>
                  </a:lnTo>
                  <a:lnTo>
                    <a:pt x="284937" y="1059815"/>
                  </a:lnTo>
                  <a:lnTo>
                    <a:pt x="286791" y="1069098"/>
                  </a:lnTo>
                  <a:lnTo>
                    <a:pt x="286842" y="1078407"/>
                  </a:lnTo>
                  <a:lnTo>
                    <a:pt x="287197" y="1087704"/>
                  </a:lnTo>
                  <a:lnTo>
                    <a:pt x="290398" y="1093355"/>
                  </a:lnTo>
                  <a:lnTo>
                    <a:pt x="296532" y="1096086"/>
                  </a:lnTo>
                  <a:lnTo>
                    <a:pt x="305701" y="1096645"/>
                  </a:lnTo>
                  <a:lnTo>
                    <a:pt x="331533" y="1096111"/>
                  </a:lnTo>
                  <a:lnTo>
                    <a:pt x="357378" y="1095971"/>
                  </a:lnTo>
                  <a:lnTo>
                    <a:pt x="409054" y="1096581"/>
                  </a:lnTo>
                  <a:lnTo>
                    <a:pt x="417766" y="1096187"/>
                  </a:lnTo>
                  <a:lnTo>
                    <a:pt x="423926" y="1093851"/>
                  </a:lnTo>
                  <a:lnTo>
                    <a:pt x="427621" y="1088491"/>
                  </a:lnTo>
                  <a:lnTo>
                    <a:pt x="428967" y="1078992"/>
                  </a:lnTo>
                  <a:lnTo>
                    <a:pt x="429056" y="1069555"/>
                  </a:lnTo>
                  <a:lnTo>
                    <a:pt x="430212" y="1059649"/>
                  </a:lnTo>
                  <a:lnTo>
                    <a:pt x="434251" y="1050175"/>
                  </a:lnTo>
                  <a:lnTo>
                    <a:pt x="443014" y="1042060"/>
                  </a:lnTo>
                  <a:lnTo>
                    <a:pt x="443026" y="1096683"/>
                  </a:lnTo>
                  <a:lnTo>
                    <a:pt x="452691" y="1096264"/>
                  </a:lnTo>
                  <a:lnTo>
                    <a:pt x="471716" y="1096137"/>
                  </a:lnTo>
                  <a:lnTo>
                    <a:pt x="490677" y="1096594"/>
                  </a:lnTo>
                  <a:lnTo>
                    <a:pt x="509409" y="1096403"/>
                  </a:lnTo>
                  <a:lnTo>
                    <a:pt x="527723" y="1094282"/>
                  </a:lnTo>
                  <a:lnTo>
                    <a:pt x="516788" y="1052131"/>
                  </a:lnTo>
                  <a:lnTo>
                    <a:pt x="519976" y="1011453"/>
                  </a:lnTo>
                  <a:lnTo>
                    <a:pt x="528764" y="971537"/>
                  </a:lnTo>
                  <a:lnTo>
                    <a:pt x="534593" y="931697"/>
                  </a:lnTo>
                  <a:lnTo>
                    <a:pt x="537845" y="940650"/>
                  </a:lnTo>
                  <a:lnTo>
                    <a:pt x="540499" y="949566"/>
                  </a:lnTo>
                  <a:lnTo>
                    <a:pt x="542277" y="958443"/>
                  </a:lnTo>
                  <a:lnTo>
                    <a:pt x="542925" y="967320"/>
                  </a:lnTo>
                  <a:lnTo>
                    <a:pt x="547103" y="999312"/>
                  </a:lnTo>
                  <a:lnTo>
                    <a:pt x="553707" y="1031481"/>
                  </a:lnTo>
                  <a:lnTo>
                    <a:pt x="553580" y="1063815"/>
                  </a:lnTo>
                  <a:lnTo>
                    <a:pt x="537565" y="1096340"/>
                  </a:lnTo>
                  <a:lnTo>
                    <a:pt x="571563" y="1096340"/>
                  </a:lnTo>
                  <a:lnTo>
                    <a:pt x="603440" y="1095514"/>
                  </a:lnTo>
                  <a:lnTo>
                    <a:pt x="620128" y="1089761"/>
                  </a:lnTo>
                  <a:lnTo>
                    <a:pt x="627087" y="1074115"/>
                  </a:lnTo>
                  <a:lnTo>
                    <a:pt x="629767" y="1043647"/>
                  </a:lnTo>
                  <a:lnTo>
                    <a:pt x="635088" y="1048931"/>
                  </a:lnTo>
                  <a:lnTo>
                    <a:pt x="638390" y="1054989"/>
                  </a:lnTo>
                  <a:lnTo>
                    <a:pt x="639838" y="1061516"/>
                  </a:lnTo>
                  <a:lnTo>
                    <a:pt x="639572" y="1068158"/>
                  </a:lnTo>
                  <a:lnTo>
                    <a:pt x="639584" y="1084427"/>
                  </a:lnTo>
                  <a:lnTo>
                    <a:pt x="645617" y="1093546"/>
                  </a:lnTo>
                  <a:lnTo>
                    <a:pt x="656577" y="1097064"/>
                  </a:lnTo>
                  <a:lnTo>
                    <a:pt x="671372" y="1096505"/>
                  </a:lnTo>
                  <a:lnTo>
                    <a:pt x="677799" y="1095667"/>
                  </a:lnTo>
                  <a:lnTo>
                    <a:pt x="684491" y="1095641"/>
                  </a:lnTo>
                  <a:lnTo>
                    <a:pt x="690905" y="1096505"/>
                  </a:lnTo>
                  <a:lnTo>
                    <a:pt x="701700" y="1096594"/>
                  </a:lnTo>
                  <a:lnTo>
                    <a:pt x="708571" y="1093152"/>
                  </a:lnTo>
                  <a:lnTo>
                    <a:pt x="712025" y="1085989"/>
                  </a:lnTo>
                  <a:lnTo>
                    <a:pt x="712558" y="1074940"/>
                  </a:lnTo>
                  <a:close/>
                </a:path>
                <a:path w="1115059" h="1109979">
                  <a:moveTo>
                    <a:pt x="1114513" y="494906"/>
                  </a:moveTo>
                  <a:lnTo>
                    <a:pt x="1111897" y="443407"/>
                  </a:lnTo>
                  <a:lnTo>
                    <a:pt x="1096276" y="390410"/>
                  </a:lnTo>
                  <a:lnTo>
                    <a:pt x="1070203" y="346138"/>
                  </a:lnTo>
                  <a:lnTo>
                    <a:pt x="1035545" y="309016"/>
                  </a:lnTo>
                  <a:lnTo>
                    <a:pt x="1025880" y="301663"/>
                  </a:lnTo>
                  <a:lnTo>
                    <a:pt x="1025880" y="480161"/>
                  </a:lnTo>
                  <a:lnTo>
                    <a:pt x="1021473" y="507936"/>
                  </a:lnTo>
                  <a:lnTo>
                    <a:pt x="1011174" y="535139"/>
                  </a:lnTo>
                  <a:lnTo>
                    <a:pt x="1011174" y="493560"/>
                  </a:lnTo>
                  <a:lnTo>
                    <a:pt x="1011174" y="420395"/>
                  </a:lnTo>
                  <a:lnTo>
                    <a:pt x="1022934" y="451192"/>
                  </a:lnTo>
                  <a:lnTo>
                    <a:pt x="1025880" y="480161"/>
                  </a:lnTo>
                  <a:lnTo>
                    <a:pt x="1025880" y="301663"/>
                  </a:lnTo>
                  <a:lnTo>
                    <a:pt x="1002639" y="283959"/>
                  </a:lnTo>
                  <a:lnTo>
                    <a:pt x="994168" y="277520"/>
                  </a:lnTo>
                  <a:lnTo>
                    <a:pt x="978039" y="267944"/>
                  </a:lnTo>
                  <a:lnTo>
                    <a:pt x="974115" y="265607"/>
                  </a:lnTo>
                  <a:lnTo>
                    <a:pt x="947966" y="250088"/>
                  </a:lnTo>
                  <a:lnTo>
                    <a:pt x="936180" y="244830"/>
                  </a:lnTo>
                  <a:lnTo>
                    <a:pt x="925106" y="243128"/>
                  </a:lnTo>
                  <a:lnTo>
                    <a:pt x="919657" y="244932"/>
                  </a:lnTo>
                  <a:lnTo>
                    <a:pt x="919657" y="447903"/>
                  </a:lnTo>
                  <a:lnTo>
                    <a:pt x="915111" y="464781"/>
                  </a:lnTo>
                  <a:lnTo>
                    <a:pt x="906145" y="479742"/>
                  </a:lnTo>
                  <a:lnTo>
                    <a:pt x="893876" y="493560"/>
                  </a:lnTo>
                  <a:lnTo>
                    <a:pt x="880046" y="478967"/>
                  </a:lnTo>
                  <a:lnTo>
                    <a:pt x="871093" y="462826"/>
                  </a:lnTo>
                  <a:lnTo>
                    <a:pt x="867371" y="444538"/>
                  </a:lnTo>
                  <a:lnTo>
                    <a:pt x="869226" y="423532"/>
                  </a:lnTo>
                  <a:lnTo>
                    <a:pt x="875766" y="389077"/>
                  </a:lnTo>
                  <a:lnTo>
                    <a:pt x="880999" y="356108"/>
                  </a:lnTo>
                  <a:lnTo>
                    <a:pt x="881202" y="354888"/>
                  </a:lnTo>
                  <a:lnTo>
                    <a:pt x="883069" y="342074"/>
                  </a:lnTo>
                  <a:lnTo>
                    <a:pt x="886053" y="321513"/>
                  </a:lnTo>
                  <a:lnTo>
                    <a:pt x="891489" y="284886"/>
                  </a:lnTo>
                  <a:lnTo>
                    <a:pt x="895451" y="283959"/>
                  </a:lnTo>
                  <a:lnTo>
                    <a:pt x="900887" y="319620"/>
                  </a:lnTo>
                  <a:lnTo>
                    <a:pt x="905802" y="352475"/>
                  </a:lnTo>
                  <a:lnTo>
                    <a:pt x="912126" y="392353"/>
                  </a:lnTo>
                  <a:lnTo>
                    <a:pt x="918641" y="428294"/>
                  </a:lnTo>
                  <a:lnTo>
                    <a:pt x="919657" y="447903"/>
                  </a:lnTo>
                  <a:lnTo>
                    <a:pt x="919657" y="244932"/>
                  </a:lnTo>
                  <a:lnTo>
                    <a:pt x="914806" y="246519"/>
                  </a:lnTo>
                  <a:lnTo>
                    <a:pt x="905383" y="256527"/>
                  </a:lnTo>
                  <a:lnTo>
                    <a:pt x="899985" y="262940"/>
                  </a:lnTo>
                  <a:lnTo>
                    <a:pt x="894283" y="265607"/>
                  </a:lnTo>
                  <a:lnTo>
                    <a:pt x="888403" y="263918"/>
                  </a:lnTo>
                  <a:lnTo>
                    <a:pt x="882459" y="257251"/>
                  </a:lnTo>
                  <a:lnTo>
                    <a:pt x="872705" y="246532"/>
                  </a:lnTo>
                  <a:lnTo>
                    <a:pt x="861961" y="242722"/>
                  </a:lnTo>
                  <a:lnTo>
                    <a:pt x="850303" y="244449"/>
                  </a:lnTo>
                  <a:lnTo>
                    <a:pt x="837819" y="250393"/>
                  </a:lnTo>
                  <a:lnTo>
                    <a:pt x="831126" y="254025"/>
                  </a:lnTo>
                  <a:lnTo>
                    <a:pt x="824230" y="257238"/>
                  </a:lnTo>
                  <a:lnTo>
                    <a:pt x="817130" y="260210"/>
                  </a:lnTo>
                  <a:lnTo>
                    <a:pt x="810018" y="263017"/>
                  </a:lnTo>
                  <a:lnTo>
                    <a:pt x="771969" y="267944"/>
                  </a:lnTo>
                  <a:lnTo>
                    <a:pt x="737793" y="255371"/>
                  </a:lnTo>
                  <a:lnTo>
                    <a:pt x="713155" y="229057"/>
                  </a:lnTo>
                  <a:lnTo>
                    <a:pt x="703681" y="192760"/>
                  </a:lnTo>
                  <a:lnTo>
                    <a:pt x="703491" y="168275"/>
                  </a:lnTo>
                  <a:lnTo>
                    <a:pt x="703224" y="144297"/>
                  </a:lnTo>
                  <a:lnTo>
                    <a:pt x="703199" y="111391"/>
                  </a:lnTo>
                  <a:lnTo>
                    <a:pt x="704088" y="84328"/>
                  </a:lnTo>
                  <a:lnTo>
                    <a:pt x="702729" y="57010"/>
                  </a:lnTo>
                  <a:lnTo>
                    <a:pt x="698322" y="43853"/>
                  </a:lnTo>
                  <a:lnTo>
                    <a:pt x="698169" y="43408"/>
                  </a:lnTo>
                  <a:lnTo>
                    <a:pt x="694931" y="33718"/>
                  </a:lnTo>
                  <a:lnTo>
                    <a:pt x="679856" y="14643"/>
                  </a:lnTo>
                  <a:lnTo>
                    <a:pt x="662305" y="3568"/>
                  </a:lnTo>
                  <a:lnTo>
                    <a:pt x="662305" y="333159"/>
                  </a:lnTo>
                  <a:lnTo>
                    <a:pt x="661987" y="373875"/>
                  </a:lnTo>
                  <a:lnTo>
                    <a:pt x="661911" y="392353"/>
                  </a:lnTo>
                  <a:lnTo>
                    <a:pt x="661873" y="564095"/>
                  </a:lnTo>
                  <a:lnTo>
                    <a:pt x="660476" y="583171"/>
                  </a:lnTo>
                  <a:lnTo>
                    <a:pt x="655040" y="594461"/>
                  </a:lnTo>
                  <a:lnTo>
                    <a:pt x="643648" y="599859"/>
                  </a:lnTo>
                  <a:lnTo>
                    <a:pt x="624357" y="601230"/>
                  </a:lnTo>
                  <a:lnTo>
                    <a:pt x="451624" y="601294"/>
                  </a:lnTo>
                  <a:lnTo>
                    <a:pt x="90627" y="601230"/>
                  </a:lnTo>
                  <a:lnTo>
                    <a:pt x="54876" y="582599"/>
                  </a:lnTo>
                  <a:lnTo>
                    <a:pt x="53378" y="263918"/>
                  </a:lnTo>
                  <a:lnTo>
                    <a:pt x="53251" y="156286"/>
                  </a:lnTo>
                  <a:lnTo>
                    <a:pt x="53022" y="79451"/>
                  </a:lnTo>
                  <a:lnTo>
                    <a:pt x="71970" y="45351"/>
                  </a:lnTo>
                  <a:lnTo>
                    <a:pt x="88976" y="43408"/>
                  </a:lnTo>
                  <a:lnTo>
                    <a:pt x="332841" y="43903"/>
                  </a:lnTo>
                  <a:lnTo>
                    <a:pt x="527939" y="43853"/>
                  </a:lnTo>
                  <a:lnTo>
                    <a:pt x="625487" y="43878"/>
                  </a:lnTo>
                  <a:lnTo>
                    <a:pt x="660819" y="61125"/>
                  </a:lnTo>
                  <a:lnTo>
                    <a:pt x="661949" y="96939"/>
                  </a:lnTo>
                  <a:lnTo>
                    <a:pt x="661949" y="166687"/>
                  </a:lnTo>
                  <a:lnTo>
                    <a:pt x="656005" y="168275"/>
                  </a:lnTo>
                  <a:lnTo>
                    <a:pt x="649211" y="156286"/>
                  </a:lnTo>
                  <a:lnTo>
                    <a:pt x="642454" y="144297"/>
                  </a:lnTo>
                  <a:lnTo>
                    <a:pt x="635609" y="132359"/>
                  </a:lnTo>
                  <a:lnTo>
                    <a:pt x="628548" y="120561"/>
                  </a:lnTo>
                  <a:lnTo>
                    <a:pt x="615746" y="105422"/>
                  </a:lnTo>
                  <a:lnTo>
                    <a:pt x="600608" y="96939"/>
                  </a:lnTo>
                  <a:lnTo>
                    <a:pt x="583996" y="95288"/>
                  </a:lnTo>
                  <a:lnTo>
                    <a:pt x="566712" y="100647"/>
                  </a:lnTo>
                  <a:lnTo>
                    <a:pt x="553072" y="111531"/>
                  </a:lnTo>
                  <a:lnTo>
                    <a:pt x="545503" y="126365"/>
                  </a:lnTo>
                  <a:lnTo>
                    <a:pt x="544537" y="143929"/>
                  </a:lnTo>
                  <a:lnTo>
                    <a:pt x="550722" y="163004"/>
                  </a:lnTo>
                  <a:lnTo>
                    <a:pt x="570280" y="198297"/>
                  </a:lnTo>
                  <a:lnTo>
                    <a:pt x="592289" y="231889"/>
                  </a:lnTo>
                  <a:lnTo>
                    <a:pt x="617156" y="263398"/>
                  </a:lnTo>
                  <a:lnTo>
                    <a:pt x="645312" y="292417"/>
                  </a:lnTo>
                  <a:lnTo>
                    <a:pt x="653364" y="301371"/>
                  </a:lnTo>
                  <a:lnTo>
                    <a:pt x="658660" y="310832"/>
                  </a:lnTo>
                  <a:lnTo>
                    <a:pt x="661517" y="321284"/>
                  </a:lnTo>
                  <a:lnTo>
                    <a:pt x="662305" y="333159"/>
                  </a:lnTo>
                  <a:lnTo>
                    <a:pt x="662305" y="3568"/>
                  </a:lnTo>
                  <a:lnTo>
                    <a:pt x="656666" y="0"/>
                  </a:lnTo>
                  <a:lnTo>
                    <a:pt x="58039" y="0"/>
                  </a:lnTo>
                  <a:lnTo>
                    <a:pt x="35648" y="15036"/>
                  </a:lnTo>
                  <a:lnTo>
                    <a:pt x="21285" y="34150"/>
                  </a:lnTo>
                  <a:lnTo>
                    <a:pt x="13703" y="57404"/>
                  </a:lnTo>
                  <a:lnTo>
                    <a:pt x="11722" y="84328"/>
                  </a:lnTo>
                  <a:lnTo>
                    <a:pt x="11836" y="100647"/>
                  </a:lnTo>
                  <a:lnTo>
                    <a:pt x="12242" y="144297"/>
                  </a:lnTo>
                  <a:lnTo>
                    <a:pt x="12560" y="198297"/>
                  </a:lnTo>
                  <a:lnTo>
                    <a:pt x="12674" y="231889"/>
                  </a:lnTo>
                  <a:lnTo>
                    <a:pt x="12560" y="482714"/>
                  </a:lnTo>
                  <a:lnTo>
                    <a:pt x="12496" y="566547"/>
                  </a:lnTo>
                  <a:lnTo>
                    <a:pt x="16510" y="601637"/>
                  </a:lnTo>
                  <a:lnTo>
                    <a:pt x="29502" y="625005"/>
                  </a:lnTo>
                  <a:lnTo>
                    <a:pt x="52870" y="638035"/>
                  </a:lnTo>
                  <a:lnTo>
                    <a:pt x="88087" y="642099"/>
                  </a:lnTo>
                  <a:lnTo>
                    <a:pt x="333400" y="642239"/>
                  </a:lnTo>
                  <a:lnTo>
                    <a:pt x="627773" y="642099"/>
                  </a:lnTo>
                  <a:lnTo>
                    <a:pt x="662559" y="637933"/>
                  </a:lnTo>
                  <a:lnTo>
                    <a:pt x="685939" y="624713"/>
                  </a:lnTo>
                  <a:lnTo>
                    <a:pt x="699096" y="601319"/>
                  </a:lnTo>
                  <a:lnTo>
                    <a:pt x="699198" y="601154"/>
                  </a:lnTo>
                  <a:lnTo>
                    <a:pt x="703567" y="565988"/>
                  </a:lnTo>
                  <a:lnTo>
                    <a:pt x="703668" y="543890"/>
                  </a:lnTo>
                  <a:lnTo>
                    <a:pt x="703757" y="389077"/>
                  </a:lnTo>
                  <a:lnTo>
                    <a:pt x="703021" y="377786"/>
                  </a:lnTo>
                  <a:lnTo>
                    <a:pt x="701878" y="364756"/>
                  </a:lnTo>
                  <a:lnTo>
                    <a:pt x="702678" y="352793"/>
                  </a:lnTo>
                  <a:lnTo>
                    <a:pt x="707682" y="343141"/>
                  </a:lnTo>
                  <a:lnTo>
                    <a:pt x="714451" y="342074"/>
                  </a:lnTo>
                  <a:lnTo>
                    <a:pt x="725462" y="345109"/>
                  </a:lnTo>
                  <a:lnTo>
                    <a:pt x="738289" y="349910"/>
                  </a:lnTo>
                  <a:lnTo>
                    <a:pt x="750531" y="354126"/>
                  </a:lnTo>
                  <a:lnTo>
                    <a:pt x="753186" y="354888"/>
                  </a:lnTo>
                  <a:lnTo>
                    <a:pt x="755992" y="356362"/>
                  </a:lnTo>
                  <a:lnTo>
                    <a:pt x="758571" y="356108"/>
                  </a:lnTo>
                  <a:lnTo>
                    <a:pt x="776325" y="420395"/>
                  </a:lnTo>
                  <a:lnTo>
                    <a:pt x="776909" y="482714"/>
                  </a:lnTo>
                  <a:lnTo>
                    <a:pt x="777595" y="537146"/>
                  </a:lnTo>
                  <a:lnTo>
                    <a:pt x="778687" y="590677"/>
                  </a:lnTo>
                  <a:lnTo>
                    <a:pt x="782091" y="696455"/>
                  </a:lnTo>
                  <a:lnTo>
                    <a:pt x="782942" y="746887"/>
                  </a:lnTo>
                  <a:lnTo>
                    <a:pt x="783234" y="797344"/>
                  </a:lnTo>
                  <a:lnTo>
                    <a:pt x="783120" y="847801"/>
                  </a:lnTo>
                  <a:lnTo>
                    <a:pt x="782777" y="898283"/>
                  </a:lnTo>
                  <a:lnTo>
                    <a:pt x="782383" y="948753"/>
                  </a:lnTo>
                  <a:lnTo>
                    <a:pt x="782091" y="999236"/>
                  </a:lnTo>
                  <a:lnTo>
                    <a:pt x="782091" y="1049693"/>
                  </a:lnTo>
                  <a:lnTo>
                    <a:pt x="785317" y="1074864"/>
                  </a:lnTo>
                  <a:lnTo>
                    <a:pt x="794588" y="1093203"/>
                  </a:lnTo>
                  <a:lnTo>
                    <a:pt x="809586" y="1104747"/>
                  </a:lnTo>
                  <a:lnTo>
                    <a:pt x="830033" y="1109535"/>
                  </a:lnTo>
                  <a:lnTo>
                    <a:pt x="851763" y="1107528"/>
                  </a:lnTo>
                  <a:lnTo>
                    <a:pt x="868400" y="1098461"/>
                  </a:lnTo>
                  <a:lnTo>
                    <a:pt x="880059" y="1082192"/>
                  </a:lnTo>
                  <a:lnTo>
                    <a:pt x="886853" y="1058837"/>
                  </a:lnTo>
                  <a:lnTo>
                    <a:pt x="886968" y="693724"/>
                  </a:lnTo>
                  <a:lnTo>
                    <a:pt x="895337" y="693623"/>
                  </a:lnTo>
                  <a:lnTo>
                    <a:pt x="895337" y="1058837"/>
                  </a:lnTo>
                  <a:lnTo>
                    <a:pt x="899109" y="1077366"/>
                  </a:lnTo>
                  <a:lnTo>
                    <a:pt x="907173" y="1092301"/>
                  </a:lnTo>
                  <a:lnTo>
                    <a:pt x="920051" y="1103007"/>
                  </a:lnTo>
                  <a:lnTo>
                    <a:pt x="938237" y="1108862"/>
                  </a:lnTo>
                  <a:lnTo>
                    <a:pt x="963510" y="1108202"/>
                  </a:lnTo>
                  <a:lnTo>
                    <a:pt x="994778" y="1079144"/>
                  </a:lnTo>
                  <a:lnTo>
                    <a:pt x="999185" y="1004265"/>
                  </a:lnTo>
                  <a:lnTo>
                    <a:pt x="999236" y="956297"/>
                  </a:lnTo>
                  <a:lnTo>
                    <a:pt x="999337" y="693623"/>
                  </a:lnTo>
                  <a:lnTo>
                    <a:pt x="999375" y="668464"/>
                  </a:lnTo>
                  <a:lnTo>
                    <a:pt x="999007" y="662622"/>
                  </a:lnTo>
                  <a:lnTo>
                    <a:pt x="998664" y="656551"/>
                  </a:lnTo>
                  <a:lnTo>
                    <a:pt x="999578" y="650290"/>
                  </a:lnTo>
                  <a:lnTo>
                    <a:pt x="1002944" y="643902"/>
                  </a:lnTo>
                  <a:lnTo>
                    <a:pt x="1020279" y="651141"/>
                  </a:lnTo>
                  <a:lnTo>
                    <a:pt x="1037285" y="653084"/>
                  </a:lnTo>
                  <a:lnTo>
                    <a:pt x="1088783" y="590677"/>
                  </a:lnTo>
                  <a:lnTo>
                    <a:pt x="1106068" y="543890"/>
                  </a:lnTo>
                  <a:lnTo>
                    <a:pt x="1107579" y="535139"/>
                  </a:lnTo>
                  <a:lnTo>
                    <a:pt x="1114513" y="494906"/>
                  </a:lnTo>
                  <a:close/>
                </a:path>
              </a:pathLst>
            </a:custGeom>
            <a:solidFill>
              <a:srgbClr val="FFFFFF"/>
            </a:solidFill>
          </p:spPr>
          <p:txBody>
            <a:bodyPr wrap="square" lIns="0" tIns="0" rIns="0" bIns="0" rtlCol="0"/>
            <a:lstStyle/>
            <a:p>
              <a:endParaRPr/>
            </a:p>
          </p:txBody>
        </p:sp>
        <p:pic>
          <p:nvPicPr>
            <p:cNvPr id="18" name="object 18"/>
            <p:cNvPicPr/>
            <p:nvPr/>
          </p:nvPicPr>
          <p:blipFill>
            <a:blip r:embed="rId2" cstate="print"/>
            <a:stretch>
              <a:fillRect/>
            </a:stretch>
          </p:blipFill>
          <p:spPr>
            <a:xfrm>
              <a:off x="9279626" y="2856407"/>
              <a:ext cx="229089" cy="228051"/>
            </a:xfrm>
            <a:prstGeom prst="rect">
              <a:avLst/>
            </a:prstGeom>
          </p:spPr>
        </p:pic>
        <p:pic>
          <p:nvPicPr>
            <p:cNvPr id="19" name="object 19"/>
            <p:cNvPicPr/>
            <p:nvPr/>
          </p:nvPicPr>
          <p:blipFill>
            <a:blip r:embed="rId3" cstate="print"/>
            <a:stretch>
              <a:fillRect/>
            </a:stretch>
          </p:blipFill>
          <p:spPr>
            <a:xfrm>
              <a:off x="8591025" y="3558887"/>
              <a:ext cx="179808" cy="180120"/>
            </a:xfrm>
            <a:prstGeom prst="rect">
              <a:avLst/>
            </a:prstGeom>
          </p:spPr>
        </p:pic>
        <p:pic>
          <p:nvPicPr>
            <p:cNvPr id="20" name="object 20"/>
            <p:cNvPicPr/>
            <p:nvPr/>
          </p:nvPicPr>
          <p:blipFill>
            <a:blip r:embed="rId4" cstate="print"/>
            <a:stretch>
              <a:fillRect/>
            </a:stretch>
          </p:blipFill>
          <p:spPr>
            <a:xfrm>
              <a:off x="8946121" y="3558797"/>
              <a:ext cx="178235" cy="204160"/>
            </a:xfrm>
            <a:prstGeom prst="rect">
              <a:avLst/>
            </a:prstGeom>
          </p:spPr>
        </p:pic>
        <p:sp>
          <p:nvSpPr>
            <p:cNvPr id="21" name="object 21"/>
            <p:cNvSpPr/>
            <p:nvPr/>
          </p:nvSpPr>
          <p:spPr>
            <a:xfrm>
              <a:off x="8688273" y="3004781"/>
              <a:ext cx="838200" cy="381635"/>
            </a:xfrm>
            <a:custGeom>
              <a:avLst/>
              <a:gdLst/>
              <a:ahLst/>
              <a:cxnLst/>
              <a:rect l="l" t="t" r="r" b="b"/>
              <a:pathLst>
                <a:path w="838200" h="381635">
                  <a:moveTo>
                    <a:pt x="338645" y="205536"/>
                  </a:moveTo>
                  <a:lnTo>
                    <a:pt x="334137" y="196443"/>
                  </a:lnTo>
                  <a:lnTo>
                    <a:pt x="323684" y="188569"/>
                  </a:lnTo>
                  <a:lnTo>
                    <a:pt x="310718" y="177203"/>
                  </a:lnTo>
                  <a:lnTo>
                    <a:pt x="305650" y="162763"/>
                  </a:lnTo>
                  <a:lnTo>
                    <a:pt x="308711" y="148196"/>
                  </a:lnTo>
                  <a:lnTo>
                    <a:pt x="320128" y="136436"/>
                  </a:lnTo>
                  <a:lnTo>
                    <a:pt x="330835" y="127127"/>
                  </a:lnTo>
                  <a:lnTo>
                    <a:pt x="334581" y="116941"/>
                  </a:lnTo>
                  <a:lnTo>
                    <a:pt x="333286" y="105829"/>
                  </a:lnTo>
                  <a:lnTo>
                    <a:pt x="328879" y="93776"/>
                  </a:lnTo>
                  <a:lnTo>
                    <a:pt x="322732" y="82778"/>
                  </a:lnTo>
                  <a:lnTo>
                    <a:pt x="321017" y="81241"/>
                  </a:lnTo>
                  <a:lnTo>
                    <a:pt x="314883" y="75742"/>
                  </a:lnTo>
                  <a:lnTo>
                    <a:pt x="312915" y="75196"/>
                  </a:lnTo>
                  <a:lnTo>
                    <a:pt x="304800" y="72948"/>
                  </a:lnTo>
                  <a:lnTo>
                    <a:pt x="291973" y="74688"/>
                  </a:lnTo>
                  <a:lnTo>
                    <a:pt x="275247" y="75196"/>
                  </a:lnTo>
                  <a:lnTo>
                    <a:pt x="261950" y="67945"/>
                  </a:lnTo>
                  <a:lnTo>
                    <a:pt x="255955" y="57848"/>
                  </a:lnTo>
                  <a:lnTo>
                    <a:pt x="255955" y="168643"/>
                  </a:lnTo>
                  <a:lnTo>
                    <a:pt x="249072" y="202171"/>
                  </a:lnTo>
                  <a:lnTo>
                    <a:pt x="230479" y="229069"/>
                  </a:lnTo>
                  <a:lnTo>
                    <a:pt x="202704" y="246900"/>
                  </a:lnTo>
                  <a:lnTo>
                    <a:pt x="168224" y="253276"/>
                  </a:lnTo>
                  <a:lnTo>
                    <a:pt x="135115" y="246494"/>
                  </a:lnTo>
                  <a:lnTo>
                    <a:pt x="108026" y="228333"/>
                  </a:lnTo>
                  <a:lnTo>
                    <a:pt x="89687" y="201510"/>
                  </a:lnTo>
                  <a:lnTo>
                    <a:pt x="82854" y="168757"/>
                  </a:lnTo>
                  <a:lnTo>
                    <a:pt x="89725" y="135407"/>
                  </a:lnTo>
                  <a:lnTo>
                    <a:pt x="108546" y="107619"/>
                  </a:lnTo>
                  <a:lnTo>
                    <a:pt x="136220" y="88519"/>
                  </a:lnTo>
                  <a:lnTo>
                    <a:pt x="155181" y="84391"/>
                  </a:lnTo>
                  <a:lnTo>
                    <a:pt x="169633" y="81241"/>
                  </a:lnTo>
                  <a:lnTo>
                    <a:pt x="202704" y="88099"/>
                  </a:lnTo>
                  <a:lnTo>
                    <a:pt x="230263" y="107137"/>
                  </a:lnTo>
                  <a:lnTo>
                    <a:pt x="249085" y="135077"/>
                  </a:lnTo>
                  <a:lnTo>
                    <a:pt x="255955" y="168643"/>
                  </a:lnTo>
                  <a:lnTo>
                    <a:pt x="255955" y="57848"/>
                  </a:lnTo>
                  <a:lnTo>
                    <a:pt x="254241" y="54952"/>
                  </a:lnTo>
                  <a:lnTo>
                    <a:pt x="254279" y="38252"/>
                  </a:lnTo>
                  <a:lnTo>
                    <a:pt x="254825" y="31788"/>
                  </a:lnTo>
                  <a:lnTo>
                    <a:pt x="255346" y="25781"/>
                  </a:lnTo>
                  <a:lnTo>
                    <a:pt x="251650" y="16751"/>
                  </a:lnTo>
                  <a:lnTo>
                    <a:pt x="244119" y="10223"/>
                  </a:lnTo>
                  <a:lnTo>
                    <a:pt x="233705" y="5283"/>
                  </a:lnTo>
                  <a:lnTo>
                    <a:pt x="221500" y="1231"/>
                  </a:lnTo>
                  <a:lnTo>
                    <a:pt x="209981" y="0"/>
                  </a:lnTo>
                  <a:lnTo>
                    <a:pt x="199428" y="3594"/>
                  </a:lnTo>
                  <a:lnTo>
                    <a:pt x="190157" y="14020"/>
                  </a:lnTo>
                  <a:lnTo>
                    <a:pt x="178130" y="27063"/>
                  </a:lnTo>
                  <a:lnTo>
                    <a:pt x="163677" y="31788"/>
                  </a:lnTo>
                  <a:lnTo>
                    <a:pt x="148983" y="27990"/>
                  </a:lnTo>
                  <a:lnTo>
                    <a:pt x="136245" y="15481"/>
                  </a:lnTo>
                  <a:lnTo>
                    <a:pt x="126860" y="5638"/>
                  </a:lnTo>
                  <a:lnTo>
                    <a:pt x="116916" y="2705"/>
                  </a:lnTo>
                  <a:lnTo>
                    <a:pt x="76949" y="21996"/>
                  </a:lnTo>
                  <a:lnTo>
                    <a:pt x="73279" y="31508"/>
                  </a:lnTo>
                  <a:lnTo>
                    <a:pt x="75717" y="45085"/>
                  </a:lnTo>
                  <a:lnTo>
                    <a:pt x="77012" y="61696"/>
                  </a:lnTo>
                  <a:lnTo>
                    <a:pt x="69557" y="75526"/>
                  </a:lnTo>
                  <a:lnTo>
                    <a:pt x="55854" y="83959"/>
                  </a:lnTo>
                  <a:lnTo>
                    <a:pt x="38392" y="84391"/>
                  </a:lnTo>
                  <a:lnTo>
                    <a:pt x="24790" y="83693"/>
                  </a:lnTo>
                  <a:lnTo>
                    <a:pt x="15570" y="88353"/>
                  </a:lnTo>
                  <a:lnTo>
                    <a:pt x="9283" y="96875"/>
                  </a:lnTo>
                  <a:lnTo>
                    <a:pt x="4495" y="107746"/>
                  </a:lnTo>
                  <a:lnTo>
                    <a:pt x="711" y="119570"/>
                  </a:lnTo>
                  <a:lnTo>
                    <a:pt x="0" y="130581"/>
                  </a:lnTo>
                  <a:lnTo>
                    <a:pt x="4343" y="139903"/>
                  </a:lnTo>
                  <a:lnTo>
                    <a:pt x="15697" y="146685"/>
                  </a:lnTo>
                  <a:lnTo>
                    <a:pt x="24765" y="151015"/>
                  </a:lnTo>
                  <a:lnTo>
                    <a:pt x="30213" y="156883"/>
                  </a:lnTo>
                  <a:lnTo>
                    <a:pt x="32219" y="164617"/>
                  </a:lnTo>
                  <a:lnTo>
                    <a:pt x="30975" y="174574"/>
                  </a:lnTo>
                  <a:lnTo>
                    <a:pt x="32626" y="183222"/>
                  </a:lnTo>
                  <a:lnTo>
                    <a:pt x="31140" y="190550"/>
                  </a:lnTo>
                  <a:lnTo>
                    <a:pt x="26212" y="196659"/>
                  </a:lnTo>
                  <a:lnTo>
                    <a:pt x="17538" y="201650"/>
                  </a:lnTo>
                  <a:lnTo>
                    <a:pt x="6642" y="209435"/>
                  </a:lnTo>
                  <a:lnTo>
                    <a:pt x="3505" y="219189"/>
                  </a:lnTo>
                  <a:lnTo>
                    <a:pt x="5549" y="230124"/>
                  </a:lnTo>
                  <a:lnTo>
                    <a:pt x="10160" y="241439"/>
                  </a:lnTo>
                  <a:lnTo>
                    <a:pt x="15748" y="252133"/>
                  </a:lnTo>
                  <a:lnTo>
                    <a:pt x="22847" y="260121"/>
                  </a:lnTo>
                  <a:lnTo>
                    <a:pt x="32562" y="263956"/>
                  </a:lnTo>
                  <a:lnTo>
                    <a:pt x="45986" y="262153"/>
                  </a:lnTo>
                  <a:lnTo>
                    <a:pt x="63068" y="261251"/>
                  </a:lnTo>
                  <a:lnTo>
                    <a:pt x="77317" y="268351"/>
                  </a:lnTo>
                  <a:lnTo>
                    <a:pt x="85864" y="281101"/>
                  </a:lnTo>
                  <a:lnTo>
                    <a:pt x="85864" y="297141"/>
                  </a:lnTo>
                  <a:lnTo>
                    <a:pt x="84124" y="310705"/>
                  </a:lnTo>
                  <a:lnTo>
                    <a:pt x="87998" y="319925"/>
                  </a:lnTo>
                  <a:lnTo>
                    <a:pt x="96113" y="326301"/>
                  </a:lnTo>
                  <a:lnTo>
                    <a:pt x="107073" y="331381"/>
                  </a:lnTo>
                  <a:lnTo>
                    <a:pt x="119405" y="335559"/>
                  </a:lnTo>
                  <a:lnTo>
                    <a:pt x="130606" y="336372"/>
                  </a:lnTo>
                  <a:lnTo>
                    <a:pt x="140601" y="332092"/>
                  </a:lnTo>
                  <a:lnTo>
                    <a:pt x="149301" y="321030"/>
                  </a:lnTo>
                  <a:lnTo>
                    <a:pt x="160642" y="308114"/>
                  </a:lnTo>
                  <a:lnTo>
                    <a:pt x="174840" y="303707"/>
                  </a:lnTo>
                  <a:lnTo>
                    <a:pt x="189699" y="307797"/>
                  </a:lnTo>
                  <a:lnTo>
                    <a:pt x="213334" y="330161"/>
                  </a:lnTo>
                  <a:lnTo>
                    <a:pt x="224180" y="332600"/>
                  </a:lnTo>
                  <a:lnTo>
                    <a:pt x="263715" y="312216"/>
                  </a:lnTo>
                  <a:lnTo>
                    <a:pt x="266001" y="303707"/>
                  </a:lnTo>
                  <a:lnTo>
                    <a:pt x="266230" y="302856"/>
                  </a:lnTo>
                  <a:lnTo>
                    <a:pt x="263499" y="290398"/>
                  </a:lnTo>
                  <a:lnTo>
                    <a:pt x="262267" y="274713"/>
                  </a:lnTo>
                  <a:lnTo>
                    <a:pt x="269455" y="261239"/>
                  </a:lnTo>
                  <a:lnTo>
                    <a:pt x="281660" y="253276"/>
                  </a:lnTo>
                  <a:lnTo>
                    <a:pt x="282448" y="252768"/>
                  </a:lnTo>
                  <a:lnTo>
                    <a:pt x="298589" y="252031"/>
                  </a:lnTo>
                  <a:lnTo>
                    <a:pt x="312534" y="252971"/>
                  </a:lnTo>
                  <a:lnTo>
                    <a:pt x="314680" y="252031"/>
                  </a:lnTo>
                  <a:lnTo>
                    <a:pt x="322440" y="248602"/>
                  </a:lnTo>
                  <a:lnTo>
                    <a:pt x="329501" y="239915"/>
                  </a:lnTo>
                  <a:lnTo>
                    <a:pt x="334924" y="227939"/>
                  </a:lnTo>
                  <a:lnTo>
                    <a:pt x="338467" y="215988"/>
                  </a:lnTo>
                  <a:lnTo>
                    <a:pt x="338645" y="205536"/>
                  </a:lnTo>
                  <a:close/>
                </a:path>
                <a:path w="838200" h="381635">
                  <a:moveTo>
                    <a:pt x="837793" y="326491"/>
                  </a:moveTo>
                  <a:lnTo>
                    <a:pt x="834847" y="297522"/>
                  </a:lnTo>
                  <a:lnTo>
                    <a:pt x="823074" y="266725"/>
                  </a:lnTo>
                  <a:lnTo>
                    <a:pt x="823074" y="381469"/>
                  </a:lnTo>
                  <a:lnTo>
                    <a:pt x="833374" y="354266"/>
                  </a:lnTo>
                  <a:lnTo>
                    <a:pt x="837793" y="326491"/>
                  </a:lnTo>
                  <a:close/>
                </a:path>
              </a:pathLst>
            </a:custGeom>
            <a:solidFill>
              <a:srgbClr val="FFFFFF"/>
            </a:solidFill>
          </p:spPr>
          <p:txBody>
            <a:bodyPr wrap="square" lIns="0" tIns="0" rIns="0" bIns="0" rtlCol="0"/>
            <a:lstStyle/>
            <a:p>
              <a:endParaRPr/>
            </a:p>
          </p:txBody>
        </p:sp>
      </p:grpSp>
      <p:sp>
        <p:nvSpPr>
          <p:cNvPr id="22" name="object 22"/>
          <p:cNvSpPr/>
          <p:nvPr/>
        </p:nvSpPr>
        <p:spPr>
          <a:xfrm>
            <a:off x="7179166" y="4462408"/>
            <a:ext cx="4300220" cy="1065530"/>
          </a:xfrm>
          <a:custGeom>
            <a:avLst/>
            <a:gdLst/>
            <a:ahLst/>
            <a:cxnLst/>
            <a:rect l="l" t="t" r="r" b="b"/>
            <a:pathLst>
              <a:path w="4300220" h="1065529">
                <a:moveTo>
                  <a:pt x="4299928" y="1065262"/>
                </a:moveTo>
                <a:lnTo>
                  <a:pt x="0" y="1065262"/>
                </a:lnTo>
                <a:lnTo>
                  <a:pt x="0" y="0"/>
                </a:lnTo>
                <a:lnTo>
                  <a:pt x="4299928" y="0"/>
                </a:lnTo>
                <a:lnTo>
                  <a:pt x="4299928" y="1065262"/>
                </a:lnTo>
                <a:close/>
              </a:path>
            </a:pathLst>
          </a:custGeom>
          <a:solidFill>
            <a:srgbClr val="FFFFFF"/>
          </a:solidFill>
        </p:spPr>
        <p:txBody>
          <a:bodyPr wrap="square" lIns="0" tIns="0" rIns="0" bIns="0" rtlCol="0"/>
          <a:lstStyle/>
          <a:p>
            <a:endParaRPr/>
          </a:p>
        </p:txBody>
      </p:sp>
      <p:sp>
        <p:nvSpPr>
          <p:cNvPr id="23" name="object 23"/>
          <p:cNvSpPr txBox="1"/>
          <p:nvPr/>
        </p:nvSpPr>
        <p:spPr>
          <a:xfrm>
            <a:off x="7845080" y="4538884"/>
            <a:ext cx="3501390" cy="730250"/>
          </a:xfrm>
          <a:prstGeom prst="rect">
            <a:avLst/>
          </a:prstGeom>
        </p:spPr>
        <p:txBody>
          <a:bodyPr vert="horz" wrap="square" lIns="0" tIns="12065" rIns="0" bIns="0" rtlCol="0">
            <a:spAutoFit/>
          </a:bodyPr>
          <a:lstStyle/>
          <a:p>
            <a:pPr marL="567690" marR="5080" indent="-555625">
              <a:lnSpc>
                <a:spcPct val="121700"/>
              </a:lnSpc>
              <a:spcBef>
                <a:spcPts val="95"/>
              </a:spcBef>
            </a:pPr>
            <a:r>
              <a:rPr sz="1900" dirty="0">
                <a:solidFill>
                  <a:srgbClr val="737373"/>
                </a:solidFill>
                <a:latin typeface="Roboto"/>
                <a:cs typeface="Roboto"/>
              </a:rPr>
              <a:t>Creación</a:t>
            </a:r>
            <a:r>
              <a:rPr sz="1900" spc="-35" dirty="0">
                <a:solidFill>
                  <a:srgbClr val="737373"/>
                </a:solidFill>
                <a:latin typeface="Roboto"/>
                <a:cs typeface="Roboto"/>
              </a:rPr>
              <a:t> </a:t>
            </a:r>
            <a:r>
              <a:rPr sz="1900" dirty="0">
                <a:solidFill>
                  <a:srgbClr val="737373"/>
                </a:solidFill>
                <a:latin typeface="Roboto"/>
                <a:cs typeface="Roboto"/>
              </a:rPr>
              <a:t>de</a:t>
            </a:r>
            <a:r>
              <a:rPr sz="1900" spc="-35" dirty="0">
                <a:solidFill>
                  <a:srgbClr val="737373"/>
                </a:solidFill>
                <a:latin typeface="Roboto"/>
                <a:cs typeface="Roboto"/>
              </a:rPr>
              <a:t> </a:t>
            </a:r>
            <a:r>
              <a:rPr sz="1900" b="1" dirty="0">
                <a:solidFill>
                  <a:srgbClr val="E3112B"/>
                </a:solidFill>
                <a:latin typeface="Roboto"/>
                <a:cs typeface="Roboto"/>
              </a:rPr>
              <a:t>contenidos</a:t>
            </a:r>
            <a:r>
              <a:rPr sz="1900" b="1" spc="-40" dirty="0">
                <a:solidFill>
                  <a:srgbClr val="E3112B"/>
                </a:solidFill>
                <a:latin typeface="Roboto"/>
                <a:cs typeface="Roboto"/>
              </a:rPr>
              <a:t> </a:t>
            </a:r>
            <a:r>
              <a:rPr sz="1900" dirty="0">
                <a:solidFill>
                  <a:srgbClr val="737373"/>
                </a:solidFill>
                <a:latin typeface="Roboto"/>
                <a:cs typeface="Roboto"/>
              </a:rPr>
              <a:t>de</a:t>
            </a:r>
            <a:r>
              <a:rPr sz="1900" spc="-30" dirty="0">
                <a:solidFill>
                  <a:srgbClr val="737373"/>
                </a:solidFill>
                <a:latin typeface="Roboto"/>
                <a:cs typeface="Roboto"/>
              </a:rPr>
              <a:t> </a:t>
            </a:r>
            <a:r>
              <a:rPr sz="1900" spc="-10" dirty="0">
                <a:solidFill>
                  <a:srgbClr val="737373"/>
                </a:solidFill>
                <a:latin typeface="Roboto"/>
                <a:cs typeface="Roboto"/>
              </a:rPr>
              <a:t>valor </a:t>
            </a:r>
            <a:r>
              <a:rPr sz="1900" dirty="0">
                <a:solidFill>
                  <a:srgbClr val="737373"/>
                </a:solidFill>
                <a:latin typeface="Roboto"/>
                <a:cs typeface="Roboto"/>
              </a:rPr>
              <a:t>del</a:t>
            </a:r>
            <a:r>
              <a:rPr sz="1900" spc="-70" dirty="0">
                <a:solidFill>
                  <a:srgbClr val="737373"/>
                </a:solidFill>
                <a:latin typeface="Roboto"/>
                <a:cs typeface="Roboto"/>
              </a:rPr>
              <a:t> </a:t>
            </a:r>
            <a:r>
              <a:rPr sz="1900" dirty="0">
                <a:solidFill>
                  <a:srgbClr val="737373"/>
                </a:solidFill>
                <a:latin typeface="Roboto"/>
                <a:cs typeface="Roboto"/>
              </a:rPr>
              <a:t>destino</a:t>
            </a:r>
            <a:r>
              <a:rPr sz="1900" spc="-65" dirty="0">
                <a:solidFill>
                  <a:srgbClr val="737373"/>
                </a:solidFill>
                <a:latin typeface="Roboto"/>
                <a:cs typeface="Roboto"/>
              </a:rPr>
              <a:t> </a:t>
            </a:r>
            <a:r>
              <a:rPr sz="1900" dirty="0">
                <a:solidFill>
                  <a:srgbClr val="737373"/>
                </a:solidFill>
                <a:latin typeface="Roboto"/>
                <a:cs typeface="Roboto"/>
              </a:rPr>
              <a:t>para</a:t>
            </a:r>
            <a:r>
              <a:rPr sz="1900" spc="-65" dirty="0">
                <a:solidFill>
                  <a:srgbClr val="737373"/>
                </a:solidFill>
                <a:latin typeface="Roboto"/>
                <a:cs typeface="Roboto"/>
              </a:rPr>
              <a:t> </a:t>
            </a:r>
            <a:r>
              <a:rPr sz="1900" spc="-20" dirty="0">
                <a:solidFill>
                  <a:srgbClr val="737373"/>
                </a:solidFill>
                <a:latin typeface="Roboto"/>
                <a:cs typeface="Roboto"/>
              </a:rPr>
              <a:t>MICE</a:t>
            </a:r>
            <a:endParaRPr sz="1900">
              <a:latin typeface="Roboto"/>
              <a:cs typeface="Roboto"/>
            </a:endParaRPr>
          </a:p>
        </p:txBody>
      </p:sp>
      <p:sp>
        <p:nvSpPr>
          <p:cNvPr id="24" name="object 24"/>
          <p:cNvSpPr/>
          <p:nvPr/>
        </p:nvSpPr>
        <p:spPr>
          <a:xfrm>
            <a:off x="6644471" y="4461128"/>
            <a:ext cx="1069975" cy="1069975"/>
          </a:xfrm>
          <a:custGeom>
            <a:avLst/>
            <a:gdLst/>
            <a:ahLst/>
            <a:cxnLst/>
            <a:rect l="l" t="t" r="r" b="b"/>
            <a:pathLst>
              <a:path w="1069975" h="1069975">
                <a:moveTo>
                  <a:pt x="534698" y="1069390"/>
                </a:moveTo>
                <a:lnTo>
                  <a:pt x="486026" y="1067205"/>
                </a:lnTo>
                <a:lnTo>
                  <a:pt x="438583" y="1060776"/>
                </a:lnTo>
                <a:lnTo>
                  <a:pt x="392551" y="1050290"/>
                </a:lnTo>
                <a:lnTo>
                  <a:pt x="348122" y="1035938"/>
                </a:lnTo>
                <a:lnTo>
                  <a:pt x="305483" y="1017908"/>
                </a:lnTo>
                <a:lnTo>
                  <a:pt x="264824" y="996389"/>
                </a:lnTo>
                <a:lnTo>
                  <a:pt x="226332" y="971569"/>
                </a:lnTo>
                <a:lnTo>
                  <a:pt x="190197" y="943637"/>
                </a:lnTo>
                <a:lnTo>
                  <a:pt x="156608" y="912782"/>
                </a:lnTo>
                <a:lnTo>
                  <a:pt x="125753" y="879192"/>
                </a:lnTo>
                <a:lnTo>
                  <a:pt x="97821" y="843057"/>
                </a:lnTo>
                <a:lnTo>
                  <a:pt x="73001" y="804566"/>
                </a:lnTo>
                <a:lnTo>
                  <a:pt x="51481" y="763906"/>
                </a:lnTo>
                <a:lnTo>
                  <a:pt x="33451" y="721267"/>
                </a:lnTo>
                <a:lnTo>
                  <a:pt x="19099" y="676838"/>
                </a:lnTo>
                <a:lnTo>
                  <a:pt x="8614" y="630807"/>
                </a:lnTo>
                <a:lnTo>
                  <a:pt x="2184" y="583363"/>
                </a:lnTo>
                <a:lnTo>
                  <a:pt x="0" y="534700"/>
                </a:lnTo>
                <a:lnTo>
                  <a:pt x="2184" y="486026"/>
                </a:lnTo>
                <a:lnTo>
                  <a:pt x="8614" y="438583"/>
                </a:lnTo>
                <a:lnTo>
                  <a:pt x="19099" y="392551"/>
                </a:lnTo>
                <a:lnTo>
                  <a:pt x="33451" y="348122"/>
                </a:lnTo>
                <a:lnTo>
                  <a:pt x="51481" y="305483"/>
                </a:lnTo>
                <a:lnTo>
                  <a:pt x="73001" y="264824"/>
                </a:lnTo>
                <a:lnTo>
                  <a:pt x="97821" y="226332"/>
                </a:lnTo>
                <a:lnTo>
                  <a:pt x="125753" y="190197"/>
                </a:lnTo>
                <a:lnTo>
                  <a:pt x="156608" y="156608"/>
                </a:lnTo>
                <a:lnTo>
                  <a:pt x="190197" y="125753"/>
                </a:lnTo>
                <a:lnTo>
                  <a:pt x="226332" y="97821"/>
                </a:lnTo>
                <a:lnTo>
                  <a:pt x="264824" y="73001"/>
                </a:lnTo>
                <a:lnTo>
                  <a:pt x="305483" y="51482"/>
                </a:lnTo>
                <a:lnTo>
                  <a:pt x="348122" y="33451"/>
                </a:lnTo>
                <a:lnTo>
                  <a:pt x="392551" y="19099"/>
                </a:lnTo>
                <a:lnTo>
                  <a:pt x="438583" y="8614"/>
                </a:lnTo>
                <a:lnTo>
                  <a:pt x="486026"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7"/>
                </a:lnTo>
                <a:lnTo>
                  <a:pt x="971568" y="226332"/>
                </a:lnTo>
                <a:lnTo>
                  <a:pt x="996388" y="264824"/>
                </a:lnTo>
                <a:lnTo>
                  <a:pt x="1017907" y="305483"/>
                </a:lnTo>
                <a:lnTo>
                  <a:pt x="1035938" y="348122"/>
                </a:lnTo>
                <a:lnTo>
                  <a:pt x="1050290" y="392551"/>
                </a:lnTo>
                <a:lnTo>
                  <a:pt x="1060775" y="438583"/>
                </a:lnTo>
                <a:lnTo>
                  <a:pt x="1067204" y="486026"/>
                </a:lnTo>
                <a:lnTo>
                  <a:pt x="1069389" y="534689"/>
                </a:lnTo>
                <a:lnTo>
                  <a:pt x="1067204" y="583363"/>
                </a:lnTo>
                <a:lnTo>
                  <a:pt x="1060775" y="630807"/>
                </a:lnTo>
                <a:lnTo>
                  <a:pt x="1050290" y="676838"/>
                </a:lnTo>
                <a:lnTo>
                  <a:pt x="1035938" y="721267"/>
                </a:lnTo>
                <a:lnTo>
                  <a:pt x="1017907" y="763906"/>
                </a:lnTo>
                <a:lnTo>
                  <a:pt x="996388" y="804566"/>
                </a:lnTo>
                <a:lnTo>
                  <a:pt x="971568" y="843057"/>
                </a:lnTo>
                <a:lnTo>
                  <a:pt x="943636" y="879192"/>
                </a:lnTo>
                <a:lnTo>
                  <a:pt x="912781" y="912782"/>
                </a:lnTo>
                <a:lnTo>
                  <a:pt x="879192" y="943637"/>
                </a:lnTo>
                <a:lnTo>
                  <a:pt x="843057" y="971569"/>
                </a:lnTo>
                <a:lnTo>
                  <a:pt x="804566" y="996389"/>
                </a:lnTo>
                <a:lnTo>
                  <a:pt x="763906" y="1017908"/>
                </a:lnTo>
                <a:lnTo>
                  <a:pt x="721267" y="1035938"/>
                </a:lnTo>
                <a:lnTo>
                  <a:pt x="676838" y="1050290"/>
                </a:lnTo>
                <a:lnTo>
                  <a:pt x="630807" y="1060776"/>
                </a:lnTo>
                <a:lnTo>
                  <a:pt x="583363" y="1067205"/>
                </a:lnTo>
                <a:lnTo>
                  <a:pt x="534698" y="1069390"/>
                </a:lnTo>
                <a:close/>
              </a:path>
            </a:pathLst>
          </a:custGeom>
          <a:solidFill>
            <a:srgbClr val="003793"/>
          </a:solidFill>
        </p:spPr>
        <p:txBody>
          <a:bodyPr wrap="square" lIns="0" tIns="0" rIns="0" bIns="0" rtlCol="0"/>
          <a:lstStyle/>
          <a:p>
            <a:endParaRPr/>
          </a:p>
        </p:txBody>
      </p:sp>
      <p:sp>
        <p:nvSpPr>
          <p:cNvPr id="25" name="object 25"/>
          <p:cNvSpPr txBox="1"/>
          <p:nvPr/>
        </p:nvSpPr>
        <p:spPr>
          <a:xfrm>
            <a:off x="6870015" y="4727325"/>
            <a:ext cx="618490" cy="506730"/>
          </a:xfrm>
          <a:prstGeom prst="rect">
            <a:avLst/>
          </a:prstGeom>
        </p:spPr>
        <p:txBody>
          <a:bodyPr vert="horz" wrap="square" lIns="0" tIns="13335" rIns="0" bIns="0" rtlCol="0">
            <a:spAutoFit/>
          </a:bodyPr>
          <a:lstStyle/>
          <a:p>
            <a:pPr marL="12700">
              <a:lnSpc>
                <a:spcPct val="100000"/>
              </a:lnSpc>
              <a:spcBef>
                <a:spcPts val="105"/>
              </a:spcBef>
            </a:pPr>
            <a:r>
              <a:rPr sz="3150" b="1" spc="540" dirty="0">
                <a:solidFill>
                  <a:srgbClr val="FFFFFF"/>
                </a:solidFill>
                <a:latin typeface="Arial"/>
                <a:cs typeface="Arial"/>
              </a:rPr>
              <a:t>02</a:t>
            </a:r>
            <a:endParaRPr sz="3150">
              <a:latin typeface="Arial"/>
              <a:cs typeface="Arial"/>
            </a:endParaRPr>
          </a:p>
        </p:txBody>
      </p:sp>
      <p:pic>
        <p:nvPicPr>
          <p:cNvPr id="26" name="object 26"/>
          <p:cNvPicPr/>
          <p:nvPr/>
        </p:nvPicPr>
        <p:blipFill>
          <a:blip r:embed="rId5" cstate="print"/>
          <a:stretch>
            <a:fillRect/>
          </a:stretch>
        </p:blipFill>
        <p:spPr>
          <a:xfrm>
            <a:off x="14340692" y="2480899"/>
            <a:ext cx="1857796" cy="1857797"/>
          </a:xfrm>
          <a:prstGeom prst="rect">
            <a:avLst/>
          </a:prstGeom>
        </p:spPr>
      </p:pic>
      <p:grpSp>
        <p:nvGrpSpPr>
          <p:cNvPr id="27" name="object 27"/>
          <p:cNvGrpSpPr/>
          <p:nvPr/>
        </p:nvGrpSpPr>
        <p:grpSpPr>
          <a:xfrm>
            <a:off x="12793874" y="4461128"/>
            <a:ext cx="4953635" cy="1069975"/>
            <a:chOff x="12793874" y="4461128"/>
            <a:chExt cx="4953635" cy="1069975"/>
          </a:xfrm>
        </p:grpSpPr>
        <p:sp>
          <p:nvSpPr>
            <p:cNvPr id="28" name="object 28"/>
            <p:cNvSpPr/>
            <p:nvPr/>
          </p:nvSpPr>
          <p:spPr>
            <a:xfrm>
              <a:off x="13486253" y="4462408"/>
              <a:ext cx="4261485" cy="1065530"/>
            </a:xfrm>
            <a:custGeom>
              <a:avLst/>
              <a:gdLst/>
              <a:ahLst/>
              <a:cxnLst/>
              <a:rect l="l" t="t" r="r" b="b"/>
              <a:pathLst>
                <a:path w="4261484" h="1065529">
                  <a:moveTo>
                    <a:pt x="4261050" y="1065262"/>
                  </a:moveTo>
                  <a:lnTo>
                    <a:pt x="0" y="1065262"/>
                  </a:lnTo>
                  <a:lnTo>
                    <a:pt x="0" y="0"/>
                  </a:lnTo>
                  <a:lnTo>
                    <a:pt x="4261050" y="0"/>
                  </a:lnTo>
                  <a:lnTo>
                    <a:pt x="4261050" y="1065262"/>
                  </a:lnTo>
                  <a:close/>
                </a:path>
              </a:pathLst>
            </a:custGeom>
            <a:solidFill>
              <a:srgbClr val="FFFFFF"/>
            </a:solidFill>
          </p:spPr>
          <p:txBody>
            <a:bodyPr wrap="square" lIns="0" tIns="0" rIns="0" bIns="0" rtlCol="0"/>
            <a:lstStyle/>
            <a:p>
              <a:endParaRPr/>
            </a:p>
          </p:txBody>
        </p:sp>
        <p:sp>
          <p:nvSpPr>
            <p:cNvPr id="29" name="object 29"/>
            <p:cNvSpPr/>
            <p:nvPr/>
          </p:nvSpPr>
          <p:spPr>
            <a:xfrm>
              <a:off x="12793874" y="4461128"/>
              <a:ext cx="1069975" cy="1069975"/>
            </a:xfrm>
            <a:custGeom>
              <a:avLst/>
              <a:gdLst/>
              <a:ahLst/>
              <a:cxnLst/>
              <a:rect l="l" t="t" r="r" b="b"/>
              <a:pathLst>
                <a:path w="1069975" h="1069975">
                  <a:moveTo>
                    <a:pt x="534697" y="1069390"/>
                  </a:moveTo>
                  <a:lnTo>
                    <a:pt x="486026" y="1067205"/>
                  </a:lnTo>
                  <a:lnTo>
                    <a:pt x="438582" y="1060776"/>
                  </a:lnTo>
                  <a:lnTo>
                    <a:pt x="392551" y="1050290"/>
                  </a:lnTo>
                  <a:lnTo>
                    <a:pt x="348122" y="1035938"/>
                  </a:lnTo>
                  <a:lnTo>
                    <a:pt x="305483" y="1017908"/>
                  </a:lnTo>
                  <a:lnTo>
                    <a:pt x="264823" y="996389"/>
                  </a:lnTo>
                  <a:lnTo>
                    <a:pt x="226332" y="971569"/>
                  </a:lnTo>
                  <a:lnTo>
                    <a:pt x="190197" y="943637"/>
                  </a:lnTo>
                  <a:lnTo>
                    <a:pt x="156608" y="912782"/>
                  </a:lnTo>
                  <a:lnTo>
                    <a:pt x="125753" y="879192"/>
                  </a:lnTo>
                  <a:lnTo>
                    <a:pt x="97821" y="843057"/>
                  </a:lnTo>
                  <a:lnTo>
                    <a:pt x="73001" y="804566"/>
                  </a:lnTo>
                  <a:lnTo>
                    <a:pt x="51481" y="763906"/>
                  </a:lnTo>
                  <a:lnTo>
                    <a:pt x="33451" y="721267"/>
                  </a:lnTo>
                  <a:lnTo>
                    <a:pt x="19099" y="676838"/>
                  </a:lnTo>
                  <a:lnTo>
                    <a:pt x="8614" y="630807"/>
                  </a:lnTo>
                  <a:lnTo>
                    <a:pt x="2184" y="583363"/>
                  </a:lnTo>
                  <a:lnTo>
                    <a:pt x="0" y="534681"/>
                  </a:lnTo>
                  <a:lnTo>
                    <a:pt x="2184" y="486026"/>
                  </a:lnTo>
                  <a:lnTo>
                    <a:pt x="8614" y="438583"/>
                  </a:lnTo>
                  <a:lnTo>
                    <a:pt x="19099" y="392551"/>
                  </a:lnTo>
                  <a:lnTo>
                    <a:pt x="33451" y="348122"/>
                  </a:lnTo>
                  <a:lnTo>
                    <a:pt x="51481" y="305483"/>
                  </a:lnTo>
                  <a:lnTo>
                    <a:pt x="73001" y="264824"/>
                  </a:lnTo>
                  <a:lnTo>
                    <a:pt x="97821" y="226332"/>
                  </a:lnTo>
                  <a:lnTo>
                    <a:pt x="125753" y="190197"/>
                  </a:lnTo>
                  <a:lnTo>
                    <a:pt x="156608" y="156608"/>
                  </a:lnTo>
                  <a:lnTo>
                    <a:pt x="190197" y="125753"/>
                  </a:lnTo>
                  <a:lnTo>
                    <a:pt x="226332" y="97821"/>
                  </a:lnTo>
                  <a:lnTo>
                    <a:pt x="264823" y="73001"/>
                  </a:lnTo>
                  <a:lnTo>
                    <a:pt x="305483" y="51482"/>
                  </a:lnTo>
                  <a:lnTo>
                    <a:pt x="348122" y="33451"/>
                  </a:lnTo>
                  <a:lnTo>
                    <a:pt x="392551" y="19099"/>
                  </a:lnTo>
                  <a:lnTo>
                    <a:pt x="438582" y="8614"/>
                  </a:lnTo>
                  <a:lnTo>
                    <a:pt x="486026" y="2185"/>
                  </a:lnTo>
                  <a:lnTo>
                    <a:pt x="534694" y="0"/>
                  </a:lnTo>
                  <a:lnTo>
                    <a:pt x="583362" y="2185"/>
                  </a:lnTo>
                  <a:lnTo>
                    <a:pt x="630806" y="8614"/>
                  </a:lnTo>
                  <a:lnTo>
                    <a:pt x="676837" y="19099"/>
                  </a:lnTo>
                  <a:lnTo>
                    <a:pt x="721267" y="33451"/>
                  </a:lnTo>
                  <a:lnTo>
                    <a:pt x="763906" y="51482"/>
                  </a:lnTo>
                  <a:lnTo>
                    <a:pt x="804565" y="73001"/>
                  </a:lnTo>
                  <a:lnTo>
                    <a:pt x="843057" y="97821"/>
                  </a:lnTo>
                  <a:lnTo>
                    <a:pt x="879192" y="125753"/>
                  </a:lnTo>
                  <a:lnTo>
                    <a:pt x="912781" y="156608"/>
                  </a:lnTo>
                  <a:lnTo>
                    <a:pt x="943636" y="190197"/>
                  </a:lnTo>
                  <a:lnTo>
                    <a:pt x="971568" y="226332"/>
                  </a:lnTo>
                  <a:lnTo>
                    <a:pt x="996388" y="264824"/>
                  </a:lnTo>
                  <a:lnTo>
                    <a:pt x="1017908" y="305483"/>
                  </a:lnTo>
                  <a:lnTo>
                    <a:pt x="1035938" y="348122"/>
                  </a:lnTo>
                  <a:lnTo>
                    <a:pt x="1050290" y="392551"/>
                  </a:lnTo>
                  <a:lnTo>
                    <a:pt x="1060775" y="438583"/>
                  </a:lnTo>
                  <a:lnTo>
                    <a:pt x="1067205" y="486026"/>
                  </a:lnTo>
                  <a:lnTo>
                    <a:pt x="1069389" y="534695"/>
                  </a:lnTo>
                  <a:lnTo>
                    <a:pt x="1067205" y="583363"/>
                  </a:lnTo>
                  <a:lnTo>
                    <a:pt x="1060775" y="630807"/>
                  </a:lnTo>
                  <a:lnTo>
                    <a:pt x="1050290" y="676838"/>
                  </a:lnTo>
                  <a:lnTo>
                    <a:pt x="1035938" y="721267"/>
                  </a:lnTo>
                  <a:lnTo>
                    <a:pt x="1017908" y="763906"/>
                  </a:lnTo>
                  <a:lnTo>
                    <a:pt x="996388" y="804566"/>
                  </a:lnTo>
                  <a:lnTo>
                    <a:pt x="971568" y="843057"/>
                  </a:lnTo>
                  <a:lnTo>
                    <a:pt x="943636" y="879192"/>
                  </a:lnTo>
                  <a:lnTo>
                    <a:pt x="912781" y="912782"/>
                  </a:lnTo>
                  <a:lnTo>
                    <a:pt x="879192" y="943637"/>
                  </a:lnTo>
                  <a:lnTo>
                    <a:pt x="843057" y="971569"/>
                  </a:lnTo>
                  <a:lnTo>
                    <a:pt x="804565" y="996389"/>
                  </a:lnTo>
                  <a:lnTo>
                    <a:pt x="763906" y="1017908"/>
                  </a:lnTo>
                  <a:lnTo>
                    <a:pt x="721267" y="1035938"/>
                  </a:lnTo>
                  <a:lnTo>
                    <a:pt x="676837" y="1050290"/>
                  </a:lnTo>
                  <a:lnTo>
                    <a:pt x="630806" y="1060776"/>
                  </a:lnTo>
                  <a:lnTo>
                    <a:pt x="583362" y="1067205"/>
                  </a:lnTo>
                  <a:lnTo>
                    <a:pt x="534697" y="1069390"/>
                  </a:lnTo>
                  <a:close/>
                </a:path>
              </a:pathLst>
            </a:custGeom>
            <a:solidFill>
              <a:srgbClr val="003793"/>
            </a:solidFill>
          </p:spPr>
          <p:txBody>
            <a:bodyPr wrap="square" lIns="0" tIns="0" rIns="0" bIns="0" rtlCol="0"/>
            <a:lstStyle/>
            <a:p>
              <a:endParaRPr/>
            </a:p>
          </p:txBody>
        </p:sp>
      </p:grpSp>
      <p:sp>
        <p:nvSpPr>
          <p:cNvPr id="30" name="object 30"/>
          <p:cNvSpPr txBox="1"/>
          <p:nvPr/>
        </p:nvSpPr>
        <p:spPr>
          <a:xfrm>
            <a:off x="13037021" y="4727325"/>
            <a:ext cx="583565" cy="506730"/>
          </a:xfrm>
          <a:prstGeom prst="rect">
            <a:avLst/>
          </a:prstGeom>
        </p:spPr>
        <p:txBody>
          <a:bodyPr vert="horz" wrap="square" lIns="0" tIns="13335" rIns="0" bIns="0" rtlCol="0">
            <a:spAutoFit/>
          </a:bodyPr>
          <a:lstStyle/>
          <a:p>
            <a:pPr marL="12700">
              <a:lnSpc>
                <a:spcPct val="100000"/>
              </a:lnSpc>
              <a:spcBef>
                <a:spcPts val="105"/>
              </a:spcBef>
            </a:pPr>
            <a:r>
              <a:rPr sz="3150" b="1" spc="400" dirty="0">
                <a:solidFill>
                  <a:srgbClr val="FFFFFF"/>
                </a:solidFill>
                <a:latin typeface="Arial"/>
                <a:cs typeface="Arial"/>
              </a:rPr>
              <a:t>03</a:t>
            </a:r>
            <a:endParaRPr sz="3150">
              <a:latin typeface="Arial"/>
              <a:cs typeface="Arial"/>
            </a:endParaRPr>
          </a:p>
        </p:txBody>
      </p:sp>
      <p:sp>
        <p:nvSpPr>
          <p:cNvPr id="31" name="object 31"/>
          <p:cNvSpPr txBox="1"/>
          <p:nvPr/>
        </p:nvSpPr>
        <p:spPr>
          <a:xfrm>
            <a:off x="14230970" y="4640542"/>
            <a:ext cx="3158490" cy="692150"/>
          </a:xfrm>
          <a:prstGeom prst="rect">
            <a:avLst/>
          </a:prstGeom>
        </p:spPr>
        <p:txBody>
          <a:bodyPr vert="horz" wrap="square" lIns="0" tIns="55880" rIns="0" bIns="0" rtlCol="0">
            <a:spAutoFit/>
          </a:bodyPr>
          <a:lstStyle/>
          <a:p>
            <a:pPr algn="ctr">
              <a:lnSpc>
                <a:spcPct val="100000"/>
              </a:lnSpc>
              <a:spcBef>
                <a:spcPts val="440"/>
              </a:spcBef>
            </a:pPr>
            <a:r>
              <a:rPr sz="1900" dirty="0">
                <a:solidFill>
                  <a:srgbClr val="737373"/>
                </a:solidFill>
                <a:latin typeface="Roboto"/>
                <a:cs typeface="Roboto"/>
              </a:rPr>
              <a:t>Foco</a:t>
            </a:r>
            <a:r>
              <a:rPr sz="1900" spc="-60" dirty="0">
                <a:solidFill>
                  <a:srgbClr val="737373"/>
                </a:solidFill>
                <a:latin typeface="Roboto"/>
                <a:cs typeface="Roboto"/>
              </a:rPr>
              <a:t> </a:t>
            </a:r>
            <a:r>
              <a:rPr sz="1900" dirty="0">
                <a:solidFill>
                  <a:srgbClr val="737373"/>
                </a:solidFill>
                <a:latin typeface="Roboto"/>
                <a:cs typeface="Roboto"/>
              </a:rPr>
              <a:t>en</a:t>
            </a:r>
            <a:r>
              <a:rPr sz="1900" spc="-55" dirty="0">
                <a:solidFill>
                  <a:srgbClr val="737373"/>
                </a:solidFill>
                <a:latin typeface="Roboto"/>
                <a:cs typeface="Roboto"/>
              </a:rPr>
              <a:t> </a:t>
            </a:r>
            <a:r>
              <a:rPr sz="1900" spc="-10" dirty="0">
                <a:solidFill>
                  <a:srgbClr val="737373"/>
                </a:solidFill>
                <a:latin typeface="Roboto"/>
                <a:cs typeface="Roboto"/>
              </a:rPr>
              <a:t>captación</a:t>
            </a:r>
            <a:r>
              <a:rPr sz="1900" spc="-55" dirty="0">
                <a:solidFill>
                  <a:srgbClr val="737373"/>
                </a:solidFill>
                <a:latin typeface="Roboto"/>
                <a:cs typeface="Roboto"/>
              </a:rPr>
              <a:t> </a:t>
            </a:r>
            <a:r>
              <a:rPr sz="1900" spc="-10" dirty="0">
                <a:solidFill>
                  <a:srgbClr val="737373"/>
                </a:solidFill>
                <a:latin typeface="Roboto"/>
                <a:cs typeface="Roboto"/>
              </a:rPr>
              <a:t>mercados</a:t>
            </a:r>
            <a:endParaRPr sz="1900">
              <a:latin typeface="Roboto"/>
              <a:cs typeface="Roboto"/>
            </a:endParaRPr>
          </a:p>
          <a:p>
            <a:pPr marL="59690" algn="ctr">
              <a:lnSpc>
                <a:spcPct val="100000"/>
              </a:lnSpc>
              <a:spcBef>
                <a:spcPts val="345"/>
              </a:spcBef>
            </a:pPr>
            <a:r>
              <a:rPr sz="1900" b="1" dirty="0">
                <a:solidFill>
                  <a:srgbClr val="E3112B"/>
                </a:solidFill>
                <a:latin typeface="Roboto"/>
                <a:cs typeface="Roboto"/>
              </a:rPr>
              <a:t>regionales</a:t>
            </a:r>
            <a:r>
              <a:rPr sz="1900" b="1" spc="5" dirty="0">
                <a:solidFill>
                  <a:srgbClr val="E3112B"/>
                </a:solidFill>
                <a:latin typeface="Roboto"/>
                <a:cs typeface="Roboto"/>
              </a:rPr>
              <a:t> </a:t>
            </a:r>
            <a:r>
              <a:rPr sz="1900" b="1" dirty="0">
                <a:solidFill>
                  <a:srgbClr val="E3112B"/>
                </a:solidFill>
                <a:latin typeface="Roboto"/>
                <a:cs typeface="Roboto"/>
              </a:rPr>
              <a:t>y</a:t>
            </a:r>
            <a:r>
              <a:rPr sz="1900" b="1" spc="5" dirty="0">
                <a:solidFill>
                  <a:srgbClr val="E3112B"/>
                </a:solidFill>
                <a:latin typeface="Roboto"/>
                <a:cs typeface="Roboto"/>
              </a:rPr>
              <a:t> </a:t>
            </a:r>
            <a:r>
              <a:rPr sz="1900" b="1" spc="-20" dirty="0">
                <a:solidFill>
                  <a:srgbClr val="E3112B"/>
                </a:solidFill>
                <a:latin typeface="Roboto"/>
                <a:cs typeface="Roboto"/>
              </a:rPr>
              <a:t>EEUU</a:t>
            </a:r>
            <a:endParaRPr sz="1900">
              <a:latin typeface="Roboto"/>
              <a:cs typeface="Roboto"/>
            </a:endParaRPr>
          </a:p>
        </p:txBody>
      </p:sp>
      <p:grpSp>
        <p:nvGrpSpPr>
          <p:cNvPr id="32" name="object 32"/>
          <p:cNvGrpSpPr/>
          <p:nvPr/>
        </p:nvGrpSpPr>
        <p:grpSpPr>
          <a:xfrm>
            <a:off x="2304525" y="6047645"/>
            <a:ext cx="1858010" cy="1858010"/>
            <a:chOff x="2304525" y="6047645"/>
            <a:chExt cx="1858010" cy="1858010"/>
          </a:xfrm>
        </p:grpSpPr>
        <p:sp>
          <p:nvSpPr>
            <p:cNvPr id="33" name="object 33"/>
            <p:cNvSpPr/>
            <p:nvPr/>
          </p:nvSpPr>
          <p:spPr>
            <a:xfrm>
              <a:off x="2304525" y="6047645"/>
              <a:ext cx="1858010" cy="1858010"/>
            </a:xfrm>
            <a:custGeom>
              <a:avLst/>
              <a:gdLst/>
              <a:ahLst/>
              <a:cxnLst/>
              <a:rect l="l" t="t" r="r" b="b"/>
              <a:pathLst>
                <a:path w="1858010" h="1858009">
                  <a:moveTo>
                    <a:pt x="928903" y="1857797"/>
                  </a:moveTo>
                  <a:lnTo>
                    <a:pt x="881097" y="1856589"/>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8" y="1585729"/>
                  </a:lnTo>
                  <a:lnTo>
                    <a:pt x="241310" y="1553469"/>
                  </a:lnTo>
                  <a:lnTo>
                    <a:pt x="212115" y="1519764"/>
                  </a:lnTo>
                  <a:lnTo>
                    <a:pt x="184539" y="1484673"/>
                  </a:lnTo>
                  <a:lnTo>
                    <a:pt x="158641" y="1448255"/>
                  </a:lnTo>
                  <a:lnTo>
                    <a:pt x="134479" y="1410566"/>
                  </a:lnTo>
                  <a:lnTo>
                    <a:pt x="112112" y="1371667"/>
                  </a:lnTo>
                  <a:lnTo>
                    <a:pt x="91599" y="1331614"/>
                  </a:lnTo>
                  <a:lnTo>
                    <a:pt x="72997" y="1290468"/>
                  </a:lnTo>
                  <a:lnTo>
                    <a:pt x="56365" y="1248285"/>
                  </a:lnTo>
                  <a:lnTo>
                    <a:pt x="41761" y="1205125"/>
                  </a:lnTo>
                  <a:lnTo>
                    <a:pt x="29244" y="1161045"/>
                  </a:lnTo>
                  <a:lnTo>
                    <a:pt x="18871" y="1116104"/>
                  </a:lnTo>
                  <a:lnTo>
                    <a:pt x="10702" y="1070361"/>
                  </a:lnTo>
                  <a:lnTo>
                    <a:pt x="4795" y="1023873"/>
                  </a:lnTo>
                  <a:lnTo>
                    <a:pt x="1208" y="976700"/>
                  </a:lnTo>
                  <a:lnTo>
                    <a:pt x="0" y="928896"/>
                  </a:lnTo>
                  <a:lnTo>
                    <a:pt x="1208" y="881098"/>
                  </a:lnTo>
                  <a:lnTo>
                    <a:pt x="4795" y="833924"/>
                  </a:lnTo>
                  <a:lnTo>
                    <a:pt x="10702" y="787436"/>
                  </a:lnTo>
                  <a:lnTo>
                    <a:pt x="18871" y="741693"/>
                  </a:lnTo>
                  <a:lnTo>
                    <a:pt x="29244" y="696752"/>
                  </a:lnTo>
                  <a:lnTo>
                    <a:pt x="41761" y="652672"/>
                  </a:lnTo>
                  <a:lnTo>
                    <a:pt x="56365" y="609512"/>
                  </a:lnTo>
                  <a:lnTo>
                    <a:pt x="72997" y="567329"/>
                  </a:lnTo>
                  <a:lnTo>
                    <a:pt x="91599" y="526182"/>
                  </a:lnTo>
                  <a:lnTo>
                    <a:pt x="112112" y="486130"/>
                  </a:lnTo>
                  <a:lnTo>
                    <a:pt x="134479" y="447231"/>
                  </a:lnTo>
                  <a:lnTo>
                    <a:pt x="158641" y="409542"/>
                  </a:lnTo>
                  <a:lnTo>
                    <a:pt x="184539" y="373124"/>
                  </a:lnTo>
                  <a:lnTo>
                    <a:pt x="212115" y="338033"/>
                  </a:lnTo>
                  <a:lnTo>
                    <a:pt x="241310" y="304328"/>
                  </a:lnTo>
                  <a:lnTo>
                    <a:pt x="272068"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2"/>
                  </a:lnTo>
                  <a:lnTo>
                    <a:pt x="833924" y="4795"/>
                  </a:lnTo>
                  <a:lnTo>
                    <a:pt x="881097" y="1208"/>
                  </a:lnTo>
                  <a:lnTo>
                    <a:pt x="928897" y="0"/>
                  </a:lnTo>
                  <a:lnTo>
                    <a:pt x="976699" y="1208"/>
                  </a:lnTo>
                  <a:lnTo>
                    <a:pt x="1023873" y="4795"/>
                  </a:lnTo>
                  <a:lnTo>
                    <a:pt x="1070360" y="10702"/>
                  </a:lnTo>
                  <a:lnTo>
                    <a:pt x="1116104" y="18871"/>
                  </a:lnTo>
                  <a:lnTo>
                    <a:pt x="1161044" y="29244"/>
                  </a:lnTo>
                  <a:lnTo>
                    <a:pt x="1205124" y="41761"/>
                  </a:lnTo>
                  <a:lnTo>
                    <a:pt x="1248285" y="56365"/>
                  </a:lnTo>
                  <a:lnTo>
                    <a:pt x="1290467" y="72997"/>
                  </a:lnTo>
                  <a:lnTo>
                    <a:pt x="1331614" y="91599"/>
                  </a:lnTo>
                  <a:lnTo>
                    <a:pt x="1371667" y="112113"/>
                  </a:lnTo>
                  <a:lnTo>
                    <a:pt x="1410566" y="134479"/>
                  </a:lnTo>
                  <a:lnTo>
                    <a:pt x="1448254" y="158641"/>
                  </a:lnTo>
                  <a:lnTo>
                    <a:pt x="1484673" y="184539"/>
                  </a:lnTo>
                  <a:lnTo>
                    <a:pt x="1519764" y="212115"/>
                  </a:lnTo>
                  <a:lnTo>
                    <a:pt x="1553469" y="241311"/>
                  </a:lnTo>
                  <a:lnTo>
                    <a:pt x="1585729" y="272068"/>
                  </a:lnTo>
                  <a:lnTo>
                    <a:pt x="1616486" y="304328"/>
                  </a:lnTo>
                  <a:lnTo>
                    <a:pt x="1645682" y="338033"/>
                  </a:lnTo>
                  <a:lnTo>
                    <a:pt x="1673258" y="373124"/>
                  </a:lnTo>
                  <a:lnTo>
                    <a:pt x="1699156" y="409542"/>
                  </a:lnTo>
                  <a:lnTo>
                    <a:pt x="1723317" y="447231"/>
                  </a:lnTo>
                  <a:lnTo>
                    <a:pt x="1745684" y="486130"/>
                  </a:lnTo>
                  <a:lnTo>
                    <a:pt x="1766197" y="526182"/>
                  </a:lnTo>
                  <a:lnTo>
                    <a:pt x="1784799" y="567329"/>
                  </a:lnTo>
                  <a:lnTo>
                    <a:pt x="1801432" y="609512"/>
                  </a:lnTo>
                  <a:lnTo>
                    <a:pt x="1816035" y="652672"/>
                  </a:lnTo>
                  <a:lnTo>
                    <a:pt x="1828553" y="696752"/>
                  </a:lnTo>
                  <a:lnTo>
                    <a:pt x="1838925" y="741693"/>
                  </a:lnTo>
                  <a:lnTo>
                    <a:pt x="1847094" y="787436"/>
                  </a:lnTo>
                  <a:lnTo>
                    <a:pt x="1853001" y="833924"/>
                  </a:lnTo>
                  <a:lnTo>
                    <a:pt x="1856588" y="881098"/>
                  </a:lnTo>
                  <a:lnTo>
                    <a:pt x="1857797" y="928899"/>
                  </a:lnTo>
                  <a:lnTo>
                    <a:pt x="1856588" y="976700"/>
                  </a:lnTo>
                  <a:lnTo>
                    <a:pt x="1853001" y="1023873"/>
                  </a:lnTo>
                  <a:lnTo>
                    <a:pt x="1847094" y="1070361"/>
                  </a:lnTo>
                  <a:lnTo>
                    <a:pt x="1838925" y="1116104"/>
                  </a:lnTo>
                  <a:lnTo>
                    <a:pt x="1828553" y="1161045"/>
                  </a:lnTo>
                  <a:lnTo>
                    <a:pt x="1816035" y="1205125"/>
                  </a:lnTo>
                  <a:lnTo>
                    <a:pt x="1801432" y="1248285"/>
                  </a:lnTo>
                  <a:lnTo>
                    <a:pt x="1784799" y="1290468"/>
                  </a:lnTo>
                  <a:lnTo>
                    <a:pt x="1766197" y="1331614"/>
                  </a:lnTo>
                  <a:lnTo>
                    <a:pt x="1745684" y="1371667"/>
                  </a:lnTo>
                  <a:lnTo>
                    <a:pt x="1723317" y="1410566"/>
                  </a:lnTo>
                  <a:lnTo>
                    <a:pt x="1699156" y="1448255"/>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7" y="1745684"/>
                  </a:lnTo>
                  <a:lnTo>
                    <a:pt x="1331614" y="1766198"/>
                  </a:lnTo>
                  <a:lnTo>
                    <a:pt x="1290467" y="1784800"/>
                  </a:lnTo>
                  <a:lnTo>
                    <a:pt x="1248285" y="1801432"/>
                  </a:lnTo>
                  <a:lnTo>
                    <a:pt x="1205124" y="1816036"/>
                  </a:lnTo>
                  <a:lnTo>
                    <a:pt x="1161044" y="1828553"/>
                  </a:lnTo>
                  <a:lnTo>
                    <a:pt x="1116104" y="1838925"/>
                  </a:lnTo>
                  <a:lnTo>
                    <a:pt x="1070360" y="1847094"/>
                  </a:lnTo>
                  <a:lnTo>
                    <a:pt x="1023873" y="1853001"/>
                  </a:lnTo>
                  <a:lnTo>
                    <a:pt x="976699" y="1856589"/>
                  </a:lnTo>
                  <a:lnTo>
                    <a:pt x="928903" y="1857797"/>
                  </a:lnTo>
                  <a:close/>
                </a:path>
              </a:pathLst>
            </a:custGeom>
            <a:solidFill>
              <a:srgbClr val="E3112B"/>
            </a:solidFill>
          </p:spPr>
          <p:txBody>
            <a:bodyPr wrap="square" lIns="0" tIns="0" rIns="0" bIns="0" rtlCol="0"/>
            <a:lstStyle/>
            <a:p>
              <a:endParaRPr/>
            </a:p>
          </p:txBody>
        </p:sp>
        <p:sp>
          <p:nvSpPr>
            <p:cNvPr id="34" name="object 34"/>
            <p:cNvSpPr/>
            <p:nvPr/>
          </p:nvSpPr>
          <p:spPr>
            <a:xfrm>
              <a:off x="2615742" y="6424193"/>
              <a:ext cx="1102360" cy="1104900"/>
            </a:xfrm>
            <a:custGeom>
              <a:avLst/>
              <a:gdLst/>
              <a:ahLst/>
              <a:cxnLst/>
              <a:rect l="l" t="t" r="r" b="b"/>
              <a:pathLst>
                <a:path w="1102360" h="1104900">
                  <a:moveTo>
                    <a:pt x="412242" y="305562"/>
                  </a:moveTo>
                  <a:lnTo>
                    <a:pt x="410946" y="305562"/>
                  </a:lnTo>
                  <a:lnTo>
                    <a:pt x="402628" y="307352"/>
                  </a:lnTo>
                  <a:lnTo>
                    <a:pt x="395643" y="312166"/>
                  </a:lnTo>
                  <a:lnTo>
                    <a:pt x="390817" y="319163"/>
                  </a:lnTo>
                  <a:lnTo>
                    <a:pt x="389026" y="327482"/>
                  </a:lnTo>
                  <a:lnTo>
                    <a:pt x="389026" y="357136"/>
                  </a:lnTo>
                  <a:lnTo>
                    <a:pt x="392899" y="366153"/>
                  </a:lnTo>
                  <a:lnTo>
                    <a:pt x="401916" y="368731"/>
                  </a:lnTo>
                  <a:lnTo>
                    <a:pt x="412242" y="372605"/>
                  </a:lnTo>
                  <a:lnTo>
                    <a:pt x="412242" y="305562"/>
                  </a:lnTo>
                  <a:close/>
                </a:path>
                <a:path w="1102360" h="1104900">
                  <a:moveTo>
                    <a:pt x="463804" y="434492"/>
                  </a:moveTo>
                  <a:lnTo>
                    <a:pt x="458647" y="426758"/>
                  </a:lnTo>
                  <a:lnTo>
                    <a:pt x="445757" y="420306"/>
                  </a:lnTo>
                  <a:lnTo>
                    <a:pt x="444461" y="486054"/>
                  </a:lnTo>
                  <a:lnTo>
                    <a:pt x="451840" y="483717"/>
                  </a:lnTo>
                  <a:lnTo>
                    <a:pt x="458000" y="478967"/>
                  </a:lnTo>
                  <a:lnTo>
                    <a:pt x="462241" y="472274"/>
                  </a:lnTo>
                  <a:lnTo>
                    <a:pt x="463804" y="464146"/>
                  </a:lnTo>
                  <a:lnTo>
                    <a:pt x="463804" y="434492"/>
                  </a:lnTo>
                  <a:close/>
                </a:path>
                <a:path w="1102360" h="1104900">
                  <a:moveTo>
                    <a:pt x="683450" y="483946"/>
                  </a:moveTo>
                  <a:lnTo>
                    <a:pt x="681697" y="452539"/>
                  </a:lnTo>
                  <a:lnTo>
                    <a:pt x="668502" y="395097"/>
                  </a:lnTo>
                  <a:lnTo>
                    <a:pt x="651040" y="354558"/>
                  </a:lnTo>
                  <a:lnTo>
                    <a:pt x="645515" y="341706"/>
                  </a:lnTo>
                  <a:lnTo>
                    <a:pt x="616000" y="293433"/>
                  </a:lnTo>
                  <a:lnTo>
                    <a:pt x="583260" y="251358"/>
                  </a:lnTo>
                  <a:lnTo>
                    <a:pt x="550583" y="216509"/>
                  </a:lnTo>
                  <a:lnTo>
                    <a:pt x="521271" y="189953"/>
                  </a:lnTo>
                  <a:lnTo>
                    <a:pt x="498614" y="172770"/>
                  </a:lnTo>
                  <a:lnTo>
                    <a:pt x="509485" y="159880"/>
                  </a:lnTo>
                  <a:lnTo>
                    <a:pt x="550811" y="110883"/>
                  </a:lnTo>
                  <a:lnTo>
                    <a:pt x="561797" y="97993"/>
                  </a:lnTo>
                  <a:lnTo>
                    <a:pt x="564553" y="83261"/>
                  </a:lnTo>
                  <a:lnTo>
                    <a:pt x="561632" y="69138"/>
                  </a:lnTo>
                  <a:lnTo>
                    <a:pt x="560222" y="67043"/>
                  </a:lnTo>
                  <a:lnTo>
                    <a:pt x="553631" y="57200"/>
                  </a:lnTo>
                  <a:lnTo>
                    <a:pt x="541159" y="48996"/>
                  </a:lnTo>
                  <a:lnTo>
                    <a:pt x="530847" y="44881"/>
                  </a:lnTo>
                  <a:lnTo>
                    <a:pt x="530847" y="79946"/>
                  </a:lnTo>
                  <a:lnTo>
                    <a:pt x="530847" y="82524"/>
                  </a:lnTo>
                  <a:lnTo>
                    <a:pt x="497332" y="121196"/>
                  </a:lnTo>
                  <a:lnTo>
                    <a:pt x="497332" y="438353"/>
                  </a:lnTo>
                  <a:lnTo>
                    <a:pt x="497332" y="464146"/>
                  </a:lnTo>
                  <a:lnTo>
                    <a:pt x="493255" y="484390"/>
                  </a:lnTo>
                  <a:lnTo>
                    <a:pt x="482180" y="501370"/>
                  </a:lnTo>
                  <a:lnTo>
                    <a:pt x="465785" y="513270"/>
                  </a:lnTo>
                  <a:lnTo>
                    <a:pt x="445757" y="518287"/>
                  </a:lnTo>
                  <a:lnTo>
                    <a:pt x="445757" y="546658"/>
                  </a:lnTo>
                  <a:lnTo>
                    <a:pt x="438023" y="553097"/>
                  </a:lnTo>
                  <a:lnTo>
                    <a:pt x="422554" y="553097"/>
                  </a:lnTo>
                  <a:lnTo>
                    <a:pt x="414820" y="545363"/>
                  </a:lnTo>
                  <a:lnTo>
                    <a:pt x="414820" y="518287"/>
                  </a:lnTo>
                  <a:lnTo>
                    <a:pt x="413524" y="518287"/>
                  </a:lnTo>
                  <a:lnTo>
                    <a:pt x="392557" y="513994"/>
                  </a:lnTo>
                  <a:lnTo>
                    <a:pt x="375335" y="502335"/>
                  </a:lnTo>
                  <a:lnTo>
                    <a:pt x="363664" y="485114"/>
                  </a:lnTo>
                  <a:lnTo>
                    <a:pt x="359371" y="464146"/>
                  </a:lnTo>
                  <a:lnTo>
                    <a:pt x="359371" y="443509"/>
                  </a:lnTo>
                  <a:lnTo>
                    <a:pt x="367106" y="437070"/>
                  </a:lnTo>
                  <a:lnTo>
                    <a:pt x="383870" y="437070"/>
                  </a:lnTo>
                  <a:lnTo>
                    <a:pt x="390321" y="444804"/>
                  </a:lnTo>
                  <a:lnTo>
                    <a:pt x="390321" y="464146"/>
                  </a:lnTo>
                  <a:lnTo>
                    <a:pt x="392112" y="472465"/>
                  </a:lnTo>
                  <a:lnTo>
                    <a:pt x="396925" y="479450"/>
                  </a:lnTo>
                  <a:lnTo>
                    <a:pt x="403910" y="484263"/>
                  </a:lnTo>
                  <a:lnTo>
                    <a:pt x="412242" y="486054"/>
                  </a:lnTo>
                  <a:lnTo>
                    <a:pt x="413524" y="486054"/>
                  </a:lnTo>
                  <a:lnTo>
                    <a:pt x="413524" y="437070"/>
                  </a:lnTo>
                  <a:lnTo>
                    <a:pt x="413524" y="407416"/>
                  </a:lnTo>
                  <a:lnTo>
                    <a:pt x="371487" y="387527"/>
                  </a:lnTo>
                  <a:lnTo>
                    <a:pt x="356793" y="353263"/>
                  </a:lnTo>
                  <a:lnTo>
                    <a:pt x="356793" y="327482"/>
                  </a:lnTo>
                  <a:lnTo>
                    <a:pt x="361086" y="306514"/>
                  </a:lnTo>
                  <a:lnTo>
                    <a:pt x="372757" y="289280"/>
                  </a:lnTo>
                  <a:lnTo>
                    <a:pt x="389978" y="277622"/>
                  </a:lnTo>
                  <a:lnTo>
                    <a:pt x="410946" y="273329"/>
                  </a:lnTo>
                  <a:lnTo>
                    <a:pt x="413524" y="273329"/>
                  </a:lnTo>
                  <a:lnTo>
                    <a:pt x="413524" y="246253"/>
                  </a:lnTo>
                  <a:lnTo>
                    <a:pt x="421259" y="239814"/>
                  </a:lnTo>
                  <a:lnTo>
                    <a:pt x="436727" y="239814"/>
                  </a:lnTo>
                  <a:lnTo>
                    <a:pt x="444461" y="247548"/>
                  </a:lnTo>
                  <a:lnTo>
                    <a:pt x="444474" y="273329"/>
                  </a:lnTo>
                  <a:lnTo>
                    <a:pt x="464489" y="278168"/>
                  </a:lnTo>
                  <a:lnTo>
                    <a:pt x="480885" y="289763"/>
                  </a:lnTo>
                  <a:lnTo>
                    <a:pt x="491972" y="306692"/>
                  </a:lnTo>
                  <a:lnTo>
                    <a:pt x="496036" y="327482"/>
                  </a:lnTo>
                  <a:lnTo>
                    <a:pt x="496036" y="348107"/>
                  </a:lnTo>
                  <a:lnTo>
                    <a:pt x="488302" y="354558"/>
                  </a:lnTo>
                  <a:lnTo>
                    <a:pt x="472833" y="354558"/>
                  </a:lnTo>
                  <a:lnTo>
                    <a:pt x="465099" y="346824"/>
                  </a:lnTo>
                  <a:lnTo>
                    <a:pt x="465099" y="327482"/>
                  </a:lnTo>
                  <a:lnTo>
                    <a:pt x="463702" y="319887"/>
                  </a:lnTo>
                  <a:lnTo>
                    <a:pt x="459778" y="313131"/>
                  </a:lnTo>
                  <a:lnTo>
                    <a:pt x="453669" y="308076"/>
                  </a:lnTo>
                  <a:lnTo>
                    <a:pt x="445757" y="305562"/>
                  </a:lnTo>
                  <a:lnTo>
                    <a:pt x="445757" y="385495"/>
                  </a:lnTo>
                  <a:lnTo>
                    <a:pt x="467677" y="394525"/>
                  </a:lnTo>
                  <a:lnTo>
                    <a:pt x="479196" y="401370"/>
                  </a:lnTo>
                  <a:lnTo>
                    <a:pt x="488302" y="411607"/>
                  </a:lnTo>
                  <a:lnTo>
                    <a:pt x="494512" y="424256"/>
                  </a:lnTo>
                  <a:lnTo>
                    <a:pt x="497332" y="438353"/>
                  </a:lnTo>
                  <a:lnTo>
                    <a:pt x="497332" y="121196"/>
                  </a:lnTo>
                  <a:lnTo>
                    <a:pt x="463804" y="159880"/>
                  </a:lnTo>
                  <a:lnTo>
                    <a:pt x="444461" y="158419"/>
                  </a:lnTo>
                  <a:lnTo>
                    <a:pt x="425132" y="157937"/>
                  </a:lnTo>
                  <a:lnTo>
                    <a:pt x="405790" y="158419"/>
                  </a:lnTo>
                  <a:lnTo>
                    <a:pt x="386448" y="159880"/>
                  </a:lnTo>
                  <a:lnTo>
                    <a:pt x="319405" y="82524"/>
                  </a:lnTo>
                  <a:lnTo>
                    <a:pt x="320700" y="82524"/>
                  </a:lnTo>
                  <a:lnTo>
                    <a:pt x="321983" y="81229"/>
                  </a:lnTo>
                  <a:lnTo>
                    <a:pt x="324561" y="79946"/>
                  </a:lnTo>
                  <a:lnTo>
                    <a:pt x="350354" y="69621"/>
                  </a:lnTo>
                  <a:lnTo>
                    <a:pt x="369697" y="105727"/>
                  </a:lnTo>
                  <a:lnTo>
                    <a:pt x="372275" y="110883"/>
                  </a:lnTo>
                  <a:lnTo>
                    <a:pt x="377431" y="114744"/>
                  </a:lnTo>
                  <a:lnTo>
                    <a:pt x="392899" y="114744"/>
                  </a:lnTo>
                  <a:lnTo>
                    <a:pt x="400634" y="107010"/>
                  </a:lnTo>
                  <a:lnTo>
                    <a:pt x="399338" y="97993"/>
                  </a:lnTo>
                  <a:lnTo>
                    <a:pt x="399338" y="95415"/>
                  </a:lnTo>
                  <a:lnTo>
                    <a:pt x="398056" y="92837"/>
                  </a:lnTo>
                  <a:lnTo>
                    <a:pt x="398056" y="90258"/>
                  </a:lnTo>
                  <a:lnTo>
                    <a:pt x="386880" y="69621"/>
                  </a:lnTo>
                  <a:lnTo>
                    <a:pt x="384352" y="64947"/>
                  </a:lnTo>
                  <a:lnTo>
                    <a:pt x="374662" y="47282"/>
                  </a:lnTo>
                  <a:lnTo>
                    <a:pt x="369697" y="38684"/>
                  </a:lnTo>
                  <a:lnTo>
                    <a:pt x="370979" y="34810"/>
                  </a:lnTo>
                  <a:lnTo>
                    <a:pt x="374853" y="32232"/>
                  </a:lnTo>
                  <a:lnTo>
                    <a:pt x="476694" y="32232"/>
                  </a:lnTo>
                  <a:lnTo>
                    <a:pt x="480568" y="34810"/>
                  </a:lnTo>
                  <a:lnTo>
                    <a:pt x="481850" y="38684"/>
                  </a:lnTo>
                  <a:lnTo>
                    <a:pt x="454787" y="88963"/>
                  </a:lnTo>
                  <a:lnTo>
                    <a:pt x="453072" y="95110"/>
                  </a:lnTo>
                  <a:lnTo>
                    <a:pt x="453656" y="101371"/>
                  </a:lnTo>
                  <a:lnTo>
                    <a:pt x="456412" y="106908"/>
                  </a:lnTo>
                  <a:lnTo>
                    <a:pt x="461225" y="110883"/>
                  </a:lnTo>
                  <a:lnTo>
                    <a:pt x="463804" y="112166"/>
                  </a:lnTo>
                  <a:lnTo>
                    <a:pt x="475411" y="112166"/>
                  </a:lnTo>
                  <a:lnTo>
                    <a:pt x="480568" y="108305"/>
                  </a:lnTo>
                  <a:lnTo>
                    <a:pt x="483146" y="103149"/>
                  </a:lnTo>
                  <a:lnTo>
                    <a:pt x="502488" y="67043"/>
                  </a:lnTo>
                  <a:lnTo>
                    <a:pt x="526986" y="77355"/>
                  </a:lnTo>
                  <a:lnTo>
                    <a:pt x="529564" y="78651"/>
                  </a:lnTo>
                  <a:lnTo>
                    <a:pt x="530847" y="79946"/>
                  </a:lnTo>
                  <a:lnTo>
                    <a:pt x="530847" y="44881"/>
                  </a:lnTo>
                  <a:lnTo>
                    <a:pt x="515378" y="38684"/>
                  </a:lnTo>
                  <a:lnTo>
                    <a:pt x="513727" y="32232"/>
                  </a:lnTo>
                  <a:lnTo>
                    <a:pt x="511467" y="23393"/>
                  </a:lnTo>
                  <a:lnTo>
                    <a:pt x="502488" y="11125"/>
                  </a:lnTo>
                  <a:lnTo>
                    <a:pt x="489635" y="2971"/>
                  </a:lnTo>
                  <a:lnTo>
                    <a:pt x="474116" y="0"/>
                  </a:lnTo>
                  <a:lnTo>
                    <a:pt x="380009" y="0"/>
                  </a:lnTo>
                  <a:lnTo>
                    <a:pt x="364490" y="2971"/>
                  </a:lnTo>
                  <a:lnTo>
                    <a:pt x="351637" y="11125"/>
                  </a:lnTo>
                  <a:lnTo>
                    <a:pt x="342658" y="23393"/>
                  </a:lnTo>
                  <a:lnTo>
                    <a:pt x="338747" y="38684"/>
                  </a:lnTo>
                  <a:lnTo>
                    <a:pt x="312966" y="48996"/>
                  </a:lnTo>
                  <a:lnTo>
                    <a:pt x="300494" y="57200"/>
                  </a:lnTo>
                  <a:lnTo>
                    <a:pt x="292493" y="69138"/>
                  </a:lnTo>
                  <a:lnTo>
                    <a:pt x="289572" y="83261"/>
                  </a:lnTo>
                  <a:lnTo>
                    <a:pt x="292328" y="97993"/>
                  </a:lnTo>
                  <a:lnTo>
                    <a:pt x="302755" y="110223"/>
                  </a:lnTo>
                  <a:lnTo>
                    <a:pt x="355511" y="172770"/>
                  </a:lnTo>
                  <a:lnTo>
                    <a:pt x="302717" y="217322"/>
                  </a:lnTo>
                  <a:lnTo>
                    <a:pt x="269824" y="252399"/>
                  </a:lnTo>
                  <a:lnTo>
                    <a:pt x="236943" y="294627"/>
                  </a:lnTo>
                  <a:lnTo>
                    <a:pt x="207352" y="342963"/>
                  </a:lnTo>
                  <a:lnTo>
                    <a:pt x="184327" y="396379"/>
                  </a:lnTo>
                  <a:lnTo>
                    <a:pt x="171145" y="453821"/>
                  </a:lnTo>
                  <a:lnTo>
                    <a:pt x="169989" y="483946"/>
                  </a:lnTo>
                  <a:lnTo>
                    <a:pt x="170053" y="486054"/>
                  </a:lnTo>
                  <a:lnTo>
                    <a:pt x="183476" y="538861"/>
                  </a:lnTo>
                  <a:lnTo>
                    <a:pt x="233553" y="587667"/>
                  </a:lnTo>
                  <a:lnTo>
                    <a:pt x="270090" y="601446"/>
                  </a:lnTo>
                  <a:lnTo>
                    <a:pt x="312966" y="607250"/>
                  </a:lnTo>
                  <a:lnTo>
                    <a:pt x="539877" y="607250"/>
                  </a:lnTo>
                  <a:lnTo>
                    <a:pt x="583222" y="601281"/>
                  </a:lnTo>
                  <a:lnTo>
                    <a:pt x="619823" y="587121"/>
                  </a:lnTo>
                  <a:lnTo>
                    <a:pt x="654621" y="559549"/>
                  </a:lnTo>
                  <a:lnTo>
                    <a:pt x="658990" y="553097"/>
                  </a:lnTo>
                  <a:lnTo>
                    <a:pt x="669544" y="537565"/>
                  </a:lnTo>
                  <a:lnTo>
                    <a:pt x="679272" y="512330"/>
                  </a:lnTo>
                  <a:lnTo>
                    <a:pt x="683450" y="483946"/>
                  </a:lnTo>
                  <a:close/>
                </a:path>
                <a:path w="1102360" h="1104900">
                  <a:moveTo>
                    <a:pt x="974356" y="998258"/>
                  </a:moveTo>
                  <a:lnTo>
                    <a:pt x="959815" y="983716"/>
                  </a:lnTo>
                  <a:lnTo>
                    <a:pt x="955370" y="983716"/>
                  </a:lnTo>
                  <a:lnTo>
                    <a:pt x="940828" y="998258"/>
                  </a:lnTo>
                  <a:lnTo>
                    <a:pt x="940828" y="1002703"/>
                  </a:lnTo>
                  <a:lnTo>
                    <a:pt x="955370" y="1017231"/>
                  </a:lnTo>
                  <a:lnTo>
                    <a:pt x="959815" y="1017231"/>
                  </a:lnTo>
                  <a:lnTo>
                    <a:pt x="974356" y="1002703"/>
                  </a:lnTo>
                  <a:lnTo>
                    <a:pt x="974356" y="1000480"/>
                  </a:lnTo>
                  <a:lnTo>
                    <a:pt x="974356" y="998258"/>
                  </a:lnTo>
                  <a:close/>
                </a:path>
                <a:path w="1102360" h="1104900">
                  <a:moveTo>
                    <a:pt x="1101991" y="1081697"/>
                  </a:moveTo>
                  <a:lnTo>
                    <a:pt x="1096835" y="1073962"/>
                  </a:lnTo>
                  <a:lnTo>
                    <a:pt x="885393" y="1073962"/>
                  </a:lnTo>
                  <a:lnTo>
                    <a:pt x="885393" y="946327"/>
                  </a:lnTo>
                  <a:lnTo>
                    <a:pt x="885393" y="747776"/>
                  </a:lnTo>
                  <a:lnTo>
                    <a:pt x="885393" y="718121"/>
                  </a:lnTo>
                  <a:lnTo>
                    <a:pt x="1064602" y="718121"/>
                  </a:lnTo>
                  <a:lnTo>
                    <a:pt x="1071054" y="710387"/>
                  </a:lnTo>
                  <a:lnTo>
                    <a:pt x="1071054" y="694918"/>
                  </a:lnTo>
                  <a:lnTo>
                    <a:pt x="1064602" y="685888"/>
                  </a:lnTo>
                  <a:lnTo>
                    <a:pt x="885393" y="685888"/>
                  </a:lnTo>
                  <a:lnTo>
                    <a:pt x="885393" y="625297"/>
                  </a:lnTo>
                  <a:lnTo>
                    <a:pt x="877658" y="618858"/>
                  </a:lnTo>
                  <a:lnTo>
                    <a:pt x="862190" y="618858"/>
                  </a:lnTo>
                  <a:lnTo>
                    <a:pt x="854456" y="626592"/>
                  </a:lnTo>
                  <a:lnTo>
                    <a:pt x="854456" y="685888"/>
                  </a:lnTo>
                  <a:lnTo>
                    <a:pt x="753897" y="685888"/>
                  </a:lnTo>
                  <a:lnTo>
                    <a:pt x="747445" y="693635"/>
                  </a:lnTo>
                  <a:lnTo>
                    <a:pt x="747445" y="747776"/>
                  </a:lnTo>
                  <a:lnTo>
                    <a:pt x="746150" y="747776"/>
                  </a:lnTo>
                  <a:lnTo>
                    <a:pt x="746150" y="780008"/>
                  </a:lnTo>
                  <a:lnTo>
                    <a:pt x="744867" y="946327"/>
                  </a:lnTo>
                  <a:lnTo>
                    <a:pt x="609498" y="946327"/>
                  </a:lnTo>
                  <a:lnTo>
                    <a:pt x="253657" y="814819"/>
                  </a:lnTo>
                  <a:lnTo>
                    <a:pt x="40932" y="667842"/>
                  </a:lnTo>
                  <a:lnTo>
                    <a:pt x="46088" y="662686"/>
                  </a:lnTo>
                  <a:lnTo>
                    <a:pt x="64998" y="651510"/>
                  </a:lnTo>
                  <a:lnTo>
                    <a:pt x="87185" y="649630"/>
                  </a:lnTo>
                  <a:lnTo>
                    <a:pt x="110083" y="655256"/>
                  </a:lnTo>
                  <a:lnTo>
                    <a:pt x="131178" y="666559"/>
                  </a:lnTo>
                  <a:lnTo>
                    <a:pt x="323278" y="777430"/>
                  </a:lnTo>
                  <a:lnTo>
                    <a:pt x="328434" y="780008"/>
                  </a:lnTo>
                  <a:lnTo>
                    <a:pt x="570814" y="780008"/>
                  </a:lnTo>
                  <a:lnTo>
                    <a:pt x="577265" y="772274"/>
                  </a:lnTo>
                  <a:lnTo>
                    <a:pt x="577265" y="756805"/>
                  </a:lnTo>
                  <a:lnTo>
                    <a:pt x="569531" y="749071"/>
                  </a:lnTo>
                  <a:lnTo>
                    <a:pt x="414820" y="749071"/>
                  </a:lnTo>
                  <a:lnTo>
                    <a:pt x="397789" y="742213"/>
                  </a:lnTo>
                  <a:lnTo>
                    <a:pt x="384035" y="729081"/>
                  </a:lnTo>
                  <a:lnTo>
                    <a:pt x="374383" y="712089"/>
                  </a:lnTo>
                  <a:lnTo>
                    <a:pt x="369697" y="693635"/>
                  </a:lnTo>
                  <a:lnTo>
                    <a:pt x="604342" y="693635"/>
                  </a:lnTo>
                  <a:lnTo>
                    <a:pt x="699744" y="776147"/>
                  </a:lnTo>
                  <a:lnTo>
                    <a:pt x="702322" y="778725"/>
                  </a:lnTo>
                  <a:lnTo>
                    <a:pt x="706183" y="780008"/>
                  </a:lnTo>
                  <a:lnTo>
                    <a:pt x="746150" y="780008"/>
                  </a:lnTo>
                  <a:lnTo>
                    <a:pt x="746150" y="747776"/>
                  </a:lnTo>
                  <a:lnTo>
                    <a:pt x="717791" y="747776"/>
                  </a:lnTo>
                  <a:lnTo>
                    <a:pt x="656031" y="693635"/>
                  </a:lnTo>
                  <a:lnTo>
                    <a:pt x="623671" y="665264"/>
                  </a:lnTo>
                  <a:lnTo>
                    <a:pt x="621093" y="662686"/>
                  </a:lnTo>
                  <a:lnTo>
                    <a:pt x="617232" y="661403"/>
                  </a:lnTo>
                  <a:lnTo>
                    <a:pt x="346481" y="661403"/>
                  </a:lnTo>
                  <a:lnTo>
                    <a:pt x="338747" y="666559"/>
                  </a:lnTo>
                  <a:lnTo>
                    <a:pt x="338747" y="675576"/>
                  </a:lnTo>
                  <a:lnTo>
                    <a:pt x="337464" y="685888"/>
                  </a:lnTo>
                  <a:lnTo>
                    <a:pt x="338886" y="703021"/>
                  </a:lnTo>
                  <a:lnTo>
                    <a:pt x="343103" y="719416"/>
                  </a:lnTo>
                  <a:lnTo>
                    <a:pt x="349973" y="734847"/>
                  </a:lnTo>
                  <a:lnTo>
                    <a:pt x="359371" y="749071"/>
                  </a:lnTo>
                  <a:lnTo>
                    <a:pt x="341325" y="749071"/>
                  </a:lnTo>
                  <a:lnTo>
                    <a:pt x="322313" y="719416"/>
                  </a:lnTo>
                  <a:lnTo>
                    <a:pt x="282016" y="656551"/>
                  </a:lnTo>
                  <a:lnTo>
                    <a:pt x="282016" y="719416"/>
                  </a:lnTo>
                  <a:lnTo>
                    <a:pt x="187909" y="665264"/>
                  </a:lnTo>
                  <a:lnTo>
                    <a:pt x="179336" y="649630"/>
                  </a:lnTo>
                  <a:lnTo>
                    <a:pt x="169519" y="631748"/>
                  </a:lnTo>
                  <a:lnTo>
                    <a:pt x="165989" y="625297"/>
                  </a:lnTo>
                  <a:lnTo>
                    <a:pt x="173723" y="622719"/>
                  </a:lnTo>
                  <a:lnTo>
                    <a:pt x="195173" y="621576"/>
                  </a:lnTo>
                  <a:lnTo>
                    <a:pt x="215785" y="629970"/>
                  </a:lnTo>
                  <a:lnTo>
                    <a:pt x="233730" y="645388"/>
                  </a:lnTo>
                  <a:lnTo>
                    <a:pt x="247205" y="665264"/>
                  </a:lnTo>
                  <a:lnTo>
                    <a:pt x="282016" y="719416"/>
                  </a:lnTo>
                  <a:lnTo>
                    <a:pt x="282016" y="656551"/>
                  </a:lnTo>
                  <a:lnTo>
                    <a:pt x="257848" y="621576"/>
                  </a:lnTo>
                  <a:lnTo>
                    <a:pt x="198907" y="588492"/>
                  </a:lnTo>
                  <a:lnTo>
                    <a:pt x="164693" y="591781"/>
                  </a:lnTo>
                  <a:lnTo>
                    <a:pt x="150329" y="596455"/>
                  </a:lnTo>
                  <a:lnTo>
                    <a:pt x="142621" y="599186"/>
                  </a:lnTo>
                  <a:lnTo>
                    <a:pt x="139496" y="600481"/>
                  </a:lnTo>
                  <a:lnTo>
                    <a:pt x="138912" y="600798"/>
                  </a:lnTo>
                  <a:lnTo>
                    <a:pt x="135039" y="602094"/>
                  </a:lnTo>
                  <a:lnTo>
                    <a:pt x="131178" y="605955"/>
                  </a:lnTo>
                  <a:lnTo>
                    <a:pt x="128600" y="613702"/>
                  </a:lnTo>
                  <a:lnTo>
                    <a:pt x="128600" y="618858"/>
                  </a:lnTo>
                  <a:lnTo>
                    <a:pt x="131178" y="622719"/>
                  </a:lnTo>
                  <a:lnTo>
                    <a:pt x="136334" y="631748"/>
                  </a:lnTo>
                  <a:lnTo>
                    <a:pt x="107924" y="620623"/>
                  </a:lnTo>
                  <a:lnTo>
                    <a:pt x="78320" y="617245"/>
                  </a:lnTo>
                  <a:lnTo>
                    <a:pt x="49669" y="623049"/>
                  </a:lnTo>
                  <a:lnTo>
                    <a:pt x="24168" y="639483"/>
                  </a:lnTo>
                  <a:lnTo>
                    <a:pt x="3543" y="660107"/>
                  </a:lnTo>
                  <a:lnTo>
                    <a:pt x="673" y="665543"/>
                  </a:lnTo>
                  <a:lnTo>
                    <a:pt x="0" y="671715"/>
                  </a:lnTo>
                  <a:lnTo>
                    <a:pt x="1727" y="677875"/>
                  </a:lnTo>
                  <a:lnTo>
                    <a:pt x="6121" y="683310"/>
                  </a:lnTo>
                  <a:lnTo>
                    <a:pt x="236893" y="843191"/>
                  </a:lnTo>
                  <a:lnTo>
                    <a:pt x="600468" y="978560"/>
                  </a:lnTo>
                  <a:lnTo>
                    <a:pt x="744867" y="979843"/>
                  </a:lnTo>
                  <a:lnTo>
                    <a:pt x="744867" y="1014653"/>
                  </a:lnTo>
                  <a:lnTo>
                    <a:pt x="752602" y="1021105"/>
                  </a:lnTo>
                  <a:lnTo>
                    <a:pt x="851877" y="1021105"/>
                  </a:lnTo>
                  <a:lnTo>
                    <a:pt x="851877" y="1098461"/>
                  </a:lnTo>
                  <a:lnTo>
                    <a:pt x="859612" y="1104900"/>
                  </a:lnTo>
                  <a:lnTo>
                    <a:pt x="1095552" y="1104900"/>
                  </a:lnTo>
                  <a:lnTo>
                    <a:pt x="1101991" y="1097165"/>
                  </a:lnTo>
                  <a:lnTo>
                    <a:pt x="1101991" y="1081697"/>
                  </a:lnTo>
                  <a:close/>
                </a:path>
              </a:pathLst>
            </a:custGeom>
            <a:solidFill>
              <a:srgbClr val="FFFFFF"/>
            </a:solidFill>
          </p:spPr>
          <p:txBody>
            <a:bodyPr wrap="square" lIns="0" tIns="0" rIns="0" bIns="0" rtlCol="0"/>
            <a:lstStyle/>
            <a:p>
              <a:endParaRPr/>
            </a:p>
          </p:txBody>
        </p:sp>
      </p:grpSp>
      <p:sp>
        <p:nvSpPr>
          <p:cNvPr id="35" name="object 35"/>
          <p:cNvSpPr/>
          <p:nvPr/>
        </p:nvSpPr>
        <p:spPr>
          <a:xfrm>
            <a:off x="1358170" y="8150152"/>
            <a:ext cx="4284980" cy="1065530"/>
          </a:xfrm>
          <a:custGeom>
            <a:avLst/>
            <a:gdLst/>
            <a:ahLst/>
            <a:cxnLst/>
            <a:rect l="l" t="t" r="r" b="b"/>
            <a:pathLst>
              <a:path w="4284980" h="1065529">
                <a:moveTo>
                  <a:pt x="4284377" y="1065262"/>
                </a:moveTo>
                <a:lnTo>
                  <a:pt x="0" y="1065262"/>
                </a:lnTo>
                <a:lnTo>
                  <a:pt x="0" y="0"/>
                </a:lnTo>
                <a:lnTo>
                  <a:pt x="4284377" y="0"/>
                </a:lnTo>
                <a:lnTo>
                  <a:pt x="4284377" y="1065262"/>
                </a:lnTo>
                <a:close/>
              </a:path>
            </a:pathLst>
          </a:custGeom>
          <a:solidFill>
            <a:srgbClr val="FFFFFF"/>
          </a:solidFill>
        </p:spPr>
        <p:txBody>
          <a:bodyPr wrap="square" lIns="0" tIns="0" rIns="0" bIns="0" rtlCol="0"/>
          <a:lstStyle/>
          <a:p>
            <a:endParaRPr/>
          </a:p>
        </p:txBody>
      </p:sp>
      <p:sp>
        <p:nvSpPr>
          <p:cNvPr id="36" name="object 36"/>
          <p:cNvSpPr txBox="1"/>
          <p:nvPr/>
        </p:nvSpPr>
        <p:spPr>
          <a:xfrm>
            <a:off x="2141703" y="8251866"/>
            <a:ext cx="3020695" cy="692150"/>
          </a:xfrm>
          <a:prstGeom prst="rect">
            <a:avLst/>
          </a:prstGeom>
        </p:spPr>
        <p:txBody>
          <a:bodyPr vert="horz" wrap="square" lIns="0" tIns="12065" rIns="0" bIns="0" rtlCol="0">
            <a:spAutoFit/>
          </a:bodyPr>
          <a:lstStyle/>
          <a:p>
            <a:pPr marL="490855" marR="5080" indent="-478790">
              <a:lnSpc>
                <a:spcPct val="115100"/>
              </a:lnSpc>
              <a:spcBef>
                <a:spcPts val="95"/>
              </a:spcBef>
            </a:pPr>
            <a:r>
              <a:rPr sz="1900" dirty="0">
                <a:solidFill>
                  <a:srgbClr val="737373"/>
                </a:solidFill>
                <a:latin typeface="Roboto"/>
                <a:cs typeface="Roboto"/>
              </a:rPr>
              <a:t>Desarrollo</a:t>
            </a:r>
            <a:r>
              <a:rPr sz="1900" spc="-45" dirty="0">
                <a:solidFill>
                  <a:srgbClr val="737373"/>
                </a:solidFill>
                <a:latin typeface="Roboto"/>
                <a:cs typeface="Roboto"/>
              </a:rPr>
              <a:t> </a:t>
            </a:r>
            <a:r>
              <a:rPr sz="1900" dirty="0">
                <a:solidFill>
                  <a:srgbClr val="737373"/>
                </a:solidFill>
                <a:latin typeface="Roboto"/>
                <a:cs typeface="Roboto"/>
              </a:rPr>
              <a:t>del</a:t>
            </a:r>
            <a:r>
              <a:rPr sz="1900" spc="-40" dirty="0">
                <a:solidFill>
                  <a:srgbClr val="737373"/>
                </a:solidFill>
                <a:latin typeface="Roboto"/>
                <a:cs typeface="Roboto"/>
              </a:rPr>
              <a:t> </a:t>
            </a:r>
            <a:r>
              <a:rPr sz="1900" b="1" dirty="0">
                <a:solidFill>
                  <a:srgbClr val="E3112B"/>
                </a:solidFill>
                <a:latin typeface="Roboto"/>
                <a:cs typeface="Roboto"/>
              </a:rPr>
              <a:t>corporativo</a:t>
            </a:r>
            <a:r>
              <a:rPr sz="1900" b="1" spc="-45" dirty="0">
                <a:solidFill>
                  <a:srgbClr val="E3112B"/>
                </a:solidFill>
                <a:latin typeface="Roboto"/>
                <a:cs typeface="Roboto"/>
              </a:rPr>
              <a:t> </a:t>
            </a:r>
            <a:r>
              <a:rPr sz="1900" b="1" spc="-50" dirty="0">
                <a:solidFill>
                  <a:srgbClr val="E3112B"/>
                </a:solidFill>
                <a:latin typeface="Roboto"/>
                <a:cs typeface="Roboto"/>
              </a:rPr>
              <a:t>e </a:t>
            </a:r>
            <a:r>
              <a:rPr sz="1900" b="1" dirty="0">
                <a:solidFill>
                  <a:srgbClr val="E3112B"/>
                </a:solidFill>
                <a:latin typeface="Roboto"/>
                <a:cs typeface="Roboto"/>
              </a:rPr>
              <a:t>incentivos</a:t>
            </a:r>
            <a:r>
              <a:rPr sz="1900" b="1" spc="-70" dirty="0">
                <a:solidFill>
                  <a:srgbClr val="E3112B"/>
                </a:solidFill>
                <a:latin typeface="Roboto"/>
                <a:cs typeface="Roboto"/>
              </a:rPr>
              <a:t> </a:t>
            </a:r>
            <a:r>
              <a:rPr sz="1900" b="1" spc="-10" dirty="0">
                <a:solidFill>
                  <a:srgbClr val="E3112B"/>
                </a:solidFill>
                <a:latin typeface="Roboto"/>
                <a:cs typeface="Roboto"/>
              </a:rPr>
              <a:t>upscale</a:t>
            </a:r>
            <a:endParaRPr sz="1900">
              <a:latin typeface="Roboto"/>
              <a:cs typeface="Roboto"/>
            </a:endParaRPr>
          </a:p>
        </p:txBody>
      </p:sp>
      <p:sp>
        <p:nvSpPr>
          <p:cNvPr id="37" name="object 37"/>
          <p:cNvSpPr/>
          <p:nvPr/>
        </p:nvSpPr>
        <p:spPr>
          <a:xfrm>
            <a:off x="823475" y="8165874"/>
            <a:ext cx="1069975" cy="1069975"/>
          </a:xfrm>
          <a:custGeom>
            <a:avLst/>
            <a:gdLst/>
            <a:ahLst/>
            <a:cxnLst/>
            <a:rect l="l" t="t" r="r" b="b"/>
            <a:pathLst>
              <a:path w="1069975" h="1069975">
                <a:moveTo>
                  <a:pt x="534695" y="1069390"/>
                </a:moveTo>
                <a:lnTo>
                  <a:pt x="486027" y="1067205"/>
                </a:lnTo>
                <a:lnTo>
                  <a:pt x="438583" y="1060775"/>
                </a:lnTo>
                <a:lnTo>
                  <a:pt x="392552" y="1050290"/>
                </a:lnTo>
                <a:lnTo>
                  <a:pt x="348122" y="1035938"/>
                </a:lnTo>
                <a:lnTo>
                  <a:pt x="305483" y="1017908"/>
                </a:lnTo>
                <a:lnTo>
                  <a:pt x="264824" y="996388"/>
                </a:lnTo>
                <a:lnTo>
                  <a:pt x="226332" y="971568"/>
                </a:lnTo>
                <a:lnTo>
                  <a:pt x="190197" y="943636"/>
                </a:lnTo>
                <a:lnTo>
                  <a:pt x="156608" y="912781"/>
                </a:lnTo>
                <a:lnTo>
                  <a:pt x="125753" y="879192"/>
                </a:lnTo>
                <a:lnTo>
                  <a:pt x="97821" y="843057"/>
                </a:lnTo>
                <a:lnTo>
                  <a:pt x="73001" y="804566"/>
                </a:lnTo>
                <a:lnTo>
                  <a:pt x="51482" y="763906"/>
                </a:lnTo>
                <a:lnTo>
                  <a:pt x="33451" y="721267"/>
                </a:lnTo>
                <a:lnTo>
                  <a:pt x="19099" y="676838"/>
                </a:lnTo>
                <a:lnTo>
                  <a:pt x="8614" y="630807"/>
                </a:lnTo>
                <a:lnTo>
                  <a:pt x="2185" y="583363"/>
                </a:lnTo>
                <a:lnTo>
                  <a:pt x="0" y="534695"/>
                </a:lnTo>
                <a:lnTo>
                  <a:pt x="2185" y="486027"/>
                </a:lnTo>
                <a:lnTo>
                  <a:pt x="8614" y="438583"/>
                </a:lnTo>
                <a:lnTo>
                  <a:pt x="19099" y="392552"/>
                </a:lnTo>
                <a:lnTo>
                  <a:pt x="33451" y="348122"/>
                </a:lnTo>
                <a:lnTo>
                  <a:pt x="51482" y="305484"/>
                </a:lnTo>
                <a:lnTo>
                  <a:pt x="73001" y="264824"/>
                </a:lnTo>
                <a:lnTo>
                  <a:pt x="97821" y="226332"/>
                </a:lnTo>
                <a:lnTo>
                  <a:pt x="125753" y="190198"/>
                </a:lnTo>
                <a:lnTo>
                  <a:pt x="156608" y="156608"/>
                </a:lnTo>
                <a:lnTo>
                  <a:pt x="190197" y="125753"/>
                </a:lnTo>
                <a:lnTo>
                  <a:pt x="226332" y="97821"/>
                </a:lnTo>
                <a:lnTo>
                  <a:pt x="264824" y="73001"/>
                </a:lnTo>
                <a:lnTo>
                  <a:pt x="305483" y="51482"/>
                </a:lnTo>
                <a:lnTo>
                  <a:pt x="348122" y="33451"/>
                </a:lnTo>
                <a:lnTo>
                  <a:pt x="392552" y="19099"/>
                </a:lnTo>
                <a:lnTo>
                  <a:pt x="438583" y="8614"/>
                </a:lnTo>
                <a:lnTo>
                  <a:pt x="486027"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8"/>
                </a:lnTo>
                <a:lnTo>
                  <a:pt x="971568" y="226332"/>
                </a:lnTo>
                <a:lnTo>
                  <a:pt x="996389" y="264824"/>
                </a:lnTo>
                <a:lnTo>
                  <a:pt x="1017908" y="305484"/>
                </a:lnTo>
                <a:lnTo>
                  <a:pt x="1035938" y="348122"/>
                </a:lnTo>
                <a:lnTo>
                  <a:pt x="1050290" y="392552"/>
                </a:lnTo>
                <a:lnTo>
                  <a:pt x="1060775" y="438583"/>
                </a:lnTo>
                <a:lnTo>
                  <a:pt x="1067205" y="486027"/>
                </a:lnTo>
                <a:lnTo>
                  <a:pt x="1069390" y="534695"/>
                </a:lnTo>
                <a:lnTo>
                  <a:pt x="1067205" y="583363"/>
                </a:lnTo>
                <a:lnTo>
                  <a:pt x="1060775" y="630807"/>
                </a:lnTo>
                <a:lnTo>
                  <a:pt x="1050290" y="676838"/>
                </a:lnTo>
                <a:lnTo>
                  <a:pt x="1035938" y="721267"/>
                </a:lnTo>
                <a:lnTo>
                  <a:pt x="1017908" y="763906"/>
                </a:lnTo>
                <a:lnTo>
                  <a:pt x="996389" y="804566"/>
                </a:lnTo>
                <a:lnTo>
                  <a:pt x="971568" y="843057"/>
                </a:lnTo>
                <a:lnTo>
                  <a:pt x="943636" y="879192"/>
                </a:lnTo>
                <a:lnTo>
                  <a:pt x="912781" y="912781"/>
                </a:lnTo>
                <a:lnTo>
                  <a:pt x="879192" y="943636"/>
                </a:lnTo>
                <a:lnTo>
                  <a:pt x="843057" y="971568"/>
                </a:lnTo>
                <a:lnTo>
                  <a:pt x="804566" y="996388"/>
                </a:lnTo>
                <a:lnTo>
                  <a:pt x="763906" y="1017908"/>
                </a:lnTo>
                <a:lnTo>
                  <a:pt x="721267" y="1035938"/>
                </a:lnTo>
                <a:lnTo>
                  <a:pt x="676838" y="1050290"/>
                </a:lnTo>
                <a:lnTo>
                  <a:pt x="630807" y="1060775"/>
                </a:lnTo>
                <a:lnTo>
                  <a:pt x="583363" y="1067205"/>
                </a:lnTo>
                <a:lnTo>
                  <a:pt x="534695" y="1069390"/>
                </a:lnTo>
                <a:close/>
              </a:path>
            </a:pathLst>
          </a:custGeom>
          <a:solidFill>
            <a:srgbClr val="003793"/>
          </a:solidFill>
        </p:spPr>
        <p:txBody>
          <a:bodyPr wrap="square" lIns="0" tIns="0" rIns="0" bIns="0" rtlCol="0"/>
          <a:lstStyle/>
          <a:p>
            <a:endParaRPr/>
          </a:p>
        </p:txBody>
      </p:sp>
      <p:sp>
        <p:nvSpPr>
          <p:cNvPr id="38" name="object 38"/>
          <p:cNvSpPr txBox="1"/>
          <p:nvPr/>
        </p:nvSpPr>
        <p:spPr>
          <a:xfrm>
            <a:off x="1066391" y="8432073"/>
            <a:ext cx="583565" cy="506730"/>
          </a:xfrm>
          <a:prstGeom prst="rect">
            <a:avLst/>
          </a:prstGeom>
        </p:spPr>
        <p:txBody>
          <a:bodyPr vert="horz" wrap="square" lIns="0" tIns="13335" rIns="0" bIns="0" rtlCol="0">
            <a:spAutoFit/>
          </a:bodyPr>
          <a:lstStyle/>
          <a:p>
            <a:pPr marL="12700">
              <a:lnSpc>
                <a:spcPct val="100000"/>
              </a:lnSpc>
              <a:spcBef>
                <a:spcPts val="105"/>
              </a:spcBef>
            </a:pPr>
            <a:r>
              <a:rPr sz="3150" b="1" spc="400" dirty="0">
                <a:solidFill>
                  <a:srgbClr val="FFFFFF"/>
                </a:solidFill>
                <a:latin typeface="Arial"/>
                <a:cs typeface="Arial"/>
              </a:rPr>
              <a:t>04</a:t>
            </a:r>
            <a:endParaRPr sz="3150">
              <a:latin typeface="Arial"/>
              <a:cs typeface="Arial"/>
            </a:endParaRPr>
          </a:p>
        </p:txBody>
      </p:sp>
      <p:grpSp>
        <p:nvGrpSpPr>
          <p:cNvPr id="39" name="object 39"/>
          <p:cNvGrpSpPr/>
          <p:nvPr/>
        </p:nvGrpSpPr>
        <p:grpSpPr>
          <a:xfrm>
            <a:off x="8129527" y="6047645"/>
            <a:ext cx="1858010" cy="1858010"/>
            <a:chOff x="8129527" y="6047645"/>
            <a:chExt cx="1858010" cy="1858010"/>
          </a:xfrm>
        </p:grpSpPr>
        <p:sp>
          <p:nvSpPr>
            <p:cNvPr id="40" name="object 40"/>
            <p:cNvSpPr/>
            <p:nvPr/>
          </p:nvSpPr>
          <p:spPr>
            <a:xfrm>
              <a:off x="8129527" y="6047645"/>
              <a:ext cx="1858010" cy="1858010"/>
            </a:xfrm>
            <a:custGeom>
              <a:avLst/>
              <a:gdLst/>
              <a:ahLst/>
              <a:cxnLst/>
              <a:rect l="l" t="t" r="r" b="b"/>
              <a:pathLst>
                <a:path w="1858009" h="1858009">
                  <a:moveTo>
                    <a:pt x="928903" y="1857797"/>
                  </a:moveTo>
                  <a:lnTo>
                    <a:pt x="881097" y="1856589"/>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8" y="1585729"/>
                  </a:lnTo>
                  <a:lnTo>
                    <a:pt x="241311" y="1553469"/>
                  </a:lnTo>
                  <a:lnTo>
                    <a:pt x="212115" y="1519764"/>
                  </a:lnTo>
                  <a:lnTo>
                    <a:pt x="184539" y="1484673"/>
                  </a:lnTo>
                  <a:lnTo>
                    <a:pt x="158641" y="1448255"/>
                  </a:lnTo>
                  <a:lnTo>
                    <a:pt x="134479" y="1410566"/>
                  </a:lnTo>
                  <a:lnTo>
                    <a:pt x="112112" y="1371667"/>
                  </a:lnTo>
                  <a:lnTo>
                    <a:pt x="91599" y="1331614"/>
                  </a:lnTo>
                  <a:lnTo>
                    <a:pt x="72997" y="1290468"/>
                  </a:lnTo>
                  <a:lnTo>
                    <a:pt x="56365" y="1248285"/>
                  </a:lnTo>
                  <a:lnTo>
                    <a:pt x="41761" y="1205125"/>
                  </a:lnTo>
                  <a:lnTo>
                    <a:pt x="29244" y="1161045"/>
                  </a:lnTo>
                  <a:lnTo>
                    <a:pt x="18871" y="1116104"/>
                  </a:lnTo>
                  <a:lnTo>
                    <a:pt x="10702" y="1070361"/>
                  </a:lnTo>
                  <a:lnTo>
                    <a:pt x="4795" y="1023873"/>
                  </a:lnTo>
                  <a:lnTo>
                    <a:pt x="1208" y="976700"/>
                  </a:lnTo>
                  <a:lnTo>
                    <a:pt x="0" y="928902"/>
                  </a:lnTo>
                  <a:lnTo>
                    <a:pt x="1208" y="881098"/>
                  </a:lnTo>
                  <a:lnTo>
                    <a:pt x="4795" y="833924"/>
                  </a:lnTo>
                  <a:lnTo>
                    <a:pt x="10702" y="787436"/>
                  </a:lnTo>
                  <a:lnTo>
                    <a:pt x="18871" y="741693"/>
                  </a:lnTo>
                  <a:lnTo>
                    <a:pt x="29244" y="696752"/>
                  </a:lnTo>
                  <a:lnTo>
                    <a:pt x="41761" y="652672"/>
                  </a:lnTo>
                  <a:lnTo>
                    <a:pt x="56365" y="609512"/>
                  </a:lnTo>
                  <a:lnTo>
                    <a:pt x="72997" y="567329"/>
                  </a:lnTo>
                  <a:lnTo>
                    <a:pt x="91599" y="526182"/>
                  </a:lnTo>
                  <a:lnTo>
                    <a:pt x="112112" y="486130"/>
                  </a:lnTo>
                  <a:lnTo>
                    <a:pt x="134479" y="447231"/>
                  </a:lnTo>
                  <a:lnTo>
                    <a:pt x="158641" y="409542"/>
                  </a:lnTo>
                  <a:lnTo>
                    <a:pt x="184539" y="373124"/>
                  </a:lnTo>
                  <a:lnTo>
                    <a:pt x="212115" y="338033"/>
                  </a:lnTo>
                  <a:lnTo>
                    <a:pt x="241311" y="304328"/>
                  </a:lnTo>
                  <a:lnTo>
                    <a:pt x="272068"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2"/>
                  </a:lnTo>
                  <a:lnTo>
                    <a:pt x="833924" y="4795"/>
                  </a:lnTo>
                  <a:lnTo>
                    <a:pt x="881097" y="1208"/>
                  </a:lnTo>
                  <a:lnTo>
                    <a:pt x="928897" y="0"/>
                  </a:lnTo>
                  <a:lnTo>
                    <a:pt x="976699" y="1208"/>
                  </a:lnTo>
                  <a:lnTo>
                    <a:pt x="1023873" y="4795"/>
                  </a:lnTo>
                  <a:lnTo>
                    <a:pt x="1070360" y="10702"/>
                  </a:lnTo>
                  <a:lnTo>
                    <a:pt x="1116104" y="18871"/>
                  </a:lnTo>
                  <a:lnTo>
                    <a:pt x="1161044" y="29244"/>
                  </a:lnTo>
                  <a:lnTo>
                    <a:pt x="1205124" y="41761"/>
                  </a:lnTo>
                  <a:lnTo>
                    <a:pt x="1248285" y="56365"/>
                  </a:lnTo>
                  <a:lnTo>
                    <a:pt x="1290467" y="72997"/>
                  </a:lnTo>
                  <a:lnTo>
                    <a:pt x="1331614" y="91599"/>
                  </a:lnTo>
                  <a:lnTo>
                    <a:pt x="1371666" y="112113"/>
                  </a:lnTo>
                  <a:lnTo>
                    <a:pt x="1410566" y="134479"/>
                  </a:lnTo>
                  <a:lnTo>
                    <a:pt x="1448254" y="158641"/>
                  </a:lnTo>
                  <a:lnTo>
                    <a:pt x="1484673" y="184539"/>
                  </a:lnTo>
                  <a:lnTo>
                    <a:pt x="1519764" y="212115"/>
                  </a:lnTo>
                  <a:lnTo>
                    <a:pt x="1553469" y="241311"/>
                  </a:lnTo>
                  <a:lnTo>
                    <a:pt x="1585729" y="272068"/>
                  </a:lnTo>
                  <a:lnTo>
                    <a:pt x="1616486" y="304328"/>
                  </a:lnTo>
                  <a:lnTo>
                    <a:pt x="1645682" y="338033"/>
                  </a:lnTo>
                  <a:lnTo>
                    <a:pt x="1673258" y="373124"/>
                  </a:lnTo>
                  <a:lnTo>
                    <a:pt x="1699156" y="409542"/>
                  </a:lnTo>
                  <a:lnTo>
                    <a:pt x="1723317" y="447231"/>
                  </a:lnTo>
                  <a:lnTo>
                    <a:pt x="1745684" y="486130"/>
                  </a:lnTo>
                  <a:lnTo>
                    <a:pt x="1766197" y="526182"/>
                  </a:lnTo>
                  <a:lnTo>
                    <a:pt x="1784799" y="567329"/>
                  </a:lnTo>
                  <a:lnTo>
                    <a:pt x="1801432" y="609512"/>
                  </a:lnTo>
                  <a:lnTo>
                    <a:pt x="1816035" y="652672"/>
                  </a:lnTo>
                  <a:lnTo>
                    <a:pt x="1828553" y="696752"/>
                  </a:lnTo>
                  <a:lnTo>
                    <a:pt x="1838925" y="741693"/>
                  </a:lnTo>
                  <a:lnTo>
                    <a:pt x="1847094" y="787436"/>
                  </a:lnTo>
                  <a:lnTo>
                    <a:pt x="1853001" y="833924"/>
                  </a:lnTo>
                  <a:lnTo>
                    <a:pt x="1856588" y="881098"/>
                  </a:lnTo>
                  <a:lnTo>
                    <a:pt x="1857797" y="928895"/>
                  </a:lnTo>
                  <a:lnTo>
                    <a:pt x="1856588" y="976700"/>
                  </a:lnTo>
                  <a:lnTo>
                    <a:pt x="1853001" y="1023873"/>
                  </a:lnTo>
                  <a:lnTo>
                    <a:pt x="1847094" y="1070361"/>
                  </a:lnTo>
                  <a:lnTo>
                    <a:pt x="1838925" y="1116104"/>
                  </a:lnTo>
                  <a:lnTo>
                    <a:pt x="1828553" y="1161045"/>
                  </a:lnTo>
                  <a:lnTo>
                    <a:pt x="1816035" y="1205125"/>
                  </a:lnTo>
                  <a:lnTo>
                    <a:pt x="1801432" y="1248285"/>
                  </a:lnTo>
                  <a:lnTo>
                    <a:pt x="1784799" y="1290468"/>
                  </a:lnTo>
                  <a:lnTo>
                    <a:pt x="1766197" y="1331614"/>
                  </a:lnTo>
                  <a:lnTo>
                    <a:pt x="1745684" y="1371667"/>
                  </a:lnTo>
                  <a:lnTo>
                    <a:pt x="1723317" y="1410566"/>
                  </a:lnTo>
                  <a:lnTo>
                    <a:pt x="1699156" y="1448255"/>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6" y="1745684"/>
                  </a:lnTo>
                  <a:lnTo>
                    <a:pt x="1331614" y="1766198"/>
                  </a:lnTo>
                  <a:lnTo>
                    <a:pt x="1290467" y="1784800"/>
                  </a:lnTo>
                  <a:lnTo>
                    <a:pt x="1248285" y="1801432"/>
                  </a:lnTo>
                  <a:lnTo>
                    <a:pt x="1205124" y="1816036"/>
                  </a:lnTo>
                  <a:lnTo>
                    <a:pt x="1161044" y="1828553"/>
                  </a:lnTo>
                  <a:lnTo>
                    <a:pt x="1116104" y="1838925"/>
                  </a:lnTo>
                  <a:lnTo>
                    <a:pt x="1070360" y="1847094"/>
                  </a:lnTo>
                  <a:lnTo>
                    <a:pt x="1023873" y="1853001"/>
                  </a:lnTo>
                  <a:lnTo>
                    <a:pt x="976699" y="1856589"/>
                  </a:lnTo>
                  <a:lnTo>
                    <a:pt x="928903" y="1857797"/>
                  </a:lnTo>
                  <a:close/>
                </a:path>
              </a:pathLst>
            </a:custGeom>
            <a:solidFill>
              <a:srgbClr val="0090AE"/>
            </a:solidFill>
          </p:spPr>
          <p:txBody>
            <a:bodyPr wrap="square" lIns="0" tIns="0" rIns="0" bIns="0" rtlCol="0"/>
            <a:lstStyle/>
            <a:p>
              <a:endParaRPr/>
            </a:p>
          </p:txBody>
        </p:sp>
        <p:sp>
          <p:nvSpPr>
            <p:cNvPr id="41" name="object 41"/>
            <p:cNvSpPr/>
            <p:nvPr/>
          </p:nvSpPr>
          <p:spPr>
            <a:xfrm>
              <a:off x="8514968" y="6507832"/>
              <a:ext cx="1089025" cy="935990"/>
            </a:xfrm>
            <a:custGeom>
              <a:avLst/>
              <a:gdLst/>
              <a:ahLst/>
              <a:cxnLst/>
              <a:rect l="l" t="t" r="r" b="b"/>
              <a:pathLst>
                <a:path w="1089025" h="935990">
                  <a:moveTo>
                    <a:pt x="485017" y="294639"/>
                  </a:moveTo>
                  <a:lnTo>
                    <a:pt x="459925" y="294639"/>
                  </a:lnTo>
                  <a:lnTo>
                    <a:pt x="435908" y="287019"/>
                  </a:lnTo>
                  <a:lnTo>
                    <a:pt x="412943" y="274319"/>
                  </a:lnTo>
                  <a:lnTo>
                    <a:pt x="401194" y="261619"/>
                  </a:lnTo>
                  <a:lnTo>
                    <a:pt x="396389" y="248919"/>
                  </a:lnTo>
                  <a:lnTo>
                    <a:pt x="398739" y="234949"/>
                  </a:lnTo>
                  <a:lnTo>
                    <a:pt x="408454" y="222249"/>
                  </a:lnTo>
                  <a:lnTo>
                    <a:pt x="421575" y="209549"/>
                  </a:lnTo>
                  <a:lnTo>
                    <a:pt x="435421" y="199389"/>
                  </a:lnTo>
                  <a:lnTo>
                    <a:pt x="449313" y="187959"/>
                  </a:lnTo>
                  <a:lnTo>
                    <a:pt x="480418" y="162559"/>
                  </a:lnTo>
                  <a:lnTo>
                    <a:pt x="520689" y="147319"/>
                  </a:lnTo>
                  <a:lnTo>
                    <a:pt x="562483" y="143509"/>
                  </a:lnTo>
                  <a:lnTo>
                    <a:pt x="582038" y="139699"/>
                  </a:lnTo>
                  <a:lnTo>
                    <a:pt x="621194" y="134619"/>
                  </a:lnTo>
                  <a:lnTo>
                    <a:pt x="620945" y="133349"/>
                  </a:lnTo>
                  <a:lnTo>
                    <a:pt x="620945" y="130809"/>
                  </a:lnTo>
                  <a:lnTo>
                    <a:pt x="601453" y="129539"/>
                  </a:lnTo>
                  <a:lnTo>
                    <a:pt x="581914" y="126999"/>
                  </a:lnTo>
                  <a:lnTo>
                    <a:pt x="542882" y="124459"/>
                  </a:lnTo>
                  <a:lnTo>
                    <a:pt x="710293" y="124459"/>
                  </a:lnTo>
                  <a:lnTo>
                    <a:pt x="718508" y="120649"/>
                  </a:lnTo>
                  <a:lnTo>
                    <a:pt x="725694" y="113029"/>
                  </a:lnTo>
                  <a:lnTo>
                    <a:pt x="746145" y="86359"/>
                  </a:lnTo>
                  <a:lnTo>
                    <a:pt x="766783" y="60959"/>
                  </a:lnTo>
                  <a:lnTo>
                    <a:pt x="787702" y="35559"/>
                  </a:lnTo>
                  <a:lnTo>
                    <a:pt x="808994" y="10159"/>
                  </a:lnTo>
                  <a:lnTo>
                    <a:pt x="817400" y="2539"/>
                  </a:lnTo>
                  <a:lnTo>
                    <a:pt x="825735" y="0"/>
                  </a:lnTo>
                  <a:lnTo>
                    <a:pt x="834492" y="1269"/>
                  </a:lnTo>
                  <a:lnTo>
                    <a:pt x="844160" y="7619"/>
                  </a:lnTo>
                  <a:lnTo>
                    <a:pt x="893735" y="50799"/>
                  </a:lnTo>
                  <a:lnTo>
                    <a:pt x="826453" y="50799"/>
                  </a:lnTo>
                  <a:lnTo>
                    <a:pt x="824956" y="52069"/>
                  </a:lnTo>
                  <a:lnTo>
                    <a:pt x="765349" y="123189"/>
                  </a:lnTo>
                  <a:lnTo>
                    <a:pt x="927060" y="256539"/>
                  </a:lnTo>
                  <a:lnTo>
                    <a:pt x="668830" y="256539"/>
                  </a:lnTo>
                  <a:lnTo>
                    <a:pt x="661847" y="257809"/>
                  </a:lnTo>
                  <a:lnTo>
                    <a:pt x="575639" y="269239"/>
                  </a:lnTo>
                  <a:lnTo>
                    <a:pt x="547122" y="274319"/>
                  </a:lnTo>
                  <a:lnTo>
                    <a:pt x="538038" y="276859"/>
                  </a:lnTo>
                  <a:lnTo>
                    <a:pt x="511208" y="288289"/>
                  </a:lnTo>
                  <a:lnTo>
                    <a:pt x="485017" y="294639"/>
                  </a:lnTo>
                  <a:close/>
                </a:path>
                <a:path w="1089025" h="935990">
                  <a:moveTo>
                    <a:pt x="154095" y="645159"/>
                  </a:moveTo>
                  <a:lnTo>
                    <a:pt x="108497" y="627379"/>
                  </a:lnTo>
                  <a:lnTo>
                    <a:pt x="97360" y="598169"/>
                  </a:lnTo>
                  <a:lnTo>
                    <a:pt x="99694" y="581659"/>
                  </a:lnTo>
                  <a:lnTo>
                    <a:pt x="122795" y="543559"/>
                  </a:lnTo>
                  <a:lnTo>
                    <a:pt x="141407" y="521969"/>
                  </a:lnTo>
                  <a:lnTo>
                    <a:pt x="150572" y="510539"/>
                  </a:lnTo>
                  <a:lnTo>
                    <a:pt x="153565" y="506729"/>
                  </a:lnTo>
                  <a:lnTo>
                    <a:pt x="155810" y="500379"/>
                  </a:lnTo>
                  <a:lnTo>
                    <a:pt x="152603" y="483869"/>
                  </a:lnTo>
                  <a:lnTo>
                    <a:pt x="149793" y="471169"/>
                  </a:lnTo>
                  <a:lnTo>
                    <a:pt x="146749" y="459739"/>
                  </a:lnTo>
                  <a:lnTo>
                    <a:pt x="143589" y="447039"/>
                  </a:lnTo>
                  <a:lnTo>
                    <a:pt x="142841" y="444499"/>
                  </a:lnTo>
                  <a:lnTo>
                    <a:pt x="139848" y="440689"/>
                  </a:lnTo>
                  <a:lnTo>
                    <a:pt x="136855" y="439419"/>
                  </a:lnTo>
                  <a:lnTo>
                    <a:pt x="128255" y="436879"/>
                  </a:lnTo>
                  <a:lnTo>
                    <a:pt x="119490" y="433069"/>
                  </a:lnTo>
                  <a:lnTo>
                    <a:pt x="110867" y="430529"/>
                  </a:lnTo>
                  <a:lnTo>
                    <a:pt x="102687" y="426719"/>
                  </a:lnTo>
                  <a:lnTo>
                    <a:pt x="86016" y="417829"/>
                  </a:lnTo>
                  <a:lnTo>
                    <a:pt x="30610" y="383539"/>
                  </a:lnTo>
                  <a:lnTo>
                    <a:pt x="24375" y="380999"/>
                  </a:lnTo>
                  <a:lnTo>
                    <a:pt x="17641" y="377189"/>
                  </a:lnTo>
                  <a:lnTo>
                    <a:pt x="7240" y="372109"/>
                  </a:lnTo>
                  <a:lnTo>
                    <a:pt x="1398" y="365759"/>
                  </a:lnTo>
                  <a:lnTo>
                    <a:pt x="0" y="356869"/>
                  </a:lnTo>
                  <a:lnTo>
                    <a:pt x="2926" y="346709"/>
                  </a:lnTo>
                  <a:lnTo>
                    <a:pt x="8904" y="332739"/>
                  </a:lnTo>
                  <a:lnTo>
                    <a:pt x="15209" y="317499"/>
                  </a:lnTo>
                  <a:lnTo>
                    <a:pt x="51400" y="245109"/>
                  </a:lnTo>
                  <a:lnTo>
                    <a:pt x="75203" y="201929"/>
                  </a:lnTo>
                  <a:lnTo>
                    <a:pt x="100083" y="158749"/>
                  </a:lnTo>
                  <a:lnTo>
                    <a:pt x="126101" y="115569"/>
                  </a:lnTo>
                  <a:lnTo>
                    <a:pt x="153316" y="73659"/>
                  </a:lnTo>
                  <a:lnTo>
                    <a:pt x="172605" y="49529"/>
                  </a:lnTo>
                  <a:lnTo>
                    <a:pt x="179752" y="40639"/>
                  </a:lnTo>
                  <a:lnTo>
                    <a:pt x="190999" y="31749"/>
                  </a:lnTo>
                  <a:lnTo>
                    <a:pt x="202011" y="27939"/>
                  </a:lnTo>
                  <a:lnTo>
                    <a:pt x="213492" y="29209"/>
                  </a:lnTo>
                  <a:lnTo>
                    <a:pt x="226141" y="36829"/>
                  </a:lnTo>
                  <a:lnTo>
                    <a:pt x="244141" y="50799"/>
                  </a:lnTo>
                  <a:lnTo>
                    <a:pt x="261837" y="66039"/>
                  </a:lnTo>
                  <a:lnTo>
                    <a:pt x="264732" y="68579"/>
                  </a:lnTo>
                  <a:lnTo>
                    <a:pt x="207436" y="68579"/>
                  </a:lnTo>
                  <a:lnTo>
                    <a:pt x="175664" y="113029"/>
                  </a:lnTo>
                  <a:lnTo>
                    <a:pt x="146379" y="158749"/>
                  </a:lnTo>
                  <a:lnTo>
                    <a:pt x="119116" y="204469"/>
                  </a:lnTo>
                  <a:lnTo>
                    <a:pt x="93413" y="251459"/>
                  </a:lnTo>
                  <a:lnTo>
                    <a:pt x="44826" y="346709"/>
                  </a:lnTo>
                  <a:lnTo>
                    <a:pt x="66757" y="359409"/>
                  </a:lnTo>
                  <a:lnTo>
                    <a:pt x="130869" y="397509"/>
                  </a:lnTo>
                  <a:lnTo>
                    <a:pt x="175313" y="397509"/>
                  </a:lnTo>
                  <a:lnTo>
                    <a:pt x="174016" y="400049"/>
                  </a:lnTo>
                  <a:lnTo>
                    <a:pt x="174764" y="405129"/>
                  </a:lnTo>
                  <a:lnTo>
                    <a:pt x="177823" y="420369"/>
                  </a:lnTo>
                  <a:lnTo>
                    <a:pt x="181280" y="436879"/>
                  </a:lnTo>
                  <a:lnTo>
                    <a:pt x="184970" y="454659"/>
                  </a:lnTo>
                  <a:lnTo>
                    <a:pt x="188731" y="471169"/>
                  </a:lnTo>
                  <a:lnTo>
                    <a:pt x="286396" y="471169"/>
                  </a:lnTo>
                  <a:lnTo>
                    <a:pt x="292128" y="483869"/>
                  </a:lnTo>
                  <a:lnTo>
                    <a:pt x="281010" y="525779"/>
                  </a:lnTo>
                  <a:lnTo>
                    <a:pt x="232563" y="577849"/>
                  </a:lnTo>
                  <a:lnTo>
                    <a:pt x="208200" y="604519"/>
                  </a:lnTo>
                  <a:lnTo>
                    <a:pt x="183743" y="629919"/>
                  </a:lnTo>
                  <a:lnTo>
                    <a:pt x="170170" y="640079"/>
                  </a:lnTo>
                  <a:lnTo>
                    <a:pt x="154095" y="645159"/>
                  </a:lnTo>
                  <a:close/>
                </a:path>
                <a:path w="1089025" h="935990">
                  <a:moveTo>
                    <a:pt x="1029837" y="297179"/>
                  </a:moveTo>
                  <a:lnTo>
                    <a:pt x="976343" y="297179"/>
                  </a:lnTo>
                  <a:lnTo>
                    <a:pt x="992496" y="279399"/>
                  </a:lnTo>
                  <a:lnTo>
                    <a:pt x="1008485" y="262889"/>
                  </a:lnTo>
                  <a:lnTo>
                    <a:pt x="1040440" y="227329"/>
                  </a:lnTo>
                  <a:lnTo>
                    <a:pt x="1028406" y="218439"/>
                  </a:lnTo>
                  <a:lnTo>
                    <a:pt x="1022833" y="213359"/>
                  </a:lnTo>
                  <a:lnTo>
                    <a:pt x="1017495" y="208279"/>
                  </a:lnTo>
                  <a:lnTo>
                    <a:pt x="971262" y="167639"/>
                  </a:lnTo>
                  <a:lnTo>
                    <a:pt x="924468" y="125729"/>
                  </a:lnTo>
                  <a:lnTo>
                    <a:pt x="853832" y="68579"/>
                  </a:lnTo>
                  <a:lnTo>
                    <a:pt x="836429" y="54609"/>
                  </a:lnTo>
                  <a:lnTo>
                    <a:pt x="833685" y="52069"/>
                  </a:lnTo>
                  <a:lnTo>
                    <a:pt x="826453" y="50799"/>
                  </a:lnTo>
                  <a:lnTo>
                    <a:pt x="893735" y="50799"/>
                  </a:lnTo>
                  <a:lnTo>
                    <a:pt x="922897" y="76199"/>
                  </a:lnTo>
                  <a:lnTo>
                    <a:pt x="1080095" y="210819"/>
                  </a:lnTo>
                  <a:lnTo>
                    <a:pt x="1086353" y="218439"/>
                  </a:lnTo>
                  <a:lnTo>
                    <a:pt x="1088637" y="226059"/>
                  </a:lnTo>
                  <a:lnTo>
                    <a:pt x="1086899" y="233679"/>
                  </a:lnTo>
                  <a:lnTo>
                    <a:pt x="1081092" y="242569"/>
                  </a:lnTo>
                  <a:lnTo>
                    <a:pt x="1034657" y="292099"/>
                  </a:lnTo>
                  <a:lnTo>
                    <a:pt x="1029837" y="297179"/>
                  </a:lnTo>
                  <a:close/>
                </a:path>
                <a:path w="1089025" h="935990">
                  <a:moveTo>
                    <a:pt x="175313" y="397509"/>
                  </a:moveTo>
                  <a:lnTo>
                    <a:pt x="130869" y="397509"/>
                  </a:lnTo>
                  <a:lnTo>
                    <a:pt x="210078" y="253999"/>
                  </a:lnTo>
                  <a:lnTo>
                    <a:pt x="236233" y="205739"/>
                  </a:lnTo>
                  <a:lnTo>
                    <a:pt x="262304" y="158749"/>
                  </a:lnTo>
                  <a:lnTo>
                    <a:pt x="266318" y="152399"/>
                  </a:lnTo>
                  <a:lnTo>
                    <a:pt x="270659" y="146049"/>
                  </a:lnTo>
                  <a:lnTo>
                    <a:pt x="273878" y="139699"/>
                  </a:lnTo>
                  <a:lnTo>
                    <a:pt x="274525" y="133349"/>
                  </a:lnTo>
                  <a:lnTo>
                    <a:pt x="271793" y="128269"/>
                  </a:lnTo>
                  <a:lnTo>
                    <a:pt x="266700" y="123189"/>
                  </a:lnTo>
                  <a:lnTo>
                    <a:pt x="260531" y="118109"/>
                  </a:lnTo>
                  <a:lnTo>
                    <a:pt x="254573" y="113029"/>
                  </a:lnTo>
                  <a:lnTo>
                    <a:pt x="243560" y="101599"/>
                  </a:lnTo>
                  <a:lnTo>
                    <a:pt x="232127" y="91439"/>
                  </a:lnTo>
                  <a:lnTo>
                    <a:pt x="220132" y="80009"/>
                  </a:lnTo>
                  <a:lnTo>
                    <a:pt x="207436" y="68579"/>
                  </a:lnTo>
                  <a:lnTo>
                    <a:pt x="264732" y="68580"/>
                  </a:lnTo>
                  <a:lnTo>
                    <a:pt x="279205" y="81279"/>
                  </a:lnTo>
                  <a:lnTo>
                    <a:pt x="296223" y="96519"/>
                  </a:lnTo>
                  <a:lnTo>
                    <a:pt x="304266" y="102869"/>
                  </a:lnTo>
                  <a:lnTo>
                    <a:pt x="312497" y="107949"/>
                  </a:lnTo>
                  <a:lnTo>
                    <a:pt x="321756" y="109219"/>
                  </a:lnTo>
                  <a:lnTo>
                    <a:pt x="666864" y="109219"/>
                  </a:lnTo>
                  <a:lnTo>
                    <a:pt x="692274" y="121919"/>
                  </a:lnTo>
                  <a:lnTo>
                    <a:pt x="701424" y="124459"/>
                  </a:lnTo>
                  <a:lnTo>
                    <a:pt x="542882" y="124459"/>
                  </a:lnTo>
                  <a:lnTo>
                    <a:pt x="492253" y="125729"/>
                  </a:lnTo>
                  <a:lnTo>
                    <a:pt x="441999" y="130809"/>
                  </a:lnTo>
                  <a:lnTo>
                    <a:pt x="391931" y="137159"/>
                  </a:lnTo>
                  <a:lnTo>
                    <a:pt x="341864" y="146049"/>
                  </a:lnTo>
                  <a:lnTo>
                    <a:pt x="304091" y="166369"/>
                  </a:lnTo>
                  <a:lnTo>
                    <a:pt x="273224" y="222249"/>
                  </a:lnTo>
                  <a:lnTo>
                    <a:pt x="250162" y="264159"/>
                  </a:lnTo>
                  <a:lnTo>
                    <a:pt x="226752" y="306069"/>
                  </a:lnTo>
                  <a:lnTo>
                    <a:pt x="203210" y="347979"/>
                  </a:lnTo>
                  <a:lnTo>
                    <a:pt x="179752" y="388619"/>
                  </a:lnTo>
                  <a:lnTo>
                    <a:pt x="177258" y="393699"/>
                  </a:lnTo>
                  <a:lnTo>
                    <a:pt x="175313" y="397509"/>
                  </a:lnTo>
                  <a:close/>
                </a:path>
                <a:path w="1089025" h="935990">
                  <a:moveTo>
                    <a:pt x="666864" y="109219"/>
                  </a:moveTo>
                  <a:lnTo>
                    <a:pt x="321756" y="109219"/>
                  </a:lnTo>
                  <a:lnTo>
                    <a:pt x="332885" y="107949"/>
                  </a:lnTo>
                  <a:lnTo>
                    <a:pt x="382033" y="99059"/>
                  </a:lnTo>
                  <a:lnTo>
                    <a:pt x="431462" y="91439"/>
                  </a:lnTo>
                  <a:lnTo>
                    <a:pt x="481171" y="86359"/>
                  </a:lnTo>
                  <a:lnTo>
                    <a:pt x="531160" y="83819"/>
                  </a:lnTo>
                  <a:lnTo>
                    <a:pt x="573064" y="85089"/>
                  </a:lnTo>
                  <a:lnTo>
                    <a:pt x="614242" y="91439"/>
                  </a:lnTo>
                  <a:lnTo>
                    <a:pt x="654158" y="102869"/>
                  </a:lnTo>
                  <a:lnTo>
                    <a:pt x="666864" y="109219"/>
                  </a:lnTo>
                  <a:close/>
                </a:path>
                <a:path w="1089025" h="935990">
                  <a:moveTo>
                    <a:pt x="980707" y="582929"/>
                  </a:moveTo>
                  <a:lnTo>
                    <a:pt x="913396" y="582929"/>
                  </a:lnTo>
                  <a:lnTo>
                    <a:pt x="922722" y="577849"/>
                  </a:lnTo>
                  <a:lnTo>
                    <a:pt x="930835" y="572769"/>
                  </a:lnTo>
                  <a:lnTo>
                    <a:pt x="962657" y="538479"/>
                  </a:lnTo>
                  <a:lnTo>
                    <a:pt x="964808" y="523239"/>
                  </a:lnTo>
                  <a:lnTo>
                    <a:pt x="959384" y="507999"/>
                  </a:lnTo>
                  <a:lnTo>
                    <a:pt x="946664" y="492759"/>
                  </a:lnTo>
                  <a:lnTo>
                    <a:pt x="833870" y="394969"/>
                  </a:lnTo>
                  <a:lnTo>
                    <a:pt x="720998" y="295909"/>
                  </a:lnTo>
                  <a:lnTo>
                    <a:pt x="683295" y="264159"/>
                  </a:lnTo>
                  <a:lnTo>
                    <a:pt x="678058" y="259079"/>
                  </a:lnTo>
                  <a:lnTo>
                    <a:pt x="668830" y="256539"/>
                  </a:lnTo>
                  <a:lnTo>
                    <a:pt x="927060" y="256539"/>
                  </a:lnTo>
                  <a:lnTo>
                    <a:pt x="976343" y="297179"/>
                  </a:lnTo>
                  <a:lnTo>
                    <a:pt x="1029837" y="297179"/>
                  </a:lnTo>
                  <a:lnTo>
                    <a:pt x="1001174" y="334009"/>
                  </a:lnTo>
                  <a:lnTo>
                    <a:pt x="992855" y="373379"/>
                  </a:lnTo>
                  <a:lnTo>
                    <a:pt x="984542" y="400049"/>
                  </a:lnTo>
                  <a:lnTo>
                    <a:pt x="972443" y="426719"/>
                  </a:lnTo>
                  <a:lnTo>
                    <a:pt x="955643" y="452119"/>
                  </a:lnTo>
                  <a:lnTo>
                    <a:pt x="960974" y="455929"/>
                  </a:lnTo>
                  <a:lnTo>
                    <a:pt x="965931" y="461009"/>
                  </a:lnTo>
                  <a:lnTo>
                    <a:pt x="970794" y="464819"/>
                  </a:lnTo>
                  <a:lnTo>
                    <a:pt x="975845" y="467359"/>
                  </a:lnTo>
                  <a:lnTo>
                    <a:pt x="992835" y="482599"/>
                  </a:lnTo>
                  <a:lnTo>
                    <a:pt x="1001969" y="500379"/>
                  </a:lnTo>
                  <a:lnTo>
                    <a:pt x="1004463" y="519429"/>
                  </a:lnTo>
                  <a:lnTo>
                    <a:pt x="1001533" y="541019"/>
                  </a:lnTo>
                  <a:lnTo>
                    <a:pt x="991222" y="568959"/>
                  </a:lnTo>
                  <a:lnTo>
                    <a:pt x="980707" y="582929"/>
                  </a:lnTo>
                  <a:close/>
                </a:path>
                <a:path w="1089025" h="935990">
                  <a:moveTo>
                    <a:pt x="286396" y="471169"/>
                  </a:moveTo>
                  <a:lnTo>
                    <a:pt x="188731" y="471169"/>
                  </a:lnTo>
                  <a:lnTo>
                    <a:pt x="195215" y="466089"/>
                  </a:lnTo>
                  <a:lnTo>
                    <a:pt x="200203" y="462279"/>
                  </a:lnTo>
                  <a:lnTo>
                    <a:pt x="205191" y="459739"/>
                  </a:lnTo>
                  <a:lnTo>
                    <a:pt x="227030" y="448309"/>
                  </a:lnTo>
                  <a:lnTo>
                    <a:pt x="249149" y="447039"/>
                  </a:lnTo>
                  <a:lnTo>
                    <a:pt x="269303" y="453389"/>
                  </a:lnTo>
                  <a:lnTo>
                    <a:pt x="285249" y="468629"/>
                  </a:lnTo>
                  <a:lnTo>
                    <a:pt x="286396" y="471169"/>
                  </a:lnTo>
                  <a:close/>
                </a:path>
                <a:path w="1089025" h="935990">
                  <a:moveTo>
                    <a:pt x="888159" y="699769"/>
                  </a:moveTo>
                  <a:lnTo>
                    <a:pt x="829726" y="699769"/>
                  </a:lnTo>
                  <a:lnTo>
                    <a:pt x="839838" y="695959"/>
                  </a:lnTo>
                  <a:lnTo>
                    <a:pt x="851143" y="683259"/>
                  </a:lnTo>
                  <a:lnTo>
                    <a:pt x="860819" y="670559"/>
                  </a:lnTo>
                  <a:lnTo>
                    <a:pt x="868508" y="656589"/>
                  </a:lnTo>
                  <a:lnTo>
                    <a:pt x="873625" y="641349"/>
                  </a:lnTo>
                  <a:lnTo>
                    <a:pt x="875585" y="626109"/>
                  </a:lnTo>
                  <a:lnTo>
                    <a:pt x="875585" y="619759"/>
                  </a:lnTo>
                  <a:lnTo>
                    <a:pt x="872343" y="612139"/>
                  </a:lnTo>
                  <a:lnTo>
                    <a:pt x="867853" y="608329"/>
                  </a:lnTo>
                  <a:lnTo>
                    <a:pt x="841588" y="585469"/>
                  </a:lnTo>
                  <a:lnTo>
                    <a:pt x="788871" y="542289"/>
                  </a:lnTo>
                  <a:lnTo>
                    <a:pt x="762605" y="519429"/>
                  </a:lnTo>
                  <a:lnTo>
                    <a:pt x="757516" y="514349"/>
                  </a:lnTo>
                  <a:lnTo>
                    <a:pt x="752754" y="510539"/>
                  </a:lnTo>
                  <a:lnTo>
                    <a:pt x="748366" y="504189"/>
                  </a:lnTo>
                  <a:lnTo>
                    <a:pt x="744399" y="499109"/>
                  </a:lnTo>
                  <a:lnTo>
                    <a:pt x="739411" y="491489"/>
                  </a:lnTo>
                  <a:lnTo>
                    <a:pt x="740658" y="482599"/>
                  </a:lnTo>
                  <a:lnTo>
                    <a:pt x="747891" y="477519"/>
                  </a:lnTo>
                  <a:lnTo>
                    <a:pt x="753378" y="474979"/>
                  </a:lnTo>
                  <a:lnTo>
                    <a:pt x="762605" y="472439"/>
                  </a:lnTo>
                  <a:lnTo>
                    <a:pt x="768591" y="474979"/>
                  </a:lnTo>
                  <a:lnTo>
                    <a:pt x="774920" y="477519"/>
                  </a:lnTo>
                  <a:lnTo>
                    <a:pt x="780874" y="481329"/>
                  </a:lnTo>
                  <a:lnTo>
                    <a:pt x="786548" y="486409"/>
                  </a:lnTo>
                  <a:lnTo>
                    <a:pt x="792035" y="490219"/>
                  </a:lnTo>
                  <a:lnTo>
                    <a:pt x="815966" y="511809"/>
                  </a:lnTo>
                  <a:lnTo>
                    <a:pt x="863547" y="552449"/>
                  </a:lnTo>
                  <a:lnTo>
                    <a:pt x="887057" y="572769"/>
                  </a:lnTo>
                  <a:lnTo>
                    <a:pt x="895681" y="579119"/>
                  </a:lnTo>
                  <a:lnTo>
                    <a:pt x="904422" y="582929"/>
                  </a:lnTo>
                  <a:lnTo>
                    <a:pt x="980707" y="582929"/>
                  </a:lnTo>
                  <a:lnTo>
                    <a:pt x="974972" y="590549"/>
                  </a:lnTo>
                  <a:lnTo>
                    <a:pt x="952923" y="608329"/>
                  </a:lnTo>
                  <a:lnTo>
                    <a:pt x="925216" y="618489"/>
                  </a:lnTo>
                  <a:lnTo>
                    <a:pt x="917734" y="621029"/>
                  </a:lnTo>
                  <a:lnTo>
                    <a:pt x="915240" y="623569"/>
                  </a:lnTo>
                  <a:lnTo>
                    <a:pt x="913993" y="632459"/>
                  </a:lnTo>
                  <a:lnTo>
                    <a:pt x="906515" y="664209"/>
                  </a:lnTo>
                  <a:lnTo>
                    <a:pt x="893261" y="693419"/>
                  </a:lnTo>
                  <a:lnTo>
                    <a:pt x="888159" y="699769"/>
                  </a:lnTo>
                  <a:close/>
                </a:path>
                <a:path w="1089025" h="935990">
                  <a:moveTo>
                    <a:pt x="820539" y="807719"/>
                  </a:moveTo>
                  <a:lnTo>
                    <a:pt x="742607" y="807719"/>
                  </a:lnTo>
                  <a:lnTo>
                    <a:pt x="764102" y="805179"/>
                  </a:lnTo>
                  <a:lnTo>
                    <a:pt x="782230" y="793749"/>
                  </a:lnTo>
                  <a:lnTo>
                    <a:pt x="793531" y="773429"/>
                  </a:lnTo>
                  <a:lnTo>
                    <a:pt x="794280" y="769619"/>
                  </a:lnTo>
                  <a:lnTo>
                    <a:pt x="795028" y="767079"/>
                  </a:lnTo>
                  <a:lnTo>
                    <a:pt x="795527" y="764539"/>
                  </a:lnTo>
                  <a:lnTo>
                    <a:pt x="797269" y="750569"/>
                  </a:lnTo>
                  <a:lnTo>
                    <a:pt x="795620" y="737869"/>
                  </a:lnTo>
                  <a:lnTo>
                    <a:pt x="789810" y="726439"/>
                  </a:lnTo>
                  <a:lnTo>
                    <a:pt x="779066" y="716279"/>
                  </a:lnTo>
                  <a:lnTo>
                    <a:pt x="749621" y="694689"/>
                  </a:lnTo>
                  <a:lnTo>
                    <a:pt x="663343" y="626109"/>
                  </a:lnTo>
                  <a:lnTo>
                    <a:pt x="657857" y="621029"/>
                  </a:lnTo>
                  <a:lnTo>
                    <a:pt x="651621" y="615949"/>
                  </a:lnTo>
                  <a:lnTo>
                    <a:pt x="648130" y="603249"/>
                  </a:lnTo>
                  <a:lnTo>
                    <a:pt x="649128" y="593089"/>
                  </a:lnTo>
                  <a:lnTo>
                    <a:pt x="657358" y="585469"/>
                  </a:lnTo>
                  <a:lnTo>
                    <a:pt x="678058" y="585469"/>
                  </a:lnTo>
                  <a:lnTo>
                    <a:pt x="682049" y="589279"/>
                  </a:lnTo>
                  <a:lnTo>
                    <a:pt x="715718" y="617219"/>
                  </a:lnTo>
                  <a:lnTo>
                    <a:pt x="775574" y="664209"/>
                  </a:lnTo>
                  <a:lnTo>
                    <a:pt x="805503" y="688339"/>
                  </a:lnTo>
                  <a:lnTo>
                    <a:pt x="818912" y="697229"/>
                  </a:lnTo>
                  <a:lnTo>
                    <a:pt x="829726" y="699769"/>
                  </a:lnTo>
                  <a:lnTo>
                    <a:pt x="888159" y="699769"/>
                  </a:lnTo>
                  <a:lnTo>
                    <a:pt x="872853" y="718819"/>
                  </a:lnTo>
                  <a:lnTo>
                    <a:pt x="839920" y="739139"/>
                  </a:lnTo>
                  <a:lnTo>
                    <a:pt x="834410" y="769619"/>
                  </a:lnTo>
                  <a:lnTo>
                    <a:pt x="830131" y="787399"/>
                  </a:lnTo>
                  <a:lnTo>
                    <a:pt x="823140" y="803909"/>
                  </a:lnTo>
                  <a:lnTo>
                    <a:pt x="820539" y="807719"/>
                  </a:lnTo>
                  <a:close/>
                </a:path>
                <a:path w="1089025" h="935990">
                  <a:moveTo>
                    <a:pt x="392118" y="864869"/>
                  </a:moveTo>
                  <a:lnTo>
                    <a:pt x="370397" y="855979"/>
                  </a:lnTo>
                  <a:lnTo>
                    <a:pt x="354334" y="835659"/>
                  </a:lnTo>
                  <a:lnTo>
                    <a:pt x="350242" y="824229"/>
                  </a:lnTo>
                  <a:lnTo>
                    <a:pt x="349471" y="812799"/>
                  </a:lnTo>
                  <a:lnTo>
                    <a:pt x="352440" y="802639"/>
                  </a:lnTo>
                  <a:lnTo>
                    <a:pt x="359571" y="791209"/>
                  </a:lnTo>
                  <a:lnTo>
                    <a:pt x="382778" y="765809"/>
                  </a:lnTo>
                  <a:lnTo>
                    <a:pt x="405867" y="739139"/>
                  </a:lnTo>
                  <a:lnTo>
                    <a:pt x="428629" y="712469"/>
                  </a:lnTo>
                  <a:lnTo>
                    <a:pt x="450853" y="685799"/>
                  </a:lnTo>
                  <a:lnTo>
                    <a:pt x="466904" y="673099"/>
                  </a:lnTo>
                  <a:lnTo>
                    <a:pt x="485177" y="668019"/>
                  </a:lnTo>
                  <a:lnTo>
                    <a:pt x="502935" y="670559"/>
                  </a:lnTo>
                  <a:lnTo>
                    <a:pt x="517443" y="676909"/>
                  </a:lnTo>
                  <a:lnTo>
                    <a:pt x="530050" y="690879"/>
                  </a:lnTo>
                  <a:lnTo>
                    <a:pt x="536741" y="708659"/>
                  </a:lnTo>
                  <a:lnTo>
                    <a:pt x="536838" y="727709"/>
                  </a:lnTo>
                  <a:lnTo>
                    <a:pt x="529664" y="744219"/>
                  </a:lnTo>
                  <a:lnTo>
                    <a:pt x="522852" y="753109"/>
                  </a:lnTo>
                  <a:lnTo>
                    <a:pt x="515386" y="761999"/>
                  </a:lnTo>
                  <a:lnTo>
                    <a:pt x="507638" y="770889"/>
                  </a:lnTo>
                  <a:lnTo>
                    <a:pt x="499985" y="778509"/>
                  </a:lnTo>
                  <a:lnTo>
                    <a:pt x="496992" y="782319"/>
                  </a:lnTo>
                  <a:lnTo>
                    <a:pt x="493750" y="786129"/>
                  </a:lnTo>
                  <a:lnTo>
                    <a:pt x="489759" y="789939"/>
                  </a:lnTo>
                  <a:lnTo>
                    <a:pt x="499283" y="797559"/>
                  </a:lnTo>
                  <a:lnTo>
                    <a:pt x="517677" y="812799"/>
                  </a:lnTo>
                  <a:lnTo>
                    <a:pt x="526920" y="819149"/>
                  </a:lnTo>
                  <a:lnTo>
                    <a:pt x="530427" y="821689"/>
                  </a:lnTo>
                  <a:lnTo>
                    <a:pt x="463822" y="821689"/>
                  </a:lnTo>
                  <a:lnTo>
                    <a:pt x="457306" y="828039"/>
                  </a:lnTo>
                  <a:lnTo>
                    <a:pt x="450790" y="835659"/>
                  </a:lnTo>
                  <a:lnTo>
                    <a:pt x="444181" y="843279"/>
                  </a:lnTo>
                  <a:lnTo>
                    <a:pt x="437385" y="849629"/>
                  </a:lnTo>
                  <a:lnTo>
                    <a:pt x="415710" y="863599"/>
                  </a:lnTo>
                  <a:lnTo>
                    <a:pt x="392118" y="864869"/>
                  </a:lnTo>
                  <a:close/>
                </a:path>
                <a:path w="1089025" h="935990">
                  <a:moveTo>
                    <a:pt x="721051" y="896619"/>
                  </a:moveTo>
                  <a:lnTo>
                    <a:pt x="649739" y="896619"/>
                  </a:lnTo>
                  <a:lnTo>
                    <a:pt x="658355" y="894079"/>
                  </a:lnTo>
                  <a:lnTo>
                    <a:pt x="674040" y="886459"/>
                  </a:lnTo>
                  <a:lnTo>
                    <a:pt x="687691" y="877569"/>
                  </a:lnTo>
                  <a:lnTo>
                    <a:pt x="698583" y="864869"/>
                  </a:lnTo>
                  <a:lnTo>
                    <a:pt x="705991" y="848359"/>
                  </a:lnTo>
                  <a:lnTo>
                    <a:pt x="707986" y="842009"/>
                  </a:lnTo>
                  <a:lnTo>
                    <a:pt x="706989" y="836929"/>
                  </a:lnTo>
                  <a:lnTo>
                    <a:pt x="701502" y="831849"/>
                  </a:lnTo>
                  <a:lnTo>
                    <a:pt x="607123" y="755649"/>
                  </a:lnTo>
                  <a:lnTo>
                    <a:pt x="575554" y="731519"/>
                  </a:lnTo>
                  <a:lnTo>
                    <a:pt x="568937" y="725169"/>
                  </a:lnTo>
                  <a:lnTo>
                    <a:pt x="563208" y="720089"/>
                  </a:lnTo>
                  <a:lnTo>
                    <a:pt x="559350" y="713739"/>
                  </a:lnTo>
                  <a:lnTo>
                    <a:pt x="558345" y="704849"/>
                  </a:lnTo>
                  <a:lnTo>
                    <a:pt x="560262" y="697229"/>
                  </a:lnTo>
                  <a:lnTo>
                    <a:pt x="564331" y="690879"/>
                  </a:lnTo>
                  <a:lnTo>
                    <a:pt x="570270" y="688339"/>
                  </a:lnTo>
                  <a:lnTo>
                    <a:pt x="577798" y="689609"/>
                  </a:lnTo>
                  <a:lnTo>
                    <a:pt x="592295" y="694689"/>
                  </a:lnTo>
                  <a:lnTo>
                    <a:pt x="599157" y="698499"/>
                  </a:lnTo>
                  <a:lnTo>
                    <a:pt x="605482" y="702309"/>
                  </a:lnTo>
                  <a:lnTo>
                    <a:pt x="711229" y="788669"/>
                  </a:lnTo>
                  <a:lnTo>
                    <a:pt x="714720" y="791209"/>
                  </a:lnTo>
                  <a:lnTo>
                    <a:pt x="717713" y="795019"/>
                  </a:lnTo>
                  <a:lnTo>
                    <a:pt x="721205" y="797559"/>
                  </a:lnTo>
                  <a:lnTo>
                    <a:pt x="742607" y="807719"/>
                  </a:lnTo>
                  <a:lnTo>
                    <a:pt x="820539" y="807719"/>
                  </a:lnTo>
                  <a:lnTo>
                    <a:pt x="812735" y="819149"/>
                  </a:lnTo>
                  <a:lnTo>
                    <a:pt x="801286" y="830579"/>
                  </a:lnTo>
                  <a:lnTo>
                    <a:pt x="788294" y="839469"/>
                  </a:lnTo>
                  <a:lnTo>
                    <a:pt x="773805" y="844549"/>
                  </a:lnTo>
                  <a:lnTo>
                    <a:pt x="757867" y="847089"/>
                  </a:lnTo>
                  <a:lnTo>
                    <a:pt x="747143" y="847089"/>
                  </a:lnTo>
                  <a:lnTo>
                    <a:pt x="743900" y="852169"/>
                  </a:lnTo>
                  <a:lnTo>
                    <a:pt x="741406" y="861059"/>
                  </a:lnTo>
                  <a:lnTo>
                    <a:pt x="727264" y="890269"/>
                  </a:lnTo>
                  <a:lnTo>
                    <a:pt x="721051" y="896619"/>
                  </a:lnTo>
                  <a:close/>
                </a:path>
                <a:path w="1089025" h="935990">
                  <a:moveTo>
                    <a:pt x="642144" y="935989"/>
                  </a:moveTo>
                  <a:lnTo>
                    <a:pt x="567631" y="897889"/>
                  </a:lnTo>
                  <a:lnTo>
                    <a:pt x="534371" y="872489"/>
                  </a:lnTo>
                  <a:lnTo>
                    <a:pt x="467064" y="822959"/>
                  </a:lnTo>
                  <a:lnTo>
                    <a:pt x="466066" y="822959"/>
                  </a:lnTo>
                  <a:lnTo>
                    <a:pt x="463822" y="821689"/>
                  </a:lnTo>
                  <a:lnTo>
                    <a:pt x="530427" y="821689"/>
                  </a:lnTo>
                  <a:lnTo>
                    <a:pt x="625434" y="890269"/>
                  </a:lnTo>
                  <a:lnTo>
                    <a:pt x="633349" y="894079"/>
                  </a:lnTo>
                  <a:lnTo>
                    <a:pt x="641427" y="896619"/>
                  </a:lnTo>
                  <a:lnTo>
                    <a:pt x="721051" y="896619"/>
                  </a:lnTo>
                  <a:lnTo>
                    <a:pt x="703653" y="914399"/>
                  </a:lnTo>
                  <a:lnTo>
                    <a:pt x="674103" y="930909"/>
                  </a:lnTo>
                  <a:lnTo>
                    <a:pt x="642144" y="935989"/>
                  </a:lnTo>
                  <a:close/>
                </a:path>
              </a:pathLst>
            </a:custGeom>
            <a:solidFill>
              <a:srgbClr val="FFFFFF"/>
            </a:solidFill>
          </p:spPr>
          <p:txBody>
            <a:bodyPr wrap="square" lIns="0" tIns="0" rIns="0" bIns="0" rtlCol="0"/>
            <a:lstStyle/>
            <a:p>
              <a:endParaRPr/>
            </a:p>
          </p:txBody>
        </p:sp>
        <p:pic>
          <p:nvPicPr>
            <p:cNvPr id="42" name="object 42"/>
            <p:cNvPicPr/>
            <p:nvPr/>
          </p:nvPicPr>
          <p:blipFill>
            <a:blip r:embed="rId6" cstate="print"/>
            <a:stretch>
              <a:fillRect/>
            </a:stretch>
          </p:blipFill>
          <p:spPr>
            <a:xfrm>
              <a:off x="8687025" y="7032640"/>
              <a:ext cx="286278" cy="297341"/>
            </a:xfrm>
            <a:prstGeom prst="rect">
              <a:avLst/>
            </a:prstGeom>
          </p:spPr>
        </p:pic>
      </p:grpSp>
      <p:grpSp>
        <p:nvGrpSpPr>
          <p:cNvPr id="43" name="object 43"/>
          <p:cNvGrpSpPr/>
          <p:nvPr/>
        </p:nvGrpSpPr>
        <p:grpSpPr>
          <a:xfrm>
            <a:off x="6644471" y="8150152"/>
            <a:ext cx="4829810" cy="1407795"/>
            <a:chOff x="6644471" y="8150152"/>
            <a:chExt cx="4829810" cy="1407795"/>
          </a:xfrm>
        </p:grpSpPr>
        <p:sp>
          <p:nvSpPr>
            <p:cNvPr id="44" name="object 44"/>
            <p:cNvSpPr/>
            <p:nvPr/>
          </p:nvSpPr>
          <p:spPr>
            <a:xfrm>
              <a:off x="7174103" y="8150152"/>
              <a:ext cx="4300220" cy="1407795"/>
            </a:xfrm>
            <a:custGeom>
              <a:avLst/>
              <a:gdLst/>
              <a:ahLst/>
              <a:cxnLst/>
              <a:rect l="l" t="t" r="r" b="b"/>
              <a:pathLst>
                <a:path w="4300220" h="1407795">
                  <a:moveTo>
                    <a:pt x="4299928" y="1407390"/>
                  </a:moveTo>
                  <a:lnTo>
                    <a:pt x="0" y="1407390"/>
                  </a:lnTo>
                  <a:lnTo>
                    <a:pt x="0" y="0"/>
                  </a:lnTo>
                  <a:lnTo>
                    <a:pt x="4299928" y="0"/>
                  </a:lnTo>
                  <a:lnTo>
                    <a:pt x="4299928" y="1407390"/>
                  </a:lnTo>
                  <a:close/>
                </a:path>
              </a:pathLst>
            </a:custGeom>
            <a:solidFill>
              <a:srgbClr val="FFFFFF"/>
            </a:solidFill>
          </p:spPr>
          <p:txBody>
            <a:bodyPr wrap="square" lIns="0" tIns="0" rIns="0" bIns="0" rtlCol="0"/>
            <a:lstStyle/>
            <a:p>
              <a:endParaRPr/>
            </a:p>
          </p:txBody>
        </p:sp>
        <p:sp>
          <p:nvSpPr>
            <p:cNvPr id="45" name="object 45"/>
            <p:cNvSpPr/>
            <p:nvPr/>
          </p:nvSpPr>
          <p:spPr>
            <a:xfrm>
              <a:off x="6644471" y="8165874"/>
              <a:ext cx="1069975" cy="1069975"/>
            </a:xfrm>
            <a:custGeom>
              <a:avLst/>
              <a:gdLst/>
              <a:ahLst/>
              <a:cxnLst/>
              <a:rect l="l" t="t" r="r" b="b"/>
              <a:pathLst>
                <a:path w="1069975" h="1069975">
                  <a:moveTo>
                    <a:pt x="534694" y="1069390"/>
                  </a:moveTo>
                  <a:lnTo>
                    <a:pt x="486026" y="1067204"/>
                  </a:lnTo>
                  <a:lnTo>
                    <a:pt x="438582" y="1060775"/>
                  </a:lnTo>
                  <a:lnTo>
                    <a:pt x="392551" y="1050290"/>
                  </a:lnTo>
                  <a:lnTo>
                    <a:pt x="348122" y="1035938"/>
                  </a:lnTo>
                  <a:lnTo>
                    <a:pt x="305483" y="1017908"/>
                  </a:lnTo>
                  <a:lnTo>
                    <a:pt x="264823" y="996388"/>
                  </a:lnTo>
                  <a:lnTo>
                    <a:pt x="226332" y="971568"/>
                  </a:lnTo>
                  <a:lnTo>
                    <a:pt x="190197" y="943636"/>
                  </a:lnTo>
                  <a:lnTo>
                    <a:pt x="156608" y="912781"/>
                  </a:lnTo>
                  <a:lnTo>
                    <a:pt x="125753" y="879192"/>
                  </a:lnTo>
                  <a:lnTo>
                    <a:pt x="97821" y="843057"/>
                  </a:lnTo>
                  <a:lnTo>
                    <a:pt x="73001" y="804566"/>
                  </a:lnTo>
                  <a:lnTo>
                    <a:pt x="51481" y="763906"/>
                  </a:lnTo>
                  <a:lnTo>
                    <a:pt x="33451" y="721267"/>
                  </a:lnTo>
                  <a:lnTo>
                    <a:pt x="19099" y="676838"/>
                  </a:lnTo>
                  <a:lnTo>
                    <a:pt x="8614" y="630807"/>
                  </a:lnTo>
                  <a:lnTo>
                    <a:pt x="2184" y="583363"/>
                  </a:lnTo>
                  <a:lnTo>
                    <a:pt x="0" y="534695"/>
                  </a:lnTo>
                  <a:lnTo>
                    <a:pt x="2184" y="486027"/>
                  </a:lnTo>
                  <a:lnTo>
                    <a:pt x="8614" y="438583"/>
                  </a:lnTo>
                  <a:lnTo>
                    <a:pt x="19099" y="392552"/>
                  </a:lnTo>
                  <a:lnTo>
                    <a:pt x="33451" y="348122"/>
                  </a:lnTo>
                  <a:lnTo>
                    <a:pt x="51481" y="305484"/>
                  </a:lnTo>
                  <a:lnTo>
                    <a:pt x="73001" y="264824"/>
                  </a:lnTo>
                  <a:lnTo>
                    <a:pt x="97821" y="226332"/>
                  </a:lnTo>
                  <a:lnTo>
                    <a:pt x="125753" y="190197"/>
                  </a:lnTo>
                  <a:lnTo>
                    <a:pt x="156608" y="156608"/>
                  </a:lnTo>
                  <a:lnTo>
                    <a:pt x="190197" y="125753"/>
                  </a:lnTo>
                  <a:lnTo>
                    <a:pt x="226332" y="97821"/>
                  </a:lnTo>
                  <a:lnTo>
                    <a:pt x="264823" y="73001"/>
                  </a:lnTo>
                  <a:lnTo>
                    <a:pt x="305483" y="51482"/>
                  </a:lnTo>
                  <a:lnTo>
                    <a:pt x="348122" y="33451"/>
                  </a:lnTo>
                  <a:lnTo>
                    <a:pt x="392551" y="19099"/>
                  </a:lnTo>
                  <a:lnTo>
                    <a:pt x="438582" y="8614"/>
                  </a:lnTo>
                  <a:lnTo>
                    <a:pt x="486026" y="2185"/>
                  </a:lnTo>
                  <a:lnTo>
                    <a:pt x="534695" y="0"/>
                  </a:lnTo>
                  <a:lnTo>
                    <a:pt x="583363" y="2185"/>
                  </a:lnTo>
                  <a:lnTo>
                    <a:pt x="630807" y="8614"/>
                  </a:lnTo>
                  <a:lnTo>
                    <a:pt x="676838" y="19099"/>
                  </a:lnTo>
                  <a:lnTo>
                    <a:pt x="721267" y="33451"/>
                  </a:lnTo>
                  <a:lnTo>
                    <a:pt x="763906" y="51482"/>
                  </a:lnTo>
                  <a:lnTo>
                    <a:pt x="804565" y="73001"/>
                  </a:lnTo>
                  <a:lnTo>
                    <a:pt x="843057" y="97821"/>
                  </a:lnTo>
                  <a:lnTo>
                    <a:pt x="879192" y="125753"/>
                  </a:lnTo>
                  <a:lnTo>
                    <a:pt x="912781" y="156608"/>
                  </a:lnTo>
                  <a:lnTo>
                    <a:pt x="943636" y="190197"/>
                  </a:lnTo>
                  <a:lnTo>
                    <a:pt x="971568" y="226332"/>
                  </a:lnTo>
                  <a:lnTo>
                    <a:pt x="996388" y="264824"/>
                  </a:lnTo>
                  <a:lnTo>
                    <a:pt x="1017907" y="305484"/>
                  </a:lnTo>
                  <a:lnTo>
                    <a:pt x="1035937" y="348122"/>
                  </a:lnTo>
                  <a:lnTo>
                    <a:pt x="1050289" y="392552"/>
                  </a:lnTo>
                  <a:lnTo>
                    <a:pt x="1060775" y="438583"/>
                  </a:lnTo>
                  <a:lnTo>
                    <a:pt x="1067204" y="486027"/>
                  </a:lnTo>
                  <a:lnTo>
                    <a:pt x="1069389" y="534700"/>
                  </a:lnTo>
                  <a:lnTo>
                    <a:pt x="1067204" y="583363"/>
                  </a:lnTo>
                  <a:lnTo>
                    <a:pt x="1060775" y="630807"/>
                  </a:lnTo>
                  <a:lnTo>
                    <a:pt x="1050289" y="676838"/>
                  </a:lnTo>
                  <a:lnTo>
                    <a:pt x="1035937" y="721267"/>
                  </a:lnTo>
                  <a:lnTo>
                    <a:pt x="1017907" y="763906"/>
                  </a:lnTo>
                  <a:lnTo>
                    <a:pt x="996388" y="804566"/>
                  </a:lnTo>
                  <a:lnTo>
                    <a:pt x="971568" y="843057"/>
                  </a:lnTo>
                  <a:lnTo>
                    <a:pt x="943636" y="879192"/>
                  </a:lnTo>
                  <a:lnTo>
                    <a:pt x="912781" y="912781"/>
                  </a:lnTo>
                  <a:lnTo>
                    <a:pt x="879192" y="943636"/>
                  </a:lnTo>
                  <a:lnTo>
                    <a:pt x="843057" y="971568"/>
                  </a:lnTo>
                  <a:lnTo>
                    <a:pt x="804565" y="996388"/>
                  </a:lnTo>
                  <a:lnTo>
                    <a:pt x="763906" y="1017908"/>
                  </a:lnTo>
                  <a:lnTo>
                    <a:pt x="721267" y="1035938"/>
                  </a:lnTo>
                  <a:lnTo>
                    <a:pt x="676838" y="1050290"/>
                  </a:lnTo>
                  <a:lnTo>
                    <a:pt x="630807" y="1060775"/>
                  </a:lnTo>
                  <a:lnTo>
                    <a:pt x="583363" y="1067204"/>
                  </a:lnTo>
                  <a:lnTo>
                    <a:pt x="534694" y="1069390"/>
                  </a:lnTo>
                  <a:close/>
                </a:path>
              </a:pathLst>
            </a:custGeom>
            <a:solidFill>
              <a:srgbClr val="003793"/>
            </a:solidFill>
          </p:spPr>
          <p:txBody>
            <a:bodyPr wrap="square" lIns="0" tIns="0" rIns="0" bIns="0" rtlCol="0"/>
            <a:lstStyle/>
            <a:p>
              <a:endParaRPr/>
            </a:p>
          </p:txBody>
        </p:sp>
      </p:grpSp>
      <p:sp>
        <p:nvSpPr>
          <p:cNvPr id="46" name="object 46"/>
          <p:cNvSpPr txBox="1"/>
          <p:nvPr/>
        </p:nvSpPr>
        <p:spPr>
          <a:xfrm>
            <a:off x="6892482" y="8432073"/>
            <a:ext cx="574040" cy="506730"/>
          </a:xfrm>
          <a:prstGeom prst="rect">
            <a:avLst/>
          </a:prstGeom>
        </p:spPr>
        <p:txBody>
          <a:bodyPr vert="horz" wrap="square" lIns="0" tIns="13335" rIns="0" bIns="0" rtlCol="0">
            <a:spAutoFit/>
          </a:bodyPr>
          <a:lstStyle/>
          <a:p>
            <a:pPr marL="12700">
              <a:lnSpc>
                <a:spcPct val="100000"/>
              </a:lnSpc>
              <a:spcBef>
                <a:spcPts val="105"/>
              </a:spcBef>
            </a:pPr>
            <a:r>
              <a:rPr sz="3150" b="1" spc="365" dirty="0">
                <a:solidFill>
                  <a:srgbClr val="FFFFFF"/>
                </a:solidFill>
                <a:latin typeface="Arial"/>
                <a:cs typeface="Arial"/>
              </a:rPr>
              <a:t>05</a:t>
            </a:r>
            <a:endParaRPr sz="3150">
              <a:latin typeface="Arial"/>
              <a:cs typeface="Arial"/>
            </a:endParaRPr>
          </a:p>
        </p:txBody>
      </p:sp>
      <p:sp>
        <p:nvSpPr>
          <p:cNvPr id="47" name="object 47"/>
          <p:cNvSpPr txBox="1"/>
          <p:nvPr/>
        </p:nvSpPr>
        <p:spPr>
          <a:xfrm>
            <a:off x="7898025" y="8251866"/>
            <a:ext cx="3176270" cy="1025525"/>
          </a:xfrm>
          <a:prstGeom prst="rect">
            <a:avLst/>
          </a:prstGeom>
        </p:spPr>
        <p:txBody>
          <a:bodyPr vert="horz" wrap="square" lIns="0" tIns="12065" rIns="0" bIns="0" rtlCol="0">
            <a:spAutoFit/>
          </a:bodyPr>
          <a:lstStyle/>
          <a:p>
            <a:pPr marL="499745" marR="492125" indent="-60325" algn="ctr">
              <a:lnSpc>
                <a:spcPct val="115100"/>
              </a:lnSpc>
              <a:spcBef>
                <a:spcPts val="95"/>
              </a:spcBef>
            </a:pPr>
            <a:r>
              <a:rPr sz="1900" spc="-10" dirty="0">
                <a:solidFill>
                  <a:srgbClr val="737373"/>
                </a:solidFill>
                <a:latin typeface="Roboto"/>
                <a:cs typeface="Roboto"/>
              </a:rPr>
              <a:t>Fortalecimiento</a:t>
            </a:r>
            <a:r>
              <a:rPr sz="1900" spc="-110" dirty="0">
                <a:solidFill>
                  <a:srgbClr val="737373"/>
                </a:solidFill>
                <a:latin typeface="Roboto"/>
                <a:cs typeface="Roboto"/>
              </a:rPr>
              <a:t> </a:t>
            </a:r>
            <a:r>
              <a:rPr sz="1900" spc="-25" dirty="0">
                <a:solidFill>
                  <a:srgbClr val="737373"/>
                </a:solidFill>
                <a:latin typeface="Roboto"/>
                <a:cs typeface="Roboto"/>
              </a:rPr>
              <a:t>de </a:t>
            </a:r>
            <a:r>
              <a:rPr sz="1900" dirty="0">
                <a:solidFill>
                  <a:srgbClr val="737373"/>
                </a:solidFill>
                <a:latin typeface="Roboto"/>
                <a:cs typeface="Roboto"/>
              </a:rPr>
              <a:t>socios</a:t>
            </a:r>
            <a:r>
              <a:rPr sz="1900" spc="-50" dirty="0">
                <a:solidFill>
                  <a:srgbClr val="737373"/>
                </a:solidFill>
                <a:latin typeface="Roboto"/>
                <a:cs typeface="Roboto"/>
              </a:rPr>
              <a:t> </a:t>
            </a:r>
            <a:r>
              <a:rPr sz="1900" spc="-10" dirty="0">
                <a:solidFill>
                  <a:srgbClr val="737373"/>
                </a:solidFill>
                <a:latin typeface="Roboto"/>
                <a:cs typeface="Roboto"/>
              </a:rPr>
              <a:t>estratégicos:</a:t>
            </a:r>
            <a:endParaRPr sz="1900">
              <a:latin typeface="Roboto"/>
              <a:cs typeface="Roboto"/>
            </a:endParaRPr>
          </a:p>
          <a:p>
            <a:pPr algn="ctr">
              <a:lnSpc>
                <a:spcPct val="100000"/>
              </a:lnSpc>
              <a:spcBef>
                <a:spcPts val="345"/>
              </a:spcBef>
            </a:pPr>
            <a:r>
              <a:rPr sz="1900" b="1" dirty="0">
                <a:solidFill>
                  <a:srgbClr val="E3112B"/>
                </a:solidFill>
                <a:latin typeface="Roboto"/>
                <a:cs typeface="Roboto"/>
              </a:rPr>
              <a:t>Convention</a:t>
            </a:r>
            <a:r>
              <a:rPr sz="1900" b="1" spc="-20" dirty="0">
                <a:solidFill>
                  <a:srgbClr val="E3112B"/>
                </a:solidFill>
                <a:latin typeface="Roboto"/>
                <a:cs typeface="Roboto"/>
              </a:rPr>
              <a:t> </a:t>
            </a:r>
            <a:r>
              <a:rPr sz="1900" b="1" dirty="0">
                <a:solidFill>
                  <a:srgbClr val="E3112B"/>
                </a:solidFill>
                <a:latin typeface="Roboto"/>
                <a:cs typeface="Roboto"/>
              </a:rPr>
              <a:t>Bureaus</a:t>
            </a:r>
            <a:r>
              <a:rPr sz="1900" b="1" spc="-15" dirty="0">
                <a:solidFill>
                  <a:srgbClr val="E3112B"/>
                </a:solidFill>
                <a:latin typeface="Roboto"/>
                <a:cs typeface="Roboto"/>
              </a:rPr>
              <a:t> </a:t>
            </a:r>
            <a:r>
              <a:rPr sz="1900" b="1" dirty="0">
                <a:solidFill>
                  <a:srgbClr val="E3112B"/>
                </a:solidFill>
                <a:latin typeface="Roboto"/>
                <a:cs typeface="Roboto"/>
              </a:rPr>
              <a:t>de</a:t>
            </a:r>
            <a:r>
              <a:rPr sz="1900" b="1" spc="-10" dirty="0">
                <a:solidFill>
                  <a:srgbClr val="E3112B"/>
                </a:solidFill>
                <a:latin typeface="Roboto"/>
                <a:cs typeface="Roboto"/>
              </a:rPr>
              <a:t> </a:t>
            </a:r>
            <a:r>
              <a:rPr sz="1900" b="1" spc="-20" dirty="0">
                <a:solidFill>
                  <a:srgbClr val="E3112B"/>
                </a:solidFill>
                <a:latin typeface="Roboto"/>
                <a:cs typeface="Roboto"/>
              </a:rPr>
              <a:t>Chile</a:t>
            </a:r>
            <a:endParaRPr sz="1900">
              <a:latin typeface="Roboto"/>
              <a:cs typeface="Roboto"/>
            </a:endParaRPr>
          </a:p>
        </p:txBody>
      </p:sp>
      <p:pic>
        <p:nvPicPr>
          <p:cNvPr id="48" name="object 48"/>
          <p:cNvPicPr/>
          <p:nvPr/>
        </p:nvPicPr>
        <p:blipFill>
          <a:blip r:embed="rId7" cstate="print"/>
          <a:stretch>
            <a:fillRect/>
          </a:stretch>
        </p:blipFill>
        <p:spPr>
          <a:xfrm>
            <a:off x="17316450" y="237491"/>
            <a:ext cx="742949" cy="819149"/>
          </a:xfrm>
          <a:prstGeom prst="rect">
            <a:avLst/>
          </a:prstGeom>
        </p:spPr>
      </p:pic>
      <p:sp>
        <p:nvSpPr>
          <p:cNvPr id="49" name="object 49"/>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50" name="object 50"/>
          <p:cNvSpPr txBox="1"/>
          <p:nvPr/>
        </p:nvSpPr>
        <p:spPr>
          <a:xfrm>
            <a:off x="17811802" y="9932972"/>
            <a:ext cx="220979"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5</a:t>
            </a:r>
            <a:endParaRPr sz="900">
              <a:latin typeface="Arial"/>
              <a:cs typeface="Arial"/>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4"/>
            <a:ext cx="17954625" cy="8662035"/>
          </a:xfrm>
          <a:custGeom>
            <a:avLst/>
            <a:gdLst/>
            <a:ahLst/>
            <a:cxnLst/>
            <a:rect l="l" t="t" r="r" b="b"/>
            <a:pathLst>
              <a:path w="17954625" h="8662035">
                <a:moveTo>
                  <a:pt x="0" y="8661679"/>
                </a:moveTo>
                <a:lnTo>
                  <a:pt x="17954029" y="8661679"/>
                </a:lnTo>
                <a:lnTo>
                  <a:pt x="17954029" y="0"/>
                </a:lnTo>
                <a:lnTo>
                  <a:pt x="0" y="0"/>
                </a:lnTo>
                <a:lnTo>
                  <a:pt x="0" y="8661679"/>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4"/>
            <a:ext cx="17954625" cy="1394460"/>
            <a:chOff x="166956" y="171494"/>
            <a:chExt cx="17954625" cy="1394460"/>
          </a:xfrm>
        </p:grpSpPr>
        <p:sp>
          <p:nvSpPr>
            <p:cNvPr id="4" name="object 4"/>
            <p:cNvSpPr/>
            <p:nvPr/>
          </p:nvSpPr>
          <p:spPr>
            <a:xfrm>
              <a:off x="166956" y="171494"/>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E3112B"/>
            </a:solidFill>
          </p:spPr>
          <p:txBody>
            <a:bodyPr wrap="square" lIns="0" tIns="0" rIns="0" bIns="0" rtlCol="0"/>
            <a:lstStyle/>
            <a:p>
              <a:endParaRPr/>
            </a:p>
          </p:txBody>
        </p:sp>
      </p:grpSp>
      <p:sp>
        <p:nvSpPr>
          <p:cNvPr id="6" name="object 6"/>
          <p:cNvSpPr/>
          <p:nvPr/>
        </p:nvSpPr>
        <p:spPr>
          <a:xfrm>
            <a:off x="1427952" y="4462414"/>
            <a:ext cx="4214495" cy="1065530"/>
          </a:xfrm>
          <a:custGeom>
            <a:avLst/>
            <a:gdLst/>
            <a:ahLst/>
            <a:cxnLst/>
            <a:rect l="l" t="t" r="r" b="b"/>
            <a:pathLst>
              <a:path w="4214495" h="1065529">
                <a:moveTo>
                  <a:pt x="4214396" y="1065262"/>
                </a:moveTo>
                <a:lnTo>
                  <a:pt x="0" y="1065262"/>
                </a:lnTo>
                <a:lnTo>
                  <a:pt x="0" y="0"/>
                </a:lnTo>
                <a:lnTo>
                  <a:pt x="4214396" y="0"/>
                </a:lnTo>
                <a:lnTo>
                  <a:pt x="4214396" y="1065262"/>
                </a:lnTo>
                <a:close/>
              </a:path>
            </a:pathLst>
          </a:custGeom>
          <a:solidFill>
            <a:srgbClr val="FFFFFF"/>
          </a:solidFill>
        </p:spPr>
        <p:txBody>
          <a:bodyPr wrap="square" lIns="0" tIns="0" rIns="0" bIns="0" rtlCol="0"/>
          <a:lstStyle/>
          <a:p>
            <a:endParaRPr/>
          </a:p>
        </p:txBody>
      </p:sp>
      <p:grpSp>
        <p:nvGrpSpPr>
          <p:cNvPr id="7" name="object 7"/>
          <p:cNvGrpSpPr/>
          <p:nvPr/>
        </p:nvGrpSpPr>
        <p:grpSpPr>
          <a:xfrm>
            <a:off x="2488748" y="2480902"/>
            <a:ext cx="1858010" cy="1858010"/>
            <a:chOff x="2488748" y="2480902"/>
            <a:chExt cx="1858010" cy="1858010"/>
          </a:xfrm>
        </p:grpSpPr>
        <p:sp>
          <p:nvSpPr>
            <p:cNvPr id="8" name="object 8"/>
            <p:cNvSpPr/>
            <p:nvPr/>
          </p:nvSpPr>
          <p:spPr>
            <a:xfrm>
              <a:off x="2488748" y="2480902"/>
              <a:ext cx="1858010" cy="1858010"/>
            </a:xfrm>
            <a:custGeom>
              <a:avLst/>
              <a:gdLst/>
              <a:ahLst/>
              <a:cxnLst/>
              <a:rect l="l" t="t" r="r" b="b"/>
              <a:pathLst>
                <a:path w="1858010" h="1858010">
                  <a:moveTo>
                    <a:pt x="928901" y="1857797"/>
                  </a:moveTo>
                  <a:lnTo>
                    <a:pt x="881097" y="1856588"/>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7" y="1585729"/>
                  </a:lnTo>
                  <a:lnTo>
                    <a:pt x="241310" y="1553469"/>
                  </a:lnTo>
                  <a:lnTo>
                    <a:pt x="212115" y="1519764"/>
                  </a:lnTo>
                  <a:lnTo>
                    <a:pt x="184539" y="1484673"/>
                  </a:lnTo>
                  <a:lnTo>
                    <a:pt x="158641" y="1448254"/>
                  </a:lnTo>
                  <a:lnTo>
                    <a:pt x="134479" y="1410566"/>
                  </a:lnTo>
                  <a:lnTo>
                    <a:pt x="112112" y="1371667"/>
                  </a:lnTo>
                  <a:lnTo>
                    <a:pt x="91599" y="1331614"/>
                  </a:lnTo>
                  <a:lnTo>
                    <a:pt x="72997" y="1290468"/>
                  </a:lnTo>
                  <a:lnTo>
                    <a:pt x="56365" y="1248285"/>
                  </a:lnTo>
                  <a:lnTo>
                    <a:pt x="41761" y="1205124"/>
                  </a:lnTo>
                  <a:lnTo>
                    <a:pt x="29243" y="1161045"/>
                  </a:lnTo>
                  <a:lnTo>
                    <a:pt x="18871" y="1116104"/>
                  </a:lnTo>
                  <a:lnTo>
                    <a:pt x="10702" y="1070360"/>
                  </a:lnTo>
                  <a:lnTo>
                    <a:pt x="4795" y="1023873"/>
                  </a:lnTo>
                  <a:lnTo>
                    <a:pt x="1208" y="976699"/>
                  </a:lnTo>
                  <a:lnTo>
                    <a:pt x="0" y="928889"/>
                  </a:lnTo>
                  <a:lnTo>
                    <a:pt x="1208" y="881097"/>
                  </a:lnTo>
                  <a:lnTo>
                    <a:pt x="4795" y="833924"/>
                  </a:lnTo>
                  <a:lnTo>
                    <a:pt x="10702" y="787436"/>
                  </a:lnTo>
                  <a:lnTo>
                    <a:pt x="18871" y="741693"/>
                  </a:lnTo>
                  <a:lnTo>
                    <a:pt x="29243" y="696752"/>
                  </a:lnTo>
                  <a:lnTo>
                    <a:pt x="41761" y="652672"/>
                  </a:lnTo>
                  <a:lnTo>
                    <a:pt x="56365" y="609512"/>
                  </a:lnTo>
                  <a:lnTo>
                    <a:pt x="72997" y="567329"/>
                  </a:lnTo>
                  <a:lnTo>
                    <a:pt x="91599" y="526182"/>
                  </a:lnTo>
                  <a:lnTo>
                    <a:pt x="112112" y="486130"/>
                  </a:lnTo>
                  <a:lnTo>
                    <a:pt x="134479" y="447230"/>
                  </a:lnTo>
                  <a:lnTo>
                    <a:pt x="158641" y="409542"/>
                  </a:lnTo>
                  <a:lnTo>
                    <a:pt x="184539" y="373123"/>
                  </a:lnTo>
                  <a:lnTo>
                    <a:pt x="212115" y="338032"/>
                  </a:lnTo>
                  <a:lnTo>
                    <a:pt x="241310" y="304328"/>
                  </a:lnTo>
                  <a:lnTo>
                    <a:pt x="272067"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3" y="4795"/>
                  </a:lnTo>
                  <a:lnTo>
                    <a:pt x="1070360" y="10703"/>
                  </a:lnTo>
                  <a:lnTo>
                    <a:pt x="1116104" y="18871"/>
                  </a:lnTo>
                  <a:lnTo>
                    <a:pt x="1161045" y="29244"/>
                  </a:lnTo>
                  <a:lnTo>
                    <a:pt x="1205124" y="41761"/>
                  </a:lnTo>
                  <a:lnTo>
                    <a:pt x="1248285" y="56365"/>
                  </a:lnTo>
                  <a:lnTo>
                    <a:pt x="1290468" y="72997"/>
                  </a:lnTo>
                  <a:lnTo>
                    <a:pt x="1331614" y="91599"/>
                  </a:lnTo>
                  <a:lnTo>
                    <a:pt x="1371667" y="112113"/>
                  </a:lnTo>
                  <a:lnTo>
                    <a:pt x="1410566" y="134479"/>
                  </a:lnTo>
                  <a:lnTo>
                    <a:pt x="1448254" y="158641"/>
                  </a:lnTo>
                  <a:lnTo>
                    <a:pt x="1484673" y="184539"/>
                  </a:lnTo>
                  <a:lnTo>
                    <a:pt x="1519764" y="212115"/>
                  </a:lnTo>
                  <a:lnTo>
                    <a:pt x="1553469" y="241311"/>
                  </a:lnTo>
                  <a:lnTo>
                    <a:pt x="1585729" y="272068"/>
                  </a:lnTo>
                  <a:lnTo>
                    <a:pt x="1616486" y="304328"/>
                  </a:lnTo>
                  <a:lnTo>
                    <a:pt x="1645682" y="338032"/>
                  </a:lnTo>
                  <a:lnTo>
                    <a:pt x="1673258" y="373123"/>
                  </a:lnTo>
                  <a:lnTo>
                    <a:pt x="1699156" y="409542"/>
                  </a:lnTo>
                  <a:lnTo>
                    <a:pt x="1723317" y="447230"/>
                  </a:lnTo>
                  <a:lnTo>
                    <a:pt x="1745684" y="486130"/>
                  </a:lnTo>
                  <a:lnTo>
                    <a:pt x="1766198" y="526182"/>
                  </a:lnTo>
                  <a:lnTo>
                    <a:pt x="1784800" y="567329"/>
                  </a:lnTo>
                  <a:lnTo>
                    <a:pt x="1801432" y="609512"/>
                  </a:lnTo>
                  <a:lnTo>
                    <a:pt x="1816036" y="652672"/>
                  </a:lnTo>
                  <a:lnTo>
                    <a:pt x="1828553" y="696752"/>
                  </a:lnTo>
                  <a:lnTo>
                    <a:pt x="1838925" y="741693"/>
                  </a:lnTo>
                  <a:lnTo>
                    <a:pt x="1847094" y="787436"/>
                  </a:lnTo>
                  <a:lnTo>
                    <a:pt x="1853001" y="833924"/>
                  </a:lnTo>
                  <a:lnTo>
                    <a:pt x="1856588" y="881097"/>
                  </a:lnTo>
                  <a:lnTo>
                    <a:pt x="1857797" y="928900"/>
                  </a:lnTo>
                  <a:lnTo>
                    <a:pt x="1856588" y="976699"/>
                  </a:lnTo>
                  <a:lnTo>
                    <a:pt x="1853001" y="1023873"/>
                  </a:lnTo>
                  <a:lnTo>
                    <a:pt x="1847094" y="1070360"/>
                  </a:lnTo>
                  <a:lnTo>
                    <a:pt x="1838925" y="1116104"/>
                  </a:lnTo>
                  <a:lnTo>
                    <a:pt x="1828553" y="1161045"/>
                  </a:lnTo>
                  <a:lnTo>
                    <a:pt x="1816036" y="1205124"/>
                  </a:lnTo>
                  <a:lnTo>
                    <a:pt x="1801432" y="1248285"/>
                  </a:lnTo>
                  <a:lnTo>
                    <a:pt x="1784800" y="1290468"/>
                  </a:lnTo>
                  <a:lnTo>
                    <a:pt x="1766198" y="1331614"/>
                  </a:lnTo>
                  <a:lnTo>
                    <a:pt x="1745684" y="1371667"/>
                  </a:lnTo>
                  <a:lnTo>
                    <a:pt x="1723317" y="1410566"/>
                  </a:lnTo>
                  <a:lnTo>
                    <a:pt x="1699156" y="1448254"/>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7" y="1745684"/>
                  </a:lnTo>
                  <a:lnTo>
                    <a:pt x="1331614" y="1766198"/>
                  </a:lnTo>
                  <a:lnTo>
                    <a:pt x="1290468" y="1784800"/>
                  </a:lnTo>
                  <a:lnTo>
                    <a:pt x="1248285" y="1801432"/>
                  </a:lnTo>
                  <a:lnTo>
                    <a:pt x="1205124" y="1816036"/>
                  </a:lnTo>
                  <a:lnTo>
                    <a:pt x="1161045" y="1828553"/>
                  </a:lnTo>
                  <a:lnTo>
                    <a:pt x="1116104" y="1838925"/>
                  </a:lnTo>
                  <a:lnTo>
                    <a:pt x="1070360" y="1847094"/>
                  </a:lnTo>
                  <a:lnTo>
                    <a:pt x="1023873" y="1853001"/>
                  </a:lnTo>
                  <a:lnTo>
                    <a:pt x="976699" y="1856588"/>
                  </a:lnTo>
                  <a:lnTo>
                    <a:pt x="928901" y="1857797"/>
                  </a:lnTo>
                  <a:close/>
                </a:path>
              </a:pathLst>
            </a:custGeom>
            <a:solidFill>
              <a:srgbClr val="0090AE"/>
            </a:solidFill>
          </p:spPr>
          <p:txBody>
            <a:bodyPr wrap="square" lIns="0" tIns="0" rIns="0" bIns="0" rtlCol="0"/>
            <a:lstStyle/>
            <a:p>
              <a:endParaRPr/>
            </a:p>
          </p:txBody>
        </p:sp>
        <p:sp>
          <p:nvSpPr>
            <p:cNvPr id="9" name="object 9"/>
            <p:cNvSpPr/>
            <p:nvPr/>
          </p:nvSpPr>
          <p:spPr>
            <a:xfrm>
              <a:off x="2813599" y="2797210"/>
              <a:ext cx="1221740" cy="1218565"/>
            </a:xfrm>
            <a:custGeom>
              <a:avLst/>
              <a:gdLst/>
              <a:ahLst/>
              <a:cxnLst/>
              <a:rect l="l" t="t" r="r" b="b"/>
              <a:pathLst>
                <a:path w="1221739" h="1218564">
                  <a:moveTo>
                    <a:pt x="362056" y="868972"/>
                  </a:moveTo>
                  <a:lnTo>
                    <a:pt x="242222" y="614244"/>
                  </a:lnTo>
                  <a:lnTo>
                    <a:pt x="329807" y="555004"/>
                  </a:lnTo>
                  <a:lnTo>
                    <a:pt x="372384" y="525221"/>
                  </a:lnTo>
                  <a:lnTo>
                    <a:pt x="413327" y="493819"/>
                  </a:lnTo>
                  <a:lnTo>
                    <a:pt x="450228" y="461258"/>
                  </a:lnTo>
                  <a:lnTo>
                    <a:pt x="483736" y="426124"/>
                  </a:lnTo>
                  <a:lnTo>
                    <a:pt x="513268" y="388159"/>
                  </a:lnTo>
                  <a:lnTo>
                    <a:pt x="538241" y="347108"/>
                  </a:lnTo>
                  <a:lnTo>
                    <a:pt x="558073" y="302715"/>
                  </a:lnTo>
                  <a:lnTo>
                    <a:pt x="572181" y="254725"/>
                  </a:lnTo>
                  <a:lnTo>
                    <a:pt x="578008" y="198752"/>
                  </a:lnTo>
                  <a:lnTo>
                    <a:pt x="577896" y="179937"/>
                  </a:lnTo>
                  <a:lnTo>
                    <a:pt x="577434" y="169630"/>
                  </a:lnTo>
                  <a:lnTo>
                    <a:pt x="577674" y="159937"/>
                  </a:lnTo>
                  <a:lnTo>
                    <a:pt x="581055" y="151811"/>
                  </a:lnTo>
                  <a:lnTo>
                    <a:pt x="590016" y="146205"/>
                  </a:lnTo>
                  <a:lnTo>
                    <a:pt x="601791" y="145456"/>
                  </a:lnTo>
                  <a:lnTo>
                    <a:pt x="609599" y="150693"/>
                  </a:lnTo>
                  <a:lnTo>
                    <a:pt x="614957" y="159434"/>
                  </a:lnTo>
                  <a:lnTo>
                    <a:pt x="619379" y="169197"/>
                  </a:lnTo>
                  <a:lnTo>
                    <a:pt x="849718" y="658763"/>
                  </a:lnTo>
                  <a:lnTo>
                    <a:pt x="915871" y="799184"/>
                  </a:lnTo>
                  <a:lnTo>
                    <a:pt x="640059" y="799184"/>
                  </a:lnTo>
                  <a:lnTo>
                    <a:pt x="587353" y="803619"/>
                  </a:lnTo>
                  <a:lnTo>
                    <a:pt x="535156" y="812533"/>
                  </a:lnTo>
                  <a:lnTo>
                    <a:pt x="483415" y="825399"/>
                  </a:lnTo>
                  <a:lnTo>
                    <a:pt x="432081" y="841695"/>
                  </a:lnTo>
                  <a:lnTo>
                    <a:pt x="397869" y="854656"/>
                  </a:lnTo>
                  <a:lnTo>
                    <a:pt x="362056" y="868972"/>
                  </a:lnTo>
                  <a:close/>
                </a:path>
                <a:path w="1221739" h="1218564">
                  <a:moveTo>
                    <a:pt x="848964" y="555895"/>
                  </a:moveTo>
                  <a:lnTo>
                    <a:pt x="795871" y="443303"/>
                  </a:lnTo>
                  <a:lnTo>
                    <a:pt x="824755" y="438556"/>
                  </a:lnTo>
                  <a:lnTo>
                    <a:pt x="847983" y="441632"/>
                  </a:lnTo>
                  <a:lnTo>
                    <a:pt x="866044" y="452425"/>
                  </a:lnTo>
                  <a:lnTo>
                    <a:pt x="879428" y="470827"/>
                  </a:lnTo>
                  <a:lnTo>
                    <a:pt x="886642" y="493447"/>
                  </a:lnTo>
                  <a:lnTo>
                    <a:pt x="884279" y="514833"/>
                  </a:lnTo>
                  <a:lnTo>
                    <a:pt x="871874" y="535484"/>
                  </a:lnTo>
                  <a:lnTo>
                    <a:pt x="848964" y="555895"/>
                  </a:lnTo>
                  <a:close/>
                </a:path>
                <a:path w="1221739" h="1218564">
                  <a:moveTo>
                    <a:pt x="141751" y="956586"/>
                  </a:moveTo>
                  <a:lnTo>
                    <a:pt x="92507" y="947851"/>
                  </a:lnTo>
                  <a:lnTo>
                    <a:pt x="49588" y="922174"/>
                  </a:lnTo>
                  <a:lnTo>
                    <a:pt x="18606" y="882913"/>
                  </a:lnTo>
                  <a:lnTo>
                    <a:pt x="11930" y="867576"/>
                  </a:lnTo>
                  <a:lnTo>
                    <a:pt x="8591" y="859892"/>
                  </a:lnTo>
                  <a:lnTo>
                    <a:pt x="78" y="812533"/>
                  </a:lnTo>
                  <a:lnTo>
                    <a:pt x="0" y="809987"/>
                  </a:lnTo>
                  <a:lnTo>
                    <a:pt x="258" y="802337"/>
                  </a:lnTo>
                  <a:lnTo>
                    <a:pt x="9006" y="761537"/>
                  </a:lnTo>
                  <a:lnTo>
                    <a:pt x="34554" y="718600"/>
                  </a:lnTo>
                  <a:lnTo>
                    <a:pt x="66338" y="691676"/>
                  </a:lnTo>
                  <a:lnTo>
                    <a:pt x="129985" y="658507"/>
                  </a:lnTo>
                  <a:lnTo>
                    <a:pt x="196995" y="626988"/>
                  </a:lnTo>
                  <a:lnTo>
                    <a:pt x="321559" y="891454"/>
                  </a:lnTo>
                  <a:lnTo>
                    <a:pt x="285543" y="908199"/>
                  </a:lnTo>
                  <a:lnTo>
                    <a:pt x="249091" y="923886"/>
                  </a:lnTo>
                  <a:lnTo>
                    <a:pt x="212201" y="938515"/>
                  </a:lnTo>
                  <a:lnTo>
                    <a:pt x="174874" y="952086"/>
                  </a:lnTo>
                  <a:lnTo>
                    <a:pt x="158492" y="955464"/>
                  </a:lnTo>
                  <a:lnTo>
                    <a:pt x="141751" y="956586"/>
                  </a:lnTo>
                  <a:close/>
                </a:path>
                <a:path w="1221739" h="1218564">
                  <a:moveTo>
                    <a:pt x="942901" y="893786"/>
                  </a:moveTo>
                  <a:lnTo>
                    <a:pt x="935217" y="892522"/>
                  </a:lnTo>
                  <a:lnTo>
                    <a:pt x="927289" y="891504"/>
                  </a:lnTo>
                  <a:lnTo>
                    <a:pt x="920035" y="889796"/>
                  </a:lnTo>
                  <a:lnTo>
                    <a:pt x="914375" y="886462"/>
                  </a:lnTo>
                  <a:lnTo>
                    <a:pt x="896636" y="870823"/>
                  </a:lnTo>
                  <a:lnTo>
                    <a:pt x="877848" y="856703"/>
                  </a:lnTo>
                  <a:lnTo>
                    <a:pt x="837121" y="833015"/>
                  </a:lnTo>
                  <a:lnTo>
                    <a:pt x="793225" y="815896"/>
                  </a:lnTo>
                  <a:lnTo>
                    <a:pt x="747195" y="805844"/>
                  </a:lnTo>
                  <a:lnTo>
                    <a:pt x="693322" y="799751"/>
                  </a:lnTo>
                  <a:lnTo>
                    <a:pt x="640059" y="799184"/>
                  </a:lnTo>
                  <a:lnTo>
                    <a:pt x="915871" y="799184"/>
                  </a:lnTo>
                  <a:lnTo>
                    <a:pt x="941406" y="853387"/>
                  </a:lnTo>
                  <a:lnTo>
                    <a:pt x="943180" y="857017"/>
                  </a:lnTo>
                  <a:lnTo>
                    <a:pt x="944247" y="859299"/>
                  </a:lnTo>
                  <a:lnTo>
                    <a:pt x="952327" y="879729"/>
                  </a:lnTo>
                  <a:lnTo>
                    <a:pt x="950931" y="884229"/>
                  </a:lnTo>
                  <a:lnTo>
                    <a:pt x="950356" y="885723"/>
                  </a:lnTo>
                  <a:lnTo>
                    <a:pt x="948845" y="889312"/>
                  </a:lnTo>
                  <a:lnTo>
                    <a:pt x="946360" y="892000"/>
                  </a:lnTo>
                  <a:lnTo>
                    <a:pt x="942901" y="893786"/>
                  </a:lnTo>
                  <a:close/>
                </a:path>
                <a:path w="1221739" h="1218564">
                  <a:moveTo>
                    <a:pt x="413721" y="976457"/>
                  </a:moveTo>
                  <a:lnTo>
                    <a:pt x="407349" y="964420"/>
                  </a:lnTo>
                  <a:lnTo>
                    <a:pt x="390088" y="932464"/>
                  </a:lnTo>
                  <a:lnTo>
                    <a:pt x="382371" y="917780"/>
                  </a:lnTo>
                  <a:lnTo>
                    <a:pt x="471462" y="878251"/>
                  </a:lnTo>
                  <a:lnTo>
                    <a:pt x="485788" y="911387"/>
                  </a:lnTo>
                  <a:lnTo>
                    <a:pt x="484875" y="936530"/>
                  </a:lnTo>
                  <a:lnTo>
                    <a:pt x="462821" y="957085"/>
                  </a:lnTo>
                  <a:lnTo>
                    <a:pt x="413721" y="976457"/>
                  </a:lnTo>
                  <a:close/>
                </a:path>
                <a:path w="1221739" h="1218564">
                  <a:moveTo>
                    <a:pt x="429725" y="1218345"/>
                  </a:moveTo>
                  <a:lnTo>
                    <a:pt x="418315" y="1216052"/>
                  </a:lnTo>
                  <a:lnTo>
                    <a:pt x="408513" y="1209016"/>
                  </a:lnTo>
                  <a:lnTo>
                    <a:pt x="399976" y="1198110"/>
                  </a:lnTo>
                  <a:lnTo>
                    <a:pt x="371295" y="1153330"/>
                  </a:lnTo>
                  <a:lnTo>
                    <a:pt x="254752" y="972630"/>
                  </a:lnTo>
                  <a:lnTo>
                    <a:pt x="339459" y="932560"/>
                  </a:lnTo>
                  <a:lnTo>
                    <a:pt x="342842" y="938587"/>
                  </a:lnTo>
                  <a:lnTo>
                    <a:pt x="346159" y="943612"/>
                  </a:lnTo>
                  <a:lnTo>
                    <a:pt x="451739" y="1167975"/>
                  </a:lnTo>
                  <a:lnTo>
                    <a:pt x="457232" y="1183883"/>
                  </a:lnTo>
                  <a:lnTo>
                    <a:pt x="457659" y="1197258"/>
                  </a:lnTo>
                  <a:lnTo>
                    <a:pt x="452963" y="1207755"/>
                  </a:lnTo>
                  <a:lnTo>
                    <a:pt x="443085" y="1215025"/>
                  </a:lnTo>
                  <a:lnTo>
                    <a:pt x="429725" y="1218345"/>
                  </a:lnTo>
                  <a:close/>
                </a:path>
                <a:path w="1221739" h="1218564">
                  <a:moveTo>
                    <a:pt x="808156" y="124886"/>
                  </a:moveTo>
                  <a:lnTo>
                    <a:pt x="783147" y="100066"/>
                  </a:lnTo>
                  <a:lnTo>
                    <a:pt x="784029" y="90180"/>
                  </a:lnTo>
                  <a:lnTo>
                    <a:pt x="785699" y="85694"/>
                  </a:lnTo>
                  <a:lnTo>
                    <a:pt x="788596" y="81665"/>
                  </a:lnTo>
                  <a:lnTo>
                    <a:pt x="800132" y="64432"/>
                  </a:lnTo>
                  <a:lnTo>
                    <a:pt x="811751" y="47301"/>
                  </a:lnTo>
                  <a:lnTo>
                    <a:pt x="823452" y="30273"/>
                  </a:lnTo>
                  <a:lnTo>
                    <a:pt x="835235" y="13348"/>
                  </a:lnTo>
                  <a:lnTo>
                    <a:pt x="837996" y="9155"/>
                  </a:lnTo>
                  <a:lnTo>
                    <a:pt x="841592" y="5879"/>
                  </a:lnTo>
                  <a:lnTo>
                    <a:pt x="850452" y="1157"/>
                  </a:lnTo>
                  <a:lnTo>
                    <a:pt x="855177" y="0"/>
                  </a:lnTo>
                  <a:lnTo>
                    <a:pt x="860197" y="46"/>
                  </a:lnTo>
                  <a:lnTo>
                    <a:pt x="885159" y="15171"/>
                  </a:lnTo>
                  <a:lnTo>
                    <a:pt x="886966" y="17782"/>
                  </a:lnTo>
                  <a:lnTo>
                    <a:pt x="886309" y="21067"/>
                  </a:lnTo>
                  <a:lnTo>
                    <a:pt x="885652" y="24680"/>
                  </a:lnTo>
                  <a:lnTo>
                    <a:pt x="885488" y="26486"/>
                  </a:lnTo>
                  <a:lnTo>
                    <a:pt x="885185" y="32151"/>
                  </a:lnTo>
                  <a:lnTo>
                    <a:pt x="883652" y="37461"/>
                  </a:lnTo>
                  <a:lnTo>
                    <a:pt x="856995" y="78176"/>
                  </a:lnTo>
                  <a:lnTo>
                    <a:pt x="833100" y="112704"/>
                  </a:lnTo>
                  <a:lnTo>
                    <a:pt x="815277" y="124639"/>
                  </a:lnTo>
                  <a:lnTo>
                    <a:pt x="808156" y="124886"/>
                  </a:lnTo>
                  <a:close/>
                </a:path>
                <a:path w="1221739" h="1218564">
                  <a:moveTo>
                    <a:pt x="1021675" y="413849"/>
                  </a:moveTo>
                  <a:lnTo>
                    <a:pt x="999090" y="382188"/>
                  </a:lnTo>
                  <a:lnTo>
                    <a:pt x="1000287" y="377558"/>
                  </a:lnTo>
                  <a:lnTo>
                    <a:pt x="1005155" y="368936"/>
                  </a:lnTo>
                  <a:lnTo>
                    <a:pt x="1008502" y="365520"/>
                  </a:lnTo>
                  <a:lnTo>
                    <a:pt x="1012762" y="362998"/>
                  </a:lnTo>
                  <a:lnTo>
                    <a:pt x="1030406" y="352072"/>
                  </a:lnTo>
                  <a:lnTo>
                    <a:pt x="1065878" y="330527"/>
                  </a:lnTo>
                  <a:lnTo>
                    <a:pt x="1083706" y="319971"/>
                  </a:lnTo>
                  <a:lnTo>
                    <a:pt x="1087893" y="317283"/>
                  </a:lnTo>
                  <a:lnTo>
                    <a:pt x="1092468" y="315779"/>
                  </a:lnTo>
                  <a:lnTo>
                    <a:pt x="1102396" y="315137"/>
                  </a:lnTo>
                  <a:lnTo>
                    <a:pt x="1107127" y="316039"/>
                  </a:lnTo>
                  <a:lnTo>
                    <a:pt x="1128375" y="342141"/>
                  </a:lnTo>
                  <a:lnTo>
                    <a:pt x="1128868" y="345426"/>
                  </a:lnTo>
                  <a:lnTo>
                    <a:pt x="1126733" y="348053"/>
                  </a:lnTo>
                  <a:lnTo>
                    <a:pt x="1125912" y="349531"/>
                  </a:lnTo>
                  <a:lnTo>
                    <a:pt x="1124927" y="351009"/>
                  </a:lnTo>
                  <a:lnTo>
                    <a:pt x="1123941" y="352651"/>
                  </a:lnTo>
                  <a:lnTo>
                    <a:pt x="1121351" y="357683"/>
                  </a:lnTo>
                  <a:lnTo>
                    <a:pt x="1117793" y="361898"/>
                  </a:lnTo>
                  <a:lnTo>
                    <a:pt x="1076706" y="388001"/>
                  </a:lnTo>
                  <a:lnTo>
                    <a:pt x="1040515" y="409473"/>
                  </a:lnTo>
                  <a:lnTo>
                    <a:pt x="1036276" y="412247"/>
                  </a:lnTo>
                  <a:lnTo>
                    <a:pt x="1031623" y="413670"/>
                  </a:lnTo>
                  <a:lnTo>
                    <a:pt x="1021675" y="413849"/>
                  </a:lnTo>
                  <a:close/>
                </a:path>
                <a:path w="1221739" h="1218564">
                  <a:moveTo>
                    <a:pt x="1192274" y="813828"/>
                  </a:moveTo>
                  <a:lnTo>
                    <a:pt x="1186675" y="812972"/>
                  </a:lnTo>
                  <a:lnTo>
                    <a:pt x="1165806" y="807758"/>
                  </a:lnTo>
                  <a:lnTo>
                    <a:pt x="1144983" y="802297"/>
                  </a:lnTo>
                  <a:lnTo>
                    <a:pt x="1104399" y="791130"/>
                  </a:lnTo>
                  <a:lnTo>
                    <a:pt x="1099537" y="789934"/>
                  </a:lnTo>
                  <a:lnTo>
                    <a:pt x="1083529" y="767035"/>
                  </a:lnTo>
                  <a:lnTo>
                    <a:pt x="1083623" y="762319"/>
                  </a:lnTo>
                  <a:lnTo>
                    <a:pt x="1109274" y="737558"/>
                  </a:lnTo>
                  <a:lnTo>
                    <a:pt x="1114068" y="737598"/>
                  </a:lnTo>
                  <a:lnTo>
                    <a:pt x="1118850" y="738907"/>
                  </a:lnTo>
                  <a:lnTo>
                    <a:pt x="1179079" y="754703"/>
                  </a:lnTo>
                  <a:lnTo>
                    <a:pt x="1198992" y="760256"/>
                  </a:lnTo>
                  <a:lnTo>
                    <a:pt x="1203818" y="761447"/>
                  </a:lnTo>
                  <a:lnTo>
                    <a:pt x="1208067" y="763717"/>
                  </a:lnTo>
                  <a:lnTo>
                    <a:pt x="1221516" y="789091"/>
                  </a:lnTo>
                  <a:lnTo>
                    <a:pt x="1219473" y="799250"/>
                  </a:lnTo>
                  <a:lnTo>
                    <a:pt x="1217287" y="803765"/>
                  </a:lnTo>
                  <a:lnTo>
                    <a:pt x="1213907" y="807758"/>
                  </a:lnTo>
                  <a:lnTo>
                    <a:pt x="1211965" y="810508"/>
                  </a:lnTo>
                  <a:lnTo>
                    <a:pt x="1208517" y="810837"/>
                  </a:lnTo>
                  <a:lnTo>
                    <a:pt x="1206875" y="811165"/>
                  </a:lnTo>
                  <a:lnTo>
                    <a:pt x="1205068" y="811494"/>
                  </a:lnTo>
                  <a:lnTo>
                    <a:pt x="1197803" y="813499"/>
                  </a:lnTo>
                  <a:lnTo>
                    <a:pt x="1192274" y="813828"/>
                  </a:lnTo>
                  <a:close/>
                </a:path>
              </a:pathLst>
            </a:custGeom>
            <a:solidFill>
              <a:srgbClr val="FFFFFF"/>
            </a:solidFill>
          </p:spPr>
          <p:txBody>
            <a:bodyPr wrap="square" lIns="0" tIns="0" rIns="0" bIns="0" rtlCol="0"/>
            <a:lstStyle/>
            <a:p>
              <a:endParaRPr/>
            </a:p>
          </p:txBody>
        </p:sp>
      </p:grpSp>
      <p:sp>
        <p:nvSpPr>
          <p:cNvPr id="10" name="object 10"/>
          <p:cNvSpPr txBox="1"/>
          <p:nvPr/>
        </p:nvSpPr>
        <p:spPr>
          <a:xfrm>
            <a:off x="2259999" y="4587208"/>
            <a:ext cx="2804795" cy="692150"/>
          </a:xfrm>
          <a:prstGeom prst="rect">
            <a:avLst/>
          </a:prstGeom>
        </p:spPr>
        <p:txBody>
          <a:bodyPr vert="horz" wrap="square" lIns="0" tIns="12065" rIns="0" bIns="0" rtlCol="0">
            <a:spAutoFit/>
          </a:bodyPr>
          <a:lstStyle/>
          <a:p>
            <a:pPr marL="847090" marR="5080" indent="-835025">
              <a:lnSpc>
                <a:spcPct val="115100"/>
              </a:lnSpc>
              <a:spcBef>
                <a:spcPts val="95"/>
              </a:spcBef>
            </a:pPr>
            <a:r>
              <a:rPr sz="1900" spc="-10" dirty="0">
                <a:solidFill>
                  <a:srgbClr val="737373"/>
                </a:solidFill>
                <a:latin typeface="Roboto"/>
                <a:cs typeface="Roboto"/>
              </a:rPr>
              <a:t>Actualización</a:t>
            </a:r>
            <a:r>
              <a:rPr sz="1900" spc="-80" dirty="0">
                <a:solidFill>
                  <a:srgbClr val="737373"/>
                </a:solidFill>
                <a:latin typeface="Roboto"/>
                <a:cs typeface="Roboto"/>
              </a:rPr>
              <a:t> </a:t>
            </a:r>
            <a:r>
              <a:rPr sz="1900" dirty="0">
                <a:solidFill>
                  <a:srgbClr val="737373"/>
                </a:solidFill>
                <a:latin typeface="Roboto"/>
                <a:cs typeface="Roboto"/>
              </a:rPr>
              <a:t>y</a:t>
            </a:r>
            <a:r>
              <a:rPr sz="1900" spc="-80" dirty="0">
                <a:solidFill>
                  <a:srgbClr val="737373"/>
                </a:solidFill>
                <a:latin typeface="Roboto"/>
                <a:cs typeface="Roboto"/>
              </a:rPr>
              <a:t> </a:t>
            </a:r>
            <a:r>
              <a:rPr sz="1900" spc="-10" dirty="0">
                <a:solidFill>
                  <a:srgbClr val="737373"/>
                </a:solidFill>
                <a:latin typeface="Roboto"/>
                <a:cs typeface="Roboto"/>
              </a:rPr>
              <a:t>desarrollo </a:t>
            </a:r>
            <a:r>
              <a:rPr sz="1900" dirty="0">
                <a:solidFill>
                  <a:srgbClr val="737373"/>
                </a:solidFill>
                <a:latin typeface="Roboto"/>
                <a:cs typeface="Roboto"/>
              </a:rPr>
              <a:t>de</a:t>
            </a:r>
            <a:r>
              <a:rPr sz="1900" spc="-20" dirty="0">
                <a:solidFill>
                  <a:srgbClr val="737373"/>
                </a:solidFill>
                <a:latin typeface="Roboto"/>
                <a:cs typeface="Roboto"/>
              </a:rPr>
              <a:t> </a:t>
            </a:r>
            <a:r>
              <a:rPr sz="1900" b="1" spc="-10" dirty="0">
                <a:solidFill>
                  <a:srgbClr val="E3112B"/>
                </a:solidFill>
                <a:latin typeface="Roboto"/>
                <a:cs typeface="Roboto"/>
              </a:rPr>
              <a:t>canales</a:t>
            </a:r>
            <a:endParaRPr sz="1900">
              <a:latin typeface="Roboto"/>
              <a:cs typeface="Roboto"/>
            </a:endParaRPr>
          </a:p>
        </p:txBody>
      </p:sp>
      <p:sp>
        <p:nvSpPr>
          <p:cNvPr id="11" name="object 11"/>
          <p:cNvSpPr/>
          <p:nvPr/>
        </p:nvSpPr>
        <p:spPr>
          <a:xfrm>
            <a:off x="823475" y="4461131"/>
            <a:ext cx="1069975" cy="1069975"/>
          </a:xfrm>
          <a:custGeom>
            <a:avLst/>
            <a:gdLst/>
            <a:ahLst/>
            <a:cxnLst/>
            <a:rect l="l" t="t" r="r" b="b"/>
            <a:pathLst>
              <a:path w="1069975" h="1069975">
                <a:moveTo>
                  <a:pt x="534700" y="1069390"/>
                </a:moveTo>
                <a:lnTo>
                  <a:pt x="486027" y="1067205"/>
                </a:lnTo>
                <a:lnTo>
                  <a:pt x="438583" y="1060776"/>
                </a:lnTo>
                <a:lnTo>
                  <a:pt x="392552" y="1050290"/>
                </a:lnTo>
                <a:lnTo>
                  <a:pt x="348122" y="1035938"/>
                </a:lnTo>
                <a:lnTo>
                  <a:pt x="305483" y="1017908"/>
                </a:lnTo>
                <a:lnTo>
                  <a:pt x="264824" y="996389"/>
                </a:lnTo>
                <a:lnTo>
                  <a:pt x="226332" y="971569"/>
                </a:lnTo>
                <a:lnTo>
                  <a:pt x="190197" y="943637"/>
                </a:lnTo>
                <a:lnTo>
                  <a:pt x="156608" y="912782"/>
                </a:lnTo>
                <a:lnTo>
                  <a:pt x="125753" y="879192"/>
                </a:lnTo>
                <a:lnTo>
                  <a:pt x="97821" y="843057"/>
                </a:lnTo>
                <a:lnTo>
                  <a:pt x="73001" y="804566"/>
                </a:lnTo>
                <a:lnTo>
                  <a:pt x="51482" y="763906"/>
                </a:lnTo>
                <a:lnTo>
                  <a:pt x="33451" y="721267"/>
                </a:lnTo>
                <a:lnTo>
                  <a:pt x="19099" y="676838"/>
                </a:lnTo>
                <a:lnTo>
                  <a:pt x="8614" y="630807"/>
                </a:lnTo>
                <a:lnTo>
                  <a:pt x="2185" y="583363"/>
                </a:lnTo>
                <a:lnTo>
                  <a:pt x="0" y="534695"/>
                </a:lnTo>
                <a:lnTo>
                  <a:pt x="2185" y="486026"/>
                </a:lnTo>
                <a:lnTo>
                  <a:pt x="8614" y="438582"/>
                </a:lnTo>
                <a:lnTo>
                  <a:pt x="19099" y="392551"/>
                </a:lnTo>
                <a:lnTo>
                  <a:pt x="33451" y="348122"/>
                </a:lnTo>
                <a:lnTo>
                  <a:pt x="51482" y="305483"/>
                </a:lnTo>
                <a:lnTo>
                  <a:pt x="73001" y="264824"/>
                </a:lnTo>
                <a:lnTo>
                  <a:pt x="97821" y="226332"/>
                </a:lnTo>
                <a:lnTo>
                  <a:pt x="125753" y="190197"/>
                </a:lnTo>
                <a:lnTo>
                  <a:pt x="156608" y="156608"/>
                </a:lnTo>
                <a:lnTo>
                  <a:pt x="190197" y="125753"/>
                </a:lnTo>
                <a:lnTo>
                  <a:pt x="226332" y="97821"/>
                </a:lnTo>
                <a:lnTo>
                  <a:pt x="264824" y="73001"/>
                </a:lnTo>
                <a:lnTo>
                  <a:pt x="305483" y="51482"/>
                </a:lnTo>
                <a:lnTo>
                  <a:pt x="348122" y="33451"/>
                </a:lnTo>
                <a:lnTo>
                  <a:pt x="392552" y="19099"/>
                </a:lnTo>
                <a:lnTo>
                  <a:pt x="438583" y="8614"/>
                </a:lnTo>
                <a:lnTo>
                  <a:pt x="486027"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7"/>
                </a:lnTo>
                <a:lnTo>
                  <a:pt x="971568" y="226332"/>
                </a:lnTo>
                <a:lnTo>
                  <a:pt x="996388" y="264824"/>
                </a:lnTo>
                <a:lnTo>
                  <a:pt x="1017908" y="305483"/>
                </a:lnTo>
                <a:lnTo>
                  <a:pt x="1035938" y="348122"/>
                </a:lnTo>
                <a:lnTo>
                  <a:pt x="1050290" y="392551"/>
                </a:lnTo>
                <a:lnTo>
                  <a:pt x="1060775" y="438582"/>
                </a:lnTo>
                <a:lnTo>
                  <a:pt x="1067205" y="486026"/>
                </a:lnTo>
                <a:lnTo>
                  <a:pt x="1069390" y="534695"/>
                </a:lnTo>
                <a:lnTo>
                  <a:pt x="1067205" y="583363"/>
                </a:lnTo>
                <a:lnTo>
                  <a:pt x="1060775" y="630807"/>
                </a:lnTo>
                <a:lnTo>
                  <a:pt x="1050290" y="676838"/>
                </a:lnTo>
                <a:lnTo>
                  <a:pt x="1035938" y="721267"/>
                </a:lnTo>
                <a:lnTo>
                  <a:pt x="1017908" y="763906"/>
                </a:lnTo>
                <a:lnTo>
                  <a:pt x="996388" y="804566"/>
                </a:lnTo>
                <a:lnTo>
                  <a:pt x="971568" y="843057"/>
                </a:lnTo>
                <a:lnTo>
                  <a:pt x="943636" y="879192"/>
                </a:lnTo>
                <a:lnTo>
                  <a:pt x="912781" y="912782"/>
                </a:lnTo>
                <a:lnTo>
                  <a:pt x="879192" y="943637"/>
                </a:lnTo>
                <a:lnTo>
                  <a:pt x="843057" y="971569"/>
                </a:lnTo>
                <a:lnTo>
                  <a:pt x="804566" y="996389"/>
                </a:lnTo>
                <a:lnTo>
                  <a:pt x="763906" y="1017908"/>
                </a:lnTo>
                <a:lnTo>
                  <a:pt x="721267" y="1035938"/>
                </a:lnTo>
                <a:lnTo>
                  <a:pt x="676838" y="1050290"/>
                </a:lnTo>
                <a:lnTo>
                  <a:pt x="630807" y="1060776"/>
                </a:lnTo>
                <a:lnTo>
                  <a:pt x="583363" y="1067205"/>
                </a:lnTo>
                <a:lnTo>
                  <a:pt x="534700" y="1069390"/>
                </a:lnTo>
                <a:close/>
              </a:path>
            </a:pathLst>
          </a:custGeom>
          <a:solidFill>
            <a:srgbClr val="003793"/>
          </a:solidFill>
        </p:spPr>
        <p:txBody>
          <a:bodyPr wrap="square" lIns="0" tIns="0" rIns="0" bIns="0" rtlCol="0"/>
          <a:lstStyle/>
          <a:p>
            <a:endParaRPr/>
          </a:p>
        </p:txBody>
      </p:sp>
      <p:sp>
        <p:nvSpPr>
          <p:cNvPr id="12" name="object 12"/>
          <p:cNvSpPr txBox="1"/>
          <p:nvPr/>
        </p:nvSpPr>
        <p:spPr>
          <a:xfrm>
            <a:off x="1117115" y="4727325"/>
            <a:ext cx="482600" cy="506730"/>
          </a:xfrm>
          <a:prstGeom prst="rect">
            <a:avLst/>
          </a:prstGeom>
        </p:spPr>
        <p:txBody>
          <a:bodyPr vert="horz" wrap="square" lIns="0" tIns="13335" rIns="0" bIns="0" rtlCol="0">
            <a:spAutoFit/>
          </a:bodyPr>
          <a:lstStyle/>
          <a:p>
            <a:pPr marL="12700">
              <a:lnSpc>
                <a:spcPct val="100000"/>
              </a:lnSpc>
              <a:spcBef>
                <a:spcPts val="105"/>
              </a:spcBef>
            </a:pPr>
            <a:r>
              <a:rPr sz="3150" b="1" spc="-25" dirty="0">
                <a:solidFill>
                  <a:srgbClr val="FFFFFF"/>
                </a:solidFill>
                <a:latin typeface="Arial"/>
                <a:cs typeface="Arial"/>
              </a:rPr>
              <a:t>01</a:t>
            </a:r>
            <a:endParaRPr sz="3150">
              <a:latin typeface="Arial"/>
              <a:cs typeface="Arial"/>
            </a:endParaRPr>
          </a:p>
        </p:txBody>
      </p:sp>
      <p:sp>
        <p:nvSpPr>
          <p:cNvPr id="13" name="object 13"/>
          <p:cNvSpPr txBox="1"/>
          <p:nvPr/>
        </p:nvSpPr>
        <p:spPr>
          <a:xfrm>
            <a:off x="637985" y="384153"/>
            <a:ext cx="8188325"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2.</a:t>
            </a:r>
            <a:r>
              <a:rPr sz="3000" spc="-60" dirty="0">
                <a:solidFill>
                  <a:srgbClr val="FFFFFF"/>
                </a:solidFill>
                <a:latin typeface="Roboto"/>
                <a:cs typeface="Roboto"/>
              </a:rPr>
              <a:t> </a:t>
            </a:r>
            <a:r>
              <a:rPr sz="3000" dirty="0">
                <a:solidFill>
                  <a:srgbClr val="FFFFFF"/>
                </a:solidFill>
                <a:latin typeface="Roboto"/>
                <a:cs typeface="Roboto"/>
              </a:rPr>
              <a:t>¿Cómo</a:t>
            </a:r>
            <a:r>
              <a:rPr sz="3000" spc="-55" dirty="0">
                <a:solidFill>
                  <a:srgbClr val="FFFFFF"/>
                </a:solidFill>
                <a:latin typeface="Roboto"/>
                <a:cs typeface="Roboto"/>
              </a:rPr>
              <a:t> </a:t>
            </a:r>
            <a:r>
              <a:rPr sz="3000" spc="-10" dirty="0">
                <a:solidFill>
                  <a:srgbClr val="FFFFFF"/>
                </a:solidFill>
                <a:latin typeface="Roboto"/>
                <a:cs typeface="Roboto"/>
              </a:rPr>
              <a:t>promocionamos</a:t>
            </a:r>
            <a:r>
              <a:rPr sz="3000" spc="-55" dirty="0">
                <a:solidFill>
                  <a:srgbClr val="FFFFFF"/>
                </a:solidFill>
                <a:latin typeface="Roboto"/>
                <a:cs typeface="Roboto"/>
              </a:rPr>
              <a:t> </a:t>
            </a:r>
            <a:r>
              <a:rPr sz="3000" dirty="0">
                <a:solidFill>
                  <a:srgbClr val="FFFFFF"/>
                </a:solidFill>
                <a:latin typeface="Roboto"/>
                <a:cs typeface="Roboto"/>
              </a:rPr>
              <a:t>MICE</a:t>
            </a:r>
            <a:r>
              <a:rPr sz="3000" spc="-55" dirty="0">
                <a:solidFill>
                  <a:srgbClr val="FFFFFF"/>
                </a:solidFill>
                <a:latin typeface="Roboto"/>
                <a:cs typeface="Roboto"/>
              </a:rPr>
              <a:t> </a:t>
            </a:r>
            <a:r>
              <a:rPr sz="3000" spc="-20" dirty="0">
                <a:solidFill>
                  <a:srgbClr val="FFFFFF"/>
                </a:solidFill>
                <a:latin typeface="Roboto"/>
                <a:cs typeface="Roboto"/>
              </a:rPr>
              <a:t>internacional?</a:t>
            </a:r>
            <a:endParaRPr sz="3000">
              <a:latin typeface="Roboto"/>
              <a:cs typeface="Roboto"/>
            </a:endParaRPr>
          </a:p>
        </p:txBody>
      </p:sp>
      <p:sp>
        <p:nvSpPr>
          <p:cNvPr id="14" name="object 14"/>
          <p:cNvSpPr txBox="1">
            <a:spLocks noGrp="1"/>
          </p:cNvSpPr>
          <p:nvPr>
            <p:ph type="title"/>
          </p:nvPr>
        </p:nvSpPr>
        <p:spPr>
          <a:xfrm>
            <a:off x="5939109" y="1510460"/>
            <a:ext cx="6318250" cy="643890"/>
          </a:xfrm>
          <a:prstGeom prst="rect">
            <a:avLst/>
          </a:prstGeom>
        </p:spPr>
        <p:txBody>
          <a:bodyPr vert="horz" wrap="square" lIns="0" tIns="13335" rIns="0" bIns="0" rtlCol="0">
            <a:spAutoFit/>
          </a:bodyPr>
          <a:lstStyle/>
          <a:p>
            <a:pPr marL="12700">
              <a:lnSpc>
                <a:spcPct val="100000"/>
              </a:lnSpc>
              <a:spcBef>
                <a:spcPts val="105"/>
              </a:spcBef>
            </a:pPr>
            <a:r>
              <a:rPr sz="4050" b="1" dirty="0">
                <a:solidFill>
                  <a:srgbClr val="E3112B"/>
                </a:solidFill>
                <a:latin typeface="Roboto"/>
                <a:cs typeface="Roboto"/>
              </a:rPr>
              <a:t>Estrategia</a:t>
            </a:r>
            <a:r>
              <a:rPr sz="4050" b="1" spc="-90" dirty="0">
                <a:solidFill>
                  <a:srgbClr val="E3112B"/>
                </a:solidFill>
                <a:latin typeface="Roboto"/>
                <a:cs typeface="Roboto"/>
              </a:rPr>
              <a:t> </a:t>
            </a:r>
            <a:r>
              <a:rPr sz="4050" b="1" dirty="0">
                <a:solidFill>
                  <a:srgbClr val="E3112B"/>
                </a:solidFill>
                <a:latin typeface="Roboto"/>
                <a:cs typeface="Roboto"/>
              </a:rPr>
              <a:t>y</a:t>
            </a:r>
            <a:r>
              <a:rPr sz="4050" b="1" spc="-90" dirty="0">
                <a:solidFill>
                  <a:srgbClr val="E3112B"/>
                </a:solidFill>
                <a:latin typeface="Roboto"/>
                <a:cs typeface="Roboto"/>
              </a:rPr>
              <a:t> </a:t>
            </a:r>
            <a:r>
              <a:rPr sz="4050" b="1" dirty="0">
                <a:solidFill>
                  <a:srgbClr val="E3112B"/>
                </a:solidFill>
                <a:latin typeface="Roboto"/>
                <a:cs typeface="Roboto"/>
              </a:rPr>
              <a:t>acciones</a:t>
            </a:r>
            <a:r>
              <a:rPr sz="4050" b="1" spc="-90" dirty="0">
                <a:solidFill>
                  <a:srgbClr val="E3112B"/>
                </a:solidFill>
                <a:latin typeface="Roboto"/>
                <a:cs typeface="Roboto"/>
              </a:rPr>
              <a:t> </a:t>
            </a:r>
            <a:r>
              <a:rPr sz="4050" b="1" spc="-20" dirty="0">
                <a:solidFill>
                  <a:srgbClr val="E3112B"/>
                </a:solidFill>
                <a:latin typeface="Roboto"/>
                <a:cs typeface="Roboto"/>
              </a:rPr>
              <a:t>MICE</a:t>
            </a:r>
            <a:endParaRPr sz="4050">
              <a:latin typeface="Roboto"/>
              <a:cs typeface="Roboto"/>
            </a:endParaRPr>
          </a:p>
        </p:txBody>
      </p:sp>
      <p:grpSp>
        <p:nvGrpSpPr>
          <p:cNvPr id="15" name="object 15"/>
          <p:cNvGrpSpPr/>
          <p:nvPr/>
        </p:nvGrpSpPr>
        <p:grpSpPr>
          <a:xfrm>
            <a:off x="8132058" y="2480902"/>
            <a:ext cx="1858010" cy="1858010"/>
            <a:chOff x="8132058" y="2480902"/>
            <a:chExt cx="1858010" cy="1858010"/>
          </a:xfrm>
        </p:grpSpPr>
        <p:sp>
          <p:nvSpPr>
            <p:cNvPr id="16" name="object 16"/>
            <p:cNvSpPr/>
            <p:nvPr/>
          </p:nvSpPr>
          <p:spPr>
            <a:xfrm>
              <a:off x="8132058" y="2480902"/>
              <a:ext cx="1858010" cy="1858010"/>
            </a:xfrm>
            <a:custGeom>
              <a:avLst/>
              <a:gdLst/>
              <a:ahLst/>
              <a:cxnLst/>
              <a:rect l="l" t="t" r="r" b="b"/>
              <a:pathLst>
                <a:path w="1858009" h="1858010">
                  <a:moveTo>
                    <a:pt x="928901" y="1857797"/>
                  </a:moveTo>
                  <a:lnTo>
                    <a:pt x="881097" y="1856588"/>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7" y="1585729"/>
                  </a:lnTo>
                  <a:lnTo>
                    <a:pt x="241310" y="1553469"/>
                  </a:lnTo>
                  <a:lnTo>
                    <a:pt x="212115" y="1519764"/>
                  </a:lnTo>
                  <a:lnTo>
                    <a:pt x="184539" y="1484673"/>
                  </a:lnTo>
                  <a:lnTo>
                    <a:pt x="158641" y="1448254"/>
                  </a:lnTo>
                  <a:lnTo>
                    <a:pt x="134479" y="1410566"/>
                  </a:lnTo>
                  <a:lnTo>
                    <a:pt x="112112" y="1371667"/>
                  </a:lnTo>
                  <a:lnTo>
                    <a:pt x="91599" y="1331614"/>
                  </a:lnTo>
                  <a:lnTo>
                    <a:pt x="72997" y="1290468"/>
                  </a:lnTo>
                  <a:lnTo>
                    <a:pt x="56365" y="1248285"/>
                  </a:lnTo>
                  <a:lnTo>
                    <a:pt x="41761" y="1205124"/>
                  </a:lnTo>
                  <a:lnTo>
                    <a:pt x="29243" y="1161045"/>
                  </a:lnTo>
                  <a:lnTo>
                    <a:pt x="18871" y="1116104"/>
                  </a:lnTo>
                  <a:lnTo>
                    <a:pt x="10702" y="1070360"/>
                  </a:lnTo>
                  <a:lnTo>
                    <a:pt x="4795" y="1023873"/>
                  </a:lnTo>
                  <a:lnTo>
                    <a:pt x="1208" y="976699"/>
                  </a:lnTo>
                  <a:lnTo>
                    <a:pt x="0" y="928890"/>
                  </a:lnTo>
                  <a:lnTo>
                    <a:pt x="1208" y="881097"/>
                  </a:lnTo>
                  <a:lnTo>
                    <a:pt x="4795" y="833924"/>
                  </a:lnTo>
                  <a:lnTo>
                    <a:pt x="10702" y="787436"/>
                  </a:lnTo>
                  <a:lnTo>
                    <a:pt x="18871" y="741693"/>
                  </a:lnTo>
                  <a:lnTo>
                    <a:pt x="29243" y="696752"/>
                  </a:lnTo>
                  <a:lnTo>
                    <a:pt x="41761" y="652672"/>
                  </a:lnTo>
                  <a:lnTo>
                    <a:pt x="56365" y="609512"/>
                  </a:lnTo>
                  <a:lnTo>
                    <a:pt x="72997" y="567329"/>
                  </a:lnTo>
                  <a:lnTo>
                    <a:pt x="91599" y="526182"/>
                  </a:lnTo>
                  <a:lnTo>
                    <a:pt x="112112" y="486130"/>
                  </a:lnTo>
                  <a:lnTo>
                    <a:pt x="134479" y="447230"/>
                  </a:lnTo>
                  <a:lnTo>
                    <a:pt x="158641" y="409542"/>
                  </a:lnTo>
                  <a:lnTo>
                    <a:pt x="184539" y="373123"/>
                  </a:lnTo>
                  <a:lnTo>
                    <a:pt x="212115" y="338032"/>
                  </a:lnTo>
                  <a:lnTo>
                    <a:pt x="241310" y="304328"/>
                  </a:lnTo>
                  <a:lnTo>
                    <a:pt x="272067"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2" y="4795"/>
                  </a:lnTo>
                  <a:lnTo>
                    <a:pt x="1070360" y="10703"/>
                  </a:lnTo>
                  <a:lnTo>
                    <a:pt x="1116103" y="18871"/>
                  </a:lnTo>
                  <a:lnTo>
                    <a:pt x="1161044" y="29244"/>
                  </a:lnTo>
                  <a:lnTo>
                    <a:pt x="1205124" y="41761"/>
                  </a:lnTo>
                  <a:lnTo>
                    <a:pt x="1248285" y="56365"/>
                  </a:lnTo>
                  <a:lnTo>
                    <a:pt x="1290467" y="72997"/>
                  </a:lnTo>
                  <a:lnTo>
                    <a:pt x="1331614" y="91599"/>
                  </a:lnTo>
                  <a:lnTo>
                    <a:pt x="1371666" y="112113"/>
                  </a:lnTo>
                  <a:lnTo>
                    <a:pt x="1410566" y="134479"/>
                  </a:lnTo>
                  <a:lnTo>
                    <a:pt x="1448254" y="158641"/>
                  </a:lnTo>
                  <a:lnTo>
                    <a:pt x="1484673" y="184539"/>
                  </a:lnTo>
                  <a:lnTo>
                    <a:pt x="1519764" y="212115"/>
                  </a:lnTo>
                  <a:lnTo>
                    <a:pt x="1553469" y="241311"/>
                  </a:lnTo>
                  <a:lnTo>
                    <a:pt x="1585729" y="272068"/>
                  </a:lnTo>
                  <a:lnTo>
                    <a:pt x="1616486" y="304328"/>
                  </a:lnTo>
                  <a:lnTo>
                    <a:pt x="1645682" y="338032"/>
                  </a:lnTo>
                  <a:lnTo>
                    <a:pt x="1673258" y="373123"/>
                  </a:lnTo>
                  <a:lnTo>
                    <a:pt x="1699156" y="409542"/>
                  </a:lnTo>
                  <a:lnTo>
                    <a:pt x="1723317" y="447230"/>
                  </a:lnTo>
                  <a:lnTo>
                    <a:pt x="1745684" y="486130"/>
                  </a:lnTo>
                  <a:lnTo>
                    <a:pt x="1766197" y="526182"/>
                  </a:lnTo>
                  <a:lnTo>
                    <a:pt x="1784800" y="567329"/>
                  </a:lnTo>
                  <a:lnTo>
                    <a:pt x="1801432" y="609512"/>
                  </a:lnTo>
                  <a:lnTo>
                    <a:pt x="1816036" y="652672"/>
                  </a:lnTo>
                  <a:lnTo>
                    <a:pt x="1828553" y="696752"/>
                  </a:lnTo>
                  <a:lnTo>
                    <a:pt x="1838925" y="741693"/>
                  </a:lnTo>
                  <a:lnTo>
                    <a:pt x="1847094" y="787436"/>
                  </a:lnTo>
                  <a:lnTo>
                    <a:pt x="1853001" y="833924"/>
                  </a:lnTo>
                  <a:lnTo>
                    <a:pt x="1856588" y="881097"/>
                  </a:lnTo>
                  <a:lnTo>
                    <a:pt x="1857797" y="928898"/>
                  </a:lnTo>
                  <a:lnTo>
                    <a:pt x="1856588" y="976699"/>
                  </a:lnTo>
                  <a:lnTo>
                    <a:pt x="1853001" y="1023873"/>
                  </a:lnTo>
                  <a:lnTo>
                    <a:pt x="1847094" y="1070360"/>
                  </a:lnTo>
                  <a:lnTo>
                    <a:pt x="1838925" y="1116104"/>
                  </a:lnTo>
                  <a:lnTo>
                    <a:pt x="1828553" y="1161045"/>
                  </a:lnTo>
                  <a:lnTo>
                    <a:pt x="1816036" y="1205124"/>
                  </a:lnTo>
                  <a:lnTo>
                    <a:pt x="1801432" y="1248285"/>
                  </a:lnTo>
                  <a:lnTo>
                    <a:pt x="1784800" y="1290468"/>
                  </a:lnTo>
                  <a:lnTo>
                    <a:pt x="1766197" y="1331614"/>
                  </a:lnTo>
                  <a:lnTo>
                    <a:pt x="1745684" y="1371667"/>
                  </a:lnTo>
                  <a:lnTo>
                    <a:pt x="1723317" y="1410566"/>
                  </a:lnTo>
                  <a:lnTo>
                    <a:pt x="1699156" y="1448254"/>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6" y="1745684"/>
                  </a:lnTo>
                  <a:lnTo>
                    <a:pt x="1331614" y="1766198"/>
                  </a:lnTo>
                  <a:lnTo>
                    <a:pt x="1290467" y="1784800"/>
                  </a:lnTo>
                  <a:lnTo>
                    <a:pt x="1248285" y="1801432"/>
                  </a:lnTo>
                  <a:lnTo>
                    <a:pt x="1205124" y="1816036"/>
                  </a:lnTo>
                  <a:lnTo>
                    <a:pt x="1161044" y="1828553"/>
                  </a:lnTo>
                  <a:lnTo>
                    <a:pt x="1116103" y="1838925"/>
                  </a:lnTo>
                  <a:lnTo>
                    <a:pt x="1070360" y="1847094"/>
                  </a:lnTo>
                  <a:lnTo>
                    <a:pt x="1023872" y="1853001"/>
                  </a:lnTo>
                  <a:lnTo>
                    <a:pt x="976699" y="1856588"/>
                  </a:lnTo>
                  <a:lnTo>
                    <a:pt x="928901" y="1857797"/>
                  </a:lnTo>
                  <a:close/>
                </a:path>
              </a:pathLst>
            </a:custGeom>
            <a:solidFill>
              <a:srgbClr val="21408B"/>
            </a:solidFill>
          </p:spPr>
          <p:txBody>
            <a:bodyPr wrap="square" lIns="0" tIns="0" rIns="0" bIns="0" rtlCol="0"/>
            <a:lstStyle/>
            <a:p>
              <a:endParaRPr/>
            </a:p>
          </p:txBody>
        </p:sp>
        <p:sp>
          <p:nvSpPr>
            <p:cNvPr id="17" name="object 17"/>
            <p:cNvSpPr/>
            <p:nvPr/>
          </p:nvSpPr>
          <p:spPr>
            <a:xfrm>
              <a:off x="8500173" y="2851111"/>
              <a:ext cx="1115060" cy="1109980"/>
            </a:xfrm>
            <a:custGeom>
              <a:avLst/>
              <a:gdLst/>
              <a:ahLst/>
              <a:cxnLst/>
              <a:rect l="l" t="t" r="r" b="b"/>
              <a:pathLst>
                <a:path w="1115059" h="1109979">
                  <a:moveTo>
                    <a:pt x="712558" y="1074940"/>
                  </a:moveTo>
                  <a:lnTo>
                    <a:pt x="701903" y="1028255"/>
                  </a:lnTo>
                  <a:lnTo>
                    <a:pt x="677570" y="983157"/>
                  </a:lnTo>
                  <a:lnTo>
                    <a:pt x="642912" y="943559"/>
                  </a:lnTo>
                  <a:lnTo>
                    <a:pt x="601243" y="913345"/>
                  </a:lnTo>
                  <a:lnTo>
                    <a:pt x="555929" y="896442"/>
                  </a:lnTo>
                  <a:lnTo>
                    <a:pt x="544410" y="910094"/>
                  </a:lnTo>
                  <a:lnTo>
                    <a:pt x="533120" y="911860"/>
                  </a:lnTo>
                  <a:lnTo>
                    <a:pt x="521982" y="905700"/>
                  </a:lnTo>
                  <a:lnTo>
                    <a:pt x="510921" y="895553"/>
                  </a:lnTo>
                  <a:lnTo>
                    <a:pt x="467766" y="915936"/>
                  </a:lnTo>
                  <a:lnTo>
                    <a:pt x="430022" y="941705"/>
                  </a:lnTo>
                  <a:lnTo>
                    <a:pt x="398487" y="973810"/>
                  </a:lnTo>
                  <a:lnTo>
                    <a:pt x="373964" y="1013231"/>
                  </a:lnTo>
                  <a:lnTo>
                    <a:pt x="357225" y="1060907"/>
                  </a:lnTo>
                  <a:lnTo>
                    <a:pt x="338201" y="1005840"/>
                  </a:lnTo>
                  <a:lnTo>
                    <a:pt x="307708" y="962215"/>
                  </a:lnTo>
                  <a:lnTo>
                    <a:pt x="267703" y="928281"/>
                  </a:lnTo>
                  <a:lnTo>
                    <a:pt x="220167" y="902284"/>
                  </a:lnTo>
                  <a:lnTo>
                    <a:pt x="203060" y="899896"/>
                  </a:lnTo>
                  <a:lnTo>
                    <a:pt x="184226" y="902690"/>
                  </a:lnTo>
                  <a:lnTo>
                    <a:pt x="164795" y="904240"/>
                  </a:lnTo>
                  <a:lnTo>
                    <a:pt x="105549" y="917079"/>
                  </a:lnTo>
                  <a:lnTo>
                    <a:pt x="68148" y="947572"/>
                  </a:lnTo>
                  <a:lnTo>
                    <a:pt x="36677" y="985977"/>
                  </a:lnTo>
                  <a:lnTo>
                    <a:pt x="14122" y="1028649"/>
                  </a:lnTo>
                  <a:lnTo>
                    <a:pt x="3479" y="1071968"/>
                  </a:lnTo>
                  <a:lnTo>
                    <a:pt x="2781" y="1080020"/>
                  </a:lnTo>
                  <a:lnTo>
                    <a:pt x="0" y="1093101"/>
                  </a:lnTo>
                  <a:lnTo>
                    <a:pt x="8496" y="1094359"/>
                  </a:lnTo>
                  <a:lnTo>
                    <a:pt x="23710" y="1096162"/>
                  </a:lnTo>
                  <a:lnTo>
                    <a:pt x="39103" y="1097013"/>
                  </a:lnTo>
                  <a:lnTo>
                    <a:pt x="54444" y="1096645"/>
                  </a:lnTo>
                  <a:lnTo>
                    <a:pt x="69494" y="1094790"/>
                  </a:lnTo>
                  <a:lnTo>
                    <a:pt x="74650" y="1091006"/>
                  </a:lnTo>
                  <a:lnTo>
                    <a:pt x="75514" y="1083881"/>
                  </a:lnTo>
                  <a:lnTo>
                    <a:pt x="74764" y="1075359"/>
                  </a:lnTo>
                  <a:lnTo>
                    <a:pt x="75120" y="1067384"/>
                  </a:lnTo>
                  <a:lnTo>
                    <a:pt x="76581" y="1060894"/>
                  </a:lnTo>
                  <a:lnTo>
                    <a:pt x="78422" y="1054227"/>
                  </a:lnTo>
                  <a:lnTo>
                    <a:pt x="81699" y="1047457"/>
                  </a:lnTo>
                  <a:lnTo>
                    <a:pt x="87439" y="1040625"/>
                  </a:lnTo>
                  <a:lnTo>
                    <a:pt x="87782" y="1066444"/>
                  </a:lnTo>
                  <a:lnTo>
                    <a:pt x="87210" y="1073988"/>
                  </a:lnTo>
                  <a:lnTo>
                    <a:pt x="87388" y="1085786"/>
                  </a:lnTo>
                  <a:lnTo>
                    <a:pt x="91516" y="1092974"/>
                  </a:lnTo>
                  <a:lnTo>
                    <a:pt x="99453" y="1096327"/>
                  </a:lnTo>
                  <a:lnTo>
                    <a:pt x="111048" y="1096657"/>
                  </a:lnTo>
                  <a:lnTo>
                    <a:pt x="126796" y="1095984"/>
                  </a:lnTo>
                  <a:lnTo>
                    <a:pt x="142773" y="1095946"/>
                  </a:lnTo>
                  <a:lnTo>
                    <a:pt x="176072" y="1096314"/>
                  </a:lnTo>
                  <a:lnTo>
                    <a:pt x="161810" y="1058125"/>
                  </a:lnTo>
                  <a:lnTo>
                    <a:pt x="164160" y="1020991"/>
                  </a:lnTo>
                  <a:lnTo>
                    <a:pt x="173431" y="984427"/>
                  </a:lnTo>
                  <a:lnTo>
                    <a:pt x="179882" y="947928"/>
                  </a:lnTo>
                  <a:lnTo>
                    <a:pt x="187718" y="984008"/>
                  </a:lnTo>
                  <a:lnTo>
                    <a:pt x="197053" y="1019949"/>
                  </a:lnTo>
                  <a:lnTo>
                    <a:pt x="199669" y="1056284"/>
                  </a:lnTo>
                  <a:lnTo>
                    <a:pt x="187401" y="1093597"/>
                  </a:lnTo>
                  <a:lnTo>
                    <a:pt x="232625" y="1098765"/>
                  </a:lnTo>
                  <a:lnTo>
                    <a:pt x="257340" y="1094740"/>
                  </a:lnTo>
                  <a:lnTo>
                    <a:pt x="269176" y="1076934"/>
                  </a:lnTo>
                  <a:lnTo>
                    <a:pt x="275793" y="1040765"/>
                  </a:lnTo>
                  <a:lnTo>
                    <a:pt x="281266" y="1050429"/>
                  </a:lnTo>
                  <a:lnTo>
                    <a:pt x="284937" y="1059815"/>
                  </a:lnTo>
                  <a:lnTo>
                    <a:pt x="286791" y="1069098"/>
                  </a:lnTo>
                  <a:lnTo>
                    <a:pt x="286842" y="1078407"/>
                  </a:lnTo>
                  <a:lnTo>
                    <a:pt x="287197" y="1087704"/>
                  </a:lnTo>
                  <a:lnTo>
                    <a:pt x="290398" y="1093355"/>
                  </a:lnTo>
                  <a:lnTo>
                    <a:pt x="296532" y="1096086"/>
                  </a:lnTo>
                  <a:lnTo>
                    <a:pt x="305701" y="1096645"/>
                  </a:lnTo>
                  <a:lnTo>
                    <a:pt x="331533" y="1096111"/>
                  </a:lnTo>
                  <a:lnTo>
                    <a:pt x="357378" y="1095971"/>
                  </a:lnTo>
                  <a:lnTo>
                    <a:pt x="409054" y="1096581"/>
                  </a:lnTo>
                  <a:lnTo>
                    <a:pt x="417766" y="1096187"/>
                  </a:lnTo>
                  <a:lnTo>
                    <a:pt x="423926" y="1093851"/>
                  </a:lnTo>
                  <a:lnTo>
                    <a:pt x="427621" y="1088491"/>
                  </a:lnTo>
                  <a:lnTo>
                    <a:pt x="428967" y="1078992"/>
                  </a:lnTo>
                  <a:lnTo>
                    <a:pt x="429056" y="1069555"/>
                  </a:lnTo>
                  <a:lnTo>
                    <a:pt x="430212" y="1059649"/>
                  </a:lnTo>
                  <a:lnTo>
                    <a:pt x="434251" y="1050175"/>
                  </a:lnTo>
                  <a:lnTo>
                    <a:pt x="443014" y="1042060"/>
                  </a:lnTo>
                  <a:lnTo>
                    <a:pt x="443026" y="1096683"/>
                  </a:lnTo>
                  <a:lnTo>
                    <a:pt x="452691" y="1096264"/>
                  </a:lnTo>
                  <a:lnTo>
                    <a:pt x="471716" y="1096137"/>
                  </a:lnTo>
                  <a:lnTo>
                    <a:pt x="490677" y="1096594"/>
                  </a:lnTo>
                  <a:lnTo>
                    <a:pt x="509409" y="1096403"/>
                  </a:lnTo>
                  <a:lnTo>
                    <a:pt x="527723" y="1094282"/>
                  </a:lnTo>
                  <a:lnTo>
                    <a:pt x="516788" y="1052131"/>
                  </a:lnTo>
                  <a:lnTo>
                    <a:pt x="519976" y="1011453"/>
                  </a:lnTo>
                  <a:lnTo>
                    <a:pt x="528764" y="971537"/>
                  </a:lnTo>
                  <a:lnTo>
                    <a:pt x="534593" y="931697"/>
                  </a:lnTo>
                  <a:lnTo>
                    <a:pt x="537845" y="940650"/>
                  </a:lnTo>
                  <a:lnTo>
                    <a:pt x="540499" y="949566"/>
                  </a:lnTo>
                  <a:lnTo>
                    <a:pt x="542277" y="958443"/>
                  </a:lnTo>
                  <a:lnTo>
                    <a:pt x="542925" y="967320"/>
                  </a:lnTo>
                  <a:lnTo>
                    <a:pt x="547103" y="999312"/>
                  </a:lnTo>
                  <a:lnTo>
                    <a:pt x="553707" y="1031481"/>
                  </a:lnTo>
                  <a:lnTo>
                    <a:pt x="553580" y="1063815"/>
                  </a:lnTo>
                  <a:lnTo>
                    <a:pt x="537565" y="1096340"/>
                  </a:lnTo>
                  <a:lnTo>
                    <a:pt x="571563" y="1096340"/>
                  </a:lnTo>
                  <a:lnTo>
                    <a:pt x="603440" y="1095514"/>
                  </a:lnTo>
                  <a:lnTo>
                    <a:pt x="620128" y="1089761"/>
                  </a:lnTo>
                  <a:lnTo>
                    <a:pt x="627087" y="1074115"/>
                  </a:lnTo>
                  <a:lnTo>
                    <a:pt x="629767" y="1043647"/>
                  </a:lnTo>
                  <a:lnTo>
                    <a:pt x="635088" y="1048931"/>
                  </a:lnTo>
                  <a:lnTo>
                    <a:pt x="638390" y="1054989"/>
                  </a:lnTo>
                  <a:lnTo>
                    <a:pt x="639838" y="1061516"/>
                  </a:lnTo>
                  <a:lnTo>
                    <a:pt x="639572" y="1068158"/>
                  </a:lnTo>
                  <a:lnTo>
                    <a:pt x="639584" y="1084427"/>
                  </a:lnTo>
                  <a:lnTo>
                    <a:pt x="645617" y="1093546"/>
                  </a:lnTo>
                  <a:lnTo>
                    <a:pt x="656577" y="1097064"/>
                  </a:lnTo>
                  <a:lnTo>
                    <a:pt x="671372" y="1096505"/>
                  </a:lnTo>
                  <a:lnTo>
                    <a:pt x="677799" y="1095667"/>
                  </a:lnTo>
                  <a:lnTo>
                    <a:pt x="684491" y="1095641"/>
                  </a:lnTo>
                  <a:lnTo>
                    <a:pt x="690905" y="1096505"/>
                  </a:lnTo>
                  <a:lnTo>
                    <a:pt x="701700" y="1096594"/>
                  </a:lnTo>
                  <a:lnTo>
                    <a:pt x="708571" y="1093152"/>
                  </a:lnTo>
                  <a:lnTo>
                    <a:pt x="712025" y="1085989"/>
                  </a:lnTo>
                  <a:lnTo>
                    <a:pt x="712558" y="1074940"/>
                  </a:lnTo>
                  <a:close/>
                </a:path>
                <a:path w="1115059" h="1109979">
                  <a:moveTo>
                    <a:pt x="1114513" y="494906"/>
                  </a:moveTo>
                  <a:lnTo>
                    <a:pt x="1111897" y="443407"/>
                  </a:lnTo>
                  <a:lnTo>
                    <a:pt x="1096276" y="390410"/>
                  </a:lnTo>
                  <a:lnTo>
                    <a:pt x="1070203" y="346138"/>
                  </a:lnTo>
                  <a:lnTo>
                    <a:pt x="1035545" y="309016"/>
                  </a:lnTo>
                  <a:lnTo>
                    <a:pt x="1025880" y="301663"/>
                  </a:lnTo>
                  <a:lnTo>
                    <a:pt x="1025880" y="480161"/>
                  </a:lnTo>
                  <a:lnTo>
                    <a:pt x="1021473" y="507936"/>
                  </a:lnTo>
                  <a:lnTo>
                    <a:pt x="1011174" y="535139"/>
                  </a:lnTo>
                  <a:lnTo>
                    <a:pt x="1011174" y="493560"/>
                  </a:lnTo>
                  <a:lnTo>
                    <a:pt x="1011174" y="420395"/>
                  </a:lnTo>
                  <a:lnTo>
                    <a:pt x="1022934" y="451192"/>
                  </a:lnTo>
                  <a:lnTo>
                    <a:pt x="1025880" y="480161"/>
                  </a:lnTo>
                  <a:lnTo>
                    <a:pt x="1025880" y="301663"/>
                  </a:lnTo>
                  <a:lnTo>
                    <a:pt x="1002639" y="283959"/>
                  </a:lnTo>
                  <a:lnTo>
                    <a:pt x="994168" y="277520"/>
                  </a:lnTo>
                  <a:lnTo>
                    <a:pt x="978039" y="267944"/>
                  </a:lnTo>
                  <a:lnTo>
                    <a:pt x="974115" y="265607"/>
                  </a:lnTo>
                  <a:lnTo>
                    <a:pt x="947966" y="250088"/>
                  </a:lnTo>
                  <a:lnTo>
                    <a:pt x="936180" y="244830"/>
                  </a:lnTo>
                  <a:lnTo>
                    <a:pt x="925106" y="243128"/>
                  </a:lnTo>
                  <a:lnTo>
                    <a:pt x="919657" y="244932"/>
                  </a:lnTo>
                  <a:lnTo>
                    <a:pt x="919657" y="447903"/>
                  </a:lnTo>
                  <a:lnTo>
                    <a:pt x="915111" y="464781"/>
                  </a:lnTo>
                  <a:lnTo>
                    <a:pt x="906145" y="479742"/>
                  </a:lnTo>
                  <a:lnTo>
                    <a:pt x="893876" y="493560"/>
                  </a:lnTo>
                  <a:lnTo>
                    <a:pt x="880046" y="478967"/>
                  </a:lnTo>
                  <a:lnTo>
                    <a:pt x="871093" y="462826"/>
                  </a:lnTo>
                  <a:lnTo>
                    <a:pt x="867371" y="444538"/>
                  </a:lnTo>
                  <a:lnTo>
                    <a:pt x="869226" y="423532"/>
                  </a:lnTo>
                  <a:lnTo>
                    <a:pt x="875766" y="389077"/>
                  </a:lnTo>
                  <a:lnTo>
                    <a:pt x="880999" y="356108"/>
                  </a:lnTo>
                  <a:lnTo>
                    <a:pt x="881202" y="354888"/>
                  </a:lnTo>
                  <a:lnTo>
                    <a:pt x="883069" y="342074"/>
                  </a:lnTo>
                  <a:lnTo>
                    <a:pt x="886053" y="321513"/>
                  </a:lnTo>
                  <a:lnTo>
                    <a:pt x="891489" y="284886"/>
                  </a:lnTo>
                  <a:lnTo>
                    <a:pt x="895451" y="283959"/>
                  </a:lnTo>
                  <a:lnTo>
                    <a:pt x="900887" y="319620"/>
                  </a:lnTo>
                  <a:lnTo>
                    <a:pt x="905802" y="352475"/>
                  </a:lnTo>
                  <a:lnTo>
                    <a:pt x="912126" y="392353"/>
                  </a:lnTo>
                  <a:lnTo>
                    <a:pt x="918641" y="428294"/>
                  </a:lnTo>
                  <a:lnTo>
                    <a:pt x="919657" y="447903"/>
                  </a:lnTo>
                  <a:lnTo>
                    <a:pt x="919657" y="244932"/>
                  </a:lnTo>
                  <a:lnTo>
                    <a:pt x="914806" y="246519"/>
                  </a:lnTo>
                  <a:lnTo>
                    <a:pt x="905383" y="256527"/>
                  </a:lnTo>
                  <a:lnTo>
                    <a:pt x="899985" y="262940"/>
                  </a:lnTo>
                  <a:lnTo>
                    <a:pt x="894283" y="265607"/>
                  </a:lnTo>
                  <a:lnTo>
                    <a:pt x="888403" y="263918"/>
                  </a:lnTo>
                  <a:lnTo>
                    <a:pt x="882459" y="257251"/>
                  </a:lnTo>
                  <a:lnTo>
                    <a:pt x="872705" y="246532"/>
                  </a:lnTo>
                  <a:lnTo>
                    <a:pt x="861961" y="242722"/>
                  </a:lnTo>
                  <a:lnTo>
                    <a:pt x="850303" y="244449"/>
                  </a:lnTo>
                  <a:lnTo>
                    <a:pt x="837819" y="250393"/>
                  </a:lnTo>
                  <a:lnTo>
                    <a:pt x="831126" y="254025"/>
                  </a:lnTo>
                  <a:lnTo>
                    <a:pt x="824230" y="257238"/>
                  </a:lnTo>
                  <a:lnTo>
                    <a:pt x="817130" y="260210"/>
                  </a:lnTo>
                  <a:lnTo>
                    <a:pt x="810018" y="263017"/>
                  </a:lnTo>
                  <a:lnTo>
                    <a:pt x="771969" y="267944"/>
                  </a:lnTo>
                  <a:lnTo>
                    <a:pt x="737793" y="255371"/>
                  </a:lnTo>
                  <a:lnTo>
                    <a:pt x="713155" y="229057"/>
                  </a:lnTo>
                  <a:lnTo>
                    <a:pt x="703681" y="192760"/>
                  </a:lnTo>
                  <a:lnTo>
                    <a:pt x="703491" y="168275"/>
                  </a:lnTo>
                  <a:lnTo>
                    <a:pt x="703224" y="144297"/>
                  </a:lnTo>
                  <a:lnTo>
                    <a:pt x="703199" y="111391"/>
                  </a:lnTo>
                  <a:lnTo>
                    <a:pt x="704088" y="84328"/>
                  </a:lnTo>
                  <a:lnTo>
                    <a:pt x="702729" y="57010"/>
                  </a:lnTo>
                  <a:lnTo>
                    <a:pt x="698322" y="43853"/>
                  </a:lnTo>
                  <a:lnTo>
                    <a:pt x="698169" y="43408"/>
                  </a:lnTo>
                  <a:lnTo>
                    <a:pt x="694931" y="33718"/>
                  </a:lnTo>
                  <a:lnTo>
                    <a:pt x="679856" y="14643"/>
                  </a:lnTo>
                  <a:lnTo>
                    <a:pt x="662305" y="3568"/>
                  </a:lnTo>
                  <a:lnTo>
                    <a:pt x="662305" y="333159"/>
                  </a:lnTo>
                  <a:lnTo>
                    <a:pt x="661987" y="373875"/>
                  </a:lnTo>
                  <a:lnTo>
                    <a:pt x="661911" y="392353"/>
                  </a:lnTo>
                  <a:lnTo>
                    <a:pt x="661873" y="564095"/>
                  </a:lnTo>
                  <a:lnTo>
                    <a:pt x="660476" y="583171"/>
                  </a:lnTo>
                  <a:lnTo>
                    <a:pt x="655040" y="594461"/>
                  </a:lnTo>
                  <a:lnTo>
                    <a:pt x="643648" y="599859"/>
                  </a:lnTo>
                  <a:lnTo>
                    <a:pt x="624357" y="601230"/>
                  </a:lnTo>
                  <a:lnTo>
                    <a:pt x="451624" y="601294"/>
                  </a:lnTo>
                  <a:lnTo>
                    <a:pt x="90627" y="601230"/>
                  </a:lnTo>
                  <a:lnTo>
                    <a:pt x="54876" y="582599"/>
                  </a:lnTo>
                  <a:lnTo>
                    <a:pt x="53378" y="263918"/>
                  </a:lnTo>
                  <a:lnTo>
                    <a:pt x="53251" y="156286"/>
                  </a:lnTo>
                  <a:lnTo>
                    <a:pt x="53022" y="79451"/>
                  </a:lnTo>
                  <a:lnTo>
                    <a:pt x="71970" y="45351"/>
                  </a:lnTo>
                  <a:lnTo>
                    <a:pt x="88976" y="43408"/>
                  </a:lnTo>
                  <a:lnTo>
                    <a:pt x="332841" y="43903"/>
                  </a:lnTo>
                  <a:lnTo>
                    <a:pt x="527939" y="43853"/>
                  </a:lnTo>
                  <a:lnTo>
                    <a:pt x="625487" y="43878"/>
                  </a:lnTo>
                  <a:lnTo>
                    <a:pt x="660819" y="61125"/>
                  </a:lnTo>
                  <a:lnTo>
                    <a:pt x="661949" y="96939"/>
                  </a:lnTo>
                  <a:lnTo>
                    <a:pt x="661949" y="166687"/>
                  </a:lnTo>
                  <a:lnTo>
                    <a:pt x="656005" y="168275"/>
                  </a:lnTo>
                  <a:lnTo>
                    <a:pt x="649211" y="156286"/>
                  </a:lnTo>
                  <a:lnTo>
                    <a:pt x="642454" y="144297"/>
                  </a:lnTo>
                  <a:lnTo>
                    <a:pt x="635609" y="132359"/>
                  </a:lnTo>
                  <a:lnTo>
                    <a:pt x="628548" y="120561"/>
                  </a:lnTo>
                  <a:lnTo>
                    <a:pt x="615746" y="105422"/>
                  </a:lnTo>
                  <a:lnTo>
                    <a:pt x="600608" y="96939"/>
                  </a:lnTo>
                  <a:lnTo>
                    <a:pt x="583996" y="95288"/>
                  </a:lnTo>
                  <a:lnTo>
                    <a:pt x="566712" y="100647"/>
                  </a:lnTo>
                  <a:lnTo>
                    <a:pt x="553072" y="111531"/>
                  </a:lnTo>
                  <a:lnTo>
                    <a:pt x="545503" y="126365"/>
                  </a:lnTo>
                  <a:lnTo>
                    <a:pt x="544537" y="143929"/>
                  </a:lnTo>
                  <a:lnTo>
                    <a:pt x="550722" y="163004"/>
                  </a:lnTo>
                  <a:lnTo>
                    <a:pt x="570280" y="198297"/>
                  </a:lnTo>
                  <a:lnTo>
                    <a:pt x="592289" y="231889"/>
                  </a:lnTo>
                  <a:lnTo>
                    <a:pt x="617156" y="263398"/>
                  </a:lnTo>
                  <a:lnTo>
                    <a:pt x="645312" y="292417"/>
                  </a:lnTo>
                  <a:lnTo>
                    <a:pt x="653364" y="301371"/>
                  </a:lnTo>
                  <a:lnTo>
                    <a:pt x="658660" y="310832"/>
                  </a:lnTo>
                  <a:lnTo>
                    <a:pt x="661517" y="321284"/>
                  </a:lnTo>
                  <a:lnTo>
                    <a:pt x="662305" y="333159"/>
                  </a:lnTo>
                  <a:lnTo>
                    <a:pt x="662305" y="3568"/>
                  </a:lnTo>
                  <a:lnTo>
                    <a:pt x="656666" y="0"/>
                  </a:lnTo>
                  <a:lnTo>
                    <a:pt x="58039" y="0"/>
                  </a:lnTo>
                  <a:lnTo>
                    <a:pt x="35648" y="15036"/>
                  </a:lnTo>
                  <a:lnTo>
                    <a:pt x="21285" y="34150"/>
                  </a:lnTo>
                  <a:lnTo>
                    <a:pt x="13703" y="57404"/>
                  </a:lnTo>
                  <a:lnTo>
                    <a:pt x="11722" y="84328"/>
                  </a:lnTo>
                  <a:lnTo>
                    <a:pt x="11836" y="100647"/>
                  </a:lnTo>
                  <a:lnTo>
                    <a:pt x="12242" y="144297"/>
                  </a:lnTo>
                  <a:lnTo>
                    <a:pt x="12560" y="198297"/>
                  </a:lnTo>
                  <a:lnTo>
                    <a:pt x="12674" y="231889"/>
                  </a:lnTo>
                  <a:lnTo>
                    <a:pt x="12560" y="482714"/>
                  </a:lnTo>
                  <a:lnTo>
                    <a:pt x="12496" y="566547"/>
                  </a:lnTo>
                  <a:lnTo>
                    <a:pt x="16510" y="601637"/>
                  </a:lnTo>
                  <a:lnTo>
                    <a:pt x="29502" y="625005"/>
                  </a:lnTo>
                  <a:lnTo>
                    <a:pt x="52870" y="638035"/>
                  </a:lnTo>
                  <a:lnTo>
                    <a:pt x="88087" y="642099"/>
                  </a:lnTo>
                  <a:lnTo>
                    <a:pt x="333400" y="642239"/>
                  </a:lnTo>
                  <a:lnTo>
                    <a:pt x="627773" y="642099"/>
                  </a:lnTo>
                  <a:lnTo>
                    <a:pt x="662559" y="637933"/>
                  </a:lnTo>
                  <a:lnTo>
                    <a:pt x="685939" y="624713"/>
                  </a:lnTo>
                  <a:lnTo>
                    <a:pt x="699096" y="601319"/>
                  </a:lnTo>
                  <a:lnTo>
                    <a:pt x="699198" y="601154"/>
                  </a:lnTo>
                  <a:lnTo>
                    <a:pt x="703567" y="565988"/>
                  </a:lnTo>
                  <a:lnTo>
                    <a:pt x="703668" y="543890"/>
                  </a:lnTo>
                  <a:lnTo>
                    <a:pt x="703757" y="389077"/>
                  </a:lnTo>
                  <a:lnTo>
                    <a:pt x="703021" y="377786"/>
                  </a:lnTo>
                  <a:lnTo>
                    <a:pt x="701878" y="364756"/>
                  </a:lnTo>
                  <a:lnTo>
                    <a:pt x="702678" y="352793"/>
                  </a:lnTo>
                  <a:lnTo>
                    <a:pt x="707682" y="343141"/>
                  </a:lnTo>
                  <a:lnTo>
                    <a:pt x="714451" y="342074"/>
                  </a:lnTo>
                  <a:lnTo>
                    <a:pt x="725462" y="345109"/>
                  </a:lnTo>
                  <a:lnTo>
                    <a:pt x="738289" y="349910"/>
                  </a:lnTo>
                  <a:lnTo>
                    <a:pt x="750531" y="354126"/>
                  </a:lnTo>
                  <a:lnTo>
                    <a:pt x="753186" y="354888"/>
                  </a:lnTo>
                  <a:lnTo>
                    <a:pt x="755992" y="356362"/>
                  </a:lnTo>
                  <a:lnTo>
                    <a:pt x="758571" y="356108"/>
                  </a:lnTo>
                  <a:lnTo>
                    <a:pt x="776325" y="420395"/>
                  </a:lnTo>
                  <a:lnTo>
                    <a:pt x="776909" y="482714"/>
                  </a:lnTo>
                  <a:lnTo>
                    <a:pt x="777595" y="537146"/>
                  </a:lnTo>
                  <a:lnTo>
                    <a:pt x="778687" y="590677"/>
                  </a:lnTo>
                  <a:lnTo>
                    <a:pt x="782091" y="696455"/>
                  </a:lnTo>
                  <a:lnTo>
                    <a:pt x="782942" y="746887"/>
                  </a:lnTo>
                  <a:lnTo>
                    <a:pt x="783234" y="797344"/>
                  </a:lnTo>
                  <a:lnTo>
                    <a:pt x="783120" y="847801"/>
                  </a:lnTo>
                  <a:lnTo>
                    <a:pt x="782777" y="898283"/>
                  </a:lnTo>
                  <a:lnTo>
                    <a:pt x="782383" y="948753"/>
                  </a:lnTo>
                  <a:lnTo>
                    <a:pt x="782091" y="999236"/>
                  </a:lnTo>
                  <a:lnTo>
                    <a:pt x="782091" y="1049693"/>
                  </a:lnTo>
                  <a:lnTo>
                    <a:pt x="785317" y="1074864"/>
                  </a:lnTo>
                  <a:lnTo>
                    <a:pt x="794588" y="1093203"/>
                  </a:lnTo>
                  <a:lnTo>
                    <a:pt x="809586" y="1104747"/>
                  </a:lnTo>
                  <a:lnTo>
                    <a:pt x="830033" y="1109535"/>
                  </a:lnTo>
                  <a:lnTo>
                    <a:pt x="851763" y="1107528"/>
                  </a:lnTo>
                  <a:lnTo>
                    <a:pt x="868400" y="1098461"/>
                  </a:lnTo>
                  <a:lnTo>
                    <a:pt x="880059" y="1082192"/>
                  </a:lnTo>
                  <a:lnTo>
                    <a:pt x="886853" y="1058837"/>
                  </a:lnTo>
                  <a:lnTo>
                    <a:pt x="886968" y="693724"/>
                  </a:lnTo>
                  <a:lnTo>
                    <a:pt x="895337" y="693623"/>
                  </a:lnTo>
                  <a:lnTo>
                    <a:pt x="895337" y="1058837"/>
                  </a:lnTo>
                  <a:lnTo>
                    <a:pt x="899109" y="1077366"/>
                  </a:lnTo>
                  <a:lnTo>
                    <a:pt x="907173" y="1092301"/>
                  </a:lnTo>
                  <a:lnTo>
                    <a:pt x="920051" y="1103007"/>
                  </a:lnTo>
                  <a:lnTo>
                    <a:pt x="938237" y="1108862"/>
                  </a:lnTo>
                  <a:lnTo>
                    <a:pt x="963510" y="1108202"/>
                  </a:lnTo>
                  <a:lnTo>
                    <a:pt x="994778" y="1079144"/>
                  </a:lnTo>
                  <a:lnTo>
                    <a:pt x="999185" y="1004265"/>
                  </a:lnTo>
                  <a:lnTo>
                    <a:pt x="999236" y="956297"/>
                  </a:lnTo>
                  <a:lnTo>
                    <a:pt x="999337" y="693623"/>
                  </a:lnTo>
                  <a:lnTo>
                    <a:pt x="999375" y="668464"/>
                  </a:lnTo>
                  <a:lnTo>
                    <a:pt x="999007" y="662622"/>
                  </a:lnTo>
                  <a:lnTo>
                    <a:pt x="998664" y="656551"/>
                  </a:lnTo>
                  <a:lnTo>
                    <a:pt x="999578" y="650290"/>
                  </a:lnTo>
                  <a:lnTo>
                    <a:pt x="1002944" y="643902"/>
                  </a:lnTo>
                  <a:lnTo>
                    <a:pt x="1020279" y="651141"/>
                  </a:lnTo>
                  <a:lnTo>
                    <a:pt x="1037285" y="653084"/>
                  </a:lnTo>
                  <a:lnTo>
                    <a:pt x="1088783" y="590677"/>
                  </a:lnTo>
                  <a:lnTo>
                    <a:pt x="1106068" y="543890"/>
                  </a:lnTo>
                  <a:lnTo>
                    <a:pt x="1107579" y="535139"/>
                  </a:lnTo>
                  <a:lnTo>
                    <a:pt x="1114513" y="494906"/>
                  </a:lnTo>
                  <a:close/>
                </a:path>
              </a:pathLst>
            </a:custGeom>
            <a:solidFill>
              <a:srgbClr val="FFFFFF"/>
            </a:solidFill>
          </p:spPr>
          <p:txBody>
            <a:bodyPr wrap="square" lIns="0" tIns="0" rIns="0" bIns="0" rtlCol="0"/>
            <a:lstStyle/>
            <a:p>
              <a:endParaRPr/>
            </a:p>
          </p:txBody>
        </p:sp>
        <p:pic>
          <p:nvPicPr>
            <p:cNvPr id="18" name="object 18"/>
            <p:cNvPicPr/>
            <p:nvPr/>
          </p:nvPicPr>
          <p:blipFill>
            <a:blip r:embed="rId2" cstate="print"/>
            <a:stretch>
              <a:fillRect/>
            </a:stretch>
          </p:blipFill>
          <p:spPr>
            <a:xfrm>
              <a:off x="9279626" y="2856407"/>
              <a:ext cx="229089" cy="228051"/>
            </a:xfrm>
            <a:prstGeom prst="rect">
              <a:avLst/>
            </a:prstGeom>
          </p:spPr>
        </p:pic>
        <p:pic>
          <p:nvPicPr>
            <p:cNvPr id="19" name="object 19"/>
            <p:cNvPicPr/>
            <p:nvPr/>
          </p:nvPicPr>
          <p:blipFill>
            <a:blip r:embed="rId3" cstate="print"/>
            <a:stretch>
              <a:fillRect/>
            </a:stretch>
          </p:blipFill>
          <p:spPr>
            <a:xfrm>
              <a:off x="8591025" y="3558887"/>
              <a:ext cx="179808" cy="180120"/>
            </a:xfrm>
            <a:prstGeom prst="rect">
              <a:avLst/>
            </a:prstGeom>
          </p:spPr>
        </p:pic>
        <p:pic>
          <p:nvPicPr>
            <p:cNvPr id="20" name="object 20"/>
            <p:cNvPicPr/>
            <p:nvPr/>
          </p:nvPicPr>
          <p:blipFill>
            <a:blip r:embed="rId4" cstate="print"/>
            <a:stretch>
              <a:fillRect/>
            </a:stretch>
          </p:blipFill>
          <p:spPr>
            <a:xfrm>
              <a:off x="8946121" y="3558797"/>
              <a:ext cx="178235" cy="204160"/>
            </a:xfrm>
            <a:prstGeom prst="rect">
              <a:avLst/>
            </a:prstGeom>
          </p:spPr>
        </p:pic>
        <p:sp>
          <p:nvSpPr>
            <p:cNvPr id="21" name="object 21"/>
            <p:cNvSpPr/>
            <p:nvPr/>
          </p:nvSpPr>
          <p:spPr>
            <a:xfrm>
              <a:off x="8688273" y="3004781"/>
              <a:ext cx="838200" cy="381635"/>
            </a:xfrm>
            <a:custGeom>
              <a:avLst/>
              <a:gdLst/>
              <a:ahLst/>
              <a:cxnLst/>
              <a:rect l="l" t="t" r="r" b="b"/>
              <a:pathLst>
                <a:path w="838200" h="381635">
                  <a:moveTo>
                    <a:pt x="338645" y="205536"/>
                  </a:moveTo>
                  <a:lnTo>
                    <a:pt x="334137" y="196443"/>
                  </a:lnTo>
                  <a:lnTo>
                    <a:pt x="323684" y="188569"/>
                  </a:lnTo>
                  <a:lnTo>
                    <a:pt x="310718" y="177203"/>
                  </a:lnTo>
                  <a:lnTo>
                    <a:pt x="305650" y="162763"/>
                  </a:lnTo>
                  <a:lnTo>
                    <a:pt x="308711" y="148196"/>
                  </a:lnTo>
                  <a:lnTo>
                    <a:pt x="320128" y="136436"/>
                  </a:lnTo>
                  <a:lnTo>
                    <a:pt x="330835" y="127127"/>
                  </a:lnTo>
                  <a:lnTo>
                    <a:pt x="334581" y="116941"/>
                  </a:lnTo>
                  <a:lnTo>
                    <a:pt x="333286" y="105829"/>
                  </a:lnTo>
                  <a:lnTo>
                    <a:pt x="328879" y="93776"/>
                  </a:lnTo>
                  <a:lnTo>
                    <a:pt x="322732" y="82778"/>
                  </a:lnTo>
                  <a:lnTo>
                    <a:pt x="321017" y="81241"/>
                  </a:lnTo>
                  <a:lnTo>
                    <a:pt x="314883" y="75742"/>
                  </a:lnTo>
                  <a:lnTo>
                    <a:pt x="312915" y="75196"/>
                  </a:lnTo>
                  <a:lnTo>
                    <a:pt x="304800" y="72948"/>
                  </a:lnTo>
                  <a:lnTo>
                    <a:pt x="291973" y="74688"/>
                  </a:lnTo>
                  <a:lnTo>
                    <a:pt x="275247" y="75196"/>
                  </a:lnTo>
                  <a:lnTo>
                    <a:pt x="261950" y="67945"/>
                  </a:lnTo>
                  <a:lnTo>
                    <a:pt x="255955" y="57848"/>
                  </a:lnTo>
                  <a:lnTo>
                    <a:pt x="255955" y="168643"/>
                  </a:lnTo>
                  <a:lnTo>
                    <a:pt x="249072" y="202171"/>
                  </a:lnTo>
                  <a:lnTo>
                    <a:pt x="230479" y="229069"/>
                  </a:lnTo>
                  <a:lnTo>
                    <a:pt x="202704" y="246900"/>
                  </a:lnTo>
                  <a:lnTo>
                    <a:pt x="168224" y="253276"/>
                  </a:lnTo>
                  <a:lnTo>
                    <a:pt x="135115" y="246494"/>
                  </a:lnTo>
                  <a:lnTo>
                    <a:pt x="108026" y="228333"/>
                  </a:lnTo>
                  <a:lnTo>
                    <a:pt x="89687" y="201510"/>
                  </a:lnTo>
                  <a:lnTo>
                    <a:pt x="82854" y="168757"/>
                  </a:lnTo>
                  <a:lnTo>
                    <a:pt x="89725" y="135407"/>
                  </a:lnTo>
                  <a:lnTo>
                    <a:pt x="108546" y="107619"/>
                  </a:lnTo>
                  <a:lnTo>
                    <a:pt x="136220" y="88519"/>
                  </a:lnTo>
                  <a:lnTo>
                    <a:pt x="155181" y="84391"/>
                  </a:lnTo>
                  <a:lnTo>
                    <a:pt x="169633" y="81241"/>
                  </a:lnTo>
                  <a:lnTo>
                    <a:pt x="202704" y="88099"/>
                  </a:lnTo>
                  <a:lnTo>
                    <a:pt x="230263" y="107137"/>
                  </a:lnTo>
                  <a:lnTo>
                    <a:pt x="249085" y="135077"/>
                  </a:lnTo>
                  <a:lnTo>
                    <a:pt x="255955" y="168643"/>
                  </a:lnTo>
                  <a:lnTo>
                    <a:pt x="255955" y="57848"/>
                  </a:lnTo>
                  <a:lnTo>
                    <a:pt x="254241" y="54952"/>
                  </a:lnTo>
                  <a:lnTo>
                    <a:pt x="254279" y="38252"/>
                  </a:lnTo>
                  <a:lnTo>
                    <a:pt x="254825" y="31788"/>
                  </a:lnTo>
                  <a:lnTo>
                    <a:pt x="255346" y="25781"/>
                  </a:lnTo>
                  <a:lnTo>
                    <a:pt x="251650" y="16751"/>
                  </a:lnTo>
                  <a:lnTo>
                    <a:pt x="244119" y="10223"/>
                  </a:lnTo>
                  <a:lnTo>
                    <a:pt x="233705" y="5283"/>
                  </a:lnTo>
                  <a:lnTo>
                    <a:pt x="221500" y="1231"/>
                  </a:lnTo>
                  <a:lnTo>
                    <a:pt x="209981" y="0"/>
                  </a:lnTo>
                  <a:lnTo>
                    <a:pt x="199428" y="3594"/>
                  </a:lnTo>
                  <a:lnTo>
                    <a:pt x="190157" y="14020"/>
                  </a:lnTo>
                  <a:lnTo>
                    <a:pt x="178130" y="27063"/>
                  </a:lnTo>
                  <a:lnTo>
                    <a:pt x="163677" y="31788"/>
                  </a:lnTo>
                  <a:lnTo>
                    <a:pt x="148983" y="27990"/>
                  </a:lnTo>
                  <a:lnTo>
                    <a:pt x="136245" y="15481"/>
                  </a:lnTo>
                  <a:lnTo>
                    <a:pt x="126860" y="5638"/>
                  </a:lnTo>
                  <a:lnTo>
                    <a:pt x="116916" y="2705"/>
                  </a:lnTo>
                  <a:lnTo>
                    <a:pt x="76949" y="21996"/>
                  </a:lnTo>
                  <a:lnTo>
                    <a:pt x="73279" y="31508"/>
                  </a:lnTo>
                  <a:lnTo>
                    <a:pt x="75717" y="45085"/>
                  </a:lnTo>
                  <a:lnTo>
                    <a:pt x="77012" y="61696"/>
                  </a:lnTo>
                  <a:lnTo>
                    <a:pt x="69557" y="75526"/>
                  </a:lnTo>
                  <a:lnTo>
                    <a:pt x="55854" y="83959"/>
                  </a:lnTo>
                  <a:lnTo>
                    <a:pt x="38392" y="84391"/>
                  </a:lnTo>
                  <a:lnTo>
                    <a:pt x="24790" y="83693"/>
                  </a:lnTo>
                  <a:lnTo>
                    <a:pt x="15570" y="88353"/>
                  </a:lnTo>
                  <a:lnTo>
                    <a:pt x="9283" y="96875"/>
                  </a:lnTo>
                  <a:lnTo>
                    <a:pt x="4495" y="107746"/>
                  </a:lnTo>
                  <a:lnTo>
                    <a:pt x="711" y="119570"/>
                  </a:lnTo>
                  <a:lnTo>
                    <a:pt x="0" y="130581"/>
                  </a:lnTo>
                  <a:lnTo>
                    <a:pt x="4343" y="139903"/>
                  </a:lnTo>
                  <a:lnTo>
                    <a:pt x="15697" y="146685"/>
                  </a:lnTo>
                  <a:lnTo>
                    <a:pt x="24765" y="151015"/>
                  </a:lnTo>
                  <a:lnTo>
                    <a:pt x="30213" y="156883"/>
                  </a:lnTo>
                  <a:lnTo>
                    <a:pt x="32219" y="164617"/>
                  </a:lnTo>
                  <a:lnTo>
                    <a:pt x="30975" y="174574"/>
                  </a:lnTo>
                  <a:lnTo>
                    <a:pt x="32626" y="183222"/>
                  </a:lnTo>
                  <a:lnTo>
                    <a:pt x="31140" y="190550"/>
                  </a:lnTo>
                  <a:lnTo>
                    <a:pt x="26212" y="196659"/>
                  </a:lnTo>
                  <a:lnTo>
                    <a:pt x="17538" y="201650"/>
                  </a:lnTo>
                  <a:lnTo>
                    <a:pt x="6642" y="209435"/>
                  </a:lnTo>
                  <a:lnTo>
                    <a:pt x="3505" y="219189"/>
                  </a:lnTo>
                  <a:lnTo>
                    <a:pt x="5549" y="230124"/>
                  </a:lnTo>
                  <a:lnTo>
                    <a:pt x="10160" y="241439"/>
                  </a:lnTo>
                  <a:lnTo>
                    <a:pt x="15748" y="252133"/>
                  </a:lnTo>
                  <a:lnTo>
                    <a:pt x="22847" y="260121"/>
                  </a:lnTo>
                  <a:lnTo>
                    <a:pt x="32562" y="263956"/>
                  </a:lnTo>
                  <a:lnTo>
                    <a:pt x="45986" y="262153"/>
                  </a:lnTo>
                  <a:lnTo>
                    <a:pt x="63068" y="261251"/>
                  </a:lnTo>
                  <a:lnTo>
                    <a:pt x="77317" y="268351"/>
                  </a:lnTo>
                  <a:lnTo>
                    <a:pt x="85864" y="281101"/>
                  </a:lnTo>
                  <a:lnTo>
                    <a:pt x="85864" y="297141"/>
                  </a:lnTo>
                  <a:lnTo>
                    <a:pt x="84124" y="310705"/>
                  </a:lnTo>
                  <a:lnTo>
                    <a:pt x="87998" y="319925"/>
                  </a:lnTo>
                  <a:lnTo>
                    <a:pt x="96113" y="326301"/>
                  </a:lnTo>
                  <a:lnTo>
                    <a:pt x="107073" y="331381"/>
                  </a:lnTo>
                  <a:lnTo>
                    <a:pt x="119405" y="335559"/>
                  </a:lnTo>
                  <a:lnTo>
                    <a:pt x="130606" y="336372"/>
                  </a:lnTo>
                  <a:lnTo>
                    <a:pt x="140601" y="332092"/>
                  </a:lnTo>
                  <a:lnTo>
                    <a:pt x="149301" y="321030"/>
                  </a:lnTo>
                  <a:lnTo>
                    <a:pt x="160642" y="308114"/>
                  </a:lnTo>
                  <a:lnTo>
                    <a:pt x="174840" y="303707"/>
                  </a:lnTo>
                  <a:lnTo>
                    <a:pt x="189699" y="307797"/>
                  </a:lnTo>
                  <a:lnTo>
                    <a:pt x="213334" y="330161"/>
                  </a:lnTo>
                  <a:lnTo>
                    <a:pt x="224180" y="332600"/>
                  </a:lnTo>
                  <a:lnTo>
                    <a:pt x="263715" y="312216"/>
                  </a:lnTo>
                  <a:lnTo>
                    <a:pt x="266001" y="303707"/>
                  </a:lnTo>
                  <a:lnTo>
                    <a:pt x="266230" y="302856"/>
                  </a:lnTo>
                  <a:lnTo>
                    <a:pt x="263499" y="290398"/>
                  </a:lnTo>
                  <a:lnTo>
                    <a:pt x="262267" y="274713"/>
                  </a:lnTo>
                  <a:lnTo>
                    <a:pt x="269455" y="261239"/>
                  </a:lnTo>
                  <a:lnTo>
                    <a:pt x="281660" y="253276"/>
                  </a:lnTo>
                  <a:lnTo>
                    <a:pt x="282448" y="252768"/>
                  </a:lnTo>
                  <a:lnTo>
                    <a:pt x="298589" y="252031"/>
                  </a:lnTo>
                  <a:lnTo>
                    <a:pt x="312534" y="252971"/>
                  </a:lnTo>
                  <a:lnTo>
                    <a:pt x="314680" y="252031"/>
                  </a:lnTo>
                  <a:lnTo>
                    <a:pt x="322440" y="248602"/>
                  </a:lnTo>
                  <a:lnTo>
                    <a:pt x="329501" y="239915"/>
                  </a:lnTo>
                  <a:lnTo>
                    <a:pt x="334924" y="227939"/>
                  </a:lnTo>
                  <a:lnTo>
                    <a:pt x="338467" y="215988"/>
                  </a:lnTo>
                  <a:lnTo>
                    <a:pt x="338645" y="205536"/>
                  </a:lnTo>
                  <a:close/>
                </a:path>
                <a:path w="838200" h="381635">
                  <a:moveTo>
                    <a:pt x="837793" y="326491"/>
                  </a:moveTo>
                  <a:lnTo>
                    <a:pt x="834847" y="297522"/>
                  </a:lnTo>
                  <a:lnTo>
                    <a:pt x="823074" y="266725"/>
                  </a:lnTo>
                  <a:lnTo>
                    <a:pt x="823074" y="381469"/>
                  </a:lnTo>
                  <a:lnTo>
                    <a:pt x="833374" y="354266"/>
                  </a:lnTo>
                  <a:lnTo>
                    <a:pt x="837793" y="326491"/>
                  </a:lnTo>
                  <a:close/>
                </a:path>
              </a:pathLst>
            </a:custGeom>
            <a:solidFill>
              <a:srgbClr val="FFFFFF"/>
            </a:solidFill>
          </p:spPr>
          <p:txBody>
            <a:bodyPr wrap="square" lIns="0" tIns="0" rIns="0" bIns="0" rtlCol="0"/>
            <a:lstStyle/>
            <a:p>
              <a:endParaRPr/>
            </a:p>
          </p:txBody>
        </p:sp>
      </p:grpSp>
      <p:sp>
        <p:nvSpPr>
          <p:cNvPr id="22" name="object 22"/>
          <p:cNvSpPr/>
          <p:nvPr/>
        </p:nvSpPr>
        <p:spPr>
          <a:xfrm>
            <a:off x="7179166" y="4462414"/>
            <a:ext cx="4300220" cy="1065530"/>
          </a:xfrm>
          <a:custGeom>
            <a:avLst/>
            <a:gdLst/>
            <a:ahLst/>
            <a:cxnLst/>
            <a:rect l="l" t="t" r="r" b="b"/>
            <a:pathLst>
              <a:path w="4300220" h="1065529">
                <a:moveTo>
                  <a:pt x="4299928" y="1065262"/>
                </a:moveTo>
                <a:lnTo>
                  <a:pt x="0" y="1065262"/>
                </a:lnTo>
                <a:lnTo>
                  <a:pt x="0" y="0"/>
                </a:lnTo>
                <a:lnTo>
                  <a:pt x="4299928" y="0"/>
                </a:lnTo>
                <a:lnTo>
                  <a:pt x="4299928" y="1065262"/>
                </a:lnTo>
                <a:close/>
              </a:path>
            </a:pathLst>
          </a:custGeom>
          <a:solidFill>
            <a:srgbClr val="FFFFFF"/>
          </a:solidFill>
        </p:spPr>
        <p:txBody>
          <a:bodyPr wrap="square" lIns="0" tIns="0" rIns="0" bIns="0" rtlCol="0"/>
          <a:lstStyle/>
          <a:p>
            <a:endParaRPr/>
          </a:p>
        </p:txBody>
      </p:sp>
      <p:sp>
        <p:nvSpPr>
          <p:cNvPr id="23" name="object 23"/>
          <p:cNvSpPr txBox="1"/>
          <p:nvPr/>
        </p:nvSpPr>
        <p:spPr>
          <a:xfrm>
            <a:off x="7845080" y="4538890"/>
            <a:ext cx="3501390" cy="730250"/>
          </a:xfrm>
          <a:prstGeom prst="rect">
            <a:avLst/>
          </a:prstGeom>
        </p:spPr>
        <p:txBody>
          <a:bodyPr vert="horz" wrap="square" lIns="0" tIns="12065" rIns="0" bIns="0" rtlCol="0">
            <a:spAutoFit/>
          </a:bodyPr>
          <a:lstStyle/>
          <a:p>
            <a:pPr marL="567690" marR="5080" indent="-555625">
              <a:lnSpc>
                <a:spcPct val="121700"/>
              </a:lnSpc>
              <a:spcBef>
                <a:spcPts val="95"/>
              </a:spcBef>
            </a:pPr>
            <a:r>
              <a:rPr sz="1900" dirty="0">
                <a:solidFill>
                  <a:srgbClr val="737373"/>
                </a:solidFill>
                <a:latin typeface="Roboto"/>
                <a:cs typeface="Roboto"/>
              </a:rPr>
              <a:t>Creación</a:t>
            </a:r>
            <a:r>
              <a:rPr sz="1900" spc="-35" dirty="0">
                <a:solidFill>
                  <a:srgbClr val="737373"/>
                </a:solidFill>
                <a:latin typeface="Roboto"/>
                <a:cs typeface="Roboto"/>
              </a:rPr>
              <a:t> </a:t>
            </a:r>
            <a:r>
              <a:rPr sz="1900" dirty="0">
                <a:solidFill>
                  <a:srgbClr val="737373"/>
                </a:solidFill>
                <a:latin typeface="Roboto"/>
                <a:cs typeface="Roboto"/>
              </a:rPr>
              <a:t>de</a:t>
            </a:r>
            <a:r>
              <a:rPr sz="1900" spc="-35" dirty="0">
                <a:solidFill>
                  <a:srgbClr val="737373"/>
                </a:solidFill>
                <a:latin typeface="Roboto"/>
                <a:cs typeface="Roboto"/>
              </a:rPr>
              <a:t> </a:t>
            </a:r>
            <a:r>
              <a:rPr sz="1900" b="1" dirty="0">
                <a:solidFill>
                  <a:srgbClr val="E3112B"/>
                </a:solidFill>
                <a:latin typeface="Roboto"/>
                <a:cs typeface="Roboto"/>
              </a:rPr>
              <a:t>contenidos</a:t>
            </a:r>
            <a:r>
              <a:rPr sz="1900" b="1" spc="-40" dirty="0">
                <a:solidFill>
                  <a:srgbClr val="E3112B"/>
                </a:solidFill>
                <a:latin typeface="Roboto"/>
                <a:cs typeface="Roboto"/>
              </a:rPr>
              <a:t> </a:t>
            </a:r>
            <a:r>
              <a:rPr sz="1900" dirty="0">
                <a:solidFill>
                  <a:srgbClr val="737373"/>
                </a:solidFill>
                <a:latin typeface="Roboto"/>
                <a:cs typeface="Roboto"/>
              </a:rPr>
              <a:t>de</a:t>
            </a:r>
            <a:r>
              <a:rPr sz="1900" spc="-30" dirty="0">
                <a:solidFill>
                  <a:srgbClr val="737373"/>
                </a:solidFill>
                <a:latin typeface="Roboto"/>
                <a:cs typeface="Roboto"/>
              </a:rPr>
              <a:t> </a:t>
            </a:r>
            <a:r>
              <a:rPr sz="1900" spc="-10" dirty="0">
                <a:solidFill>
                  <a:srgbClr val="737373"/>
                </a:solidFill>
                <a:latin typeface="Roboto"/>
                <a:cs typeface="Roboto"/>
              </a:rPr>
              <a:t>valor </a:t>
            </a:r>
            <a:r>
              <a:rPr sz="1900" dirty="0">
                <a:solidFill>
                  <a:srgbClr val="737373"/>
                </a:solidFill>
                <a:latin typeface="Roboto"/>
                <a:cs typeface="Roboto"/>
              </a:rPr>
              <a:t>del</a:t>
            </a:r>
            <a:r>
              <a:rPr sz="1900" spc="-70" dirty="0">
                <a:solidFill>
                  <a:srgbClr val="737373"/>
                </a:solidFill>
                <a:latin typeface="Roboto"/>
                <a:cs typeface="Roboto"/>
              </a:rPr>
              <a:t> </a:t>
            </a:r>
            <a:r>
              <a:rPr sz="1900" dirty="0">
                <a:solidFill>
                  <a:srgbClr val="737373"/>
                </a:solidFill>
                <a:latin typeface="Roboto"/>
                <a:cs typeface="Roboto"/>
              </a:rPr>
              <a:t>destino</a:t>
            </a:r>
            <a:r>
              <a:rPr sz="1900" spc="-65" dirty="0">
                <a:solidFill>
                  <a:srgbClr val="737373"/>
                </a:solidFill>
                <a:latin typeface="Roboto"/>
                <a:cs typeface="Roboto"/>
              </a:rPr>
              <a:t> </a:t>
            </a:r>
            <a:r>
              <a:rPr sz="1900" dirty="0">
                <a:solidFill>
                  <a:srgbClr val="737373"/>
                </a:solidFill>
                <a:latin typeface="Roboto"/>
                <a:cs typeface="Roboto"/>
              </a:rPr>
              <a:t>para</a:t>
            </a:r>
            <a:r>
              <a:rPr sz="1900" spc="-65" dirty="0">
                <a:solidFill>
                  <a:srgbClr val="737373"/>
                </a:solidFill>
                <a:latin typeface="Roboto"/>
                <a:cs typeface="Roboto"/>
              </a:rPr>
              <a:t> </a:t>
            </a:r>
            <a:r>
              <a:rPr sz="1900" spc="-20" dirty="0">
                <a:solidFill>
                  <a:srgbClr val="737373"/>
                </a:solidFill>
                <a:latin typeface="Roboto"/>
                <a:cs typeface="Roboto"/>
              </a:rPr>
              <a:t>MICE</a:t>
            </a:r>
            <a:endParaRPr sz="1900">
              <a:latin typeface="Roboto"/>
              <a:cs typeface="Roboto"/>
            </a:endParaRPr>
          </a:p>
        </p:txBody>
      </p:sp>
      <p:sp>
        <p:nvSpPr>
          <p:cNvPr id="24" name="object 24"/>
          <p:cNvSpPr/>
          <p:nvPr/>
        </p:nvSpPr>
        <p:spPr>
          <a:xfrm>
            <a:off x="6644471" y="4461131"/>
            <a:ext cx="1069975" cy="1069975"/>
          </a:xfrm>
          <a:custGeom>
            <a:avLst/>
            <a:gdLst/>
            <a:ahLst/>
            <a:cxnLst/>
            <a:rect l="l" t="t" r="r" b="b"/>
            <a:pathLst>
              <a:path w="1069975" h="1069975">
                <a:moveTo>
                  <a:pt x="534700" y="1069390"/>
                </a:moveTo>
                <a:lnTo>
                  <a:pt x="486026" y="1067205"/>
                </a:lnTo>
                <a:lnTo>
                  <a:pt x="438583" y="1060776"/>
                </a:lnTo>
                <a:lnTo>
                  <a:pt x="392551" y="1050290"/>
                </a:lnTo>
                <a:lnTo>
                  <a:pt x="348122" y="1035938"/>
                </a:lnTo>
                <a:lnTo>
                  <a:pt x="305483" y="1017908"/>
                </a:lnTo>
                <a:lnTo>
                  <a:pt x="264824" y="996389"/>
                </a:lnTo>
                <a:lnTo>
                  <a:pt x="226332" y="971569"/>
                </a:lnTo>
                <a:lnTo>
                  <a:pt x="190197" y="943637"/>
                </a:lnTo>
                <a:lnTo>
                  <a:pt x="156608" y="912782"/>
                </a:lnTo>
                <a:lnTo>
                  <a:pt x="125753" y="879192"/>
                </a:lnTo>
                <a:lnTo>
                  <a:pt x="97821" y="843057"/>
                </a:lnTo>
                <a:lnTo>
                  <a:pt x="73001" y="804566"/>
                </a:lnTo>
                <a:lnTo>
                  <a:pt x="51481" y="763906"/>
                </a:lnTo>
                <a:lnTo>
                  <a:pt x="33451" y="721267"/>
                </a:lnTo>
                <a:lnTo>
                  <a:pt x="19099" y="676838"/>
                </a:lnTo>
                <a:lnTo>
                  <a:pt x="8614" y="630807"/>
                </a:lnTo>
                <a:lnTo>
                  <a:pt x="2184" y="583363"/>
                </a:lnTo>
                <a:lnTo>
                  <a:pt x="0" y="534700"/>
                </a:lnTo>
                <a:lnTo>
                  <a:pt x="2184" y="486026"/>
                </a:lnTo>
                <a:lnTo>
                  <a:pt x="8614" y="438582"/>
                </a:lnTo>
                <a:lnTo>
                  <a:pt x="19099" y="392551"/>
                </a:lnTo>
                <a:lnTo>
                  <a:pt x="33451" y="348122"/>
                </a:lnTo>
                <a:lnTo>
                  <a:pt x="51481" y="305483"/>
                </a:lnTo>
                <a:lnTo>
                  <a:pt x="73001" y="264824"/>
                </a:lnTo>
                <a:lnTo>
                  <a:pt x="97821" y="226332"/>
                </a:lnTo>
                <a:lnTo>
                  <a:pt x="125753" y="190197"/>
                </a:lnTo>
                <a:lnTo>
                  <a:pt x="156608" y="156608"/>
                </a:lnTo>
                <a:lnTo>
                  <a:pt x="190197" y="125753"/>
                </a:lnTo>
                <a:lnTo>
                  <a:pt x="226332" y="97821"/>
                </a:lnTo>
                <a:lnTo>
                  <a:pt x="264824" y="73001"/>
                </a:lnTo>
                <a:lnTo>
                  <a:pt x="305483" y="51482"/>
                </a:lnTo>
                <a:lnTo>
                  <a:pt x="348122" y="33451"/>
                </a:lnTo>
                <a:lnTo>
                  <a:pt x="392551" y="19099"/>
                </a:lnTo>
                <a:lnTo>
                  <a:pt x="438583" y="8614"/>
                </a:lnTo>
                <a:lnTo>
                  <a:pt x="486026"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7"/>
                </a:lnTo>
                <a:lnTo>
                  <a:pt x="971568" y="226332"/>
                </a:lnTo>
                <a:lnTo>
                  <a:pt x="996388" y="264824"/>
                </a:lnTo>
                <a:lnTo>
                  <a:pt x="1017907" y="305483"/>
                </a:lnTo>
                <a:lnTo>
                  <a:pt x="1035938" y="348122"/>
                </a:lnTo>
                <a:lnTo>
                  <a:pt x="1050290" y="392551"/>
                </a:lnTo>
                <a:lnTo>
                  <a:pt x="1060775" y="438582"/>
                </a:lnTo>
                <a:lnTo>
                  <a:pt x="1067204" y="486026"/>
                </a:lnTo>
                <a:lnTo>
                  <a:pt x="1069389" y="534689"/>
                </a:lnTo>
                <a:lnTo>
                  <a:pt x="1067204" y="583363"/>
                </a:lnTo>
                <a:lnTo>
                  <a:pt x="1060775" y="630807"/>
                </a:lnTo>
                <a:lnTo>
                  <a:pt x="1050290" y="676838"/>
                </a:lnTo>
                <a:lnTo>
                  <a:pt x="1035938" y="721267"/>
                </a:lnTo>
                <a:lnTo>
                  <a:pt x="1017907" y="763906"/>
                </a:lnTo>
                <a:lnTo>
                  <a:pt x="996388" y="804566"/>
                </a:lnTo>
                <a:lnTo>
                  <a:pt x="971568" y="843057"/>
                </a:lnTo>
                <a:lnTo>
                  <a:pt x="943636" y="879192"/>
                </a:lnTo>
                <a:lnTo>
                  <a:pt x="912781" y="912782"/>
                </a:lnTo>
                <a:lnTo>
                  <a:pt x="879192" y="943637"/>
                </a:lnTo>
                <a:lnTo>
                  <a:pt x="843057" y="971569"/>
                </a:lnTo>
                <a:lnTo>
                  <a:pt x="804566" y="996389"/>
                </a:lnTo>
                <a:lnTo>
                  <a:pt x="763906" y="1017908"/>
                </a:lnTo>
                <a:lnTo>
                  <a:pt x="721267" y="1035938"/>
                </a:lnTo>
                <a:lnTo>
                  <a:pt x="676838" y="1050290"/>
                </a:lnTo>
                <a:lnTo>
                  <a:pt x="630807" y="1060776"/>
                </a:lnTo>
                <a:lnTo>
                  <a:pt x="583363" y="1067205"/>
                </a:lnTo>
                <a:lnTo>
                  <a:pt x="534700" y="1069390"/>
                </a:lnTo>
                <a:close/>
              </a:path>
            </a:pathLst>
          </a:custGeom>
          <a:solidFill>
            <a:srgbClr val="003793"/>
          </a:solidFill>
        </p:spPr>
        <p:txBody>
          <a:bodyPr wrap="square" lIns="0" tIns="0" rIns="0" bIns="0" rtlCol="0"/>
          <a:lstStyle/>
          <a:p>
            <a:endParaRPr/>
          </a:p>
        </p:txBody>
      </p:sp>
      <p:sp>
        <p:nvSpPr>
          <p:cNvPr id="25" name="object 25"/>
          <p:cNvSpPr txBox="1"/>
          <p:nvPr/>
        </p:nvSpPr>
        <p:spPr>
          <a:xfrm>
            <a:off x="6870015" y="4727325"/>
            <a:ext cx="618490" cy="506730"/>
          </a:xfrm>
          <a:prstGeom prst="rect">
            <a:avLst/>
          </a:prstGeom>
        </p:spPr>
        <p:txBody>
          <a:bodyPr vert="horz" wrap="square" lIns="0" tIns="13335" rIns="0" bIns="0" rtlCol="0">
            <a:spAutoFit/>
          </a:bodyPr>
          <a:lstStyle/>
          <a:p>
            <a:pPr marL="12700">
              <a:lnSpc>
                <a:spcPct val="100000"/>
              </a:lnSpc>
              <a:spcBef>
                <a:spcPts val="105"/>
              </a:spcBef>
            </a:pPr>
            <a:r>
              <a:rPr sz="3150" b="1" spc="540" dirty="0">
                <a:solidFill>
                  <a:srgbClr val="FFFFFF"/>
                </a:solidFill>
                <a:latin typeface="Arial"/>
                <a:cs typeface="Arial"/>
              </a:rPr>
              <a:t>02</a:t>
            </a:r>
            <a:endParaRPr sz="3150">
              <a:latin typeface="Arial"/>
              <a:cs typeface="Arial"/>
            </a:endParaRPr>
          </a:p>
        </p:txBody>
      </p:sp>
      <p:pic>
        <p:nvPicPr>
          <p:cNvPr id="26" name="object 26"/>
          <p:cNvPicPr/>
          <p:nvPr/>
        </p:nvPicPr>
        <p:blipFill>
          <a:blip r:embed="rId5" cstate="print"/>
          <a:stretch>
            <a:fillRect/>
          </a:stretch>
        </p:blipFill>
        <p:spPr>
          <a:xfrm>
            <a:off x="14340692" y="2480902"/>
            <a:ext cx="1857796" cy="1857797"/>
          </a:xfrm>
          <a:prstGeom prst="rect">
            <a:avLst/>
          </a:prstGeom>
        </p:spPr>
      </p:pic>
      <p:grpSp>
        <p:nvGrpSpPr>
          <p:cNvPr id="27" name="object 27"/>
          <p:cNvGrpSpPr/>
          <p:nvPr/>
        </p:nvGrpSpPr>
        <p:grpSpPr>
          <a:xfrm>
            <a:off x="12793874" y="4461131"/>
            <a:ext cx="4953635" cy="1069975"/>
            <a:chOff x="12793874" y="4461131"/>
            <a:chExt cx="4953635" cy="1069975"/>
          </a:xfrm>
        </p:grpSpPr>
        <p:sp>
          <p:nvSpPr>
            <p:cNvPr id="28" name="object 28"/>
            <p:cNvSpPr/>
            <p:nvPr/>
          </p:nvSpPr>
          <p:spPr>
            <a:xfrm>
              <a:off x="13486253" y="4462414"/>
              <a:ext cx="4261485" cy="1065530"/>
            </a:xfrm>
            <a:custGeom>
              <a:avLst/>
              <a:gdLst/>
              <a:ahLst/>
              <a:cxnLst/>
              <a:rect l="l" t="t" r="r" b="b"/>
              <a:pathLst>
                <a:path w="4261484" h="1065529">
                  <a:moveTo>
                    <a:pt x="4261050" y="1065262"/>
                  </a:moveTo>
                  <a:lnTo>
                    <a:pt x="0" y="1065262"/>
                  </a:lnTo>
                  <a:lnTo>
                    <a:pt x="0" y="0"/>
                  </a:lnTo>
                  <a:lnTo>
                    <a:pt x="4261050" y="0"/>
                  </a:lnTo>
                  <a:lnTo>
                    <a:pt x="4261050" y="1065262"/>
                  </a:lnTo>
                  <a:close/>
                </a:path>
              </a:pathLst>
            </a:custGeom>
            <a:solidFill>
              <a:srgbClr val="FFFFFF"/>
            </a:solidFill>
          </p:spPr>
          <p:txBody>
            <a:bodyPr wrap="square" lIns="0" tIns="0" rIns="0" bIns="0" rtlCol="0"/>
            <a:lstStyle/>
            <a:p>
              <a:endParaRPr/>
            </a:p>
          </p:txBody>
        </p:sp>
        <p:sp>
          <p:nvSpPr>
            <p:cNvPr id="29" name="object 29"/>
            <p:cNvSpPr/>
            <p:nvPr/>
          </p:nvSpPr>
          <p:spPr>
            <a:xfrm>
              <a:off x="12793874" y="4461131"/>
              <a:ext cx="1069975" cy="1069975"/>
            </a:xfrm>
            <a:custGeom>
              <a:avLst/>
              <a:gdLst/>
              <a:ahLst/>
              <a:cxnLst/>
              <a:rect l="l" t="t" r="r" b="b"/>
              <a:pathLst>
                <a:path w="1069975" h="1069975">
                  <a:moveTo>
                    <a:pt x="534699" y="1069390"/>
                  </a:moveTo>
                  <a:lnTo>
                    <a:pt x="486026" y="1067205"/>
                  </a:lnTo>
                  <a:lnTo>
                    <a:pt x="438582" y="1060776"/>
                  </a:lnTo>
                  <a:lnTo>
                    <a:pt x="392551" y="1050290"/>
                  </a:lnTo>
                  <a:lnTo>
                    <a:pt x="348122" y="1035938"/>
                  </a:lnTo>
                  <a:lnTo>
                    <a:pt x="305483" y="1017908"/>
                  </a:lnTo>
                  <a:lnTo>
                    <a:pt x="264823" y="996389"/>
                  </a:lnTo>
                  <a:lnTo>
                    <a:pt x="226332" y="971569"/>
                  </a:lnTo>
                  <a:lnTo>
                    <a:pt x="190197" y="943637"/>
                  </a:lnTo>
                  <a:lnTo>
                    <a:pt x="156608" y="912782"/>
                  </a:lnTo>
                  <a:lnTo>
                    <a:pt x="125753" y="879192"/>
                  </a:lnTo>
                  <a:lnTo>
                    <a:pt x="97821" y="843057"/>
                  </a:lnTo>
                  <a:lnTo>
                    <a:pt x="73001" y="804566"/>
                  </a:lnTo>
                  <a:lnTo>
                    <a:pt x="51481" y="763906"/>
                  </a:lnTo>
                  <a:lnTo>
                    <a:pt x="33451" y="721267"/>
                  </a:lnTo>
                  <a:lnTo>
                    <a:pt x="19099" y="676838"/>
                  </a:lnTo>
                  <a:lnTo>
                    <a:pt x="8614" y="630807"/>
                  </a:lnTo>
                  <a:lnTo>
                    <a:pt x="2184" y="583363"/>
                  </a:lnTo>
                  <a:lnTo>
                    <a:pt x="0" y="534681"/>
                  </a:lnTo>
                  <a:lnTo>
                    <a:pt x="2184" y="486026"/>
                  </a:lnTo>
                  <a:lnTo>
                    <a:pt x="8614" y="438582"/>
                  </a:lnTo>
                  <a:lnTo>
                    <a:pt x="19099" y="392551"/>
                  </a:lnTo>
                  <a:lnTo>
                    <a:pt x="33451" y="348122"/>
                  </a:lnTo>
                  <a:lnTo>
                    <a:pt x="51481" y="305483"/>
                  </a:lnTo>
                  <a:lnTo>
                    <a:pt x="73001" y="264824"/>
                  </a:lnTo>
                  <a:lnTo>
                    <a:pt x="97821" y="226332"/>
                  </a:lnTo>
                  <a:lnTo>
                    <a:pt x="125753" y="190197"/>
                  </a:lnTo>
                  <a:lnTo>
                    <a:pt x="156608" y="156608"/>
                  </a:lnTo>
                  <a:lnTo>
                    <a:pt x="190197" y="125753"/>
                  </a:lnTo>
                  <a:lnTo>
                    <a:pt x="226332" y="97821"/>
                  </a:lnTo>
                  <a:lnTo>
                    <a:pt x="264823" y="73001"/>
                  </a:lnTo>
                  <a:lnTo>
                    <a:pt x="305483" y="51482"/>
                  </a:lnTo>
                  <a:lnTo>
                    <a:pt x="348122" y="33451"/>
                  </a:lnTo>
                  <a:lnTo>
                    <a:pt x="392551" y="19099"/>
                  </a:lnTo>
                  <a:lnTo>
                    <a:pt x="438582" y="8614"/>
                  </a:lnTo>
                  <a:lnTo>
                    <a:pt x="486026" y="2185"/>
                  </a:lnTo>
                  <a:lnTo>
                    <a:pt x="534694" y="0"/>
                  </a:lnTo>
                  <a:lnTo>
                    <a:pt x="583362" y="2185"/>
                  </a:lnTo>
                  <a:lnTo>
                    <a:pt x="630806" y="8614"/>
                  </a:lnTo>
                  <a:lnTo>
                    <a:pt x="676837" y="19099"/>
                  </a:lnTo>
                  <a:lnTo>
                    <a:pt x="721267" y="33451"/>
                  </a:lnTo>
                  <a:lnTo>
                    <a:pt x="763906" y="51482"/>
                  </a:lnTo>
                  <a:lnTo>
                    <a:pt x="804565" y="73001"/>
                  </a:lnTo>
                  <a:lnTo>
                    <a:pt x="843057" y="97821"/>
                  </a:lnTo>
                  <a:lnTo>
                    <a:pt x="879192" y="125753"/>
                  </a:lnTo>
                  <a:lnTo>
                    <a:pt x="912781" y="156608"/>
                  </a:lnTo>
                  <a:lnTo>
                    <a:pt x="943636" y="190197"/>
                  </a:lnTo>
                  <a:lnTo>
                    <a:pt x="971568" y="226332"/>
                  </a:lnTo>
                  <a:lnTo>
                    <a:pt x="996388" y="264824"/>
                  </a:lnTo>
                  <a:lnTo>
                    <a:pt x="1017908" y="305483"/>
                  </a:lnTo>
                  <a:lnTo>
                    <a:pt x="1035938" y="348122"/>
                  </a:lnTo>
                  <a:lnTo>
                    <a:pt x="1050290" y="392551"/>
                  </a:lnTo>
                  <a:lnTo>
                    <a:pt x="1060775" y="438582"/>
                  </a:lnTo>
                  <a:lnTo>
                    <a:pt x="1067205" y="486026"/>
                  </a:lnTo>
                  <a:lnTo>
                    <a:pt x="1069389" y="534695"/>
                  </a:lnTo>
                  <a:lnTo>
                    <a:pt x="1067205" y="583363"/>
                  </a:lnTo>
                  <a:lnTo>
                    <a:pt x="1060775" y="630807"/>
                  </a:lnTo>
                  <a:lnTo>
                    <a:pt x="1050290" y="676838"/>
                  </a:lnTo>
                  <a:lnTo>
                    <a:pt x="1035938" y="721267"/>
                  </a:lnTo>
                  <a:lnTo>
                    <a:pt x="1017908" y="763906"/>
                  </a:lnTo>
                  <a:lnTo>
                    <a:pt x="996388" y="804566"/>
                  </a:lnTo>
                  <a:lnTo>
                    <a:pt x="971568" y="843057"/>
                  </a:lnTo>
                  <a:lnTo>
                    <a:pt x="943636" y="879192"/>
                  </a:lnTo>
                  <a:lnTo>
                    <a:pt x="912781" y="912782"/>
                  </a:lnTo>
                  <a:lnTo>
                    <a:pt x="879192" y="943637"/>
                  </a:lnTo>
                  <a:lnTo>
                    <a:pt x="843057" y="971569"/>
                  </a:lnTo>
                  <a:lnTo>
                    <a:pt x="804565" y="996389"/>
                  </a:lnTo>
                  <a:lnTo>
                    <a:pt x="763906" y="1017908"/>
                  </a:lnTo>
                  <a:lnTo>
                    <a:pt x="721267" y="1035938"/>
                  </a:lnTo>
                  <a:lnTo>
                    <a:pt x="676837" y="1050290"/>
                  </a:lnTo>
                  <a:lnTo>
                    <a:pt x="630806" y="1060776"/>
                  </a:lnTo>
                  <a:lnTo>
                    <a:pt x="583362" y="1067205"/>
                  </a:lnTo>
                  <a:lnTo>
                    <a:pt x="534699" y="1069390"/>
                  </a:lnTo>
                  <a:close/>
                </a:path>
              </a:pathLst>
            </a:custGeom>
            <a:solidFill>
              <a:srgbClr val="003793"/>
            </a:solidFill>
          </p:spPr>
          <p:txBody>
            <a:bodyPr wrap="square" lIns="0" tIns="0" rIns="0" bIns="0" rtlCol="0"/>
            <a:lstStyle/>
            <a:p>
              <a:endParaRPr/>
            </a:p>
          </p:txBody>
        </p:sp>
      </p:grpSp>
      <p:sp>
        <p:nvSpPr>
          <p:cNvPr id="30" name="object 30"/>
          <p:cNvSpPr txBox="1"/>
          <p:nvPr/>
        </p:nvSpPr>
        <p:spPr>
          <a:xfrm>
            <a:off x="13037021" y="4727325"/>
            <a:ext cx="583565" cy="506730"/>
          </a:xfrm>
          <a:prstGeom prst="rect">
            <a:avLst/>
          </a:prstGeom>
        </p:spPr>
        <p:txBody>
          <a:bodyPr vert="horz" wrap="square" lIns="0" tIns="13335" rIns="0" bIns="0" rtlCol="0">
            <a:spAutoFit/>
          </a:bodyPr>
          <a:lstStyle/>
          <a:p>
            <a:pPr marL="12700">
              <a:lnSpc>
                <a:spcPct val="100000"/>
              </a:lnSpc>
              <a:spcBef>
                <a:spcPts val="105"/>
              </a:spcBef>
            </a:pPr>
            <a:r>
              <a:rPr sz="3150" b="1" spc="400" dirty="0">
                <a:solidFill>
                  <a:srgbClr val="FFFFFF"/>
                </a:solidFill>
                <a:latin typeface="Arial"/>
                <a:cs typeface="Arial"/>
              </a:rPr>
              <a:t>03</a:t>
            </a:r>
            <a:endParaRPr sz="3150">
              <a:latin typeface="Arial"/>
              <a:cs typeface="Arial"/>
            </a:endParaRPr>
          </a:p>
        </p:txBody>
      </p:sp>
      <p:sp>
        <p:nvSpPr>
          <p:cNvPr id="31" name="object 31"/>
          <p:cNvSpPr txBox="1"/>
          <p:nvPr/>
        </p:nvSpPr>
        <p:spPr>
          <a:xfrm>
            <a:off x="14230970" y="4640548"/>
            <a:ext cx="3158490" cy="692150"/>
          </a:xfrm>
          <a:prstGeom prst="rect">
            <a:avLst/>
          </a:prstGeom>
        </p:spPr>
        <p:txBody>
          <a:bodyPr vert="horz" wrap="square" lIns="0" tIns="55880" rIns="0" bIns="0" rtlCol="0">
            <a:spAutoFit/>
          </a:bodyPr>
          <a:lstStyle/>
          <a:p>
            <a:pPr algn="ctr">
              <a:lnSpc>
                <a:spcPct val="100000"/>
              </a:lnSpc>
              <a:spcBef>
                <a:spcPts val="440"/>
              </a:spcBef>
            </a:pPr>
            <a:r>
              <a:rPr sz="1900" dirty="0">
                <a:solidFill>
                  <a:srgbClr val="737373"/>
                </a:solidFill>
                <a:latin typeface="Roboto"/>
                <a:cs typeface="Roboto"/>
              </a:rPr>
              <a:t>Foco</a:t>
            </a:r>
            <a:r>
              <a:rPr sz="1900" spc="-60" dirty="0">
                <a:solidFill>
                  <a:srgbClr val="737373"/>
                </a:solidFill>
                <a:latin typeface="Roboto"/>
                <a:cs typeface="Roboto"/>
              </a:rPr>
              <a:t> </a:t>
            </a:r>
            <a:r>
              <a:rPr sz="1900" dirty="0">
                <a:solidFill>
                  <a:srgbClr val="737373"/>
                </a:solidFill>
                <a:latin typeface="Roboto"/>
                <a:cs typeface="Roboto"/>
              </a:rPr>
              <a:t>en</a:t>
            </a:r>
            <a:r>
              <a:rPr sz="1900" spc="-55" dirty="0">
                <a:solidFill>
                  <a:srgbClr val="737373"/>
                </a:solidFill>
                <a:latin typeface="Roboto"/>
                <a:cs typeface="Roboto"/>
              </a:rPr>
              <a:t> </a:t>
            </a:r>
            <a:r>
              <a:rPr sz="1900" spc="-10" dirty="0">
                <a:solidFill>
                  <a:srgbClr val="737373"/>
                </a:solidFill>
                <a:latin typeface="Roboto"/>
                <a:cs typeface="Roboto"/>
              </a:rPr>
              <a:t>captación</a:t>
            </a:r>
            <a:r>
              <a:rPr sz="1900" spc="-55" dirty="0">
                <a:solidFill>
                  <a:srgbClr val="737373"/>
                </a:solidFill>
                <a:latin typeface="Roboto"/>
                <a:cs typeface="Roboto"/>
              </a:rPr>
              <a:t> </a:t>
            </a:r>
            <a:r>
              <a:rPr sz="1900" spc="-10" dirty="0">
                <a:solidFill>
                  <a:srgbClr val="737373"/>
                </a:solidFill>
                <a:latin typeface="Roboto"/>
                <a:cs typeface="Roboto"/>
              </a:rPr>
              <a:t>mercados</a:t>
            </a:r>
            <a:endParaRPr sz="1900">
              <a:latin typeface="Roboto"/>
              <a:cs typeface="Roboto"/>
            </a:endParaRPr>
          </a:p>
          <a:p>
            <a:pPr marL="59690" algn="ctr">
              <a:lnSpc>
                <a:spcPct val="100000"/>
              </a:lnSpc>
              <a:spcBef>
                <a:spcPts val="345"/>
              </a:spcBef>
            </a:pPr>
            <a:r>
              <a:rPr sz="1900" b="1" dirty="0">
                <a:solidFill>
                  <a:srgbClr val="E3112B"/>
                </a:solidFill>
                <a:latin typeface="Roboto"/>
                <a:cs typeface="Roboto"/>
              </a:rPr>
              <a:t>regionales</a:t>
            </a:r>
            <a:r>
              <a:rPr sz="1900" b="1" spc="5" dirty="0">
                <a:solidFill>
                  <a:srgbClr val="E3112B"/>
                </a:solidFill>
                <a:latin typeface="Roboto"/>
                <a:cs typeface="Roboto"/>
              </a:rPr>
              <a:t> </a:t>
            </a:r>
            <a:r>
              <a:rPr sz="1900" b="1" dirty="0">
                <a:solidFill>
                  <a:srgbClr val="E3112B"/>
                </a:solidFill>
                <a:latin typeface="Roboto"/>
                <a:cs typeface="Roboto"/>
              </a:rPr>
              <a:t>y</a:t>
            </a:r>
            <a:r>
              <a:rPr sz="1900" b="1" spc="5" dirty="0">
                <a:solidFill>
                  <a:srgbClr val="E3112B"/>
                </a:solidFill>
                <a:latin typeface="Roboto"/>
                <a:cs typeface="Roboto"/>
              </a:rPr>
              <a:t> </a:t>
            </a:r>
            <a:r>
              <a:rPr sz="1900" b="1" spc="-20" dirty="0">
                <a:solidFill>
                  <a:srgbClr val="E3112B"/>
                </a:solidFill>
                <a:latin typeface="Roboto"/>
                <a:cs typeface="Roboto"/>
              </a:rPr>
              <a:t>EEUU</a:t>
            </a:r>
            <a:endParaRPr sz="1900">
              <a:latin typeface="Roboto"/>
              <a:cs typeface="Roboto"/>
            </a:endParaRPr>
          </a:p>
        </p:txBody>
      </p:sp>
      <p:grpSp>
        <p:nvGrpSpPr>
          <p:cNvPr id="32" name="object 32"/>
          <p:cNvGrpSpPr/>
          <p:nvPr/>
        </p:nvGrpSpPr>
        <p:grpSpPr>
          <a:xfrm>
            <a:off x="2304525" y="6047648"/>
            <a:ext cx="1858010" cy="1858010"/>
            <a:chOff x="2304525" y="6047648"/>
            <a:chExt cx="1858010" cy="1858010"/>
          </a:xfrm>
        </p:grpSpPr>
        <p:sp>
          <p:nvSpPr>
            <p:cNvPr id="33" name="object 33"/>
            <p:cNvSpPr/>
            <p:nvPr/>
          </p:nvSpPr>
          <p:spPr>
            <a:xfrm>
              <a:off x="2304525" y="6047648"/>
              <a:ext cx="1858010" cy="1858010"/>
            </a:xfrm>
            <a:custGeom>
              <a:avLst/>
              <a:gdLst/>
              <a:ahLst/>
              <a:cxnLst/>
              <a:rect l="l" t="t" r="r" b="b"/>
              <a:pathLst>
                <a:path w="1858010" h="1858009">
                  <a:moveTo>
                    <a:pt x="928917" y="1857797"/>
                  </a:moveTo>
                  <a:lnTo>
                    <a:pt x="881097" y="1856589"/>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8" y="1585729"/>
                  </a:lnTo>
                  <a:lnTo>
                    <a:pt x="241310" y="1553469"/>
                  </a:lnTo>
                  <a:lnTo>
                    <a:pt x="212115" y="1519764"/>
                  </a:lnTo>
                  <a:lnTo>
                    <a:pt x="184539" y="1484673"/>
                  </a:lnTo>
                  <a:lnTo>
                    <a:pt x="158641" y="1448255"/>
                  </a:lnTo>
                  <a:lnTo>
                    <a:pt x="134479" y="1410566"/>
                  </a:lnTo>
                  <a:lnTo>
                    <a:pt x="112112" y="1371667"/>
                  </a:lnTo>
                  <a:lnTo>
                    <a:pt x="91599" y="1331614"/>
                  </a:lnTo>
                  <a:lnTo>
                    <a:pt x="72997" y="1290468"/>
                  </a:lnTo>
                  <a:lnTo>
                    <a:pt x="56365" y="1248285"/>
                  </a:lnTo>
                  <a:lnTo>
                    <a:pt x="41761" y="1205125"/>
                  </a:lnTo>
                  <a:lnTo>
                    <a:pt x="29244" y="1161045"/>
                  </a:lnTo>
                  <a:lnTo>
                    <a:pt x="18871" y="1116104"/>
                  </a:lnTo>
                  <a:lnTo>
                    <a:pt x="10702" y="1070361"/>
                  </a:lnTo>
                  <a:lnTo>
                    <a:pt x="4795" y="1023873"/>
                  </a:lnTo>
                  <a:lnTo>
                    <a:pt x="1208" y="976700"/>
                  </a:lnTo>
                  <a:lnTo>
                    <a:pt x="0" y="928896"/>
                  </a:lnTo>
                  <a:lnTo>
                    <a:pt x="1208" y="881098"/>
                  </a:lnTo>
                  <a:lnTo>
                    <a:pt x="4795" y="833924"/>
                  </a:lnTo>
                  <a:lnTo>
                    <a:pt x="10702" y="787436"/>
                  </a:lnTo>
                  <a:lnTo>
                    <a:pt x="18871" y="741693"/>
                  </a:lnTo>
                  <a:lnTo>
                    <a:pt x="29244" y="696752"/>
                  </a:lnTo>
                  <a:lnTo>
                    <a:pt x="41761" y="652672"/>
                  </a:lnTo>
                  <a:lnTo>
                    <a:pt x="56365" y="609512"/>
                  </a:lnTo>
                  <a:lnTo>
                    <a:pt x="72997" y="567329"/>
                  </a:lnTo>
                  <a:lnTo>
                    <a:pt x="91599" y="526183"/>
                  </a:lnTo>
                  <a:lnTo>
                    <a:pt x="112112" y="486130"/>
                  </a:lnTo>
                  <a:lnTo>
                    <a:pt x="134479" y="447231"/>
                  </a:lnTo>
                  <a:lnTo>
                    <a:pt x="158641" y="409542"/>
                  </a:lnTo>
                  <a:lnTo>
                    <a:pt x="184539" y="373124"/>
                  </a:lnTo>
                  <a:lnTo>
                    <a:pt x="212115" y="338033"/>
                  </a:lnTo>
                  <a:lnTo>
                    <a:pt x="241310" y="304328"/>
                  </a:lnTo>
                  <a:lnTo>
                    <a:pt x="272068"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3" y="4795"/>
                  </a:lnTo>
                  <a:lnTo>
                    <a:pt x="1070360" y="10703"/>
                  </a:lnTo>
                  <a:lnTo>
                    <a:pt x="1116104" y="18871"/>
                  </a:lnTo>
                  <a:lnTo>
                    <a:pt x="1161044" y="29244"/>
                  </a:lnTo>
                  <a:lnTo>
                    <a:pt x="1205124" y="41761"/>
                  </a:lnTo>
                  <a:lnTo>
                    <a:pt x="1248285" y="56365"/>
                  </a:lnTo>
                  <a:lnTo>
                    <a:pt x="1290467" y="72997"/>
                  </a:lnTo>
                  <a:lnTo>
                    <a:pt x="1331614" y="91599"/>
                  </a:lnTo>
                  <a:lnTo>
                    <a:pt x="1371667" y="112113"/>
                  </a:lnTo>
                  <a:lnTo>
                    <a:pt x="1410566" y="134479"/>
                  </a:lnTo>
                  <a:lnTo>
                    <a:pt x="1448254" y="158641"/>
                  </a:lnTo>
                  <a:lnTo>
                    <a:pt x="1484673" y="184539"/>
                  </a:lnTo>
                  <a:lnTo>
                    <a:pt x="1519764" y="212115"/>
                  </a:lnTo>
                  <a:lnTo>
                    <a:pt x="1553469" y="241311"/>
                  </a:lnTo>
                  <a:lnTo>
                    <a:pt x="1585729" y="272068"/>
                  </a:lnTo>
                  <a:lnTo>
                    <a:pt x="1616486" y="304328"/>
                  </a:lnTo>
                  <a:lnTo>
                    <a:pt x="1645682" y="338033"/>
                  </a:lnTo>
                  <a:lnTo>
                    <a:pt x="1673258" y="373124"/>
                  </a:lnTo>
                  <a:lnTo>
                    <a:pt x="1699156" y="409542"/>
                  </a:lnTo>
                  <a:lnTo>
                    <a:pt x="1723317" y="447231"/>
                  </a:lnTo>
                  <a:lnTo>
                    <a:pt x="1745684" y="486130"/>
                  </a:lnTo>
                  <a:lnTo>
                    <a:pt x="1766197" y="526183"/>
                  </a:lnTo>
                  <a:lnTo>
                    <a:pt x="1784799" y="567329"/>
                  </a:lnTo>
                  <a:lnTo>
                    <a:pt x="1801432" y="609512"/>
                  </a:lnTo>
                  <a:lnTo>
                    <a:pt x="1816035" y="652672"/>
                  </a:lnTo>
                  <a:lnTo>
                    <a:pt x="1828553" y="696752"/>
                  </a:lnTo>
                  <a:lnTo>
                    <a:pt x="1838925" y="741693"/>
                  </a:lnTo>
                  <a:lnTo>
                    <a:pt x="1847094" y="787436"/>
                  </a:lnTo>
                  <a:lnTo>
                    <a:pt x="1853001" y="833924"/>
                  </a:lnTo>
                  <a:lnTo>
                    <a:pt x="1856588" y="881098"/>
                  </a:lnTo>
                  <a:lnTo>
                    <a:pt x="1857797" y="928899"/>
                  </a:lnTo>
                  <a:lnTo>
                    <a:pt x="1856588" y="976700"/>
                  </a:lnTo>
                  <a:lnTo>
                    <a:pt x="1853001" y="1023873"/>
                  </a:lnTo>
                  <a:lnTo>
                    <a:pt x="1847094" y="1070361"/>
                  </a:lnTo>
                  <a:lnTo>
                    <a:pt x="1838925" y="1116104"/>
                  </a:lnTo>
                  <a:lnTo>
                    <a:pt x="1828553" y="1161045"/>
                  </a:lnTo>
                  <a:lnTo>
                    <a:pt x="1816035" y="1205125"/>
                  </a:lnTo>
                  <a:lnTo>
                    <a:pt x="1801432" y="1248285"/>
                  </a:lnTo>
                  <a:lnTo>
                    <a:pt x="1784799" y="1290468"/>
                  </a:lnTo>
                  <a:lnTo>
                    <a:pt x="1766197" y="1331614"/>
                  </a:lnTo>
                  <a:lnTo>
                    <a:pt x="1745684" y="1371667"/>
                  </a:lnTo>
                  <a:lnTo>
                    <a:pt x="1723317" y="1410566"/>
                  </a:lnTo>
                  <a:lnTo>
                    <a:pt x="1699156" y="1448255"/>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7" y="1745684"/>
                  </a:lnTo>
                  <a:lnTo>
                    <a:pt x="1331614" y="1766198"/>
                  </a:lnTo>
                  <a:lnTo>
                    <a:pt x="1290467" y="1784800"/>
                  </a:lnTo>
                  <a:lnTo>
                    <a:pt x="1248285" y="1801432"/>
                  </a:lnTo>
                  <a:lnTo>
                    <a:pt x="1205124" y="1816036"/>
                  </a:lnTo>
                  <a:lnTo>
                    <a:pt x="1161044" y="1828553"/>
                  </a:lnTo>
                  <a:lnTo>
                    <a:pt x="1116104" y="1838925"/>
                  </a:lnTo>
                  <a:lnTo>
                    <a:pt x="1070360" y="1847094"/>
                  </a:lnTo>
                  <a:lnTo>
                    <a:pt x="1023873" y="1853001"/>
                  </a:lnTo>
                  <a:lnTo>
                    <a:pt x="976699" y="1856589"/>
                  </a:lnTo>
                  <a:lnTo>
                    <a:pt x="928917" y="1857797"/>
                  </a:lnTo>
                  <a:close/>
                </a:path>
              </a:pathLst>
            </a:custGeom>
            <a:solidFill>
              <a:srgbClr val="E3112B"/>
            </a:solidFill>
          </p:spPr>
          <p:txBody>
            <a:bodyPr wrap="square" lIns="0" tIns="0" rIns="0" bIns="0" rtlCol="0"/>
            <a:lstStyle/>
            <a:p>
              <a:endParaRPr/>
            </a:p>
          </p:txBody>
        </p:sp>
        <p:sp>
          <p:nvSpPr>
            <p:cNvPr id="34" name="object 34"/>
            <p:cNvSpPr/>
            <p:nvPr/>
          </p:nvSpPr>
          <p:spPr>
            <a:xfrm>
              <a:off x="2615742" y="6424192"/>
              <a:ext cx="1102360" cy="1104900"/>
            </a:xfrm>
            <a:custGeom>
              <a:avLst/>
              <a:gdLst/>
              <a:ahLst/>
              <a:cxnLst/>
              <a:rect l="l" t="t" r="r" b="b"/>
              <a:pathLst>
                <a:path w="1102360" h="1104900">
                  <a:moveTo>
                    <a:pt x="412242" y="305562"/>
                  </a:moveTo>
                  <a:lnTo>
                    <a:pt x="410946" y="305562"/>
                  </a:lnTo>
                  <a:lnTo>
                    <a:pt x="402628" y="307352"/>
                  </a:lnTo>
                  <a:lnTo>
                    <a:pt x="395643" y="312166"/>
                  </a:lnTo>
                  <a:lnTo>
                    <a:pt x="390817" y="319163"/>
                  </a:lnTo>
                  <a:lnTo>
                    <a:pt x="389026" y="327482"/>
                  </a:lnTo>
                  <a:lnTo>
                    <a:pt x="389026" y="357136"/>
                  </a:lnTo>
                  <a:lnTo>
                    <a:pt x="392899" y="366153"/>
                  </a:lnTo>
                  <a:lnTo>
                    <a:pt x="401916" y="368731"/>
                  </a:lnTo>
                  <a:lnTo>
                    <a:pt x="412242" y="372605"/>
                  </a:lnTo>
                  <a:lnTo>
                    <a:pt x="412242" y="305562"/>
                  </a:lnTo>
                  <a:close/>
                </a:path>
                <a:path w="1102360" h="1104900">
                  <a:moveTo>
                    <a:pt x="463804" y="434492"/>
                  </a:moveTo>
                  <a:lnTo>
                    <a:pt x="458647" y="426758"/>
                  </a:lnTo>
                  <a:lnTo>
                    <a:pt x="445757" y="420306"/>
                  </a:lnTo>
                  <a:lnTo>
                    <a:pt x="444461" y="486054"/>
                  </a:lnTo>
                  <a:lnTo>
                    <a:pt x="451840" y="483717"/>
                  </a:lnTo>
                  <a:lnTo>
                    <a:pt x="458000" y="478967"/>
                  </a:lnTo>
                  <a:lnTo>
                    <a:pt x="462241" y="472274"/>
                  </a:lnTo>
                  <a:lnTo>
                    <a:pt x="463804" y="464146"/>
                  </a:lnTo>
                  <a:lnTo>
                    <a:pt x="463804" y="434492"/>
                  </a:lnTo>
                  <a:close/>
                </a:path>
                <a:path w="1102360" h="1104900">
                  <a:moveTo>
                    <a:pt x="683450" y="483946"/>
                  </a:moveTo>
                  <a:lnTo>
                    <a:pt x="681697" y="452539"/>
                  </a:lnTo>
                  <a:lnTo>
                    <a:pt x="668502" y="395097"/>
                  </a:lnTo>
                  <a:lnTo>
                    <a:pt x="651040" y="354558"/>
                  </a:lnTo>
                  <a:lnTo>
                    <a:pt x="645515" y="341706"/>
                  </a:lnTo>
                  <a:lnTo>
                    <a:pt x="616000" y="293433"/>
                  </a:lnTo>
                  <a:lnTo>
                    <a:pt x="583260" y="251358"/>
                  </a:lnTo>
                  <a:lnTo>
                    <a:pt x="550583" y="216509"/>
                  </a:lnTo>
                  <a:lnTo>
                    <a:pt x="521271" y="189953"/>
                  </a:lnTo>
                  <a:lnTo>
                    <a:pt x="498614" y="172770"/>
                  </a:lnTo>
                  <a:lnTo>
                    <a:pt x="509485" y="159880"/>
                  </a:lnTo>
                  <a:lnTo>
                    <a:pt x="550811" y="110883"/>
                  </a:lnTo>
                  <a:lnTo>
                    <a:pt x="561797" y="97993"/>
                  </a:lnTo>
                  <a:lnTo>
                    <a:pt x="564553" y="83261"/>
                  </a:lnTo>
                  <a:lnTo>
                    <a:pt x="561632" y="69138"/>
                  </a:lnTo>
                  <a:lnTo>
                    <a:pt x="560222" y="67043"/>
                  </a:lnTo>
                  <a:lnTo>
                    <a:pt x="553631" y="57200"/>
                  </a:lnTo>
                  <a:lnTo>
                    <a:pt x="541159" y="48996"/>
                  </a:lnTo>
                  <a:lnTo>
                    <a:pt x="530847" y="44881"/>
                  </a:lnTo>
                  <a:lnTo>
                    <a:pt x="530847" y="79946"/>
                  </a:lnTo>
                  <a:lnTo>
                    <a:pt x="530847" y="82524"/>
                  </a:lnTo>
                  <a:lnTo>
                    <a:pt x="497332" y="121196"/>
                  </a:lnTo>
                  <a:lnTo>
                    <a:pt x="497332" y="438353"/>
                  </a:lnTo>
                  <a:lnTo>
                    <a:pt x="497332" y="464146"/>
                  </a:lnTo>
                  <a:lnTo>
                    <a:pt x="493255" y="484390"/>
                  </a:lnTo>
                  <a:lnTo>
                    <a:pt x="482180" y="501370"/>
                  </a:lnTo>
                  <a:lnTo>
                    <a:pt x="465785" y="513270"/>
                  </a:lnTo>
                  <a:lnTo>
                    <a:pt x="445757" y="518287"/>
                  </a:lnTo>
                  <a:lnTo>
                    <a:pt x="445757" y="546658"/>
                  </a:lnTo>
                  <a:lnTo>
                    <a:pt x="438023" y="553097"/>
                  </a:lnTo>
                  <a:lnTo>
                    <a:pt x="422554" y="553097"/>
                  </a:lnTo>
                  <a:lnTo>
                    <a:pt x="414820" y="545363"/>
                  </a:lnTo>
                  <a:lnTo>
                    <a:pt x="414820" y="518287"/>
                  </a:lnTo>
                  <a:lnTo>
                    <a:pt x="413524" y="518287"/>
                  </a:lnTo>
                  <a:lnTo>
                    <a:pt x="392557" y="513994"/>
                  </a:lnTo>
                  <a:lnTo>
                    <a:pt x="375335" y="502335"/>
                  </a:lnTo>
                  <a:lnTo>
                    <a:pt x="363664" y="485114"/>
                  </a:lnTo>
                  <a:lnTo>
                    <a:pt x="359371" y="464146"/>
                  </a:lnTo>
                  <a:lnTo>
                    <a:pt x="359371" y="443509"/>
                  </a:lnTo>
                  <a:lnTo>
                    <a:pt x="367106" y="437070"/>
                  </a:lnTo>
                  <a:lnTo>
                    <a:pt x="383870" y="437070"/>
                  </a:lnTo>
                  <a:lnTo>
                    <a:pt x="390321" y="444804"/>
                  </a:lnTo>
                  <a:lnTo>
                    <a:pt x="390321" y="464146"/>
                  </a:lnTo>
                  <a:lnTo>
                    <a:pt x="392112" y="472465"/>
                  </a:lnTo>
                  <a:lnTo>
                    <a:pt x="396925" y="479450"/>
                  </a:lnTo>
                  <a:lnTo>
                    <a:pt x="403910" y="484263"/>
                  </a:lnTo>
                  <a:lnTo>
                    <a:pt x="412242" y="486054"/>
                  </a:lnTo>
                  <a:lnTo>
                    <a:pt x="413524" y="486054"/>
                  </a:lnTo>
                  <a:lnTo>
                    <a:pt x="413524" y="437070"/>
                  </a:lnTo>
                  <a:lnTo>
                    <a:pt x="413524" y="407416"/>
                  </a:lnTo>
                  <a:lnTo>
                    <a:pt x="371487" y="387527"/>
                  </a:lnTo>
                  <a:lnTo>
                    <a:pt x="356793" y="353263"/>
                  </a:lnTo>
                  <a:lnTo>
                    <a:pt x="356793" y="327482"/>
                  </a:lnTo>
                  <a:lnTo>
                    <a:pt x="361086" y="306514"/>
                  </a:lnTo>
                  <a:lnTo>
                    <a:pt x="372757" y="289280"/>
                  </a:lnTo>
                  <a:lnTo>
                    <a:pt x="389978" y="277622"/>
                  </a:lnTo>
                  <a:lnTo>
                    <a:pt x="410946" y="273329"/>
                  </a:lnTo>
                  <a:lnTo>
                    <a:pt x="413524" y="273329"/>
                  </a:lnTo>
                  <a:lnTo>
                    <a:pt x="413524" y="246253"/>
                  </a:lnTo>
                  <a:lnTo>
                    <a:pt x="421259" y="239814"/>
                  </a:lnTo>
                  <a:lnTo>
                    <a:pt x="436727" y="239814"/>
                  </a:lnTo>
                  <a:lnTo>
                    <a:pt x="444461" y="247548"/>
                  </a:lnTo>
                  <a:lnTo>
                    <a:pt x="444474" y="273329"/>
                  </a:lnTo>
                  <a:lnTo>
                    <a:pt x="464489" y="278168"/>
                  </a:lnTo>
                  <a:lnTo>
                    <a:pt x="480885" y="289763"/>
                  </a:lnTo>
                  <a:lnTo>
                    <a:pt x="491972" y="306692"/>
                  </a:lnTo>
                  <a:lnTo>
                    <a:pt x="496036" y="327482"/>
                  </a:lnTo>
                  <a:lnTo>
                    <a:pt x="496036" y="348107"/>
                  </a:lnTo>
                  <a:lnTo>
                    <a:pt x="488302" y="354558"/>
                  </a:lnTo>
                  <a:lnTo>
                    <a:pt x="472833" y="354558"/>
                  </a:lnTo>
                  <a:lnTo>
                    <a:pt x="465099" y="346824"/>
                  </a:lnTo>
                  <a:lnTo>
                    <a:pt x="465099" y="327482"/>
                  </a:lnTo>
                  <a:lnTo>
                    <a:pt x="463702" y="319887"/>
                  </a:lnTo>
                  <a:lnTo>
                    <a:pt x="459778" y="313131"/>
                  </a:lnTo>
                  <a:lnTo>
                    <a:pt x="453669" y="308076"/>
                  </a:lnTo>
                  <a:lnTo>
                    <a:pt x="445757" y="305562"/>
                  </a:lnTo>
                  <a:lnTo>
                    <a:pt x="445757" y="385495"/>
                  </a:lnTo>
                  <a:lnTo>
                    <a:pt x="467677" y="394525"/>
                  </a:lnTo>
                  <a:lnTo>
                    <a:pt x="479196" y="401370"/>
                  </a:lnTo>
                  <a:lnTo>
                    <a:pt x="488302" y="411607"/>
                  </a:lnTo>
                  <a:lnTo>
                    <a:pt x="494512" y="424256"/>
                  </a:lnTo>
                  <a:lnTo>
                    <a:pt x="497332" y="438353"/>
                  </a:lnTo>
                  <a:lnTo>
                    <a:pt x="497332" y="121196"/>
                  </a:lnTo>
                  <a:lnTo>
                    <a:pt x="463804" y="159880"/>
                  </a:lnTo>
                  <a:lnTo>
                    <a:pt x="444461" y="158419"/>
                  </a:lnTo>
                  <a:lnTo>
                    <a:pt x="425132" y="157937"/>
                  </a:lnTo>
                  <a:lnTo>
                    <a:pt x="405790" y="158419"/>
                  </a:lnTo>
                  <a:lnTo>
                    <a:pt x="386448" y="159880"/>
                  </a:lnTo>
                  <a:lnTo>
                    <a:pt x="319405" y="82524"/>
                  </a:lnTo>
                  <a:lnTo>
                    <a:pt x="320700" y="82524"/>
                  </a:lnTo>
                  <a:lnTo>
                    <a:pt x="321983" y="81229"/>
                  </a:lnTo>
                  <a:lnTo>
                    <a:pt x="324561" y="79946"/>
                  </a:lnTo>
                  <a:lnTo>
                    <a:pt x="350354" y="69621"/>
                  </a:lnTo>
                  <a:lnTo>
                    <a:pt x="369697" y="105727"/>
                  </a:lnTo>
                  <a:lnTo>
                    <a:pt x="372275" y="110883"/>
                  </a:lnTo>
                  <a:lnTo>
                    <a:pt x="377431" y="114744"/>
                  </a:lnTo>
                  <a:lnTo>
                    <a:pt x="392899" y="114744"/>
                  </a:lnTo>
                  <a:lnTo>
                    <a:pt x="400634" y="107010"/>
                  </a:lnTo>
                  <a:lnTo>
                    <a:pt x="399338" y="97993"/>
                  </a:lnTo>
                  <a:lnTo>
                    <a:pt x="399338" y="95415"/>
                  </a:lnTo>
                  <a:lnTo>
                    <a:pt x="398056" y="92837"/>
                  </a:lnTo>
                  <a:lnTo>
                    <a:pt x="398056" y="90258"/>
                  </a:lnTo>
                  <a:lnTo>
                    <a:pt x="386880" y="69621"/>
                  </a:lnTo>
                  <a:lnTo>
                    <a:pt x="384352" y="64947"/>
                  </a:lnTo>
                  <a:lnTo>
                    <a:pt x="374662" y="47282"/>
                  </a:lnTo>
                  <a:lnTo>
                    <a:pt x="369697" y="38684"/>
                  </a:lnTo>
                  <a:lnTo>
                    <a:pt x="370979" y="34810"/>
                  </a:lnTo>
                  <a:lnTo>
                    <a:pt x="374853" y="32232"/>
                  </a:lnTo>
                  <a:lnTo>
                    <a:pt x="476694" y="32232"/>
                  </a:lnTo>
                  <a:lnTo>
                    <a:pt x="480568" y="34810"/>
                  </a:lnTo>
                  <a:lnTo>
                    <a:pt x="481850" y="38684"/>
                  </a:lnTo>
                  <a:lnTo>
                    <a:pt x="454787" y="88963"/>
                  </a:lnTo>
                  <a:lnTo>
                    <a:pt x="453072" y="95110"/>
                  </a:lnTo>
                  <a:lnTo>
                    <a:pt x="453656" y="101371"/>
                  </a:lnTo>
                  <a:lnTo>
                    <a:pt x="456412" y="106908"/>
                  </a:lnTo>
                  <a:lnTo>
                    <a:pt x="461225" y="110883"/>
                  </a:lnTo>
                  <a:lnTo>
                    <a:pt x="463804" y="112166"/>
                  </a:lnTo>
                  <a:lnTo>
                    <a:pt x="475411" y="112166"/>
                  </a:lnTo>
                  <a:lnTo>
                    <a:pt x="480568" y="108305"/>
                  </a:lnTo>
                  <a:lnTo>
                    <a:pt x="483146" y="103149"/>
                  </a:lnTo>
                  <a:lnTo>
                    <a:pt x="502488" y="67043"/>
                  </a:lnTo>
                  <a:lnTo>
                    <a:pt x="526986" y="77355"/>
                  </a:lnTo>
                  <a:lnTo>
                    <a:pt x="529564" y="78651"/>
                  </a:lnTo>
                  <a:lnTo>
                    <a:pt x="530847" y="79946"/>
                  </a:lnTo>
                  <a:lnTo>
                    <a:pt x="530847" y="44881"/>
                  </a:lnTo>
                  <a:lnTo>
                    <a:pt x="515378" y="38684"/>
                  </a:lnTo>
                  <a:lnTo>
                    <a:pt x="513727" y="32232"/>
                  </a:lnTo>
                  <a:lnTo>
                    <a:pt x="511467" y="23393"/>
                  </a:lnTo>
                  <a:lnTo>
                    <a:pt x="502488" y="11125"/>
                  </a:lnTo>
                  <a:lnTo>
                    <a:pt x="489635" y="2971"/>
                  </a:lnTo>
                  <a:lnTo>
                    <a:pt x="474116" y="0"/>
                  </a:lnTo>
                  <a:lnTo>
                    <a:pt x="380009" y="0"/>
                  </a:lnTo>
                  <a:lnTo>
                    <a:pt x="364490" y="2971"/>
                  </a:lnTo>
                  <a:lnTo>
                    <a:pt x="351637" y="11125"/>
                  </a:lnTo>
                  <a:lnTo>
                    <a:pt x="342658" y="23393"/>
                  </a:lnTo>
                  <a:lnTo>
                    <a:pt x="338747" y="38684"/>
                  </a:lnTo>
                  <a:lnTo>
                    <a:pt x="312966" y="48996"/>
                  </a:lnTo>
                  <a:lnTo>
                    <a:pt x="300494" y="57200"/>
                  </a:lnTo>
                  <a:lnTo>
                    <a:pt x="292493" y="69138"/>
                  </a:lnTo>
                  <a:lnTo>
                    <a:pt x="289572" y="83261"/>
                  </a:lnTo>
                  <a:lnTo>
                    <a:pt x="292328" y="97993"/>
                  </a:lnTo>
                  <a:lnTo>
                    <a:pt x="302755" y="110223"/>
                  </a:lnTo>
                  <a:lnTo>
                    <a:pt x="355511" y="172770"/>
                  </a:lnTo>
                  <a:lnTo>
                    <a:pt x="302717" y="217322"/>
                  </a:lnTo>
                  <a:lnTo>
                    <a:pt x="269824" y="252399"/>
                  </a:lnTo>
                  <a:lnTo>
                    <a:pt x="236943" y="294627"/>
                  </a:lnTo>
                  <a:lnTo>
                    <a:pt x="207352" y="342963"/>
                  </a:lnTo>
                  <a:lnTo>
                    <a:pt x="184327" y="396379"/>
                  </a:lnTo>
                  <a:lnTo>
                    <a:pt x="171145" y="453821"/>
                  </a:lnTo>
                  <a:lnTo>
                    <a:pt x="169989" y="483946"/>
                  </a:lnTo>
                  <a:lnTo>
                    <a:pt x="170053" y="486054"/>
                  </a:lnTo>
                  <a:lnTo>
                    <a:pt x="183476" y="538861"/>
                  </a:lnTo>
                  <a:lnTo>
                    <a:pt x="233553" y="587667"/>
                  </a:lnTo>
                  <a:lnTo>
                    <a:pt x="270090" y="601446"/>
                  </a:lnTo>
                  <a:lnTo>
                    <a:pt x="312966" y="607250"/>
                  </a:lnTo>
                  <a:lnTo>
                    <a:pt x="539877" y="607250"/>
                  </a:lnTo>
                  <a:lnTo>
                    <a:pt x="583222" y="601281"/>
                  </a:lnTo>
                  <a:lnTo>
                    <a:pt x="619823" y="587121"/>
                  </a:lnTo>
                  <a:lnTo>
                    <a:pt x="654621" y="559549"/>
                  </a:lnTo>
                  <a:lnTo>
                    <a:pt x="658990" y="553097"/>
                  </a:lnTo>
                  <a:lnTo>
                    <a:pt x="669544" y="537565"/>
                  </a:lnTo>
                  <a:lnTo>
                    <a:pt x="679272" y="512330"/>
                  </a:lnTo>
                  <a:lnTo>
                    <a:pt x="683450" y="483946"/>
                  </a:lnTo>
                  <a:close/>
                </a:path>
                <a:path w="1102360" h="1104900">
                  <a:moveTo>
                    <a:pt x="974356" y="998258"/>
                  </a:moveTo>
                  <a:lnTo>
                    <a:pt x="959815" y="983716"/>
                  </a:lnTo>
                  <a:lnTo>
                    <a:pt x="955370" y="983716"/>
                  </a:lnTo>
                  <a:lnTo>
                    <a:pt x="940828" y="998258"/>
                  </a:lnTo>
                  <a:lnTo>
                    <a:pt x="940828" y="1002703"/>
                  </a:lnTo>
                  <a:lnTo>
                    <a:pt x="955370" y="1017231"/>
                  </a:lnTo>
                  <a:lnTo>
                    <a:pt x="959815" y="1017231"/>
                  </a:lnTo>
                  <a:lnTo>
                    <a:pt x="974356" y="1002703"/>
                  </a:lnTo>
                  <a:lnTo>
                    <a:pt x="974356" y="1000480"/>
                  </a:lnTo>
                  <a:lnTo>
                    <a:pt x="974356" y="998258"/>
                  </a:lnTo>
                  <a:close/>
                </a:path>
                <a:path w="1102360" h="1104900">
                  <a:moveTo>
                    <a:pt x="1101991" y="1081697"/>
                  </a:moveTo>
                  <a:lnTo>
                    <a:pt x="1096835" y="1073962"/>
                  </a:lnTo>
                  <a:lnTo>
                    <a:pt x="885393" y="1073962"/>
                  </a:lnTo>
                  <a:lnTo>
                    <a:pt x="885393" y="946327"/>
                  </a:lnTo>
                  <a:lnTo>
                    <a:pt x="885393" y="747776"/>
                  </a:lnTo>
                  <a:lnTo>
                    <a:pt x="885393" y="718121"/>
                  </a:lnTo>
                  <a:lnTo>
                    <a:pt x="1064602" y="718121"/>
                  </a:lnTo>
                  <a:lnTo>
                    <a:pt x="1071054" y="710387"/>
                  </a:lnTo>
                  <a:lnTo>
                    <a:pt x="1071054" y="694918"/>
                  </a:lnTo>
                  <a:lnTo>
                    <a:pt x="1064602" y="685888"/>
                  </a:lnTo>
                  <a:lnTo>
                    <a:pt x="885393" y="685888"/>
                  </a:lnTo>
                  <a:lnTo>
                    <a:pt x="885393" y="625297"/>
                  </a:lnTo>
                  <a:lnTo>
                    <a:pt x="877658" y="618858"/>
                  </a:lnTo>
                  <a:lnTo>
                    <a:pt x="862190" y="618858"/>
                  </a:lnTo>
                  <a:lnTo>
                    <a:pt x="854456" y="626592"/>
                  </a:lnTo>
                  <a:lnTo>
                    <a:pt x="854456" y="685888"/>
                  </a:lnTo>
                  <a:lnTo>
                    <a:pt x="753897" y="685888"/>
                  </a:lnTo>
                  <a:lnTo>
                    <a:pt x="747445" y="693635"/>
                  </a:lnTo>
                  <a:lnTo>
                    <a:pt x="747445" y="747776"/>
                  </a:lnTo>
                  <a:lnTo>
                    <a:pt x="746150" y="747776"/>
                  </a:lnTo>
                  <a:lnTo>
                    <a:pt x="746150" y="780008"/>
                  </a:lnTo>
                  <a:lnTo>
                    <a:pt x="744867" y="946327"/>
                  </a:lnTo>
                  <a:lnTo>
                    <a:pt x="609498" y="946327"/>
                  </a:lnTo>
                  <a:lnTo>
                    <a:pt x="253657" y="814819"/>
                  </a:lnTo>
                  <a:lnTo>
                    <a:pt x="40932" y="667842"/>
                  </a:lnTo>
                  <a:lnTo>
                    <a:pt x="46088" y="662686"/>
                  </a:lnTo>
                  <a:lnTo>
                    <a:pt x="64998" y="651510"/>
                  </a:lnTo>
                  <a:lnTo>
                    <a:pt x="87185" y="649630"/>
                  </a:lnTo>
                  <a:lnTo>
                    <a:pt x="110083" y="655256"/>
                  </a:lnTo>
                  <a:lnTo>
                    <a:pt x="131178" y="666559"/>
                  </a:lnTo>
                  <a:lnTo>
                    <a:pt x="323278" y="777430"/>
                  </a:lnTo>
                  <a:lnTo>
                    <a:pt x="328434" y="780008"/>
                  </a:lnTo>
                  <a:lnTo>
                    <a:pt x="570814" y="780008"/>
                  </a:lnTo>
                  <a:lnTo>
                    <a:pt x="577265" y="772274"/>
                  </a:lnTo>
                  <a:lnTo>
                    <a:pt x="577265" y="756805"/>
                  </a:lnTo>
                  <a:lnTo>
                    <a:pt x="569531" y="749071"/>
                  </a:lnTo>
                  <a:lnTo>
                    <a:pt x="414820" y="749071"/>
                  </a:lnTo>
                  <a:lnTo>
                    <a:pt x="397789" y="742213"/>
                  </a:lnTo>
                  <a:lnTo>
                    <a:pt x="384035" y="729081"/>
                  </a:lnTo>
                  <a:lnTo>
                    <a:pt x="374383" y="712089"/>
                  </a:lnTo>
                  <a:lnTo>
                    <a:pt x="369697" y="693635"/>
                  </a:lnTo>
                  <a:lnTo>
                    <a:pt x="604342" y="693635"/>
                  </a:lnTo>
                  <a:lnTo>
                    <a:pt x="699744" y="776147"/>
                  </a:lnTo>
                  <a:lnTo>
                    <a:pt x="702322" y="778725"/>
                  </a:lnTo>
                  <a:lnTo>
                    <a:pt x="706183" y="780008"/>
                  </a:lnTo>
                  <a:lnTo>
                    <a:pt x="746150" y="780008"/>
                  </a:lnTo>
                  <a:lnTo>
                    <a:pt x="746150" y="747776"/>
                  </a:lnTo>
                  <a:lnTo>
                    <a:pt x="717791" y="747776"/>
                  </a:lnTo>
                  <a:lnTo>
                    <a:pt x="656031" y="693635"/>
                  </a:lnTo>
                  <a:lnTo>
                    <a:pt x="623671" y="665264"/>
                  </a:lnTo>
                  <a:lnTo>
                    <a:pt x="621093" y="662686"/>
                  </a:lnTo>
                  <a:lnTo>
                    <a:pt x="617232" y="661403"/>
                  </a:lnTo>
                  <a:lnTo>
                    <a:pt x="346481" y="661403"/>
                  </a:lnTo>
                  <a:lnTo>
                    <a:pt x="338747" y="666559"/>
                  </a:lnTo>
                  <a:lnTo>
                    <a:pt x="338747" y="675576"/>
                  </a:lnTo>
                  <a:lnTo>
                    <a:pt x="337464" y="685888"/>
                  </a:lnTo>
                  <a:lnTo>
                    <a:pt x="338886" y="703021"/>
                  </a:lnTo>
                  <a:lnTo>
                    <a:pt x="343103" y="719416"/>
                  </a:lnTo>
                  <a:lnTo>
                    <a:pt x="349973" y="734847"/>
                  </a:lnTo>
                  <a:lnTo>
                    <a:pt x="359371" y="749071"/>
                  </a:lnTo>
                  <a:lnTo>
                    <a:pt x="341325" y="749071"/>
                  </a:lnTo>
                  <a:lnTo>
                    <a:pt x="322313" y="719416"/>
                  </a:lnTo>
                  <a:lnTo>
                    <a:pt x="282016" y="656551"/>
                  </a:lnTo>
                  <a:lnTo>
                    <a:pt x="282016" y="719416"/>
                  </a:lnTo>
                  <a:lnTo>
                    <a:pt x="187909" y="665264"/>
                  </a:lnTo>
                  <a:lnTo>
                    <a:pt x="179336" y="649630"/>
                  </a:lnTo>
                  <a:lnTo>
                    <a:pt x="169519" y="631748"/>
                  </a:lnTo>
                  <a:lnTo>
                    <a:pt x="165989" y="625297"/>
                  </a:lnTo>
                  <a:lnTo>
                    <a:pt x="173723" y="622719"/>
                  </a:lnTo>
                  <a:lnTo>
                    <a:pt x="195173" y="621576"/>
                  </a:lnTo>
                  <a:lnTo>
                    <a:pt x="215785" y="629970"/>
                  </a:lnTo>
                  <a:lnTo>
                    <a:pt x="233730" y="645388"/>
                  </a:lnTo>
                  <a:lnTo>
                    <a:pt x="247205" y="665264"/>
                  </a:lnTo>
                  <a:lnTo>
                    <a:pt x="282016" y="719416"/>
                  </a:lnTo>
                  <a:lnTo>
                    <a:pt x="282016" y="656551"/>
                  </a:lnTo>
                  <a:lnTo>
                    <a:pt x="257848" y="621576"/>
                  </a:lnTo>
                  <a:lnTo>
                    <a:pt x="198907" y="588492"/>
                  </a:lnTo>
                  <a:lnTo>
                    <a:pt x="164693" y="591781"/>
                  </a:lnTo>
                  <a:lnTo>
                    <a:pt x="150329" y="596455"/>
                  </a:lnTo>
                  <a:lnTo>
                    <a:pt x="142621" y="599186"/>
                  </a:lnTo>
                  <a:lnTo>
                    <a:pt x="139496" y="600481"/>
                  </a:lnTo>
                  <a:lnTo>
                    <a:pt x="138912" y="600798"/>
                  </a:lnTo>
                  <a:lnTo>
                    <a:pt x="135039" y="602094"/>
                  </a:lnTo>
                  <a:lnTo>
                    <a:pt x="131178" y="605955"/>
                  </a:lnTo>
                  <a:lnTo>
                    <a:pt x="128600" y="613702"/>
                  </a:lnTo>
                  <a:lnTo>
                    <a:pt x="128600" y="618858"/>
                  </a:lnTo>
                  <a:lnTo>
                    <a:pt x="131178" y="622719"/>
                  </a:lnTo>
                  <a:lnTo>
                    <a:pt x="136334" y="631748"/>
                  </a:lnTo>
                  <a:lnTo>
                    <a:pt x="107924" y="620623"/>
                  </a:lnTo>
                  <a:lnTo>
                    <a:pt x="78320" y="617245"/>
                  </a:lnTo>
                  <a:lnTo>
                    <a:pt x="49669" y="623049"/>
                  </a:lnTo>
                  <a:lnTo>
                    <a:pt x="24168" y="639483"/>
                  </a:lnTo>
                  <a:lnTo>
                    <a:pt x="3543" y="660107"/>
                  </a:lnTo>
                  <a:lnTo>
                    <a:pt x="673" y="665543"/>
                  </a:lnTo>
                  <a:lnTo>
                    <a:pt x="0" y="671715"/>
                  </a:lnTo>
                  <a:lnTo>
                    <a:pt x="1727" y="677875"/>
                  </a:lnTo>
                  <a:lnTo>
                    <a:pt x="6121" y="683310"/>
                  </a:lnTo>
                  <a:lnTo>
                    <a:pt x="236893" y="843191"/>
                  </a:lnTo>
                  <a:lnTo>
                    <a:pt x="600468" y="978560"/>
                  </a:lnTo>
                  <a:lnTo>
                    <a:pt x="744867" y="979843"/>
                  </a:lnTo>
                  <a:lnTo>
                    <a:pt x="744867" y="1014653"/>
                  </a:lnTo>
                  <a:lnTo>
                    <a:pt x="752602" y="1021105"/>
                  </a:lnTo>
                  <a:lnTo>
                    <a:pt x="851877" y="1021105"/>
                  </a:lnTo>
                  <a:lnTo>
                    <a:pt x="851877" y="1098461"/>
                  </a:lnTo>
                  <a:lnTo>
                    <a:pt x="859612" y="1104900"/>
                  </a:lnTo>
                  <a:lnTo>
                    <a:pt x="1095552" y="1104900"/>
                  </a:lnTo>
                  <a:lnTo>
                    <a:pt x="1101991" y="1097165"/>
                  </a:lnTo>
                  <a:lnTo>
                    <a:pt x="1101991" y="1081697"/>
                  </a:lnTo>
                  <a:close/>
                </a:path>
              </a:pathLst>
            </a:custGeom>
            <a:solidFill>
              <a:srgbClr val="FFFFFF"/>
            </a:solidFill>
          </p:spPr>
          <p:txBody>
            <a:bodyPr wrap="square" lIns="0" tIns="0" rIns="0" bIns="0" rtlCol="0"/>
            <a:lstStyle/>
            <a:p>
              <a:endParaRPr/>
            </a:p>
          </p:txBody>
        </p:sp>
      </p:grpSp>
      <p:sp>
        <p:nvSpPr>
          <p:cNvPr id="35" name="object 35"/>
          <p:cNvSpPr/>
          <p:nvPr/>
        </p:nvSpPr>
        <p:spPr>
          <a:xfrm>
            <a:off x="1358170" y="8150155"/>
            <a:ext cx="4284980" cy="1065530"/>
          </a:xfrm>
          <a:custGeom>
            <a:avLst/>
            <a:gdLst/>
            <a:ahLst/>
            <a:cxnLst/>
            <a:rect l="l" t="t" r="r" b="b"/>
            <a:pathLst>
              <a:path w="4284980" h="1065529">
                <a:moveTo>
                  <a:pt x="4284377" y="1065262"/>
                </a:moveTo>
                <a:lnTo>
                  <a:pt x="0" y="1065262"/>
                </a:lnTo>
                <a:lnTo>
                  <a:pt x="0" y="0"/>
                </a:lnTo>
                <a:lnTo>
                  <a:pt x="4284377" y="0"/>
                </a:lnTo>
                <a:lnTo>
                  <a:pt x="4284377" y="1065262"/>
                </a:lnTo>
                <a:close/>
              </a:path>
            </a:pathLst>
          </a:custGeom>
          <a:solidFill>
            <a:srgbClr val="FFFFFF"/>
          </a:solidFill>
        </p:spPr>
        <p:txBody>
          <a:bodyPr wrap="square" lIns="0" tIns="0" rIns="0" bIns="0" rtlCol="0"/>
          <a:lstStyle/>
          <a:p>
            <a:endParaRPr/>
          </a:p>
        </p:txBody>
      </p:sp>
      <p:sp>
        <p:nvSpPr>
          <p:cNvPr id="36" name="object 36"/>
          <p:cNvSpPr txBox="1"/>
          <p:nvPr/>
        </p:nvSpPr>
        <p:spPr>
          <a:xfrm>
            <a:off x="2141703" y="8251869"/>
            <a:ext cx="3020695" cy="692150"/>
          </a:xfrm>
          <a:prstGeom prst="rect">
            <a:avLst/>
          </a:prstGeom>
        </p:spPr>
        <p:txBody>
          <a:bodyPr vert="horz" wrap="square" lIns="0" tIns="12065" rIns="0" bIns="0" rtlCol="0">
            <a:spAutoFit/>
          </a:bodyPr>
          <a:lstStyle/>
          <a:p>
            <a:pPr marL="490855" marR="5080" indent="-478790">
              <a:lnSpc>
                <a:spcPct val="115100"/>
              </a:lnSpc>
              <a:spcBef>
                <a:spcPts val="95"/>
              </a:spcBef>
            </a:pPr>
            <a:r>
              <a:rPr sz="1900" dirty="0">
                <a:solidFill>
                  <a:srgbClr val="737373"/>
                </a:solidFill>
                <a:latin typeface="Roboto"/>
                <a:cs typeface="Roboto"/>
              </a:rPr>
              <a:t>Desarrollo</a:t>
            </a:r>
            <a:r>
              <a:rPr sz="1900" spc="-45" dirty="0">
                <a:solidFill>
                  <a:srgbClr val="737373"/>
                </a:solidFill>
                <a:latin typeface="Roboto"/>
                <a:cs typeface="Roboto"/>
              </a:rPr>
              <a:t> </a:t>
            </a:r>
            <a:r>
              <a:rPr sz="1900" dirty="0">
                <a:solidFill>
                  <a:srgbClr val="737373"/>
                </a:solidFill>
                <a:latin typeface="Roboto"/>
                <a:cs typeface="Roboto"/>
              </a:rPr>
              <a:t>del</a:t>
            </a:r>
            <a:r>
              <a:rPr sz="1900" spc="-40" dirty="0">
                <a:solidFill>
                  <a:srgbClr val="737373"/>
                </a:solidFill>
                <a:latin typeface="Roboto"/>
                <a:cs typeface="Roboto"/>
              </a:rPr>
              <a:t> </a:t>
            </a:r>
            <a:r>
              <a:rPr sz="1900" b="1" dirty="0">
                <a:solidFill>
                  <a:srgbClr val="E3112B"/>
                </a:solidFill>
                <a:latin typeface="Roboto"/>
                <a:cs typeface="Roboto"/>
              </a:rPr>
              <a:t>corporativo</a:t>
            </a:r>
            <a:r>
              <a:rPr sz="1900" b="1" spc="-45" dirty="0">
                <a:solidFill>
                  <a:srgbClr val="E3112B"/>
                </a:solidFill>
                <a:latin typeface="Roboto"/>
                <a:cs typeface="Roboto"/>
              </a:rPr>
              <a:t> </a:t>
            </a:r>
            <a:r>
              <a:rPr sz="1900" b="1" spc="-50" dirty="0">
                <a:solidFill>
                  <a:srgbClr val="E3112B"/>
                </a:solidFill>
                <a:latin typeface="Roboto"/>
                <a:cs typeface="Roboto"/>
              </a:rPr>
              <a:t>e </a:t>
            </a:r>
            <a:r>
              <a:rPr sz="1900" b="1" dirty="0">
                <a:solidFill>
                  <a:srgbClr val="E3112B"/>
                </a:solidFill>
                <a:latin typeface="Roboto"/>
                <a:cs typeface="Roboto"/>
              </a:rPr>
              <a:t>incentivos</a:t>
            </a:r>
            <a:r>
              <a:rPr sz="1900" b="1" spc="-70" dirty="0">
                <a:solidFill>
                  <a:srgbClr val="E3112B"/>
                </a:solidFill>
                <a:latin typeface="Roboto"/>
                <a:cs typeface="Roboto"/>
              </a:rPr>
              <a:t> </a:t>
            </a:r>
            <a:r>
              <a:rPr sz="1900" b="1" spc="-10" dirty="0">
                <a:solidFill>
                  <a:srgbClr val="E3112B"/>
                </a:solidFill>
                <a:latin typeface="Roboto"/>
                <a:cs typeface="Roboto"/>
              </a:rPr>
              <a:t>upscale</a:t>
            </a:r>
            <a:endParaRPr sz="1900">
              <a:latin typeface="Roboto"/>
              <a:cs typeface="Roboto"/>
            </a:endParaRPr>
          </a:p>
        </p:txBody>
      </p:sp>
      <p:sp>
        <p:nvSpPr>
          <p:cNvPr id="37" name="object 37"/>
          <p:cNvSpPr/>
          <p:nvPr/>
        </p:nvSpPr>
        <p:spPr>
          <a:xfrm>
            <a:off x="823475" y="8165877"/>
            <a:ext cx="1069975" cy="1069975"/>
          </a:xfrm>
          <a:custGeom>
            <a:avLst/>
            <a:gdLst/>
            <a:ahLst/>
            <a:cxnLst/>
            <a:rect l="l" t="t" r="r" b="b"/>
            <a:pathLst>
              <a:path w="1069975" h="1069975">
                <a:moveTo>
                  <a:pt x="534695" y="1069390"/>
                </a:moveTo>
                <a:lnTo>
                  <a:pt x="486027" y="1067205"/>
                </a:lnTo>
                <a:lnTo>
                  <a:pt x="438583" y="1060775"/>
                </a:lnTo>
                <a:lnTo>
                  <a:pt x="392552" y="1050290"/>
                </a:lnTo>
                <a:lnTo>
                  <a:pt x="348122" y="1035938"/>
                </a:lnTo>
                <a:lnTo>
                  <a:pt x="305483" y="1017908"/>
                </a:lnTo>
                <a:lnTo>
                  <a:pt x="264824" y="996388"/>
                </a:lnTo>
                <a:lnTo>
                  <a:pt x="226332" y="971568"/>
                </a:lnTo>
                <a:lnTo>
                  <a:pt x="190197" y="943636"/>
                </a:lnTo>
                <a:lnTo>
                  <a:pt x="156608" y="912781"/>
                </a:lnTo>
                <a:lnTo>
                  <a:pt x="125753" y="879192"/>
                </a:lnTo>
                <a:lnTo>
                  <a:pt x="97821" y="843057"/>
                </a:lnTo>
                <a:lnTo>
                  <a:pt x="73001" y="804566"/>
                </a:lnTo>
                <a:lnTo>
                  <a:pt x="51482" y="763906"/>
                </a:lnTo>
                <a:lnTo>
                  <a:pt x="33451" y="721267"/>
                </a:lnTo>
                <a:lnTo>
                  <a:pt x="19099" y="676838"/>
                </a:lnTo>
                <a:lnTo>
                  <a:pt x="8614" y="630807"/>
                </a:lnTo>
                <a:lnTo>
                  <a:pt x="2185" y="583363"/>
                </a:lnTo>
                <a:lnTo>
                  <a:pt x="0" y="534695"/>
                </a:lnTo>
                <a:lnTo>
                  <a:pt x="2185" y="486027"/>
                </a:lnTo>
                <a:lnTo>
                  <a:pt x="8614" y="438583"/>
                </a:lnTo>
                <a:lnTo>
                  <a:pt x="19099" y="392552"/>
                </a:lnTo>
                <a:lnTo>
                  <a:pt x="33451" y="348122"/>
                </a:lnTo>
                <a:lnTo>
                  <a:pt x="51482" y="305484"/>
                </a:lnTo>
                <a:lnTo>
                  <a:pt x="73001" y="264824"/>
                </a:lnTo>
                <a:lnTo>
                  <a:pt x="97821" y="226332"/>
                </a:lnTo>
                <a:lnTo>
                  <a:pt x="125753" y="190198"/>
                </a:lnTo>
                <a:lnTo>
                  <a:pt x="156608" y="156608"/>
                </a:lnTo>
                <a:lnTo>
                  <a:pt x="190197" y="125753"/>
                </a:lnTo>
                <a:lnTo>
                  <a:pt x="226332" y="97821"/>
                </a:lnTo>
                <a:lnTo>
                  <a:pt x="264824" y="73001"/>
                </a:lnTo>
                <a:lnTo>
                  <a:pt x="305483" y="51482"/>
                </a:lnTo>
                <a:lnTo>
                  <a:pt x="348122" y="33451"/>
                </a:lnTo>
                <a:lnTo>
                  <a:pt x="392552" y="19099"/>
                </a:lnTo>
                <a:lnTo>
                  <a:pt x="438583" y="8614"/>
                </a:lnTo>
                <a:lnTo>
                  <a:pt x="486027" y="2185"/>
                </a:lnTo>
                <a:lnTo>
                  <a:pt x="534695" y="0"/>
                </a:lnTo>
                <a:lnTo>
                  <a:pt x="583363" y="2185"/>
                </a:lnTo>
                <a:lnTo>
                  <a:pt x="630807" y="8614"/>
                </a:lnTo>
                <a:lnTo>
                  <a:pt x="676838" y="19099"/>
                </a:lnTo>
                <a:lnTo>
                  <a:pt x="721267" y="33451"/>
                </a:lnTo>
                <a:lnTo>
                  <a:pt x="763906" y="51482"/>
                </a:lnTo>
                <a:lnTo>
                  <a:pt x="804566" y="73001"/>
                </a:lnTo>
                <a:lnTo>
                  <a:pt x="843057" y="97821"/>
                </a:lnTo>
                <a:lnTo>
                  <a:pt x="879192" y="125753"/>
                </a:lnTo>
                <a:lnTo>
                  <a:pt x="912781" y="156608"/>
                </a:lnTo>
                <a:lnTo>
                  <a:pt x="943636" y="190198"/>
                </a:lnTo>
                <a:lnTo>
                  <a:pt x="971568" y="226332"/>
                </a:lnTo>
                <a:lnTo>
                  <a:pt x="996389" y="264824"/>
                </a:lnTo>
                <a:lnTo>
                  <a:pt x="1017908" y="305484"/>
                </a:lnTo>
                <a:lnTo>
                  <a:pt x="1035938" y="348122"/>
                </a:lnTo>
                <a:lnTo>
                  <a:pt x="1050290" y="392552"/>
                </a:lnTo>
                <a:lnTo>
                  <a:pt x="1060775" y="438583"/>
                </a:lnTo>
                <a:lnTo>
                  <a:pt x="1067205" y="486027"/>
                </a:lnTo>
                <a:lnTo>
                  <a:pt x="1069390" y="534695"/>
                </a:lnTo>
                <a:lnTo>
                  <a:pt x="1067205" y="583363"/>
                </a:lnTo>
                <a:lnTo>
                  <a:pt x="1060775" y="630807"/>
                </a:lnTo>
                <a:lnTo>
                  <a:pt x="1050290" y="676838"/>
                </a:lnTo>
                <a:lnTo>
                  <a:pt x="1035938" y="721267"/>
                </a:lnTo>
                <a:lnTo>
                  <a:pt x="1017908" y="763906"/>
                </a:lnTo>
                <a:lnTo>
                  <a:pt x="996389" y="804566"/>
                </a:lnTo>
                <a:lnTo>
                  <a:pt x="971568" y="843057"/>
                </a:lnTo>
                <a:lnTo>
                  <a:pt x="943636" y="879192"/>
                </a:lnTo>
                <a:lnTo>
                  <a:pt x="912781" y="912781"/>
                </a:lnTo>
                <a:lnTo>
                  <a:pt x="879192" y="943636"/>
                </a:lnTo>
                <a:lnTo>
                  <a:pt x="843057" y="971568"/>
                </a:lnTo>
                <a:lnTo>
                  <a:pt x="804566" y="996388"/>
                </a:lnTo>
                <a:lnTo>
                  <a:pt x="763906" y="1017908"/>
                </a:lnTo>
                <a:lnTo>
                  <a:pt x="721267" y="1035938"/>
                </a:lnTo>
                <a:lnTo>
                  <a:pt x="676838" y="1050290"/>
                </a:lnTo>
                <a:lnTo>
                  <a:pt x="630807" y="1060775"/>
                </a:lnTo>
                <a:lnTo>
                  <a:pt x="583363" y="1067205"/>
                </a:lnTo>
                <a:lnTo>
                  <a:pt x="534695" y="1069390"/>
                </a:lnTo>
                <a:close/>
              </a:path>
            </a:pathLst>
          </a:custGeom>
          <a:solidFill>
            <a:srgbClr val="003793"/>
          </a:solidFill>
        </p:spPr>
        <p:txBody>
          <a:bodyPr wrap="square" lIns="0" tIns="0" rIns="0" bIns="0" rtlCol="0"/>
          <a:lstStyle/>
          <a:p>
            <a:endParaRPr/>
          </a:p>
        </p:txBody>
      </p:sp>
      <p:sp>
        <p:nvSpPr>
          <p:cNvPr id="38" name="object 38"/>
          <p:cNvSpPr txBox="1"/>
          <p:nvPr/>
        </p:nvSpPr>
        <p:spPr>
          <a:xfrm>
            <a:off x="1066391" y="8432073"/>
            <a:ext cx="583565" cy="506730"/>
          </a:xfrm>
          <a:prstGeom prst="rect">
            <a:avLst/>
          </a:prstGeom>
        </p:spPr>
        <p:txBody>
          <a:bodyPr vert="horz" wrap="square" lIns="0" tIns="13335" rIns="0" bIns="0" rtlCol="0">
            <a:spAutoFit/>
          </a:bodyPr>
          <a:lstStyle/>
          <a:p>
            <a:pPr marL="12700">
              <a:lnSpc>
                <a:spcPct val="100000"/>
              </a:lnSpc>
              <a:spcBef>
                <a:spcPts val="105"/>
              </a:spcBef>
            </a:pPr>
            <a:r>
              <a:rPr sz="3150" b="1" spc="400" dirty="0">
                <a:solidFill>
                  <a:srgbClr val="FFFFFF"/>
                </a:solidFill>
                <a:latin typeface="Arial"/>
                <a:cs typeface="Arial"/>
              </a:rPr>
              <a:t>04</a:t>
            </a:r>
            <a:endParaRPr sz="3150">
              <a:latin typeface="Arial"/>
              <a:cs typeface="Arial"/>
            </a:endParaRPr>
          </a:p>
        </p:txBody>
      </p:sp>
      <p:grpSp>
        <p:nvGrpSpPr>
          <p:cNvPr id="39" name="object 39"/>
          <p:cNvGrpSpPr/>
          <p:nvPr/>
        </p:nvGrpSpPr>
        <p:grpSpPr>
          <a:xfrm>
            <a:off x="8129527" y="6047648"/>
            <a:ext cx="1858010" cy="1858010"/>
            <a:chOff x="8129527" y="6047648"/>
            <a:chExt cx="1858010" cy="1858010"/>
          </a:xfrm>
        </p:grpSpPr>
        <p:sp>
          <p:nvSpPr>
            <p:cNvPr id="40" name="object 40"/>
            <p:cNvSpPr/>
            <p:nvPr/>
          </p:nvSpPr>
          <p:spPr>
            <a:xfrm>
              <a:off x="8129527" y="6047648"/>
              <a:ext cx="1858010" cy="1858010"/>
            </a:xfrm>
            <a:custGeom>
              <a:avLst/>
              <a:gdLst/>
              <a:ahLst/>
              <a:cxnLst/>
              <a:rect l="l" t="t" r="r" b="b"/>
              <a:pathLst>
                <a:path w="1858009" h="1858009">
                  <a:moveTo>
                    <a:pt x="928917" y="1857797"/>
                  </a:moveTo>
                  <a:lnTo>
                    <a:pt x="881097" y="1856589"/>
                  </a:lnTo>
                  <a:lnTo>
                    <a:pt x="833924" y="1853001"/>
                  </a:lnTo>
                  <a:lnTo>
                    <a:pt x="787436" y="1847094"/>
                  </a:lnTo>
                  <a:lnTo>
                    <a:pt x="741693" y="1838925"/>
                  </a:lnTo>
                  <a:lnTo>
                    <a:pt x="696752" y="1828553"/>
                  </a:lnTo>
                  <a:lnTo>
                    <a:pt x="652672" y="1816036"/>
                  </a:lnTo>
                  <a:lnTo>
                    <a:pt x="609512" y="1801432"/>
                  </a:lnTo>
                  <a:lnTo>
                    <a:pt x="567329" y="1784800"/>
                  </a:lnTo>
                  <a:lnTo>
                    <a:pt x="526182" y="1766198"/>
                  </a:lnTo>
                  <a:lnTo>
                    <a:pt x="486130" y="1745684"/>
                  </a:lnTo>
                  <a:lnTo>
                    <a:pt x="447230" y="1723317"/>
                  </a:lnTo>
                  <a:lnTo>
                    <a:pt x="409542" y="1699156"/>
                  </a:lnTo>
                  <a:lnTo>
                    <a:pt x="373123" y="1673258"/>
                  </a:lnTo>
                  <a:lnTo>
                    <a:pt x="338032" y="1645682"/>
                  </a:lnTo>
                  <a:lnTo>
                    <a:pt x="304328" y="1616486"/>
                  </a:lnTo>
                  <a:lnTo>
                    <a:pt x="272068" y="1585729"/>
                  </a:lnTo>
                  <a:lnTo>
                    <a:pt x="241311" y="1553469"/>
                  </a:lnTo>
                  <a:lnTo>
                    <a:pt x="212115" y="1519764"/>
                  </a:lnTo>
                  <a:lnTo>
                    <a:pt x="184539" y="1484673"/>
                  </a:lnTo>
                  <a:lnTo>
                    <a:pt x="158641" y="1448255"/>
                  </a:lnTo>
                  <a:lnTo>
                    <a:pt x="134479" y="1410566"/>
                  </a:lnTo>
                  <a:lnTo>
                    <a:pt x="112112" y="1371667"/>
                  </a:lnTo>
                  <a:lnTo>
                    <a:pt x="91599" y="1331614"/>
                  </a:lnTo>
                  <a:lnTo>
                    <a:pt x="72997" y="1290468"/>
                  </a:lnTo>
                  <a:lnTo>
                    <a:pt x="56365" y="1248285"/>
                  </a:lnTo>
                  <a:lnTo>
                    <a:pt x="41761" y="1205125"/>
                  </a:lnTo>
                  <a:lnTo>
                    <a:pt x="29244" y="1161045"/>
                  </a:lnTo>
                  <a:lnTo>
                    <a:pt x="18871" y="1116104"/>
                  </a:lnTo>
                  <a:lnTo>
                    <a:pt x="10702" y="1070361"/>
                  </a:lnTo>
                  <a:lnTo>
                    <a:pt x="4795" y="1023873"/>
                  </a:lnTo>
                  <a:lnTo>
                    <a:pt x="1208" y="976700"/>
                  </a:lnTo>
                  <a:lnTo>
                    <a:pt x="0" y="928902"/>
                  </a:lnTo>
                  <a:lnTo>
                    <a:pt x="1208" y="881098"/>
                  </a:lnTo>
                  <a:lnTo>
                    <a:pt x="4795" y="833924"/>
                  </a:lnTo>
                  <a:lnTo>
                    <a:pt x="10702" y="787436"/>
                  </a:lnTo>
                  <a:lnTo>
                    <a:pt x="18871" y="741693"/>
                  </a:lnTo>
                  <a:lnTo>
                    <a:pt x="29244" y="696752"/>
                  </a:lnTo>
                  <a:lnTo>
                    <a:pt x="41761" y="652672"/>
                  </a:lnTo>
                  <a:lnTo>
                    <a:pt x="56365" y="609512"/>
                  </a:lnTo>
                  <a:lnTo>
                    <a:pt x="72997" y="567329"/>
                  </a:lnTo>
                  <a:lnTo>
                    <a:pt x="91599" y="526183"/>
                  </a:lnTo>
                  <a:lnTo>
                    <a:pt x="112112" y="486130"/>
                  </a:lnTo>
                  <a:lnTo>
                    <a:pt x="134479" y="447231"/>
                  </a:lnTo>
                  <a:lnTo>
                    <a:pt x="158641" y="409542"/>
                  </a:lnTo>
                  <a:lnTo>
                    <a:pt x="184539" y="373124"/>
                  </a:lnTo>
                  <a:lnTo>
                    <a:pt x="212115" y="338033"/>
                  </a:lnTo>
                  <a:lnTo>
                    <a:pt x="241311" y="304328"/>
                  </a:lnTo>
                  <a:lnTo>
                    <a:pt x="272068" y="272068"/>
                  </a:lnTo>
                  <a:lnTo>
                    <a:pt x="304328" y="241311"/>
                  </a:lnTo>
                  <a:lnTo>
                    <a:pt x="338032" y="212115"/>
                  </a:lnTo>
                  <a:lnTo>
                    <a:pt x="373123" y="184539"/>
                  </a:lnTo>
                  <a:lnTo>
                    <a:pt x="409542" y="158641"/>
                  </a:lnTo>
                  <a:lnTo>
                    <a:pt x="447230" y="134479"/>
                  </a:lnTo>
                  <a:lnTo>
                    <a:pt x="486130" y="112113"/>
                  </a:lnTo>
                  <a:lnTo>
                    <a:pt x="526182" y="91599"/>
                  </a:lnTo>
                  <a:lnTo>
                    <a:pt x="567329" y="72997"/>
                  </a:lnTo>
                  <a:lnTo>
                    <a:pt x="609512" y="56365"/>
                  </a:lnTo>
                  <a:lnTo>
                    <a:pt x="652672" y="41761"/>
                  </a:lnTo>
                  <a:lnTo>
                    <a:pt x="696752" y="29244"/>
                  </a:lnTo>
                  <a:lnTo>
                    <a:pt x="741693" y="18871"/>
                  </a:lnTo>
                  <a:lnTo>
                    <a:pt x="787436" y="10703"/>
                  </a:lnTo>
                  <a:lnTo>
                    <a:pt x="833924" y="4795"/>
                  </a:lnTo>
                  <a:lnTo>
                    <a:pt x="881097" y="1208"/>
                  </a:lnTo>
                  <a:lnTo>
                    <a:pt x="928898" y="0"/>
                  </a:lnTo>
                  <a:lnTo>
                    <a:pt x="976699" y="1208"/>
                  </a:lnTo>
                  <a:lnTo>
                    <a:pt x="1023873" y="4795"/>
                  </a:lnTo>
                  <a:lnTo>
                    <a:pt x="1070360" y="10703"/>
                  </a:lnTo>
                  <a:lnTo>
                    <a:pt x="1116104" y="18871"/>
                  </a:lnTo>
                  <a:lnTo>
                    <a:pt x="1161044" y="29244"/>
                  </a:lnTo>
                  <a:lnTo>
                    <a:pt x="1205124" y="41761"/>
                  </a:lnTo>
                  <a:lnTo>
                    <a:pt x="1248285" y="56365"/>
                  </a:lnTo>
                  <a:lnTo>
                    <a:pt x="1290467" y="72997"/>
                  </a:lnTo>
                  <a:lnTo>
                    <a:pt x="1331614" y="91599"/>
                  </a:lnTo>
                  <a:lnTo>
                    <a:pt x="1371666" y="112113"/>
                  </a:lnTo>
                  <a:lnTo>
                    <a:pt x="1410566" y="134479"/>
                  </a:lnTo>
                  <a:lnTo>
                    <a:pt x="1448254" y="158641"/>
                  </a:lnTo>
                  <a:lnTo>
                    <a:pt x="1484673" y="184539"/>
                  </a:lnTo>
                  <a:lnTo>
                    <a:pt x="1519764" y="212115"/>
                  </a:lnTo>
                  <a:lnTo>
                    <a:pt x="1553469" y="241311"/>
                  </a:lnTo>
                  <a:lnTo>
                    <a:pt x="1585729" y="272068"/>
                  </a:lnTo>
                  <a:lnTo>
                    <a:pt x="1616486" y="304328"/>
                  </a:lnTo>
                  <a:lnTo>
                    <a:pt x="1645682" y="338033"/>
                  </a:lnTo>
                  <a:lnTo>
                    <a:pt x="1673258" y="373124"/>
                  </a:lnTo>
                  <a:lnTo>
                    <a:pt x="1699156" y="409542"/>
                  </a:lnTo>
                  <a:lnTo>
                    <a:pt x="1723317" y="447231"/>
                  </a:lnTo>
                  <a:lnTo>
                    <a:pt x="1745684" y="486130"/>
                  </a:lnTo>
                  <a:lnTo>
                    <a:pt x="1766197" y="526183"/>
                  </a:lnTo>
                  <a:lnTo>
                    <a:pt x="1784799" y="567329"/>
                  </a:lnTo>
                  <a:lnTo>
                    <a:pt x="1801432" y="609512"/>
                  </a:lnTo>
                  <a:lnTo>
                    <a:pt x="1816035" y="652672"/>
                  </a:lnTo>
                  <a:lnTo>
                    <a:pt x="1828553" y="696752"/>
                  </a:lnTo>
                  <a:lnTo>
                    <a:pt x="1838925" y="741693"/>
                  </a:lnTo>
                  <a:lnTo>
                    <a:pt x="1847094" y="787436"/>
                  </a:lnTo>
                  <a:lnTo>
                    <a:pt x="1853001" y="833924"/>
                  </a:lnTo>
                  <a:lnTo>
                    <a:pt x="1856588" y="881098"/>
                  </a:lnTo>
                  <a:lnTo>
                    <a:pt x="1857797" y="928895"/>
                  </a:lnTo>
                  <a:lnTo>
                    <a:pt x="1856588" y="976700"/>
                  </a:lnTo>
                  <a:lnTo>
                    <a:pt x="1853001" y="1023873"/>
                  </a:lnTo>
                  <a:lnTo>
                    <a:pt x="1847094" y="1070361"/>
                  </a:lnTo>
                  <a:lnTo>
                    <a:pt x="1838925" y="1116104"/>
                  </a:lnTo>
                  <a:lnTo>
                    <a:pt x="1828553" y="1161045"/>
                  </a:lnTo>
                  <a:lnTo>
                    <a:pt x="1816035" y="1205125"/>
                  </a:lnTo>
                  <a:lnTo>
                    <a:pt x="1801432" y="1248285"/>
                  </a:lnTo>
                  <a:lnTo>
                    <a:pt x="1784799" y="1290468"/>
                  </a:lnTo>
                  <a:lnTo>
                    <a:pt x="1766197" y="1331614"/>
                  </a:lnTo>
                  <a:lnTo>
                    <a:pt x="1745684" y="1371667"/>
                  </a:lnTo>
                  <a:lnTo>
                    <a:pt x="1723317" y="1410566"/>
                  </a:lnTo>
                  <a:lnTo>
                    <a:pt x="1699156" y="1448255"/>
                  </a:lnTo>
                  <a:lnTo>
                    <a:pt x="1673258" y="1484673"/>
                  </a:lnTo>
                  <a:lnTo>
                    <a:pt x="1645682" y="1519764"/>
                  </a:lnTo>
                  <a:lnTo>
                    <a:pt x="1616486" y="1553469"/>
                  </a:lnTo>
                  <a:lnTo>
                    <a:pt x="1585729" y="1585729"/>
                  </a:lnTo>
                  <a:lnTo>
                    <a:pt x="1553469" y="1616486"/>
                  </a:lnTo>
                  <a:lnTo>
                    <a:pt x="1519764" y="1645682"/>
                  </a:lnTo>
                  <a:lnTo>
                    <a:pt x="1484673" y="1673258"/>
                  </a:lnTo>
                  <a:lnTo>
                    <a:pt x="1448254" y="1699156"/>
                  </a:lnTo>
                  <a:lnTo>
                    <a:pt x="1410566" y="1723317"/>
                  </a:lnTo>
                  <a:lnTo>
                    <a:pt x="1371666" y="1745684"/>
                  </a:lnTo>
                  <a:lnTo>
                    <a:pt x="1331614" y="1766198"/>
                  </a:lnTo>
                  <a:lnTo>
                    <a:pt x="1290467" y="1784800"/>
                  </a:lnTo>
                  <a:lnTo>
                    <a:pt x="1248285" y="1801432"/>
                  </a:lnTo>
                  <a:lnTo>
                    <a:pt x="1205124" y="1816036"/>
                  </a:lnTo>
                  <a:lnTo>
                    <a:pt x="1161044" y="1828553"/>
                  </a:lnTo>
                  <a:lnTo>
                    <a:pt x="1116104" y="1838925"/>
                  </a:lnTo>
                  <a:lnTo>
                    <a:pt x="1070360" y="1847094"/>
                  </a:lnTo>
                  <a:lnTo>
                    <a:pt x="1023873" y="1853001"/>
                  </a:lnTo>
                  <a:lnTo>
                    <a:pt x="976699" y="1856589"/>
                  </a:lnTo>
                  <a:lnTo>
                    <a:pt x="928917" y="1857797"/>
                  </a:lnTo>
                  <a:close/>
                </a:path>
              </a:pathLst>
            </a:custGeom>
            <a:solidFill>
              <a:srgbClr val="0090AE"/>
            </a:solidFill>
          </p:spPr>
          <p:txBody>
            <a:bodyPr wrap="square" lIns="0" tIns="0" rIns="0" bIns="0" rtlCol="0"/>
            <a:lstStyle/>
            <a:p>
              <a:endParaRPr/>
            </a:p>
          </p:txBody>
        </p:sp>
        <p:sp>
          <p:nvSpPr>
            <p:cNvPr id="41" name="object 41"/>
            <p:cNvSpPr/>
            <p:nvPr/>
          </p:nvSpPr>
          <p:spPr>
            <a:xfrm>
              <a:off x="8514968" y="6507835"/>
              <a:ext cx="1089025" cy="935990"/>
            </a:xfrm>
            <a:custGeom>
              <a:avLst/>
              <a:gdLst/>
              <a:ahLst/>
              <a:cxnLst/>
              <a:rect l="l" t="t" r="r" b="b"/>
              <a:pathLst>
                <a:path w="1089025" h="935990">
                  <a:moveTo>
                    <a:pt x="485017" y="294639"/>
                  </a:moveTo>
                  <a:lnTo>
                    <a:pt x="459925" y="294639"/>
                  </a:lnTo>
                  <a:lnTo>
                    <a:pt x="435908" y="287019"/>
                  </a:lnTo>
                  <a:lnTo>
                    <a:pt x="412943" y="274319"/>
                  </a:lnTo>
                  <a:lnTo>
                    <a:pt x="401194" y="261619"/>
                  </a:lnTo>
                  <a:lnTo>
                    <a:pt x="396389" y="248919"/>
                  </a:lnTo>
                  <a:lnTo>
                    <a:pt x="398739" y="234949"/>
                  </a:lnTo>
                  <a:lnTo>
                    <a:pt x="408454" y="222249"/>
                  </a:lnTo>
                  <a:lnTo>
                    <a:pt x="421575" y="209549"/>
                  </a:lnTo>
                  <a:lnTo>
                    <a:pt x="435421" y="199389"/>
                  </a:lnTo>
                  <a:lnTo>
                    <a:pt x="449313" y="187959"/>
                  </a:lnTo>
                  <a:lnTo>
                    <a:pt x="480418" y="162559"/>
                  </a:lnTo>
                  <a:lnTo>
                    <a:pt x="520689" y="147319"/>
                  </a:lnTo>
                  <a:lnTo>
                    <a:pt x="562483" y="143509"/>
                  </a:lnTo>
                  <a:lnTo>
                    <a:pt x="582038" y="139699"/>
                  </a:lnTo>
                  <a:lnTo>
                    <a:pt x="621194" y="134619"/>
                  </a:lnTo>
                  <a:lnTo>
                    <a:pt x="620945" y="133349"/>
                  </a:lnTo>
                  <a:lnTo>
                    <a:pt x="620945" y="130809"/>
                  </a:lnTo>
                  <a:lnTo>
                    <a:pt x="601453" y="129539"/>
                  </a:lnTo>
                  <a:lnTo>
                    <a:pt x="581914" y="126999"/>
                  </a:lnTo>
                  <a:lnTo>
                    <a:pt x="542882" y="124459"/>
                  </a:lnTo>
                  <a:lnTo>
                    <a:pt x="710293" y="124459"/>
                  </a:lnTo>
                  <a:lnTo>
                    <a:pt x="718508" y="120649"/>
                  </a:lnTo>
                  <a:lnTo>
                    <a:pt x="725694" y="113029"/>
                  </a:lnTo>
                  <a:lnTo>
                    <a:pt x="746145" y="86359"/>
                  </a:lnTo>
                  <a:lnTo>
                    <a:pt x="766783" y="60959"/>
                  </a:lnTo>
                  <a:lnTo>
                    <a:pt x="787702" y="35559"/>
                  </a:lnTo>
                  <a:lnTo>
                    <a:pt x="808994" y="10159"/>
                  </a:lnTo>
                  <a:lnTo>
                    <a:pt x="817400" y="2539"/>
                  </a:lnTo>
                  <a:lnTo>
                    <a:pt x="825735" y="0"/>
                  </a:lnTo>
                  <a:lnTo>
                    <a:pt x="834492" y="1269"/>
                  </a:lnTo>
                  <a:lnTo>
                    <a:pt x="844160" y="7619"/>
                  </a:lnTo>
                  <a:lnTo>
                    <a:pt x="893735" y="50799"/>
                  </a:lnTo>
                  <a:lnTo>
                    <a:pt x="826453" y="50799"/>
                  </a:lnTo>
                  <a:lnTo>
                    <a:pt x="824956" y="52069"/>
                  </a:lnTo>
                  <a:lnTo>
                    <a:pt x="765349" y="123189"/>
                  </a:lnTo>
                  <a:lnTo>
                    <a:pt x="927060" y="256539"/>
                  </a:lnTo>
                  <a:lnTo>
                    <a:pt x="668830" y="256539"/>
                  </a:lnTo>
                  <a:lnTo>
                    <a:pt x="661847" y="257809"/>
                  </a:lnTo>
                  <a:lnTo>
                    <a:pt x="575639" y="269239"/>
                  </a:lnTo>
                  <a:lnTo>
                    <a:pt x="547122" y="274319"/>
                  </a:lnTo>
                  <a:lnTo>
                    <a:pt x="538038" y="276859"/>
                  </a:lnTo>
                  <a:lnTo>
                    <a:pt x="511208" y="288289"/>
                  </a:lnTo>
                  <a:lnTo>
                    <a:pt x="485017" y="294639"/>
                  </a:lnTo>
                  <a:close/>
                </a:path>
                <a:path w="1089025" h="935990">
                  <a:moveTo>
                    <a:pt x="154095" y="645159"/>
                  </a:moveTo>
                  <a:lnTo>
                    <a:pt x="108497" y="627379"/>
                  </a:lnTo>
                  <a:lnTo>
                    <a:pt x="97360" y="598169"/>
                  </a:lnTo>
                  <a:lnTo>
                    <a:pt x="99694" y="581659"/>
                  </a:lnTo>
                  <a:lnTo>
                    <a:pt x="122795" y="543559"/>
                  </a:lnTo>
                  <a:lnTo>
                    <a:pt x="141407" y="521969"/>
                  </a:lnTo>
                  <a:lnTo>
                    <a:pt x="150572" y="510539"/>
                  </a:lnTo>
                  <a:lnTo>
                    <a:pt x="153565" y="506729"/>
                  </a:lnTo>
                  <a:lnTo>
                    <a:pt x="155810" y="500379"/>
                  </a:lnTo>
                  <a:lnTo>
                    <a:pt x="152603" y="483869"/>
                  </a:lnTo>
                  <a:lnTo>
                    <a:pt x="149793" y="471169"/>
                  </a:lnTo>
                  <a:lnTo>
                    <a:pt x="146749" y="459739"/>
                  </a:lnTo>
                  <a:lnTo>
                    <a:pt x="143589" y="447039"/>
                  </a:lnTo>
                  <a:lnTo>
                    <a:pt x="142841" y="444499"/>
                  </a:lnTo>
                  <a:lnTo>
                    <a:pt x="139848" y="440689"/>
                  </a:lnTo>
                  <a:lnTo>
                    <a:pt x="136855" y="439419"/>
                  </a:lnTo>
                  <a:lnTo>
                    <a:pt x="128255" y="436879"/>
                  </a:lnTo>
                  <a:lnTo>
                    <a:pt x="119490" y="433069"/>
                  </a:lnTo>
                  <a:lnTo>
                    <a:pt x="110867" y="430529"/>
                  </a:lnTo>
                  <a:lnTo>
                    <a:pt x="102687" y="426719"/>
                  </a:lnTo>
                  <a:lnTo>
                    <a:pt x="86016" y="417829"/>
                  </a:lnTo>
                  <a:lnTo>
                    <a:pt x="30610" y="383539"/>
                  </a:lnTo>
                  <a:lnTo>
                    <a:pt x="24375" y="380999"/>
                  </a:lnTo>
                  <a:lnTo>
                    <a:pt x="17641" y="377189"/>
                  </a:lnTo>
                  <a:lnTo>
                    <a:pt x="7240" y="372109"/>
                  </a:lnTo>
                  <a:lnTo>
                    <a:pt x="1398" y="365759"/>
                  </a:lnTo>
                  <a:lnTo>
                    <a:pt x="0" y="356869"/>
                  </a:lnTo>
                  <a:lnTo>
                    <a:pt x="2926" y="346709"/>
                  </a:lnTo>
                  <a:lnTo>
                    <a:pt x="8904" y="332739"/>
                  </a:lnTo>
                  <a:lnTo>
                    <a:pt x="15209" y="317499"/>
                  </a:lnTo>
                  <a:lnTo>
                    <a:pt x="51400" y="245109"/>
                  </a:lnTo>
                  <a:lnTo>
                    <a:pt x="75203" y="201929"/>
                  </a:lnTo>
                  <a:lnTo>
                    <a:pt x="100083" y="158749"/>
                  </a:lnTo>
                  <a:lnTo>
                    <a:pt x="126101" y="115569"/>
                  </a:lnTo>
                  <a:lnTo>
                    <a:pt x="153316" y="73659"/>
                  </a:lnTo>
                  <a:lnTo>
                    <a:pt x="172605" y="49529"/>
                  </a:lnTo>
                  <a:lnTo>
                    <a:pt x="179752" y="40639"/>
                  </a:lnTo>
                  <a:lnTo>
                    <a:pt x="190999" y="31749"/>
                  </a:lnTo>
                  <a:lnTo>
                    <a:pt x="202011" y="27939"/>
                  </a:lnTo>
                  <a:lnTo>
                    <a:pt x="213492" y="29209"/>
                  </a:lnTo>
                  <a:lnTo>
                    <a:pt x="226141" y="36829"/>
                  </a:lnTo>
                  <a:lnTo>
                    <a:pt x="244141" y="50799"/>
                  </a:lnTo>
                  <a:lnTo>
                    <a:pt x="261837" y="66039"/>
                  </a:lnTo>
                  <a:lnTo>
                    <a:pt x="264732" y="68579"/>
                  </a:lnTo>
                  <a:lnTo>
                    <a:pt x="207436" y="68579"/>
                  </a:lnTo>
                  <a:lnTo>
                    <a:pt x="175664" y="113029"/>
                  </a:lnTo>
                  <a:lnTo>
                    <a:pt x="146379" y="158749"/>
                  </a:lnTo>
                  <a:lnTo>
                    <a:pt x="119116" y="204469"/>
                  </a:lnTo>
                  <a:lnTo>
                    <a:pt x="93413" y="251459"/>
                  </a:lnTo>
                  <a:lnTo>
                    <a:pt x="44826" y="346709"/>
                  </a:lnTo>
                  <a:lnTo>
                    <a:pt x="66757" y="359409"/>
                  </a:lnTo>
                  <a:lnTo>
                    <a:pt x="130869" y="397509"/>
                  </a:lnTo>
                  <a:lnTo>
                    <a:pt x="175313" y="397509"/>
                  </a:lnTo>
                  <a:lnTo>
                    <a:pt x="174016" y="400049"/>
                  </a:lnTo>
                  <a:lnTo>
                    <a:pt x="174764" y="405129"/>
                  </a:lnTo>
                  <a:lnTo>
                    <a:pt x="177823" y="420369"/>
                  </a:lnTo>
                  <a:lnTo>
                    <a:pt x="181280" y="436879"/>
                  </a:lnTo>
                  <a:lnTo>
                    <a:pt x="184970" y="454659"/>
                  </a:lnTo>
                  <a:lnTo>
                    <a:pt x="188731" y="471169"/>
                  </a:lnTo>
                  <a:lnTo>
                    <a:pt x="286396" y="471169"/>
                  </a:lnTo>
                  <a:lnTo>
                    <a:pt x="292128" y="483869"/>
                  </a:lnTo>
                  <a:lnTo>
                    <a:pt x="281010" y="525779"/>
                  </a:lnTo>
                  <a:lnTo>
                    <a:pt x="232563" y="577849"/>
                  </a:lnTo>
                  <a:lnTo>
                    <a:pt x="208200" y="604519"/>
                  </a:lnTo>
                  <a:lnTo>
                    <a:pt x="183743" y="629919"/>
                  </a:lnTo>
                  <a:lnTo>
                    <a:pt x="170170" y="640079"/>
                  </a:lnTo>
                  <a:lnTo>
                    <a:pt x="154095" y="645159"/>
                  </a:lnTo>
                  <a:close/>
                </a:path>
                <a:path w="1089025" h="935990">
                  <a:moveTo>
                    <a:pt x="1029837" y="297179"/>
                  </a:moveTo>
                  <a:lnTo>
                    <a:pt x="976343" y="297179"/>
                  </a:lnTo>
                  <a:lnTo>
                    <a:pt x="992496" y="279399"/>
                  </a:lnTo>
                  <a:lnTo>
                    <a:pt x="1008485" y="262889"/>
                  </a:lnTo>
                  <a:lnTo>
                    <a:pt x="1040440" y="227329"/>
                  </a:lnTo>
                  <a:lnTo>
                    <a:pt x="1028406" y="218439"/>
                  </a:lnTo>
                  <a:lnTo>
                    <a:pt x="1022833" y="213359"/>
                  </a:lnTo>
                  <a:lnTo>
                    <a:pt x="1017495" y="208279"/>
                  </a:lnTo>
                  <a:lnTo>
                    <a:pt x="971262" y="167639"/>
                  </a:lnTo>
                  <a:lnTo>
                    <a:pt x="924468" y="125729"/>
                  </a:lnTo>
                  <a:lnTo>
                    <a:pt x="853832" y="68579"/>
                  </a:lnTo>
                  <a:lnTo>
                    <a:pt x="836429" y="54609"/>
                  </a:lnTo>
                  <a:lnTo>
                    <a:pt x="833685" y="52069"/>
                  </a:lnTo>
                  <a:lnTo>
                    <a:pt x="826453" y="50799"/>
                  </a:lnTo>
                  <a:lnTo>
                    <a:pt x="893735" y="50799"/>
                  </a:lnTo>
                  <a:lnTo>
                    <a:pt x="922897" y="76199"/>
                  </a:lnTo>
                  <a:lnTo>
                    <a:pt x="1080095" y="210819"/>
                  </a:lnTo>
                  <a:lnTo>
                    <a:pt x="1086353" y="218439"/>
                  </a:lnTo>
                  <a:lnTo>
                    <a:pt x="1088637" y="226059"/>
                  </a:lnTo>
                  <a:lnTo>
                    <a:pt x="1086899" y="233679"/>
                  </a:lnTo>
                  <a:lnTo>
                    <a:pt x="1081092" y="242569"/>
                  </a:lnTo>
                  <a:lnTo>
                    <a:pt x="1034657" y="292099"/>
                  </a:lnTo>
                  <a:lnTo>
                    <a:pt x="1029837" y="297179"/>
                  </a:lnTo>
                  <a:close/>
                </a:path>
                <a:path w="1089025" h="935990">
                  <a:moveTo>
                    <a:pt x="175313" y="397509"/>
                  </a:moveTo>
                  <a:lnTo>
                    <a:pt x="130869" y="397509"/>
                  </a:lnTo>
                  <a:lnTo>
                    <a:pt x="210078" y="253999"/>
                  </a:lnTo>
                  <a:lnTo>
                    <a:pt x="236233" y="205739"/>
                  </a:lnTo>
                  <a:lnTo>
                    <a:pt x="262304" y="158749"/>
                  </a:lnTo>
                  <a:lnTo>
                    <a:pt x="266318" y="152399"/>
                  </a:lnTo>
                  <a:lnTo>
                    <a:pt x="270659" y="146049"/>
                  </a:lnTo>
                  <a:lnTo>
                    <a:pt x="273878" y="139699"/>
                  </a:lnTo>
                  <a:lnTo>
                    <a:pt x="274525" y="133349"/>
                  </a:lnTo>
                  <a:lnTo>
                    <a:pt x="271793" y="128269"/>
                  </a:lnTo>
                  <a:lnTo>
                    <a:pt x="266700" y="123189"/>
                  </a:lnTo>
                  <a:lnTo>
                    <a:pt x="260531" y="118109"/>
                  </a:lnTo>
                  <a:lnTo>
                    <a:pt x="254573" y="113029"/>
                  </a:lnTo>
                  <a:lnTo>
                    <a:pt x="243560" y="101599"/>
                  </a:lnTo>
                  <a:lnTo>
                    <a:pt x="232127" y="91439"/>
                  </a:lnTo>
                  <a:lnTo>
                    <a:pt x="220132" y="80009"/>
                  </a:lnTo>
                  <a:lnTo>
                    <a:pt x="207436" y="68579"/>
                  </a:lnTo>
                  <a:lnTo>
                    <a:pt x="264732" y="68580"/>
                  </a:lnTo>
                  <a:lnTo>
                    <a:pt x="279205" y="81279"/>
                  </a:lnTo>
                  <a:lnTo>
                    <a:pt x="296223" y="96519"/>
                  </a:lnTo>
                  <a:lnTo>
                    <a:pt x="304266" y="102869"/>
                  </a:lnTo>
                  <a:lnTo>
                    <a:pt x="312497" y="107949"/>
                  </a:lnTo>
                  <a:lnTo>
                    <a:pt x="321756" y="109219"/>
                  </a:lnTo>
                  <a:lnTo>
                    <a:pt x="666864" y="109219"/>
                  </a:lnTo>
                  <a:lnTo>
                    <a:pt x="692274" y="121919"/>
                  </a:lnTo>
                  <a:lnTo>
                    <a:pt x="701424" y="124459"/>
                  </a:lnTo>
                  <a:lnTo>
                    <a:pt x="542882" y="124459"/>
                  </a:lnTo>
                  <a:lnTo>
                    <a:pt x="492253" y="125729"/>
                  </a:lnTo>
                  <a:lnTo>
                    <a:pt x="441999" y="130809"/>
                  </a:lnTo>
                  <a:lnTo>
                    <a:pt x="391931" y="137159"/>
                  </a:lnTo>
                  <a:lnTo>
                    <a:pt x="341864" y="146049"/>
                  </a:lnTo>
                  <a:lnTo>
                    <a:pt x="304091" y="166369"/>
                  </a:lnTo>
                  <a:lnTo>
                    <a:pt x="273224" y="222249"/>
                  </a:lnTo>
                  <a:lnTo>
                    <a:pt x="250162" y="264159"/>
                  </a:lnTo>
                  <a:lnTo>
                    <a:pt x="226752" y="306069"/>
                  </a:lnTo>
                  <a:lnTo>
                    <a:pt x="203210" y="347979"/>
                  </a:lnTo>
                  <a:lnTo>
                    <a:pt x="179752" y="388619"/>
                  </a:lnTo>
                  <a:lnTo>
                    <a:pt x="177258" y="393699"/>
                  </a:lnTo>
                  <a:lnTo>
                    <a:pt x="175313" y="397509"/>
                  </a:lnTo>
                  <a:close/>
                </a:path>
                <a:path w="1089025" h="935990">
                  <a:moveTo>
                    <a:pt x="666864" y="109219"/>
                  </a:moveTo>
                  <a:lnTo>
                    <a:pt x="321756" y="109219"/>
                  </a:lnTo>
                  <a:lnTo>
                    <a:pt x="332885" y="107949"/>
                  </a:lnTo>
                  <a:lnTo>
                    <a:pt x="382033" y="99059"/>
                  </a:lnTo>
                  <a:lnTo>
                    <a:pt x="431462" y="91439"/>
                  </a:lnTo>
                  <a:lnTo>
                    <a:pt x="481171" y="86359"/>
                  </a:lnTo>
                  <a:lnTo>
                    <a:pt x="531160" y="83819"/>
                  </a:lnTo>
                  <a:lnTo>
                    <a:pt x="573064" y="85089"/>
                  </a:lnTo>
                  <a:lnTo>
                    <a:pt x="614242" y="91439"/>
                  </a:lnTo>
                  <a:lnTo>
                    <a:pt x="654158" y="102869"/>
                  </a:lnTo>
                  <a:lnTo>
                    <a:pt x="666864" y="109219"/>
                  </a:lnTo>
                  <a:close/>
                </a:path>
                <a:path w="1089025" h="935990">
                  <a:moveTo>
                    <a:pt x="980707" y="582929"/>
                  </a:moveTo>
                  <a:lnTo>
                    <a:pt x="913396" y="582929"/>
                  </a:lnTo>
                  <a:lnTo>
                    <a:pt x="922722" y="577849"/>
                  </a:lnTo>
                  <a:lnTo>
                    <a:pt x="930835" y="572769"/>
                  </a:lnTo>
                  <a:lnTo>
                    <a:pt x="962657" y="538479"/>
                  </a:lnTo>
                  <a:lnTo>
                    <a:pt x="964808" y="523239"/>
                  </a:lnTo>
                  <a:lnTo>
                    <a:pt x="959384" y="507999"/>
                  </a:lnTo>
                  <a:lnTo>
                    <a:pt x="946664" y="492759"/>
                  </a:lnTo>
                  <a:lnTo>
                    <a:pt x="833870" y="394969"/>
                  </a:lnTo>
                  <a:lnTo>
                    <a:pt x="720998" y="295909"/>
                  </a:lnTo>
                  <a:lnTo>
                    <a:pt x="683295" y="264159"/>
                  </a:lnTo>
                  <a:lnTo>
                    <a:pt x="678058" y="259079"/>
                  </a:lnTo>
                  <a:lnTo>
                    <a:pt x="668830" y="256539"/>
                  </a:lnTo>
                  <a:lnTo>
                    <a:pt x="927060" y="256539"/>
                  </a:lnTo>
                  <a:lnTo>
                    <a:pt x="976343" y="297179"/>
                  </a:lnTo>
                  <a:lnTo>
                    <a:pt x="1029837" y="297179"/>
                  </a:lnTo>
                  <a:lnTo>
                    <a:pt x="1001174" y="334009"/>
                  </a:lnTo>
                  <a:lnTo>
                    <a:pt x="992855" y="373379"/>
                  </a:lnTo>
                  <a:lnTo>
                    <a:pt x="984542" y="400049"/>
                  </a:lnTo>
                  <a:lnTo>
                    <a:pt x="972443" y="426719"/>
                  </a:lnTo>
                  <a:lnTo>
                    <a:pt x="955643" y="452119"/>
                  </a:lnTo>
                  <a:lnTo>
                    <a:pt x="960974" y="455929"/>
                  </a:lnTo>
                  <a:lnTo>
                    <a:pt x="965931" y="461009"/>
                  </a:lnTo>
                  <a:lnTo>
                    <a:pt x="970794" y="464819"/>
                  </a:lnTo>
                  <a:lnTo>
                    <a:pt x="975845" y="467359"/>
                  </a:lnTo>
                  <a:lnTo>
                    <a:pt x="992835" y="482599"/>
                  </a:lnTo>
                  <a:lnTo>
                    <a:pt x="1001969" y="500379"/>
                  </a:lnTo>
                  <a:lnTo>
                    <a:pt x="1004463" y="519429"/>
                  </a:lnTo>
                  <a:lnTo>
                    <a:pt x="1001533" y="541019"/>
                  </a:lnTo>
                  <a:lnTo>
                    <a:pt x="991222" y="568959"/>
                  </a:lnTo>
                  <a:lnTo>
                    <a:pt x="980707" y="582929"/>
                  </a:lnTo>
                  <a:close/>
                </a:path>
                <a:path w="1089025" h="935990">
                  <a:moveTo>
                    <a:pt x="286396" y="471169"/>
                  </a:moveTo>
                  <a:lnTo>
                    <a:pt x="188731" y="471169"/>
                  </a:lnTo>
                  <a:lnTo>
                    <a:pt x="195215" y="466089"/>
                  </a:lnTo>
                  <a:lnTo>
                    <a:pt x="200203" y="462279"/>
                  </a:lnTo>
                  <a:lnTo>
                    <a:pt x="205191" y="459739"/>
                  </a:lnTo>
                  <a:lnTo>
                    <a:pt x="227030" y="448309"/>
                  </a:lnTo>
                  <a:lnTo>
                    <a:pt x="249149" y="447039"/>
                  </a:lnTo>
                  <a:lnTo>
                    <a:pt x="269303" y="453389"/>
                  </a:lnTo>
                  <a:lnTo>
                    <a:pt x="285249" y="468629"/>
                  </a:lnTo>
                  <a:lnTo>
                    <a:pt x="286396" y="471169"/>
                  </a:lnTo>
                  <a:close/>
                </a:path>
                <a:path w="1089025" h="935990">
                  <a:moveTo>
                    <a:pt x="888159" y="699769"/>
                  </a:moveTo>
                  <a:lnTo>
                    <a:pt x="829726" y="699769"/>
                  </a:lnTo>
                  <a:lnTo>
                    <a:pt x="839838" y="695959"/>
                  </a:lnTo>
                  <a:lnTo>
                    <a:pt x="851143" y="683259"/>
                  </a:lnTo>
                  <a:lnTo>
                    <a:pt x="860819" y="670559"/>
                  </a:lnTo>
                  <a:lnTo>
                    <a:pt x="868508" y="656589"/>
                  </a:lnTo>
                  <a:lnTo>
                    <a:pt x="873625" y="641349"/>
                  </a:lnTo>
                  <a:lnTo>
                    <a:pt x="875585" y="626109"/>
                  </a:lnTo>
                  <a:lnTo>
                    <a:pt x="875585" y="619759"/>
                  </a:lnTo>
                  <a:lnTo>
                    <a:pt x="872343" y="612139"/>
                  </a:lnTo>
                  <a:lnTo>
                    <a:pt x="867853" y="608329"/>
                  </a:lnTo>
                  <a:lnTo>
                    <a:pt x="841588" y="585469"/>
                  </a:lnTo>
                  <a:lnTo>
                    <a:pt x="788871" y="542289"/>
                  </a:lnTo>
                  <a:lnTo>
                    <a:pt x="762605" y="519429"/>
                  </a:lnTo>
                  <a:lnTo>
                    <a:pt x="757516" y="514349"/>
                  </a:lnTo>
                  <a:lnTo>
                    <a:pt x="752754" y="510539"/>
                  </a:lnTo>
                  <a:lnTo>
                    <a:pt x="748366" y="504189"/>
                  </a:lnTo>
                  <a:lnTo>
                    <a:pt x="744399" y="499109"/>
                  </a:lnTo>
                  <a:lnTo>
                    <a:pt x="739411" y="491489"/>
                  </a:lnTo>
                  <a:lnTo>
                    <a:pt x="740658" y="482599"/>
                  </a:lnTo>
                  <a:lnTo>
                    <a:pt x="747891" y="477519"/>
                  </a:lnTo>
                  <a:lnTo>
                    <a:pt x="753378" y="474979"/>
                  </a:lnTo>
                  <a:lnTo>
                    <a:pt x="762605" y="472439"/>
                  </a:lnTo>
                  <a:lnTo>
                    <a:pt x="768591" y="474979"/>
                  </a:lnTo>
                  <a:lnTo>
                    <a:pt x="774920" y="477519"/>
                  </a:lnTo>
                  <a:lnTo>
                    <a:pt x="780874" y="481329"/>
                  </a:lnTo>
                  <a:lnTo>
                    <a:pt x="786548" y="486409"/>
                  </a:lnTo>
                  <a:lnTo>
                    <a:pt x="792035" y="490219"/>
                  </a:lnTo>
                  <a:lnTo>
                    <a:pt x="815966" y="511809"/>
                  </a:lnTo>
                  <a:lnTo>
                    <a:pt x="863547" y="552449"/>
                  </a:lnTo>
                  <a:lnTo>
                    <a:pt x="887057" y="572769"/>
                  </a:lnTo>
                  <a:lnTo>
                    <a:pt x="895681" y="579119"/>
                  </a:lnTo>
                  <a:lnTo>
                    <a:pt x="904422" y="582929"/>
                  </a:lnTo>
                  <a:lnTo>
                    <a:pt x="980707" y="582929"/>
                  </a:lnTo>
                  <a:lnTo>
                    <a:pt x="974972" y="590549"/>
                  </a:lnTo>
                  <a:lnTo>
                    <a:pt x="952923" y="608329"/>
                  </a:lnTo>
                  <a:lnTo>
                    <a:pt x="925216" y="618489"/>
                  </a:lnTo>
                  <a:lnTo>
                    <a:pt x="917734" y="621029"/>
                  </a:lnTo>
                  <a:lnTo>
                    <a:pt x="915240" y="623569"/>
                  </a:lnTo>
                  <a:lnTo>
                    <a:pt x="913993" y="632459"/>
                  </a:lnTo>
                  <a:lnTo>
                    <a:pt x="906515" y="664209"/>
                  </a:lnTo>
                  <a:lnTo>
                    <a:pt x="893261" y="693419"/>
                  </a:lnTo>
                  <a:lnTo>
                    <a:pt x="888159" y="699769"/>
                  </a:lnTo>
                  <a:close/>
                </a:path>
                <a:path w="1089025" h="935990">
                  <a:moveTo>
                    <a:pt x="820539" y="807719"/>
                  </a:moveTo>
                  <a:lnTo>
                    <a:pt x="742607" y="807719"/>
                  </a:lnTo>
                  <a:lnTo>
                    <a:pt x="764102" y="805179"/>
                  </a:lnTo>
                  <a:lnTo>
                    <a:pt x="782230" y="793749"/>
                  </a:lnTo>
                  <a:lnTo>
                    <a:pt x="793531" y="773429"/>
                  </a:lnTo>
                  <a:lnTo>
                    <a:pt x="794280" y="769619"/>
                  </a:lnTo>
                  <a:lnTo>
                    <a:pt x="795028" y="767079"/>
                  </a:lnTo>
                  <a:lnTo>
                    <a:pt x="795527" y="764539"/>
                  </a:lnTo>
                  <a:lnTo>
                    <a:pt x="797269" y="750569"/>
                  </a:lnTo>
                  <a:lnTo>
                    <a:pt x="795620" y="737869"/>
                  </a:lnTo>
                  <a:lnTo>
                    <a:pt x="789810" y="726439"/>
                  </a:lnTo>
                  <a:lnTo>
                    <a:pt x="779066" y="716279"/>
                  </a:lnTo>
                  <a:lnTo>
                    <a:pt x="749621" y="694689"/>
                  </a:lnTo>
                  <a:lnTo>
                    <a:pt x="663343" y="626109"/>
                  </a:lnTo>
                  <a:lnTo>
                    <a:pt x="657857" y="621029"/>
                  </a:lnTo>
                  <a:lnTo>
                    <a:pt x="651621" y="615949"/>
                  </a:lnTo>
                  <a:lnTo>
                    <a:pt x="648130" y="603249"/>
                  </a:lnTo>
                  <a:lnTo>
                    <a:pt x="649128" y="593089"/>
                  </a:lnTo>
                  <a:lnTo>
                    <a:pt x="657358" y="585469"/>
                  </a:lnTo>
                  <a:lnTo>
                    <a:pt x="678058" y="585469"/>
                  </a:lnTo>
                  <a:lnTo>
                    <a:pt x="682049" y="589279"/>
                  </a:lnTo>
                  <a:lnTo>
                    <a:pt x="715718" y="617219"/>
                  </a:lnTo>
                  <a:lnTo>
                    <a:pt x="775574" y="664209"/>
                  </a:lnTo>
                  <a:lnTo>
                    <a:pt x="805503" y="688339"/>
                  </a:lnTo>
                  <a:lnTo>
                    <a:pt x="818912" y="697229"/>
                  </a:lnTo>
                  <a:lnTo>
                    <a:pt x="829726" y="699769"/>
                  </a:lnTo>
                  <a:lnTo>
                    <a:pt x="888159" y="699769"/>
                  </a:lnTo>
                  <a:lnTo>
                    <a:pt x="872853" y="718819"/>
                  </a:lnTo>
                  <a:lnTo>
                    <a:pt x="839920" y="739139"/>
                  </a:lnTo>
                  <a:lnTo>
                    <a:pt x="834410" y="769619"/>
                  </a:lnTo>
                  <a:lnTo>
                    <a:pt x="830131" y="787399"/>
                  </a:lnTo>
                  <a:lnTo>
                    <a:pt x="823140" y="803909"/>
                  </a:lnTo>
                  <a:lnTo>
                    <a:pt x="820539" y="807719"/>
                  </a:lnTo>
                  <a:close/>
                </a:path>
                <a:path w="1089025" h="935990">
                  <a:moveTo>
                    <a:pt x="392118" y="864869"/>
                  </a:moveTo>
                  <a:lnTo>
                    <a:pt x="370397" y="855979"/>
                  </a:lnTo>
                  <a:lnTo>
                    <a:pt x="354334" y="835659"/>
                  </a:lnTo>
                  <a:lnTo>
                    <a:pt x="350242" y="824229"/>
                  </a:lnTo>
                  <a:lnTo>
                    <a:pt x="349471" y="812799"/>
                  </a:lnTo>
                  <a:lnTo>
                    <a:pt x="352440" y="802639"/>
                  </a:lnTo>
                  <a:lnTo>
                    <a:pt x="359571" y="791209"/>
                  </a:lnTo>
                  <a:lnTo>
                    <a:pt x="382778" y="765809"/>
                  </a:lnTo>
                  <a:lnTo>
                    <a:pt x="405867" y="739139"/>
                  </a:lnTo>
                  <a:lnTo>
                    <a:pt x="428629" y="712469"/>
                  </a:lnTo>
                  <a:lnTo>
                    <a:pt x="450853" y="685799"/>
                  </a:lnTo>
                  <a:lnTo>
                    <a:pt x="466904" y="673099"/>
                  </a:lnTo>
                  <a:lnTo>
                    <a:pt x="485177" y="668019"/>
                  </a:lnTo>
                  <a:lnTo>
                    <a:pt x="502935" y="670559"/>
                  </a:lnTo>
                  <a:lnTo>
                    <a:pt x="517443" y="676909"/>
                  </a:lnTo>
                  <a:lnTo>
                    <a:pt x="530050" y="690879"/>
                  </a:lnTo>
                  <a:lnTo>
                    <a:pt x="536741" y="708659"/>
                  </a:lnTo>
                  <a:lnTo>
                    <a:pt x="536838" y="727709"/>
                  </a:lnTo>
                  <a:lnTo>
                    <a:pt x="529664" y="744219"/>
                  </a:lnTo>
                  <a:lnTo>
                    <a:pt x="522852" y="753109"/>
                  </a:lnTo>
                  <a:lnTo>
                    <a:pt x="515386" y="761999"/>
                  </a:lnTo>
                  <a:lnTo>
                    <a:pt x="507638" y="770889"/>
                  </a:lnTo>
                  <a:lnTo>
                    <a:pt x="499985" y="778509"/>
                  </a:lnTo>
                  <a:lnTo>
                    <a:pt x="496992" y="782319"/>
                  </a:lnTo>
                  <a:lnTo>
                    <a:pt x="493750" y="786129"/>
                  </a:lnTo>
                  <a:lnTo>
                    <a:pt x="489759" y="789939"/>
                  </a:lnTo>
                  <a:lnTo>
                    <a:pt x="499283" y="797559"/>
                  </a:lnTo>
                  <a:lnTo>
                    <a:pt x="517677" y="812799"/>
                  </a:lnTo>
                  <a:lnTo>
                    <a:pt x="526920" y="819149"/>
                  </a:lnTo>
                  <a:lnTo>
                    <a:pt x="530427" y="821689"/>
                  </a:lnTo>
                  <a:lnTo>
                    <a:pt x="463822" y="821689"/>
                  </a:lnTo>
                  <a:lnTo>
                    <a:pt x="457306" y="828039"/>
                  </a:lnTo>
                  <a:lnTo>
                    <a:pt x="450790" y="835659"/>
                  </a:lnTo>
                  <a:lnTo>
                    <a:pt x="444181" y="843279"/>
                  </a:lnTo>
                  <a:lnTo>
                    <a:pt x="437385" y="849629"/>
                  </a:lnTo>
                  <a:lnTo>
                    <a:pt x="415710" y="863599"/>
                  </a:lnTo>
                  <a:lnTo>
                    <a:pt x="392118" y="864869"/>
                  </a:lnTo>
                  <a:close/>
                </a:path>
                <a:path w="1089025" h="935990">
                  <a:moveTo>
                    <a:pt x="721051" y="896619"/>
                  </a:moveTo>
                  <a:lnTo>
                    <a:pt x="649739" y="896619"/>
                  </a:lnTo>
                  <a:lnTo>
                    <a:pt x="658355" y="894079"/>
                  </a:lnTo>
                  <a:lnTo>
                    <a:pt x="674040" y="886459"/>
                  </a:lnTo>
                  <a:lnTo>
                    <a:pt x="687691" y="877569"/>
                  </a:lnTo>
                  <a:lnTo>
                    <a:pt x="698583" y="864869"/>
                  </a:lnTo>
                  <a:lnTo>
                    <a:pt x="705991" y="848359"/>
                  </a:lnTo>
                  <a:lnTo>
                    <a:pt x="707986" y="842009"/>
                  </a:lnTo>
                  <a:lnTo>
                    <a:pt x="706989" y="836929"/>
                  </a:lnTo>
                  <a:lnTo>
                    <a:pt x="701502" y="831849"/>
                  </a:lnTo>
                  <a:lnTo>
                    <a:pt x="607123" y="755649"/>
                  </a:lnTo>
                  <a:lnTo>
                    <a:pt x="575554" y="731519"/>
                  </a:lnTo>
                  <a:lnTo>
                    <a:pt x="568937" y="725169"/>
                  </a:lnTo>
                  <a:lnTo>
                    <a:pt x="563208" y="720089"/>
                  </a:lnTo>
                  <a:lnTo>
                    <a:pt x="559350" y="713739"/>
                  </a:lnTo>
                  <a:lnTo>
                    <a:pt x="558345" y="704849"/>
                  </a:lnTo>
                  <a:lnTo>
                    <a:pt x="560262" y="697229"/>
                  </a:lnTo>
                  <a:lnTo>
                    <a:pt x="564331" y="690879"/>
                  </a:lnTo>
                  <a:lnTo>
                    <a:pt x="570270" y="688339"/>
                  </a:lnTo>
                  <a:lnTo>
                    <a:pt x="577798" y="689609"/>
                  </a:lnTo>
                  <a:lnTo>
                    <a:pt x="592295" y="694689"/>
                  </a:lnTo>
                  <a:lnTo>
                    <a:pt x="599157" y="698499"/>
                  </a:lnTo>
                  <a:lnTo>
                    <a:pt x="605482" y="702309"/>
                  </a:lnTo>
                  <a:lnTo>
                    <a:pt x="711229" y="788669"/>
                  </a:lnTo>
                  <a:lnTo>
                    <a:pt x="714720" y="791209"/>
                  </a:lnTo>
                  <a:lnTo>
                    <a:pt x="717713" y="795019"/>
                  </a:lnTo>
                  <a:lnTo>
                    <a:pt x="721205" y="797559"/>
                  </a:lnTo>
                  <a:lnTo>
                    <a:pt x="742607" y="807719"/>
                  </a:lnTo>
                  <a:lnTo>
                    <a:pt x="820539" y="807719"/>
                  </a:lnTo>
                  <a:lnTo>
                    <a:pt x="812735" y="819149"/>
                  </a:lnTo>
                  <a:lnTo>
                    <a:pt x="801286" y="830579"/>
                  </a:lnTo>
                  <a:lnTo>
                    <a:pt x="788294" y="839469"/>
                  </a:lnTo>
                  <a:lnTo>
                    <a:pt x="773805" y="844549"/>
                  </a:lnTo>
                  <a:lnTo>
                    <a:pt x="757867" y="847089"/>
                  </a:lnTo>
                  <a:lnTo>
                    <a:pt x="747143" y="847089"/>
                  </a:lnTo>
                  <a:lnTo>
                    <a:pt x="743900" y="852169"/>
                  </a:lnTo>
                  <a:lnTo>
                    <a:pt x="741406" y="861059"/>
                  </a:lnTo>
                  <a:lnTo>
                    <a:pt x="727264" y="890269"/>
                  </a:lnTo>
                  <a:lnTo>
                    <a:pt x="721051" y="896619"/>
                  </a:lnTo>
                  <a:close/>
                </a:path>
                <a:path w="1089025" h="935990">
                  <a:moveTo>
                    <a:pt x="642144" y="935989"/>
                  </a:moveTo>
                  <a:lnTo>
                    <a:pt x="567631" y="897889"/>
                  </a:lnTo>
                  <a:lnTo>
                    <a:pt x="534371" y="872489"/>
                  </a:lnTo>
                  <a:lnTo>
                    <a:pt x="467064" y="822959"/>
                  </a:lnTo>
                  <a:lnTo>
                    <a:pt x="466066" y="822959"/>
                  </a:lnTo>
                  <a:lnTo>
                    <a:pt x="463822" y="821689"/>
                  </a:lnTo>
                  <a:lnTo>
                    <a:pt x="530427" y="821689"/>
                  </a:lnTo>
                  <a:lnTo>
                    <a:pt x="625434" y="890269"/>
                  </a:lnTo>
                  <a:lnTo>
                    <a:pt x="633349" y="894079"/>
                  </a:lnTo>
                  <a:lnTo>
                    <a:pt x="641427" y="896619"/>
                  </a:lnTo>
                  <a:lnTo>
                    <a:pt x="721051" y="896619"/>
                  </a:lnTo>
                  <a:lnTo>
                    <a:pt x="703653" y="914399"/>
                  </a:lnTo>
                  <a:lnTo>
                    <a:pt x="674103" y="930909"/>
                  </a:lnTo>
                  <a:lnTo>
                    <a:pt x="642144" y="935989"/>
                  </a:lnTo>
                  <a:close/>
                </a:path>
              </a:pathLst>
            </a:custGeom>
            <a:solidFill>
              <a:srgbClr val="FFFFFF"/>
            </a:solidFill>
          </p:spPr>
          <p:txBody>
            <a:bodyPr wrap="square" lIns="0" tIns="0" rIns="0" bIns="0" rtlCol="0"/>
            <a:lstStyle/>
            <a:p>
              <a:endParaRPr/>
            </a:p>
          </p:txBody>
        </p:sp>
        <p:pic>
          <p:nvPicPr>
            <p:cNvPr id="42" name="object 42"/>
            <p:cNvPicPr/>
            <p:nvPr/>
          </p:nvPicPr>
          <p:blipFill>
            <a:blip r:embed="rId6" cstate="print"/>
            <a:stretch>
              <a:fillRect/>
            </a:stretch>
          </p:blipFill>
          <p:spPr>
            <a:xfrm>
              <a:off x="8687025" y="7032643"/>
              <a:ext cx="286278" cy="297341"/>
            </a:xfrm>
            <a:prstGeom prst="rect">
              <a:avLst/>
            </a:prstGeom>
          </p:spPr>
        </p:pic>
      </p:grpSp>
      <p:grpSp>
        <p:nvGrpSpPr>
          <p:cNvPr id="43" name="object 43"/>
          <p:cNvGrpSpPr/>
          <p:nvPr/>
        </p:nvGrpSpPr>
        <p:grpSpPr>
          <a:xfrm>
            <a:off x="6644471" y="8150155"/>
            <a:ext cx="4829810" cy="1407795"/>
            <a:chOff x="6644471" y="8150155"/>
            <a:chExt cx="4829810" cy="1407795"/>
          </a:xfrm>
        </p:grpSpPr>
        <p:sp>
          <p:nvSpPr>
            <p:cNvPr id="44" name="object 44"/>
            <p:cNvSpPr/>
            <p:nvPr/>
          </p:nvSpPr>
          <p:spPr>
            <a:xfrm>
              <a:off x="7174103" y="8150155"/>
              <a:ext cx="4300220" cy="1407795"/>
            </a:xfrm>
            <a:custGeom>
              <a:avLst/>
              <a:gdLst/>
              <a:ahLst/>
              <a:cxnLst/>
              <a:rect l="l" t="t" r="r" b="b"/>
              <a:pathLst>
                <a:path w="4300220" h="1407795">
                  <a:moveTo>
                    <a:pt x="4299928" y="1407390"/>
                  </a:moveTo>
                  <a:lnTo>
                    <a:pt x="0" y="1407390"/>
                  </a:lnTo>
                  <a:lnTo>
                    <a:pt x="0" y="0"/>
                  </a:lnTo>
                  <a:lnTo>
                    <a:pt x="4299928" y="0"/>
                  </a:lnTo>
                  <a:lnTo>
                    <a:pt x="4299928" y="1407390"/>
                  </a:lnTo>
                  <a:close/>
                </a:path>
              </a:pathLst>
            </a:custGeom>
            <a:solidFill>
              <a:srgbClr val="FFFFFF"/>
            </a:solidFill>
          </p:spPr>
          <p:txBody>
            <a:bodyPr wrap="square" lIns="0" tIns="0" rIns="0" bIns="0" rtlCol="0"/>
            <a:lstStyle/>
            <a:p>
              <a:endParaRPr/>
            </a:p>
          </p:txBody>
        </p:sp>
        <p:sp>
          <p:nvSpPr>
            <p:cNvPr id="45" name="object 45"/>
            <p:cNvSpPr/>
            <p:nvPr/>
          </p:nvSpPr>
          <p:spPr>
            <a:xfrm>
              <a:off x="6644471" y="8165877"/>
              <a:ext cx="1069975" cy="1069975"/>
            </a:xfrm>
            <a:custGeom>
              <a:avLst/>
              <a:gdLst/>
              <a:ahLst/>
              <a:cxnLst/>
              <a:rect l="l" t="t" r="r" b="b"/>
              <a:pathLst>
                <a:path w="1069975" h="1069975">
                  <a:moveTo>
                    <a:pt x="534694" y="1069390"/>
                  </a:moveTo>
                  <a:lnTo>
                    <a:pt x="486026" y="1067204"/>
                  </a:lnTo>
                  <a:lnTo>
                    <a:pt x="438582" y="1060775"/>
                  </a:lnTo>
                  <a:lnTo>
                    <a:pt x="392551" y="1050290"/>
                  </a:lnTo>
                  <a:lnTo>
                    <a:pt x="348122" y="1035938"/>
                  </a:lnTo>
                  <a:lnTo>
                    <a:pt x="305483" y="1017908"/>
                  </a:lnTo>
                  <a:lnTo>
                    <a:pt x="264823" y="996388"/>
                  </a:lnTo>
                  <a:lnTo>
                    <a:pt x="226332" y="971568"/>
                  </a:lnTo>
                  <a:lnTo>
                    <a:pt x="190197" y="943636"/>
                  </a:lnTo>
                  <a:lnTo>
                    <a:pt x="156608" y="912781"/>
                  </a:lnTo>
                  <a:lnTo>
                    <a:pt x="125753" y="879192"/>
                  </a:lnTo>
                  <a:lnTo>
                    <a:pt x="97821" y="843057"/>
                  </a:lnTo>
                  <a:lnTo>
                    <a:pt x="73001" y="804566"/>
                  </a:lnTo>
                  <a:lnTo>
                    <a:pt x="51481" y="763906"/>
                  </a:lnTo>
                  <a:lnTo>
                    <a:pt x="33451" y="721267"/>
                  </a:lnTo>
                  <a:lnTo>
                    <a:pt x="19099" y="676838"/>
                  </a:lnTo>
                  <a:lnTo>
                    <a:pt x="8614" y="630807"/>
                  </a:lnTo>
                  <a:lnTo>
                    <a:pt x="2184" y="583363"/>
                  </a:lnTo>
                  <a:lnTo>
                    <a:pt x="0" y="534695"/>
                  </a:lnTo>
                  <a:lnTo>
                    <a:pt x="2184" y="486027"/>
                  </a:lnTo>
                  <a:lnTo>
                    <a:pt x="8614" y="438583"/>
                  </a:lnTo>
                  <a:lnTo>
                    <a:pt x="19099" y="392552"/>
                  </a:lnTo>
                  <a:lnTo>
                    <a:pt x="33451" y="348122"/>
                  </a:lnTo>
                  <a:lnTo>
                    <a:pt x="51481" y="305484"/>
                  </a:lnTo>
                  <a:lnTo>
                    <a:pt x="73001" y="264824"/>
                  </a:lnTo>
                  <a:lnTo>
                    <a:pt x="97821" y="226332"/>
                  </a:lnTo>
                  <a:lnTo>
                    <a:pt x="125753" y="190197"/>
                  </a:lnTo>
                  <a:lnTo>
                    <a:pt x="156608" y="156608"/>
                  </a:lnTo>
                  <a:lnTo>
                    <a:pt x="190197" y="125753"/>
                  </a:lnTo>
                  <a:lnTo>
                    <a:pt x="226332" y="97821"/>
                  </a:lnTo>
                  <a:lnTo>
                    <a:pt x="264823" y="73001"/>
                  </a:lnTo>
                  <a:lnTo>
                    <a:pt x="305483" y="51482"/>
                  </a:lnTo>
                  <a:lnTo>
                    <a:pt x="348122" y="33451"/>
                  </a:lnTo>
                  <a:lnTo>
                    <a:pt x="392551" y="19099"/>
                  </a:lnTo>
                  <a:lnTo>
                    <a:pt x="438582" y="8614"/>
                  </a:lnTo>
                  <a:lnTo>
                    <a:pt x="486026" y="2185"/>
                  </a:lnTo>
                  <a:lnTo>
                    <a:pt x="534695" y="0"/>
                  </a:lnTo>
                  <a:lnTo>
                    <a:pt x="583363" y="2185"/>
                  </a:lnTo>
                  <a:lnTo>
                    <a:pt x="630807" y="8614"/>
                  </a:lnTo>
                  <a:lnTo>
                    <a:pt x="676838" y="19099"/>
                  </a:lnTo>
                  <a:lnTo>
                    <a:pt x="721267" y="33451"/>
                  </a:lnTo>
                  <a:lnTo>
                    <a:pt x="763906" y="51482"/>
                  </a:lnTo>
                  <a:lnTo>
                    <a:pt x="804565" y="73001"/>
                  </a:lnTo>
                  <a:lnTo>
                    <a:pt x="843057" y="97821"/>
                  </a:lnTo>
                  <a:lnTo>
                    <a:pt x="879192" y="125753"/>
                  </a:lnTo>
                  <a:lnTo>
                    <a:pt x="912781" y="156608"/>
                  </a:lnTo>
                  <a:lnTo>
                    <a:pt x="943636" y="190197"/>
                  </a:lnTo>
                  <a:lnTo>
                    <a:pt x="971568" y="226332"/>
                  </a:lnTo>
                  <a:lnTo>
                    <a:pt x="996388" y="264824"/>
                  </a:lnTo>
                  <a:lnTo>
                    <a:pt x="1017907" y="305484"/>
                  </a:lnTo>
                  <a:lnTo>
                    <a:pt x="1035937" y="348122"/>
                  </a:lnTo>
                  <a:lnTo>
                    <a:pt x="1050289" y="392552"/>
                  </a:lnTo>
                  <a:lnTo>
                    <a:pt x="1060775" y="438583"/>
                  </a:lnTo>
                  <a:lnTo>
                    <a:pt x="1067204" y="486027"/>
                  </a:lnTo>
                  <a:lnTo>
                    <a:pt x="1069389" y="534700"/>
                  </a:lnTo>
                  <a:lnTo>
                    <a:pt x="1067204" y="583363"/>
                  </a:lnTo>
                  <a:lnTo>
                    <a:pt x="1060775" y="630807"/>
                  </a:lnTo>
                  <a:lnTo>
                    <a:pt x="1050289" y="676838"/>
                  </a:lnTo>
                  <a:lnTo>
                    <a:pt x="1035937" y="721267"/>
                  </a:lnTo>
                  <a:lnTo>
                    <a:pt x="1017907" y="763906"/>
                  </a:lnTo>
                  <a:lnTo>
                    <a:pt x="996388" y="804566"/>
                  </a:lnTo>
                  <a:lnTo>
                    <a:pt x="971568" y="843057"/>
                  </a:lnTo>
                  <a:lnTo>
                    <a:pt x="943636" y="879192"/>
                  </a:lnTo>
                  <a:lnTo>
                    <a:pt x="912781" y="912781"/>
                  </a:lnTo>
                  <a:lnTo>
                    <a:pt x="879192" y="943636"/>
                  </a:lnTo>
                  <a:lnTo>
                    <a:pt x="843057" y="971568"/>
                  </a:lnTo>
                  <a:lnTo>
                    <a:pt x="804565" y="996388"/>
                  </a:lnTo>
                  <a:lnTo>
                    <a:pt x="763906" y="1017908"/>
                  </a:lnTo>
                  <a:lnTo>
                    <a:pt x="721267" y="1035938"/>
                  </a:lnTo>
                  <a:lnTo>
                    <a:pt x="676838" y="1050290"/>
                  </a:lnTo>
                  <a:lnTo>
                    <a:pt x="630807" y="1060775"/>
                  </a:lnTo>
                  <a:lnTo>
                    <a:pt x="583363" y="1067204"/>
                  </a:lnTo>
                  <a:lnTo>
                    <a:pt x="534694" y="1069390"/>
                  </a:lnTo>
                  <a:close/>
                </a:path>
              </a:pathLst>
            </a:custGeom>
            <a:solidFill>
              <a:srgbClr val="003793"/>
            </a:solidFill>
          </p:spPr>
          <p:txBody>
            <a:bodyPr wrap="square" lIns="0" tIns="0" rIns="0" bIns="0" rtlCol="0"/>
            <a:lstStyle/>
            <a:p>
              <a:endParaRPr/>
            </a:p>
          </p:txBody>
        </p:sp>
      </p:grpSp>
      <p:sp>
        <p:nvSpPr>
          <p:cNvPr id="46" name="object 46"/>
          <p:cNvSpPr txBox="1"/>
          <p:nvPr/>
        </p:nvSpPr>
        <p:spPr>
          <a:xfrm>
            <a:off x="6892482" y="8432073"/>
            <a:ext cx="574040" cy="506730"/>
          </a:xfrm>
          <a:prstGeom prst="rect">
            <a:avLst/>
          </a:prstGeom>
        </p:spPr>
        <p:txBody>
          <a:bodyPr vert="horz" wrap="square" lIns="0" tIns="13335" rIns="0" bIns="0" rtlCol="0">
            <a:spAutoFit/>
          </a:bodyPr>
          <a:lstStyle/>
          <a:p>
            <a:pPr marL="12700">
              <a:lnSpc>
                <a:spcPct val="100000"/>
              </a:lnSpc>
              <a:spcBef>
                <a:spcPts val="105"/>
              </a:spcBef>
            </a:pPr>
            <a:r>
              <a:rPr sz="3150" b="1" spc="365" dirty="0">
                <a:solidFill>
                  <a:srgbClr val="FFFFFF"/>
                </a:solidFill>
                <a:latin typeface="Arial"/>
                <a:cs typeface="Arial"/>
              </a:rPr>
              <a:t>05</a:t>
            </a:r>
            <a:endParaRPr sz="3150">
              <a:latin typeface="Arial"/>
              <a:cs typeface="Arial"/>
            </a:endParaRPr>
          </a:p>
        </p:txBody>
      </p:sp>
      <p:sp>
        <p:nvSpPr>
          <p:cNvPr id="47" name="object 47"/>
          <p:cNvSpPr txBox="1"/>
          <p:nvPr/>
        </p:nvSpPr>
        <p:spPr>
          <a:xfrm>
            <a:off x="7898025" y="8251869"/>
            <a:ext cx="3176270" cy="1025525"/>
          </a:xfrm>
          <a:prstGeom prst="rect">
            <a:avLst/>
          </a:prstGeom>
        </p:spPr>
        <p:txBody>
          <a:bodyPr vert="horz" wrap="square" lIns="0" tIns="12065" rIns="0" bIns="0" rtlCol="0">
            <a:spAutoFit/>
          </a:bodyPr>
          <a:lstStyle/>
          <a:p>
            <a:pPr marL="499745" marR="492125" indent="-60325" algn="ctr">
              <a:lnSpc>
                <a:spcPct val="115100"/>
              </a:lnSpc>
              <a:spcBef>
                <a:spcPts val="95"/>
              </a:spcBef>
            </a:pPr>
            <a:r>
              <a:rPr sz="1900" spc="-10" dirty="0">
                <a:solidFill>
                  <a:srgbClr val="737373"/>
                </a:solidFill>
                <a:latin typeface="Roboto"/>
                <a:cs typeface="Roboto"/>
              </a:rPr>
              <a:t>Fortalecimiento</a:t>
            </a:r>
            <a:r>
              <a:rPr sz="1900" spc="-110" dirty="0">
                <a:solidFill>
                  <a:srgbClr val="737373"/>
                </a:solidFill>
                <a:latin typeface="Roboto"/>
                <a:cs typeface="Roboto"/>
              </a:rPr>
              <a:t> </a:t>
            </a:r>
            <a:r>
              <a:rPr sz="1900" spc="-25" dirty="0">
                <a:solidFill>
                  <a:srgbClr val="737373"/>
                </a:solidFill>
                <a:latin typeface="Roboto"/>
                <a:cs typeface="Roboto"/>
              </a:rPr>
              <a:t>de </a:t>
            </a:r>
            <a:r>
              <a:rPr sz="1900" dirty="0">
                <a:solidFill>
                  <a:srgbClr val="737373"/>
                </a:solidFill>
                <a:latin typeface="Roboto"/>
                <a:cs typeface="Roboto"/>
              </a:rPr>
              <a:t>socios</a:t>
            </a:r>
            <a:r>
              <a:rPr sz="1900" spc="-50" dirty="0">
                <a:solidFill>
                  <a:srgbClr val="737373"/>
                </a:solidFill>
                <a:latin typeface="Roboto"/>
                <a:cs typeface="Roboto"/>
              </a:rPr>
              <a:t> </a:t>
            </a:r>
            <a:r>
              <a:rPr sz="1900" spc="-10" dirty="0">
                <a:solidFill>
                  <a:srgbClr val="737373"/>
                </a:solidFill>
                <a:latin typeface="Roboto"/>
                <a:cs typeface="Roboto"/>
              </a:rPr>
              <a:t>estratégicos:</a:t>
            </a:r>
            <a:endParaRPr sz="1900">
              <a:latin typeface="Roboto"/>
              <a:cs typeface="Roboto"/>
            </a:endParaRPr>
          </a:p>
          <a:p>
            <a:pPr algn="ctr">
              <a:lnSpc>
                <a:spcPct val="100000"/>
              </a:lnSpc>
              <a:spcBef>
                <a:spcPts val="345"/>
              </a:spcBef>
            </a:pPr>
            <a:r>
              <a:rPr sz="1900" b="1" dirty="0">
                <a:solidFill>
                  <a:srgbClr val="E3112B"/>
                </a:solidFill>
                <a:latin typeface="Roboto"/>
                <a:cs typeface="Roboto"/>
              </a:rPr>
              <a:t>Convention</a:t>
            </a:r>
            <a:r>
              <a:rPr sz="1900" b="1" spc="-20" dirty="0">
                <a:solidFill>
                  <a:srgbClr val="E3112B"/>
                </a:solidFill>
                <a:latin typeface="Roboto"/>
                <a:cs typeface="Roboto"/>
              </a:rPr>
              <a:t> </a:t>
            </a:r>
            <a:r>
              <a:rPr sz="1900" b="1" dirty="0">
                <a:solidFill>
                  <a:srgbClr val="E3112B"/>
                </a:solidFill>
                <a:latin typeface="Roboto"/>
                <a:cs typeface="Roboto"/>
              </a:rPr>
              <a:t>Bureaus</a:t>
            </a:r>
            <a:r>
              <a:rPr sz="1900" b="1" spc="-15" dirty="0">
                <a:solidFill>
                  <a:srgbClr val="E3112B"/>
                </a:solidFill>
                <a:latin typeface="Roboto"/>
                <a:cs typeface="Roboto"/>
              </a:rPr>
              <a:t> </a:t>
            </a:r>
            <a:r>
              <a:rPr sz="1900" b="1" dirty="0">
                <a:solidFill>
                  <a:srgbClr val="E3112B"/>
                </a:solidFill>
                <a:latin typeface="Roboto"/>
                <a:cs typeface="Roboto"/>
              </a:rPr>
              <a:t>de</a:t>
            </a:r>
            <a:r>
              <a:rPr sz="1900" b="1" spc="-10" dirty="0">
                <a:solidFill>
                  <a:srgbClr val="E3112B"/>
                </a:solidFill>
                <a:latin typeface="Roboto"/>
                <a:cs typeface="Roboto"/>
              </a:rPr>
              <a:t> </a:t>
            </a:r>
            <a:r>
              <a:rPr sz="1900" b="1" spc="-20" dirty="0">
                <a:solidFill>
                  <a:srgbClr val="E3112B"/>
                </a:solidFill>
                <a:latin typeface="Roboto"/>
                <a:cs typeface="Roboto"/>
              </a:rPr>
              <a:t>Chile</a:t>
            </a:r>
            <a:endParaRPr sz="1900">
              <a:latin typeface="Roboto"/>
              <a:cs typeface="Roboto"/>
            </a:endParaRPr>
          </a:p>
        </p:txBody>
      </p:sp>
      <p:sp>
        <p:nvSpPr>
          <p:cNvPr id="48" name="object 48"/>
          <p:cNvSpPr/>
          <p:nvPr/>
        </p:nvSpPr>
        <p:spPr>
          <a:xfrm>
            <a:off x="13328569" y="8150155"/>
            <a:ext cx="4417060" cy="1065530"/>
          </a:xfrm>
          <a:custGeom>
            <a:avLst/>
            <a:gdLst/>
            <a:ahLst/>
            <a:cxnLst/>
            <a:rect l="l" t="t" r="r" b="b"/>
            <a:pathLst>
              <a:path w="4417059" h="1065529">
                <a:moveTo>
                  <a:pt x="4416563" y="1065262"/>
                </a:moveTo>
                <a:lnTo>
                  <a:pt x="0" y="1065262"/>
                </a:lnTo>
                <a:lnTo>
                  <a:pt x="0" y="0"/>
                </a:lnTo>
                <a:lnTo>
                  <a:pt x="4416563" y="0"/>
                </a:lnTo>
                <a:lnTo>
                  <a:pt x="4416563" y="1065262"/>
                </a:lnTo>
                <a:close/>
              </a:path>
            </a:pathLst>
          </a:custGeom>
          <a:solidFill>
            <a:srgbClr val="FFFFFF"/>
          </a:solidFill>
        </p:spPr>
        <p:txBody>
          <a:bodyPr wrap="square" lIns="0" tIns="0" rIns="0" bIns="0" rtlCol="0"/>
          <a:lstStyle/>
          <a:p>
            <a:endParaRPr/>
          </a:p>
        </p:txBody>
      </p:sp>
      <p:pic>
        <p:nvPicPr>
          <p:cNvPr id="49" name="object 49"/>
          <p:cNvPicPr/>
          <p:nvPr/>
        </p:nvPicPr>
        <p:blipFill>
          <a:blip r:embed="rId7" cstate="print"/>
          <a:stretch>
            <a:fillRect/>
          </a:stretch>
        </p:blipFill>
        <p:spPr>
          <a:xfrm>
            <a:off x="14184343" y="6047648"/>
            <a:ext cx="1857797" cy="1857797"/>
          </a:xfrm>
          <a:prstGeom prst="rect">
            <a:avLst/>
          </a:prstGeom>
        </p:spPr>
      </p:pic>
      <p:sp>
        <p:nvSpPr>
          <p:cNvPr id="50" name="object 50"/>
          <p:cNvSpPr txBox="1"/>
          <p:nvPr/>
        </p:nvSpPr>
        <p:spPr>
          <a:xfrm>
            <a:off x="14281151" y="8251869"/>
            <a:ext cx="2654300" cy="692150"/>
          </a:xfrm>
          <a:prstGeom prst="rect">
            <a:avLst/>
          </a:prstGeom>
        </p:spPr>
        <p:txBody>
          <a:bodyPr vert="horz" wrap="square" lIns="0" tIns="12065" rIns="0" bIns="0" rtlCol="0">
            <a:spAutoFit/>
          </a:bodyPr>
          <a:lstStyle/>
          <a:p>
            <a:pPr marL="143510" marR="5080" indent="-131445">
              <a:lnSpc>
                <a:spcPct val="115100"/>
              </a:lnSpc>
              <a:spcBef>
                <a:spcPts val="95"/>
              </a:spcBef>
            </a:pPr>
            <a:r>
              <a:rPr sz="1900" spc="-10" dirty="0">
                <a:solidFill>
                  <a:srgbClr val="737373"/>
                </a:solidFill>
                <a:latin typeface="Roboto"/>
                <a:cs typeface="Roboto"/>
              </a:rPr>
              <a:t>Integración</a:t>
            </a:r>
            <a:r>
              <a:rPr sz="1900" spc="-80" dirty="0">
                <a:solidFill>
                  <a:srgbClr val="737373"/>
                </a:solidFill>
                <a:latin typeface="Roboto"/>
                <a:cs typeface="Roboto"/>
              </a:rPr>
              <a:t> </a:t>
            </a:r>
            <a:r>
              <a:rPr sz="1900" dirty="0">
                <a:solidFill>
                  <a:srgbClr val="737373"/>
                </a:solidFill>
                <a:latin typeface="Roboto"/>
                <a:cs typeface="Roboto"/>
              </a:rPr>
              <a:t>y</a:t>
            </a:r>
            <a:r>
              <a:rPr sz="1900" spc="-80" dirty="0">
                <a:solidFill>
                  <a:srgbClr val="737373"/>
                </a:solidFill>
                <a:latin typeface="Roboto"/>
                <a:cs typeface="Roboto"/>
              </a:rPr>
              <a:t> </a:t>
            </a:r>
            <a:r>
              <a:rPr sz="1900" b="1" spc="-10" dirty="0">
                <a:solidFill>
                  <a:srgbClr val="E3112B"/>
                </a:solidFill>
                <a:latin typeface="Roboto"/>
                <a:cs typeface="Roboto"/>
              </a:rPr>
              <a:t>promoción </a:t>
            </a:r>
            <a:r>
              <a:rPr sz="1900" b="1" dirty="0">
                <a:solidFill>
                  <a:srgbClr val="E3112B"/>
                </a:solidFill>
                <a:latin typeface="Roboto"/>
                <a:cs typeface="Roboto"/>
              </a:rPr>
              <a:t>directa</a:t>
            </a:r>
            <a:r>
              <a:rPr sz="1900" b="1" spc="-25" dirty="0">
                <a:solidFill>
                  <a:srgbClr val="E3112B"/>
                </a:solidFill>
                <a:latin typeface="Roboto"/>
                <a:cs typeface="Roboto"/>
              </a:rPr>
              <a:t> </a:t>
            </a:r>
            <a:r>
              <a:rPr sz="1900" dirty="0">
                <a:solidFill>
                  <a:srgbClr val="737373"/>
                </a:solidFill>
                <a:latin typeface="Roboto"/>
                <a:cs typeface="Roboto"/>
              </a:rPr>
              <a:t>de</a:t>
            </a:r>
            <a:r>
              <a:rPr sz="1900" spc="-20" dirty="0">
                <a:solidFill>
                  <a:srgbClr val="737373"/>
                </a:solidFill>
                <a:latin typeface="Roboto"/>
                <a:cs typeface="Roboto"/>
              </a:rPr>
              <a:t> </a:t>
            </a:r>
            <a:r>
              <a:rPr sz="1900" dirty="0">
                <a:solidFill>
                  <a:srgbClr val="737373"/>
                </a:solidFill>
                <a:latin typeface="Roboto"/>
                <a:cs typeface="Roboto"/>
              </a:rPr>
              <a:t>oferta</a:t>
            </a:r>
            <a:r>
              <a:rPr sz="1900" spc="-20" dirty="0">
                <a:solidFill>
                  <a:srgbClr val="737373"/>
                </a:solidFill>
                <a:latin typeface="Roboto"/>
                <a:cs typeface="Roboto"/>
              </a:rPr>
              <a:t> MICE</a:t>
            </a:r>
            <a:endParaRPr sz="1900">
              <a:latin typeface="Roboto"/>
              <a:cs typeface="Roboto"/>
            </a:endParaRPr>
          </a:p>
        </p:txBody>
      </p:sp>
      <p:sp>
        <p:nvSpPr>
          <p:cNvPr id="51" name="object 51"/>
          <p:cNvSpPr/>
          <p:nvPr/>
        </p:nvSpPr>
        <p:spPr>
          <a:xfrm>
            <a:off x="12793874" y="8165877"/>
            <a:ext cx="1069975" cy="1069975"/>
          </a:xfrm>
          <a:custGeom>
            <a:avLst/>
            <a:gdLst/>
            <a:ahLst/>
            <a:cxnLst/>
            <a:rect l="l" t="t" r="r" b="b"/>
            <a:pathLst>
              <a:path w="1069975" h="1069975">
                <a:moveTo>
                  <a:pt x="534694" y="1069390"/>
                </a:moveTo>
                <a:lnTo>
                  <a:pt x="486026" y="1067204"/>
                </a:lnTo>
                <a:lnTo>
                  <a:pt x="438582" y="1060775"/>
                </a:lnTo>
                <a:lnTo>
                  <a:pt x="392551" y="1050290"/>
                </a:lnTo>
                <a:lnTo>
                  <a:pt x="348122" y="1035938"/>
                </a:lnTo>
                <a:lnTo>
                  <a:pt x="305483" y="1017908"/>
                </a:lnTo>
                <a:lnTo>
                  <a:pt x="264823" y="996388"/>
                </a:lnTo>
                <a:lnTo>
                  <a:pt x="226332" y="971568"/>
                </a:lnTo>
                <a:lnTo>
                  <a:pt x="190197" y="943636"/>
                </a:lnTo>
                <a:lnTo>
                  <a:pt x="156608" y="912781"/>
                </a:lnTo>
                <a:lnTo>
                  <a:pt x="125753" y="879192"/>
                </a:lnTo>
                <a:lnTo>
                  <a:pt x="97821" y="843057"/>
                </a:lnTo>
                <a:lnTo>
                  <a:pt x="73001" y="804566"/>
                </a:lnTo>
                <a:lnTo>
                  <a:pt x="51481" y="763906"/>
                </a:lnTo>
                <a:lnTo>
                  <a:pt x="33451" y="721267"/>
                </a:lnTo>
                <a:lnTo>
                  <a:pt x="19099" y="676838"/>
                </a:lnTo>
                <a:lnTo>
                  <a:pt x="8614" y="630807"/>
                </a:lnTo>
                <a:lnTo>
                  <a:pt x="2184" y="583363"/>
                </a:lnTo>
                <a:lnTo>
                  <a:pt x="0" y="534681"/>
                </a:lnTo>
                <a:lnTo>
                  <a:pt x="2184" y="486027"/>
                </a:lnTo>
                <a:lnTo>
                  <a:pt x="8614" y="438583"/>
                </a:lnTo>
                <a:lnTo>
                  <a:pt x="19099" y="392552"/>
                </a:lnTo>
                <a:lnTo>
                  <a:pt x="33451" y="348122"/>
                </a:lnTo>
                <a:lnTo>
                  <a:pt x="51481" y="305484"/>
                </a:lnTo>
                <a:lnTo>
                  <a:pt x="73001" y="264824"/>
                </a:lnTo>
                <a:lnTo>
                  <a:pt x="97821" y="226332"/>
                </a:lnTo>
                <a:lnTo>
                  <a:pt x="125753" y="190197"/>
                </a:lnTo>
                <a:lnTo>
                  <a:pt x="156608" y="156608"/>
                </a:lnTo>
                <a:lnTo>
                  <a:pt x="190197" y="125753"/>
                </a:lnTo>
                <a:lnTo>
                  <a:pt x="226332" y="97821"/>
                </a:lnTo>
                <a:lnTo>
                  <a:pt x="264823" y="73001"/>
                </a:lnTo>
                <a:lnTo>
                  <a:pt x="305483" y="51482"/>
                </a:lnTo>
                <a:lnTo>
                  <a:pt x="348122" y="33451"/>
                </a:lnTo>
                <a:lnTo>
                  <a:pt x="392551" y="19099"/>
                </a:lnTo>
                <a:lnTo>
                  <a:pt x="438582" y="8614"/>
                </a:lnTo>
                <a:lnTo>
                  <a:pt x="486026" y="2185"/>
                </a:lnTo>
                <a:lnTo>
                  <a:pt x="534694" y="0"/>
                </a:lnTo>
                <a:lnTo>
                  <a:pt x="583362" y="2185"/>
                </a:lnTo>
                <a:lnTo>
                  <a:pt x="630806" y="8614"/>
                </a:lnTo>
                <a:lnTo>
                  <a:pt x="676837" y="19099"/>
                </a:lnTo>
                <a:lnTo>
                  <a:pt x="721267" y="33451"/>
                </a:lnTo>
                <a:lnTo>
                  <a:pt x="763906" y="51482"/>
                </a:lnTo>
                <a:lnTo>
                  <a:pt x="804565" y="73001"/>
                </a:lnTo>
                <a:lnTo>
                  <a:pt x="843057" y="97821"/>
                </a:lnTo>
                <a:lnTo>
                  <a:pt x="879192" y="125753"/>
                </a:lnTo>
                <a:lnTo>
                  <a:pt x="912781" y="156608"/>
                </a:lnTo>
                <a:lnTo>
                  <a:pt x="943636" y="190197"/>
                </a:lnTo>
                <a:lnTo>
                  <a:pt x="971568" y="226332"/>
                </a:lnTo>
                <a:lnTo>
                  <a:pt x="996388" y="264824"/>
                </a:lnTo>
                <a:lnTo>
                  <a:pt x="1017908" y="305484"/>
                </a:lnTo>
                <a:lnTo>
                  <a:pt x="1035938" y="348122"/>
                </a:lnTo>
                <a:lnTo>
                  <a:pt x="1050290" y="392552"/>
                </a:lnTo>
                <a:lnTo>
                  <a:pt x="1060775" y="438583"/>
                </a:lnTo>
                <a:lnTo>
                  <a:pt x="1067205" y="486027"/>
                </a:lnTo>
                <a:lnTo>
                  <a:pt x="1069389" y="534695"/>
                </a:lnTo>
                <a:lnTo>
                  <a:pt x="1067205" y="583363"/>
                </a:lnTo>
                <a:lnTo>
                  <a:pt x="1060775" y="630807"/>
                </a:lnTo>
                <a:lnTo>
                  <a:pt x="1050290" y="676838"/>
                </a:lnTo>
                <a:lnTo>
                  <a:pt x="1035938" y="721267"/>
                </a:lnTo>
                <a:lnTo>
                  <a:pt x="1017908" y="763906"/>
                </a:lnTo>
                <a:lnTo>
                  <a:pt x="996388" y="804566"/>
                </a:lnTo>
                <a:lnTo>
                  <a:pt x="971568" y="843057"/>
                </a:lnTo>
                <a:lnTo>
                  <a:pt x="943636" y="879192"/>
                </a:lnTo>
                <a:lnTo>
                  <a:pt x="912781" y="912781"/>
                </a:lnTo>
                <a:lnTo>
                  <a:pt x="879192" y="943636"/>
                </a:lnTo>
                <a:lnTo>
                  <a:pt x="843057" y="971568"/>
                </a:lnTo>
                <a:lnTo>
                  <a:pt x="804565" y="996388"/>
                </a:lnTo>
                <a:lnTo>
                  <a:pt x="763906" y="1017908"/>
                </a:lnTo>
                <a:lnTo>
                  <a:pt x="721267" y="1035938"/>
                </a:lnTo>
                <a:lnTo>
                  <a:pt x="676837" y="1050290"/>
                </a:lnTo>
                <a:lnTo>
                  <a:pt x="630806" y="1060775"/>
                </a:lnTo>
                <a:lnTo>
                  <a:pt x="583362" y="1067204"/>
                </a:lnTo>
                <a:lnTo>
                  <a:pt x="534694" y="1069390"/>
                </a:lnTo>
                <a:close/>
              </a:path>
            </a:pathLst>
          </a:custGeom>
          <a:solidFill>
            <a:srgbClr val="003793"/>
          </a:solidFill>
        </p:spPr>
        <p:txBody>
          <a:bodyPr wrap="square" lIns="0" tIns="0" rIns="0" bIns="0" rtlCol="0"/>
          <a:lstStyle/>
          <a:p>
            <a:endParaRPr/>
          </a:p>
        </p:txBody>
      </p:sp>
      <p:sp>
        <p:nvSpPr>
          <p:cNvPr id="52" name="object 52"/>
          <p:cNvSpPr txBox="1"/>
          <p:nvPr/>
        </p:nvSpPr>
        <p:spPr>
          <a:xfrm>
            <a:off x="13032272" y="8432073"/>
            <a:ext cx="593090" cy="506730"/>
          </a:xfrm>
          <a:prstGeom prst="rect">
            <a:avLst/>
          </a:prstGeom>
        </p:spPr>
        <p:txBody>
          <a:bodyPr vert="horz" wrap="square" lIns="0" tIns="13335" rIns="0" bIns="0" rtlCol="0">
            <a:spAutoFit/>
          </a:bodyPr>
          <a:lstStyle/>
          <a:p>
            <a:pPr marL="12700">
              <a:lnSpc>
                <a:spcPct val="100000"/>
              </a:lnSpc>
              <a:spcBef>
                <a:spcPts val="105"/>
              </a:spcBef>
            </a:pPr>
            <a:r>
              <a:rPr sz="3150" b="1" spc="445" dirty="0">
                <a:solidFill>
                  <a:srgbClr val="FFFFFF"/>
                </a:solidFill>
                <a:latin typeface="Arial"/>
                <a:cs typeface="Arial"/>
              </a:rPr>
              <a:t>06</a:t>
            </a:r>
            <a:endParaRPr sz="3150">
              <a:latin typeface="Arial"/>
              <a:cs typeface="Arial"/>
            </a:endParaRPr>
          </a:p>
        </p:txBody>
      </p:sp>
      <p:pic>
        <p:nvPicPr>
          <p:cNvPr id="53" name="object 53"/>
          <p:cNvPicPr/>
          <p:nvPr/>
        </p:nvPicPr>
        <p:blipFill>
          <a:blip r:embed="rId8" cstate="print"/>
          <a:stretch>
            <a:fillRect/>
          </a:stretch>
        </p:blipFill>
        <p:spPr>
          <a:xfrm>
            <a:off x="17316450" y="237496"/>
            <a:ext cx="742949" cy="819149"/>
          </a:xfrm>
          <a:prstGeom prst="rect">
            <a:avLst/>
          </a:prstGeom>
        </p:spPr>
      </p:pic>
      <p:sp>
        <p:nvSpPr>
          <p:cNvPr id="54" name="object 54"/>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55" name="object 55"/>
          <p:cNvSpPr txBox="1"/>
          <p:nvPr/>
        </p:nvSpPr>
        <p:spPr>
          <a:xfrm>
            <a:off x="17811802" y="9932972"/>
            <a:ext cx="220979"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35</a:t>
            </a:r>
            <a:endParaRPr sz="900">
              <a:latin typeface="Arial"/>
              <a:cs typeface="Arial"/>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16550"/>
            <a:ext cx="18288000" cy="10270490"/>
          </a:xfrm>
          <a:custGeom>
            <a:avLst/>
            <a:gdLst/>
            <a:ahLst/>
            <a:cxnLst/>
            <a:rect l="l" t="t" r="r" b="b"/>
            <a:pathLst>
              <a:path w="18288000" h="10270490">
                <a:moveTo>
                  <a:pt x="0" y="0"/>
                </a:moveTo>
                <a:lnTo>
                  <a:pt x="18287999" y="0"/>
                </a:lnTo>
                <a:lnTo>
                  <a:pt x="18287999" y="10270449"/>
                </a:lnTo>
                <a:lnTo>
                  <a:pt x="0" y="10270449"/>
                </a:lnTo>
                <a:lnTo>
                  <a:pt x="0" y="0"/>
                </a:lnTo>
                <a:close/>
              </a:path>
            </a:pathLst>
          </a:custGeom>
          <a:solidFill>
            <a:srgbClr val="0090AE"/>
          </a:solidFill>
        </p:spPr>
        <p:txBody>
          <a:bodyPr wrap="square" lIns="0" tIns="0" rIns="0" bIns="0" rtlCol="0"/>
          <a:lstStyle/>
          <a:p>
            <a:endParaRPr/>
          </a:p>
        </p:txBody>
      </p:sp>
      <p:sp>
        <p:nvSpPr>
          <p:cNvPr id="3" name="object 3"/>
          <p:cNvSpPr/>
          <p:nvPr/>
        </p:nvSpPr>
        <p:spPr>
          <a:xfrm>
            <a:off x="201329" y="181840"/>
            <a:ext cx="17897475" cy="9886950"/>
          </a:xfrm>
          <a:custGeom>
            <a:avLst/>
            <a:gdLst/>
            <a:ahLst/>
            <a:cxnLst/>
            <a:rect l="l" t="t" r="r" b="b"/>
            <a:pathLst>
              <a:path w="17897475" h="9886950">
                <a:moveTo>
                  <a:pt x="0" y="0"/>
                </a:moveTo>
                <a:lnTo>
                  <a:pt x="17897461" y="0"/>
                </a:lnTo>
                <a:lnTo>
                  <a:pt x="17897461" y="9886950"/>
                </a:lnTo>
                <a:lnTo>
                  <a:pt x="0" y="9886950"/>
                </a:lnTo>
                <a:lnTo>
                  <a:pt x="0" y="0"/>
                </a:lnTo>
              </a:path>
            </a:pathLst>
          </a:custGeom>
          <a:ln w="38110">
            <a:solidFill>
              <a:srgbClr val="FFFFFF"/>
            </a:solidFill>
          </a:ln>
        </p:spPr>
        <p:txBody>
          <a:bodyPr wrap="square" lIns="0" tIns="0" rIns="0" bIns="0" rtlCol="0"/>
          <a:lstStyle/>
          <a:p>
            <a:endParaRPr/>
          </a:p>
        </p:txBody>
      </p:sp>
      <p:sp>
        <p:nvSpPr>
          <p:cNvPr id="4" name="object 4"/>
          <p:cNvSpPr txBox="1">
            <a:spLocks noGrp="1"/>
          </p:cNvSpPr>
          <p:nvPr>
            <p:ph type="title"/>
          </p:nvPr>
        </p:nvSpPr>
        <p:spPr>
          <a:xfrm>
            <a:off x="7604285" y="4605115"/>
            <a:ext cx="3079750" cy="868044"/>
          </a:xfrm>
          <a:prstGeom prst="rect">
            <a:avLst/>
          </a:prstGeom>
        </p:spPr>
        <p:txBody>
          <a:bodyPr vert="horz" wrap="square" lIns="0" tIns="15875" rIns="0" bIns="0" rtlCol="0">
            <a:spAutoFit/>
          </a:bodyPr>
          <a:lstStyle/>
          <a:p>
            <a:pPr marL="12700">
              <a:lnSpc>
                <a:spcPct val="100000"/>
              </a:lnSpc>
              <a:spcBef>
                <a:spcPts val="125"/>
              </a:spcBef>
            </a:pPr>
            <a:r>
              <a:rPr sz="5500" b="1" spc="-50" dirty="0">
                <a:latin typeface="Arial"/>
                <a:cs typeface="Arial"/>
              </a:rPr>
              <a:t>Acciones</a:t>
            </a:r>
            <a:endParaRPr sz="5500">
              <a:latin typeface="Arial"/>
              <a:cs typeface="Aria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113692"/>
            <a:ext cx="17954625" cy="8675370"/>
            <a:chOff x="166956" y="1113692"/>
            <a:chExt cx="17954625" cy="8675370"/>
          </a:xfrm>
        </p:grpSpPr>
        <p:sp>
          <p:nvSpPr>
            <p:cNvPr id="3" name="object 3"/>
            <p:cNvSpPr/>
            <p:nvPr/>
          </p:nvSpPr>
          <p:spPr>
            <a:xfrm>
              <a:off x="166956" y="1113692"/>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2043579" y="7540184"/>
              <a:ext cx="3036570" cy="1179195"/>
            </a:xfrm>
            <a:custGeom>
              <a:avLst/>
              <a:gdLst/>
              <a:ahLst/>
              <a:cxnLst/>
              <a:rect l="l" t="t" r="r" b="b"/>
              <a:pathLst>
                <a:path w="3036570" h="1179195">
                  <a:moveTo>
                    <a:pt x="2447083" y="1178745"/>
                  </a:moveTo>
                  <a:lnTo>
                    <a:pt x="589372" y="1178745"/>
                  </a:lnTo>
                  <a:lnTo>
                    <a:pt x="541035" y="1176791"/>
                  </a:lnTo>
                  <a:lnTo>
                    <a:pt x="493773" y="1171031"/>
                  </a:lnTo>
                  <a:lnTo>
                    <a:pt x="447739" y="1161616"/>
                  </a:lnTo>
                  <a:lnTo>
                    <a:pt x="403085" y="1148698"/>
                  </a:lnTo>
                  <a:lnTo>
                    <a:pt x="359962" y="1132429"/>
                  </a:lnTo>
                  <a:lnTo>
                    <a:pt x="318522" y="1112960"/>
                  </a:lnTo>
                  <a:lnTo>
                    <a:pt x="278916" y="1090443"/>
                  </a:lnTo>
                  <a:lnTo>
                    <a:pt x="241296" y="1065030"/>
                  </a:lnTo>
                  <a:lnTo>
                    <a:pt x="205815" y="1036872"/>
                  </a:lnTo>
                  <a:lnTo>
                    <a:pt x="172623" y="1006122"/>
                  </a:lnTo>
                  <a:lnTo>
                    <a:pt x="141872" y="972930"/>
                  </a:lnTo>
                  <a:lnTo>
                    <a:pt x="113714" y="937448"/>
                  </a:lnTo>
                  <a:lnTo>
                    <a:pt x="88301" y="899829"/>
                  </a:lnTo>
                  <a:lnTo>
                    <a:pt x="65784" y="860223"/>
                  </a:lnTo>
                  <a:lnTo>
                    <a:pt x="46315" y="818783"/>
                  </a:lnTo>
                  <a:lnTo>
                    <a:pt x="30046" y="775660"/>
                  </a:lnTo>
                  <a:lnTo>
                    <a:pt x="17128" y="731005"/>
                  </a:lnTo>
                  <a:lnTo>
                    <a:pt x="7713" y="684971"/>
                  </a:lnTo>
                  <a:lnTo>
                    <a:pt x="1953" y="637710"/>
                  </a:lnTo>
                  <a:lnTo>
                    <a:pt x="0" y="589372"/>
                  </a:lnTo>
                  <a:lnTo>
                    <a:pt x="1953" y="541034"/>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2" y="65784"/>
                  </a:lnTo>
                  <a:lnTo>
                    <a:pt x="359962" y="46315"/>
                  </a:lnTo>
                  <a:lnTo>
                    <a:pt x="403085" y="30046"/>
                  </a:lnTo>
                  <a:lnTo>
                    <a:pt x="447739" y="17128"/>
                  </a:lnTo>
                  <a:lnTo>
                    <a:pt x="493773" y="7713"/>
                  </a:lnTo>
                  <a:lnTo>
                    <a:pt x="541035" y="1953"/>
                  </a:lnTo>
                  <a:lnTo>
                    <a:pt x="589372" y="0"/>
                  </a:lnTo>
                  <a:lnTo>
                    <a:pt x="2447083" y="0"/>
                  </a:lnTo>
                  <a:lnTo>
                    <a:pt x="2495421" y="1953"/>
                  </a:lnTo>
                  <a:lnTo>
                    <a:pt x="2542682" y="7713"/>
                  </a:lnTo>
                  <a:lnTo>
                    <a:pt x="2588716" y="17128"/>
                  </a:lnTo>
                  <a:lnTo>
                    <a:pt x="2633370" y="30046"/>
                  </a:lnTo>
                  <a:lnTo>
                    <a:pt x="2676493" y="46315"/>
                  </a:lnTo>
                  <a:lnTo>
                    <a:pt x="2717934" y="65784"/>
                  </a:lnTo>
                  <a:lnTo>
                    <a:pt x="2757539" y="88301"/>
                  </a:lnTo>
                  <a:lnTo>
                    <a:pt x="2795159" y="113714"/>
                  </a:lnTo>
                  <a:lnTo>
                    <a:pt x="2830640" y="141872"/>
                  </a:lnTo>
                  <a:lnTo>
                    <a:pt x="2863832" y="172623"/>
                  </a:lnTo>
                  <a:lnTo>
                    <a:pt x="2894583" y="205815"/>
                  </a:lnTo>
                  <a:lnTo>
                    <a:pt x="2922741" y="241296"/>
                  </a:lnTo>
                  <a:lnTo>
                    <a:pt x="2948154" y="278916"/>
                  </a:lnTo>
                  <a:lnTo>
                    <a:pt x="2970671" y="318522"/>
                  </a:lnTo>
                  <a:lnTo>
                    <a:pt x="2990140" y="359962"/>
                  </a:lnTo>
                  <a:lnTo>
                    <a:pt x="3006409" y="403085"/>
                  </a:lnTo>
                  <a:lnTo>
                    <a:pt x="3019327" y="447739"/>
                  </a:lnTo>
                  <a:lnTo>
                    <a:pt x="3028742" y="493773"/>
                  </a:lnTo>
                  <a:lnTo>
                    <a:pt x="3034502" y="541034"/>
                  </a:lnTo>
                  <a:lnTo>
                    <a:pt x="3036456" y="589372"/>
                  </a:lnTo>
                  <a:lnTo>
                    <a:pt x="3034502" y="637710"/>
                  </a:lnTo>
                  <a:lnTo>
                    <a:pt x="3028742" y="684971"/>
                  </a:lnTo>
                  <a:lnTo>
                    <a:pt x="3019327" y="731005"/>
                  </a:lnTo>
                  <a:lnTo>
                    <a:pt x="3006409" y="775660"/>
                  </a:lnTo>
                  <a:lnTo>
                    <a:pt x="2990140" y="818783"/>
                  </a:lnTo>
                  <a:lnTo>
                    <a:pt x="2970671" y="860223"/>
                  </a:lnTo>
                  <a:lnTo>
                    <a:pt x="2948154" y="899829"/>
                  </a:lnTo>
                  <a:lnTo>
                    <a:pt x="2922741" y="937448"/>
                  </a:lnTo>
                  <a:lnTo>
                    <a:pt x="2894583" y="972930"/>
                  </a:lnTo>
                  <a:lnTo>
                    <a:pt x="2863832" y="1006122"/>
                  </a:lnTo>
                  <a:lnTo>
                    <a:pt x="2830640" y="1036872"/>
                  </a:lnTo>
                  <a:lnTo>
                    <a:pt x="2795159" y="1065030"/>
                  </a:lnTo>
                  <a:lnTo>
                    <a:pt x="2757539" y="1090443"/>
                  </a:lnTo>
                  <a:lnTo>
                    <a:pt x="2717934" y="1112960"/>
                  </a:lnTo>
                  <a:lnTo>
                    <a:pt x="2676493" y="1132429"/>
                  </a:lnTo>
                  <a:lnTo>
                    <a:pt x="2633370" y="1148698"/>
                  </a:lnTo>
                  <a:lnTo>
                    <a:pt x="2588716" y="1161616"/>
                  </a:lnTo>
                  <a:lnTo>
                    <a:pt x="2542682" y="1171031"/>
                  </a:lnTo>
                  <a:lnTo>
                    <a:pt x="2495421" y="1176791"/>
                  </a:lnTo>
                  <a:lnTo>
                    <a:pt x="2447083" y="1178745"/>
                  </a:lnTo>
                  <a:close/>
                </a:path>
              </a:pathLst>
            </a:custGeom>
            <a:solidFill>
              <a:srgbClr val="21408B"/>
            </a:solidFill>
          </p:spPr>
          <p:txBody>
            <a:bodyPr wrap="square" lIns="0" tIns="0" rIns="0" bIns="0" rtlCol="0"/>
            <a:lstStyle/>
            <a:p>
              <a:endParaRPr/>
            </a:p>
          </p:txBody>
        </p:sp>
        <p:sp>
          <p:nvSpPr>
            <p:cNvPr id="5" name="object 5"/>
            <p:cNvSpPr/>
            <p:nvPr/>
          </p:nvSpPr>
          <p:spPr>
            <a:xfrm>
              <a:off x="2018757" y="3686609"/>
              <a:ext cx="3086100" cy="3086100"/>
            </a:xfrm>
            <a:custGeom>
              <a:avLst/>
              <a:gdLst/>
              <a:ahLst/>
              <a:cxnLst/>
              <a:rect l="l" t="t" r="r" b="b"/>
              <a:pathLst>
                <a:path w="3086100" h="3086100">
                  <a:moveTo>
                    <a:pt x="1543076" y="3086099"/>
                  </a:moveTo>
                  <a:lnTo>
                    <a:pt x="1494987" y="3085365"/>
                  </a:lnTo>
                  <a:lnTo>
                    <a:pt x="1447291" y="3083177"/>
                  </a:lnTo>
                  <a:lnTo>
                    <a:pt x="1399983" y="3079555"/>
                  </a:lnTo>
                  <a:lnTo>
                    <a:pt x="1353083" y="3074522"/>
                  </a:lnTo>
                  <a:lnTo>
                    <a:pt x="1306613" y="3068099"/>
                  </a:lnTo>
                  <a:lnTo>
                    <a:pt x="1260594" y="3060306"/>
                  </a:lnTo>
                  <a:lnTo>
                    <a:pt x="1215048" y="3051166"/>
                  </a:lnTo>
                  <a:lnTo>
                    <a:pt x="1169996" y="3040700"/>
                  </a:lnTo>
                  <a:lnTo>
                    <a:pt x="1125459" y="3028929"/>
                  </a:lnTo>
                  <a:lnTo>
                    <a:pt x="1081460" y="3015874"/>
                  </a:lnTo>
                  <a:lnTo>
                    <a:pt x="1038018" y="3001557"/>
                  </a:lnTo>
                  <a:lnTo>
                    <a:pt x="995155" y="2985999"/>
                  </a:lnTo>
                  <a:lnTo>
                    <a:pt x="952894" y="2969221"/>
                  </a:lnTo>
                  <a:lnTo>
                    <a:pt x="911254" y="2951246"/>
                  </a:lnTo>
                  <a:lnTo>
                    <a:pt x="870258" y="2932093"/>
                  </a:lnTo>
                  <a:lnTo>
                    <a:pt x="829926" y="2911785"/>
                  </a:lnTo>
                  <a:lnTo>
                    <a:pt x="790281" y="2890342"/>
                  </a:lnTo>
                  <a:lnTo>
                    <a:pt x="751343" y="2867787"/>
                  </a:lnTo>
                  <a:lnTo>
                    <a:pt x="713134" y="2844140"/>
                  </a:lnTo>
                  <a:lnTo>
                    <a:pt x="675675" y="2819423"/>
                  </a:lnTo>
                  <a:lnTo>
                    <a:pt x="638987" y="2793658"/>
                  </a:lnTo>
                  <a:lnTo>
                    <a:pt x="603092" y="2766864"/>
                  </a:lnTo>
                  <a:lnTo>
                    <a:pt x="568012" y="2739065"/>
                  </a:lnTo>
                  <a:lnTo>
                    <a:pt x="533766" y="2710280"/>
                  </a:lnTo>
                  <a:lnTo>
                    <a:pt x="500378" y="2680532"/>
                  </a:lnTo>
                  <a:lnTo>
                    <a:pt x="467868" y="2649842"/>
                  </a:lnTo>
                  <a:lnTo>
                    <a:pt x="436257" y="2618231"/>
                  </a:lnTo>
                  <a:lnTo>
                    <a:pt x="405567" y="2585721"/>
                  </a:lnTo>
                  <a:lnTo>
                    <a:pt x="375819" y="2552333"/>
                  </a:lnTo>
                  <a:lnTo>
                    <a:pt x="347034" y="2518087"/>
                  </a:lnTo>
                  <a:lnTo>
                    <a:pt x="319235" y="2483007"/>
                  </a:lnTo>
                  <a:lnTo>
                    <a:pt x="292441" y="2447112"/>
                  </a:lnTo>
                  <a:lnTo>
                    <a:pt x="266676" y="2410424"/>
                  </a:lnTo>
                  <a:lnTo>
                    <a:pt x="241959" y="2372965"/>
                  </a:lnTo>
                  <a:lnTo>
                    <a:pt x="218312" y="2334756"/>
                  </a:lnTo>
                  <a:lnTo>
                    <a:pt x="195757" y="2295818"/>
                  </a:lnTo>
                  <a:lnTo>
                    <a:pt x="174314" y="2256172"/>
                  </a:lnTo>
                  <a:lnTo>
                    <a:pt x="154006" y="2215841"/>
                  </a:lnTo>
                  <a:lnTo>
                    <a:pt x="134853" y="2174845"/>
                  </a:lnTo>
                  <a:lnTo>
                    <a:pt x="116878"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8"/>
                  </a:lnTo>
                  <a:lnTo>
                    <a:pt x="734" y="1591112"/>
                  </a:lnTo>
                  <a:lnTo>
                    <a:pt x="0" y="1543050"/>
                  </a:lnTo>
                  <a:lnTo>
                    <a:pt x="734" y="1494988"/>
                  </a:lnTo>
                  <a:lnTo>
                    <a:pt x="2922" y="1447292"/>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8" y="952894"/>
                  </a:lnTo>
                  <a:lnTo>
                    <a:pt x="134853" y="911254"/>
                  </a:lnTo>
                  <a:lnTo>
                    <a:pt x="154006" y="870258"/>
                  </a:lnTo>
                  <a:lnTo>
                    <a:pt x="174314" y="829927"/>
                  </a:lnTo>
                  <a:lnTo>
                    <a:pt x="195757" y="790281"/>
                  </a:lnTo>
                  <a:lnTo>
                    <a:pt x="218312" y="751343"/>
                  </a:lnTo>
                  <a:lnTo>
                    <a:pt x="241959" y="713134"/>
                  </a:lnTo>
                  <a:lnTo>
                    <a:pt x="266676" y="675675"/>
                  </a:lnTo>
                  <a:lnTo>
                    <a:pt x="292441" y="638987"/>
                  </a:lnTo>
                  <a:lnTo>
                    <a:pt x="319235" y="603092"/>
                  </a:lnTo>
                  <a:lnTo>
                    <a:pt x="347034" y="568012"/>
                  </a:lnTo>
                  <a:lnTo>
                    <a:pt x="375819" y="533766"/>
                  </a:lnTo>
                  <a:lnTo>
                    <a:pt x="405567" y="500378"/>
                  </a:lnTo>
                  <a:lnTo>
                    <a:pt x="436257" y="467868"/>
                  </a:lnTo>
                  <a:lnTo>
                    <a:pt x="467868" y="436257"/>
                  </a:lnTo>
                  <a:lnTo>
                    <a:pt x="500378" y="405567"/>
                  </a:lnTo>
                  <a:lnTo>
                    <a:pt x="533766" y="375819"/>
                  </a:lnTo>
                  <a:lnTo>
                    <a:pt x="568012" y="347034"/>
                  </a:lnTo>
                  <a:lnTo>
                    <a:pt x="603092" y="319235"/>
                  </a:lnTo>
                  <a:lnTo>
                    <a:pt x="638987" y="292442"/>
                  </a:lnTo>
                  <a:lnTo>
                    <a:pt x="675675" y="266676"/>
                  </a:lnTo>
                  <a:lnTo>
                    <a:pt x="713134" y="241959"/>
                  </a:lnTo>
                  <a:lnTo>
                    <a:pt x="751343" y="218312"/>
                  </a:lnTo>
                  <a:lnTo>
                    <a:pt x="790281" y="195757"/>
                  </a:lnTo>
                  <a:lnTo>
                    <a:pt x="829926" y="174314"/>
                  </a:lnTo>
                  <a:lnTo>
                    <a:pt x="870258" y="154006"/>
                  </a:lnTo>
                  <a:lnTo>
                    <a:pt x="911254" y="134853"/>
                  </a:lnTo>
                  <a:lnTo>
                    <a:pt x="952894" y="116878"/>
                  </a:lnTo>
                  <a:lnTo>
                    <a:pt x="995155" y="100100"/>
                  </a:lnTo>
                  <a:lnTo>
                    <a:pt x="1038018" y="84542"/>
                  </a:lnTo>
                  <a:lnTo>
                    <a:pt x="1081460" y="70225"/>
                  </a:lnTo>
                  <a:lnTo>
                    <a:pt x="1125459" y="57170"/>
                  </a:lnTo>
                  <a:lnTo>
                    <a:pt x="1169996" y="45399"/>
                  </a:lnTo>
                  <a:lnTo>
                    <a:pt x="1215048" y="34933"/>
                  </a:lnTo>
                  <a:lnTo>
                    <a:pt x="1260594" y="25793"/>
                  </a:lnTo>
                  <a:lnTo>
                    <a:pt x="1306613" y="18000"/>
                  </a:lnTo>
                  <a:lnTo>
                    <a:pt x="1353083" y="11577"/>
                  </a:lnTo>
                  <a:lnTo>
                    <a:pt x="1399983"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5" y="134853"/>
                  </a:lnTo>
                  <a:lnTo>
                    <a:pt x="2215841" y="154006"/>
                  </a:lnTo>
                  <a:lnTo>
                    <a:pt x="2256172" y="174314"/>
                  </a:lnTo>
                  <a:lnTo>
                    <a:pt x="2295818" y="195757"/>
                  </a:lnTo>
                  <a:lnTo>
                    <a:pt x="2334756" y="218312"/>
                  </a:lnTo>
                  <a:lnTo>
                    <a:pt x="2372965" y="241959"/>
                  </a:lnTo>
                  <a:lnTo>
                    <a:pt x="2410424" y="266676"/>
                  </a:lnTo>
                  <a:lnTo>
                    <a:pt x="2447112" y="292442"/>
                  </a:lnTo>
                  <a:lnTo>
                    <a:pt x="2483006" y="319235"/>
                  </a:lnTo>
                  <a:lnTo>
                    <a:pt x="2518087" y="347034"/>
                  </a:lnTo>
                  <a:lnTo>
                    <a:pt x="2552333"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6" y="911254"/>
                  </a:lnTo>
                  <a:lnTo>
                    <a:pt x="2969221" y="952894"/>
                  </a:lnTo>
                  <a:lnTo>
                    <a:pt x="2985999" y="995156"/>
                  </a:lnTo>
                  <a:lnTo>
                    <a:pt x="3001557" y="1038018"/>
                  </a:lnTo>
                  <a:lnTo>
                    <a:pt x="3015874" y="1081460"/>
                  </a:lnTo>
                  <a:lnTo>
                    <a:pt x="3028928" y="1125460"/>
                  </a:lnTo>
                  <a:lnTo>
                    <a:pt x="3040700" y="1169996"/>
                  </a:lnTo>
                  <a:lnTo>
                    <a:pt x="3051166" y="1215048"/>
                  </a:lnTo>
                  <a:lnTo>
                    <a:pt x="3060306" y="1260594"/>
                  </a:lnTo>
                  <a:lnTo>
                    <a:pt x="3068098" y="1306613"/>
                  </a:lnTo>
                  <a:lnTo>
                    <a:pt x="3074522" y="1353083"/>
                  </a:lnTo>
                  <a:lnTo>
                    <a:pt x="3079555" y="1399983"/>
                  </a:lnTo>
                  <a:lnTo>
                    <a:pt x="3083176" y="1447292"/>
                  </a:lnTo>
                  <a:lnTo>
                    <a:pt x="3085365" y="1494988"/>
                  </a:lnTo>
                  <a:lnTo>
                    <a:pt x="3086099" y="1543050"/>
                  </a:lnTo>
                  <a:lnTo>
                    <a:pt x="3085365" y="1591112"/>
                  </a:lnTo>
                  <a:lnTo>
                    <a:pt x="3083176" y="1638808"/>
                  </a:lnTo>
                  <a:lnTo>
                    <a:pt x="3079555" y="1686116"/>
                  </a:lnTo>
                  <a:lnTo>
                    <a:pt x="3074522" y="1733016"/>
                  </a:lnTo>
                  <a:lnTo>
                    <a:pt x="3068098" y="1779486"/>
                  </a:lnTo>
                  <a:lnTo>
                    <a:pt x="3060306" y="1825505"/>
                  </a:lnTo>
                  <a:lnTo>
                    <a:pt x="3051166" y="1871051"/>
                  </a:lnTo>
                  <a:lnTo>
                    <a:pt x="3040700" y="1916103"/>
                  </a:lnTo>
                  <a:lnTo>
                    <a:pt x="3028928" y="1960639"/>
                  </a:lnTo>
                  <a:lnTo>
                    <a:pt x="3015874" y="2004639"/>
                  </a:lnTo>
                  <a:lnTo>
                    <a:pt x="3001557" y="2048081"/>
                  </a:lnTo>
                  <a:lnTo>
                    <a:pt x="2985999" y="2090943"/>
                  </a:lnTo>
                  <a:lnTo>
                    <a:pt x="2969221" y="2133205"/>
                  </a:lnTo>
                  <a:lnTo>
                    <a:pt x="2951246"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7"/>
                  </a:lnTo>
                  <a:lnTo>
                    <a:pt x="2739064" y="2518087"/>
                  </a:lnTo>
                  <a:lnTo>
                    <a:pt x="2710280" y="2552333"/>
                  </a:lnTo>
                  <a:lnTo>
                    <a:pt x="2680532" y="2585721"/>
                  </a:lnTo>
                  <a:lnTo>
                    <a:pt x="2649842" y="2618231"/>
                  </a:lnTo>
                  <a:lnTo>
                    <a:pt x="2618231" y="2649842"/>
                  </a:lnTo>
                  <a:lnTo>
                    <a:pt x="2585721" y="2680532"/>
                  </a:lnTo>
                  <a:lnTo>
                    <a:pt x="2552333" y="2710280"/>
                  </a:lnTo>
                  <a:lnTo>
                    <a:pt x="2518087" y="2739065"/>
                  </a:lnTo>
                  <a:lnTo>
                    <a:pt x="2483006" y="2766864"/>
                  </a:lnTo>
                  <a:lnTo>
                    <a:pt x="2447112" y="2793658"/>
                  </a:lnTo>
                  <a:lnTo>
                    <a:pt x="2410424" y="2819423"/>
                  </a:lnTo>
                  <a:lnTo>
                    <a:pt x="2372965" y="2844140"/>
                  </a:lnTo>
                  <a:lnTo>
                    <a:pt x="2334756" y="2867787"/>
                  </a:lnTo>
                  <a:lnTo>
                    <a:pt x="2295818" y="2890342"/>
                  </a:lnTo>
                  <a:lnTo>
                    <a:pt x="2256172" y="2911785"/>
                  </a:lnTo>
                  <a:lnTo>
                    <a:pt x="2215841" y="2932093"/>
                  </a:lnTo>
                  <a:lnTo>
                    <a:pt x="2174845"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9"/>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6" name="object 6"/>
            <p:cNvSpPr/>
            <p:nvPr/>
          </p:nvSpPr>
          <p:spPr>
            <a:xfrm>
              <a:off x="2857131" y="4437709"/>
              <a:ext cx="1410335" cy="1704339"/>
            </a:xfrm>
            <a:custGeom>
              <a:avLst/>
              <a:gdLst/>
              <a:ahLst/>
              <a:cxnLst/>
              <a:rect l="l" t="t" r="r" b="b"/>
              <a:pathLst>
                <a:path w="1410335" h="1704339">
                  <a:moveTo>
                    <a:pt x="530402" y="1267675"/>
                  </a:moveTo>
                  <a:lnTo>
                    <a:pt x="357124" y="1051687"/>
                  </a:lnTo>
                  <a:lnTo>
                    <a:pt x="344741" y="1044778"/>
                  </a:lnTo>
                  <a:lnTo>
                    <a:pt x="326072" y="1037361"/>
                  </a:lnTo>
                  <a:lnTo>
                    <a:pt x="305092" y="1034249"/>
                  </a:lnTo>
                  <a:lnTo>
                    <a:pt x="285762" y="1040231"/>
                  </a:lnTo>
                  <a:lnTo>
                    <a:pt x="273659" y="1054100"/>
                  </a:lnTo>
                  <a:lnTo>
                    <a:pt x="270192" y="1069174"/>
                  </a:lnTo>
                  <a:lnTo>
                    <a:pt x="271805" y="1082713"/>
                  </a:lnTo>
                  <a:lnTo>
                    <a:pt x="274891" y="1091946"/>
                  </a:lnTo>
                  <a:lnTo>
                    <a:pt x="331279" y="1180109"/>
                  </a:lnTo>
                  <a:lnTo>
                    <a:pt x="335381" y="1190434"/>
                  </a:lnTo>
                  <a:lnTo>
                    <a:pt x="314236" y="1224292"/>
                  </a:lnTo>
                  <a:lnTo>
                    <a:pt x="303491" y="1225105"/>
                  </a:lnTo>
                  <a:lnTo>
                    <a:pt x="293141" y="1221994"/>
                  </a:lnTo>
                  <a:lnTo>
                    <a:pt x="284289" y="1215072"/>
                  </a:lnTo>
                  <a:lnTo>
                    <a:pt x="111607" y="1014082"/>
                  </a:lnTo>
                  <a:lnTo>
                    <a:pt x="109258" y="1007021"/>
                  </a:lnTo>
                  <a:lnTo>
                    <a:pt x="113372" y="622376"/>
                  </a:lnTo>
                  <a:lnTo>
                    <a:pt x="107010" y="606869"/>
                  </a:lnTo>
                  <a:lnTo>
                    <a:pt x="94716" y="593356"/>
                  </a:lnTo>
                  <a:lnTo>
                    <a:pt x="78676" y="583692"/>
                  </a:lnTo>
                  <a:lnTo>
                    <a:pt x="61087" y="579767"/>
                  </a:lnTo>
                  <a:lnTo>
                    <a:pt x="34734" y="584314"/>
                  </a:lnTo>
                  <a:lnTo>
                    <a:pt x="16560" y="597433"/>
                  </a:lnTo>
                  <a:lnTo>
                    <a:pt x="5372" y="613029"/>
                  </a:lnTo>
                  <a:lnTo>
                    <a:pt x="0" y="625017"/>
                  </a:lnTo>
                  <a:lnTo>
                    <a:pt x="0" y="1089304"/>
                  </a:lnTo>
                  <a:lnTo>
                    <a:pt x="270789" y="1414297"/>
                  </a:lnTo>
                  <a:lnTo>
                    <a:pt x="273138" y="1421066"/>
                  </a:lnTo>
                  <a:lnTo>
                    <a:pt x="273138" y="1427822"/>
                  </a:lnTo>
                  <a:lnTo>
                    <a:pt x="273138" y="1508340"/>
                  </a:lnTo>
                  <a:lnTo>
                    <a:pt x="528637" y="1508340"/>
                  </a:lnTo>
                  <a:lnTo>
                    <a:pt x="530402" y="1267675"/>
                  </a:lnTo>
                  <a:close/>
                </a:path>
                <a:path w="1410335" h="1704339">
                  <a:moveTo>
                    <a:pt x="580923" y="1567395"/>
                  </a:moveTo>
                  <a:lnTo>
                    <a:pt x="223799" y="1567395"/>
                  </a:lnTo>
                  <a:lnTo>
                    <a:pt x="223799" y="1704327"/>
                  </a:lnTo>
                  <a:lnTo>
                    <a:pt x="580923" y="1704327"/>
                  </a:lnTo>
                  <a:lnTo>
                    <a:pt x="580923" y="1567395"/>
                  </a:lnTo>
                  <a:close/>
                </a:path>
                <a:path w="1410335" h="1704339">
                  <a:moveTo>
                    <a:pt x="1167117" y="455472"/>
                  </a:moveTo>
                  <a:lnTo>
                    <a:pt x="1164729" y="408952"/>
                  </a:lnTo>
                  <a:lnTo>
                    <a:pt x="1157706" y="363766"/>
                  </a:lnTo>
                  <a:lnTo>
                    <a:pt x="1146302" y="320141"/>
                  </a:lnTo>
                  <a:lnTo>
                    <a:pt x="1130731" y="278307"/>
                  </a:lnTo>
                  <a:lnTo>
                    <a:pt x="1111250" y="238493"/>
                  </a:lnTo>
                  <a:lnTo>
                    <a:pt x="1088072" y="200939"/>
                  </a:lnTo>
                  <a:lnTo>
                    <a:pt x="1061440" y="165874"/>
                  </a:lnTo>
                  <a:lnTo>
                    <a:pt x="1031582" y="133515"/>
                  </a:lnTo>
                  <a:lnTo>
                    <a:pt x="998740" y="104101"/>
                  </a:lnTo>
                  <a:lnTo>
                    <a:pt x="963142" y="77863"/>
                  </a:lnTo>
                  <a:lnTo>
                    <a:pt x="925029" y="55029"/>
                  </a:lnTo>
                  <a:lnTo>
                    <a:pt x="884631" y="35839"/>
                  </a:lnTo>
                  <a:lnTo>
                    <a:pt x="860310" y="27063"/>
                  </a:lnTo>
                  <a:lnTo>
                    <a:pt x="860310" y="536816"/>
                  </a:lnTo>
                  <a:lnTo>
                    <a:pt x="858088" y="563422"/>
                  </a:lnTo>
                  <a:lnTo>
                    <a:pt x="849579" y="589305"/>
                  </a:lnTo>
                  <a:lnTo>
                    <a:pt x="834961" y="613562"/>
                  </a:lnTo>
                  <a:lnTo>
                    <a:pt x="834364" y="613562"/>
                  </a:lnTo>
                  <a:lnTo>
                    <a:pt x="817397" y="629932"/>
                  </a:lnTo>
                  <a:lnTo>
                    <a:pt x="793953" y="643864"/>
                  </a:lnTo>
                  <a:lnTo>
                    <a:pt x="765606" y="654761"/>
                  </a:lnTo>
                  <a:lnTo>
                    <a:pt x="733933" y="662038"/>
                  </a:lnTo>
                  <a:lnTo>
                    <a:pt x="733933" y="719937"/>
                  </a:lnTo>
                  <a:lnTo>
                    <a:pt x="731608" y="731342"/>
                  </a:lnTo>
                  <a:lnTo>
                    <a:pt x="725297" y="740689"/>
                  </a:lnTo>
                  <a:lnTo>
                    <a:pt x="715962" y="747001"/>
                  </a:lnTo>
                  <a:lnTo>
                    <a:pt x="704557" y="749312"/>
                  </a:lnTo>
                  <a:lnTo>
                    <a:pt x="693153" y="747001"/>
                  </a:lnTo>
                  <a:lnTo>
                    <a:pt x="683818" y="740689"/>
                  </a:lnTo>
                  <a:lnTo>
                    <a:pt x="677506" y="731342"/>
                  </a:lnTo>
                  <a:lnTo>
                    <a:pt x="675195" y="719937"/>
                  </a:lnTo>
                  <a:lnTo>
                    <a:pt x="675195" y="663803"/>
                  </a:lnTo>
                  <a:lnTo>
                    <a:pt x="645731" y="659663"/>
                  </a:lnTo>
                  <a:lnTo>
                    <a:pt x="589330" y="640918"/>
                  </a:lnTo>
                  <a:lnTo>
                    <a:pt x="554685" y="618045"/>
                  </a:lnTo>
                  <a:lnTo>
                    <a:pt x="549948" y="596442"/>
                  </a:lnTo>
                  <a:lnTo>
                    <a:pt x="554189" y="585647"/>
                  </a:lnTo>
                  <a:lnTo>
                    <a:pt x="562343" y="577329"/>
                  </a:lnTo>
                  <a:lnTo>
                    <a:pt x="572693" y="572858"/>
                  </a:lnTo>
                  <a:lnTo>
                    <a:pt x="583933" y="572579"/>
                  </a:lnTo>
                  <a:lnTo>
                    <a:pt x="594715" y="576821"/>
                  </a:lnTo>
                  <a:lnTo>
                    <a:pt x="625284" y="592785"/>
                  </a:lnTo>
                  <a:lnTo>
                    <a:pt x="654456" y="602030"/>
                  </a:lnTo>
                  <a:lnTo>
                    <a:pt x="680910" y="606082"/>
                  </a:lnTo>
                  <a:lnTo>
                    <a:pt x="703389" y="606501"/>
                  </a:lnTo>
                  <a:lnTo>
                    <a:pt x="734733" y="602424"/>
                  </a:lnTo>
                  <a:lnTo>
                    <a:pt x="760069" y="594791"/>
                  </a:lnTo>
                  <a:lnTo>
                    <a:pt x="778141" y="585889"/>
                  </a:lnTo>
                  <a:lnTo>
                    <a:pt x="787679" y="578002"/>
                  </a:lnTo>
                  <a:lnTo>
                    <a:pt x="790981" y="572579"/>
                  </a:lnTo>
                  <a:lnTo>
                    <a:pt x="795210" y="565670"/>
                  </a:lnTo>
                  <a:lnTo>
                    <a:pt x="799680" y="552767"/>
                  </a:lnTo>
                  <a:lnTo>
                    <a:pt x="801014" y="539699"/>
                  </a:lnTo>
                  <a:lnTo>
                    <a:pt x="799122" y="526872"/>
                  </a:lnTo>
                  <a:lnTo>
                    <a:pt x="766216" y="489102"/>
                  </a:lnTo>
                  <a:lnTo>
                    <a:pt x="731583" y="474865"/>
                  </a:lnTo>
                  <a:lnTo>
                    <a:pt x="723061" y="471919"/>
                  </a:lnTo>
                  <a:lnTo>
                    <a:pt x="658914" y="447967"/>
                  </a:lnTo>
                  <a:lnTo>
                    <a:pt x="623277" y="427659"/>
                  </a:lnTo>
                  <a:lnTo>
                    <a:pt x="591947" y="399580"/>
                  </a:lnTo>
                  <a:lnTo>
                    <a:pt x="568871" y="361734"/>
                  </a:lnTo>
                  <a:lnTo>
                    <a:pt x="562241" y="336435"/>
                  </a:lnTo>
                  <a:lnTo>
                    <a:pt x="562495" y="310527"/>
                  </a:lnTo>
                  <a:lnTo>
                    <a:pt x="582968" y="260642"/>
                  </a:lnTo>
                  <a:lnTo>
                    <a:pt x="623392" y="223697"/>
                  </a:lnTo>
                  <a:lnTo>
                    <a:pt x="675487" y="205689"/>
                  </a:lnTo>
                  <a:lnTo>
                    <a:pt x="675487" y="149567"/>
                  </a:lnTo>
                  <a:lnTo>
                    <a:pt x="677799" y="138163"/>
                  </a:lnTo>
                  <a:lnTo>
                    <a:pt x="684110" y="128816"/>
                  </a:lnTo>
                  <a:lnTo>
                    <a:pt x="693445" y="122504"/>
                  </a:lnTo>
                  <a:lnTo>
                    <a:pt x="704850" y="120180"/>
                  </a:lnTo>
                  <a:lnTo>
                    <a:pt x="716254" y="122504"/>
                  </a:lnTo>
                  <a:lnTo>
                    <a:pt x="725601" y="128816"/>
                  </a:lnTo>
                  <a:lnTo>
                    <a:pt x="731901" y="138163"/>
                  </a:lnTo>
                  <a:lnTo>
                    <a:pt x="734225" y="149567"/>
                  </a:lnTo>
                  <a:lnTo>
                    <a:pt x="734225" y="209511"/>
                  </a:lnTo>
                  <a:lnTo>
                    <a:pt x="755573" y="215379"/>
                  </a:lnTo>
                  <a:lnTo>
                    <a:pt x="798068" y="232613"/>
                  </a:lnTo>
                  <a:lnTo>
                    <a:pt x="828459" y="262585"/>
                  </a:lnTo>
                  <a:lnTo>
                    <a:pt x="828230" y="273812"/>
                  </a:lnTo>
                  <a:lnTo>
                    <a:pt x="823506" y="284441"/>
                  </a:lnTo>
                  <a:lnTo>
                    <a:pt x="815022" y="292442"/>
                  </a:lnTo>
                  <a:lnTo>
                    <a:pt x="804519" y="296456"/>
                  </a:lnTo>
                  <a:lnTo>
                    <a:pt x="793318" y="296227"/>
                  </a:lnTo>
                  <a:lnTo>
                    <a:pt x="782675" y="291503"/>
                  </a:lnTo>
                  <a:lnTo>
                    <a:pt x="764819" y="281419"/>
                  </a:lnTo>
                  <a:lnTo>
                    <a:pt x="743292" y="272834"/>
                  </a:lnTo>
                  <a:lnTo>
                    <a:pt x="721271" y="266458"/>
                  </a:lnTo>
                  <a:lnTo>
                    <a:pt x="701916" y="262991"/>
                  </a:lnTo>
                  <a:lnTo>
                    <a:pt x="697801" y="262699"/>
                  </a:lnTo>
                  <a:lnTo>
                    <a:pt x="678675" y="264274"/>
                  </a:lnTo>
                  <a:lnTo>
                    <a:pt x="644029" y="280758"/>
                  </a:lnTo>
                  <a:lnTo>
                    <a:pt x="621995" y="313093"/>
                  </a:lnTo>
                  <a:lnTo>
                    <a:pt x="620560" y="325551"/>
                  </a:lnTo>
                  <a:lnTo>
                    <a:pt x="623506" y="339394"/>
                  </a:lnTo>
                  <a:lnTo>
                    <a:pt x="661568" y="382117"/>
                  </a:lnTo>
                  <a:lnTo>
                    <a:pt x="714844" y="406984"/>
                  </a:lnTo>
                  <a:lnTo>
                    <a:pt x="741565" y="415798"/>
                  </a:lnTo>
                  <a:lnTo>
                    <a:pt x="755548" y="420458"/>
                  </a:lnTo>
                  <a:lnTo>
                    <a:pt x="799528" y="440131"/>
                  </a:lnTo>
                  <a:lnTo>
                    <a:pt x="844067" y="483463"/>
                  </a:lnTo>
                  <a:lnTo>
                    <a:pt x="860310" y="536816"/>
                  </a:lnTo>
                  <a:lnTo>
                    <a:pt x="860310" y="27063"/>
                  </a:lnTo>
                  <a:lnTo>
                    <a:pt x="842175" y="20497"/>
                  </a:lnTo>
                  <a:lnTo>
                    <a:pt x="797902" y="9258"/>
                  </a:lnTo>
                  <a:lnTo>
                    <a:pt x="752055" y="2349"/>
                  </a:lnTo>
                  <a:lnTo>
                    <a:pt x="704850" y="0"/>
                  </a:lnTo>
                  <a:lnTo>
                    <a:pt x="657656" y="2349"/>
                  </a:lnTo>
                  <a:lnTo>
                    <a:pt x="611797" y="9258"/>
                  </a:lnTo>
                  <a:lnTo>
                    <a:pt x="567537" y="20497"/>
                  </a:lnTo>
                  <a:lnTo>
                    <a:pt x="525081" y="35839"/>
                  </a:lnTo>
                  <a:lnTo>
                    <a:pt x="484682" y="55029"/>
                  </a:lnTo>
                  <a:lnTo>
                    <a:pt x="446570" y="77863"/>
                  </a:lnTo>
                  <a:lnTo>
                    <a:pt x="410972" y="104101"/>
                  </a:lnTo>
                  <a:lnTo>
                    <a:pt x="378129" y="133515"/>
                  </a:lnTo>
                  <a:lnTo>
                    <a:pt x="348272" y="165874"/>
                  </a:lnTo>
                  <a:lnTo>
                    <a:pt x="321640" y="200939"/>
                  </a:lnTo>
                  <a:lnTo>
                    <a:pt x="298462" y="238493"/>
                  </a:lnTo>
                  <a:lnTo>
                    <a:pt x="278968" y="278307"/>
                  </a:lnTo>
                  <a:lnTo>
                    <a:pt x="263410" y="320141"/>
                  </a:lnTo>
                  <a:lnTo>
                    <a:pt x="251993" y="363766"/>
                  </a:lnTo>
                  <a:lnTo>
                    <a:pt x="244983" y="408952"/>
                  </a:lnTo>
                  <a:lnTo>
                    <a:pt x="242595" y="455472"/>
                  </a:lnTo>
                  <a:lnTo>
                    <a:pt x="244983" y="501980"/>
                  </a:lnTo>
                  <a:lnTo>
                    <a:pt x="251993" y="547166"/>
                  </a:lnTo>
                  <a:lnTo>
                    <a:pt x="263410" y="590791"/>
                  </a:lnTo>
                  <a:lnTo>
                    <a:pt x="278968" y="632625"/>
                  </a:lnTo>
                  <a:lnTo>
                    <a:pt x="298462" y="672439"/>
                  </a:lnTo>
                  <a:lnTo>
                    <a:pt x="321640" y="709993"/>
                  </a:lnTo>
                  <a:lnTo>
                    <a:pt x="348272" y="745058"/>
                  </a:lnTo>
                  <a:lnTo>
                    <a:pt x="378129" y="777417"/>
                  </a:lnTo>
                  <a:lnTo>
                    <a:pt x="410972" y="806831"/>
                  </a:lnTo>
                  <a:lnTo>
                    <a:pt x="446570" y="833069"/>
                  </a:lnTo>
                  <a:lnTo>
                    <a:pt x="484682" y="855903"/>
                  </a:lnTo>
                  <a:lnTo>
                    <a:pt x="525081" y="875093"/>
                  </a:lnTo>
                  <a:lnTo>
                    <a:pt x="567537" y="890435"/>
                  </a:lnTo>
                  <a:lnTo>
                    <a:pt x="611797" y="901674"/>
                  </a:lnTo>
                  <a:lnTo>
                    <a:pt x="657656" y="908583"/>
                  </a:lnTo>
                  <a:lnTo>
                    <a:pt x="704850" y="910932"/>
                  </a:lnTo>
                  <a:lnTo>
                    <a:pt x="752055" y="908583"/>
                  </a:lnTo>
                  <a:lnTo>
                    <a:pt x="797902" y="901674"/>
                  </a:lnTo>
                  <a:lnTo>
                    <a:pt x="842175" y="890435"/>
                  </a:lnTo>
                  <a:lnTo>
                    <a:pt x="884631" y="875093"/>
                  </a:lnTo>
                  <a:lnTo>
                    <a:pt x="925029" y="855903"/>
                  </a:lnTo>
                  <a:lnTo>
                    <a:pt x="963142" y="833069"/>
                  </a:lnTo>
                  <a:lnTo>
                    <a:pt x="998740" y="806831"/>
                  </a:lnTo>
                  <a:lnTo>
                    <a:pt x="1031582" y="777417"/>
                  </a:lnTo>
                  <a:lnTo>
                    <a:pt x="1057503" y="749312"/>
                  </a:lnTo>
                  <a:lnTo>
                    <a:pt x="1061440" y="745058"/>
                  </a:lnTo>
                  <a:lnTo>
                    <a:pt x="1088072" y="709993"/>
                  </a:lnTo>
                  <a:lnTo>
                    <a:pt x="1111250" y="672439"/>
                  </a:lnTo>
                  <a:lnTo>
                    <a:pt x="1130731" y="632625"/>
                  </a:lnTo>
                  <a:lnTo>
                    <a:pt x="1146302" y="590791"/>
                  </a:lnTo>
                  <a:lnTo>
                    <a:pt x="1157706" y="547166"/>
                  </a:lnTo>
                  <a:lnTo>
                    <a:pt x="1164729" y="501980"/>
                  </a:lnTo>
                  <a:lnTo>
                    <a:pt x="1167117" y="455472"/>
                  </a:lnTo>
                  <a:close/>
                </a:path>
                <a:path w="1410335" h="1704339">
                  <a:moveTo>
                    <a:pt x="1185913" y="1567395"/>
                  </a:moveTo>
                  <a:lnTo>
                    <a:pt x="828789" y="1567395"/>
                  </a:lnTo>
                  <a:lnTo>
                    <a:pt x="828789" y="1704327"/>
                  </a:lnTo>
                  <a:lnTo>
                    <a:pt x="1185913" y="1704327"/>
                  </a:lnTo>
                  <a:lnTo>
                    <a:pt x="1185913" y="1567395"/>
                  </a:lnTo>
                  <a:close/>
                </a:path>
                <a:path w="1410335" h="1704339">
                  <a:moveTo>
                    <a:pt x="1409992" y="620318"/>
                  </a:moveTo>
                  <a:lnTo>
                    <a:pt x="1408531" y="608330"/>
                  </a:lnTo>
                  <a:lnTo>
                    <a:pt x="1402257" y="594271"/>
                  </a:lnTo>
                  <a:lnTo>
                    <a:pt x="1388313" y="582587"/>
                  </a:lnTo>
                  <a:lnTo>
                    <a:pt x="1363891" y="577710"/>
                  </a:lnTo>
                  <a:lnTo>
                    <a:pt x="1345565" y="579907"/>
                  </a:lnTo>
                  <a:lnTo>
                    <a:pt x="1323581" y="588035"/>
                  </a:lnTo>
                  <a:lnTo>
                    <a:pt x="1304785" y="604367"/>
                  </a:lnTo>
                  <a:lnTo>
                    <a:pt x="1296339" y="631190"/>
                  </a:lnTo>
                  <a:lnTo>
                    <a:pt x="1300454" y="1006729"/>
                  </a:lnTo>
                  <a:lnTo>
                    <a:pt x="1298105" y="1013777"/>
                  </a:lnTo>
                  <a:lnTo>
                    <a:pt x="1125410" y="1214780"/>
                  </a:lnTo>
                  <a:lnTo>
                    <a:pt x="1116698" y="1221701"/>
                  </a:lnTo>
                  <a:lnTo>
                    <a:pt x="1106322" y="1224800"/>
                  </a:lnTo>
                  <a:lnTo>
                    <a:pt x="1095514" y="1223987"/>
                  </a:lnTo>
                  <a:lnTo>
                    <a:pt x="1085469" y="1219187"/>
                  </a:lnTo>
                  <a:lnTo>
                    <a:pt x="1077976" y="1211008"/>
                  </a:lnTo>
                  <a:lnTo>
                    <a:pt x="1074127" y="1200924"/>
                  </a:lnTo>
                  <a:lnTo>
                    <a:pt x="1074204" y="1190129"/>
                  </a:lnTo>
                  <a:lnTo>
                    <a:pt x="1078420" y="1179804"/>
                  </a:lnTo>
                  <a:lnTo>
                    <a:pt x="1135100" y="1091653"/>
                  </a:lnTo>
                  <a:lnTo>
                    <a:pt x="1138072" y="1082713"/>
                  </a:lnTo>
                  <a:lnTo>
                    <a:pt x="1139698" y="1069251"/>
                  </a:lnTo>
                  <a:lnTo>
                    <a:pt x="1136307" y="1054138"/>
                  </a:lnTo>
                  <a:lnTo>
                    <a:pt x="1124242" y="1040231"/>
                  </a:lnTo>
                  <a:lnTo>
                    <a:pt x="1104950" y="1034288"/>
                  </a:lnTo>
                  <a:lnTo>
                    <a:pt x="1084046" y="1037475"/>
                  </a:lnTo>
                  <a:lnTo>
                    <a:pt x="1065390" y="1044905"/>
                  </a:lnTo>
                  <a:lnTo>
                    <a:pt x="1052868" y="1051687"/>
                  </a:lnTo>
                  <a:lnTo>
                    <a:pt x="879602" y="1267675"/>
                  </a:lnTo>
                  <a:lnTo>
                    <a:pt x="881354" y="1508340"/>
                  </a:lnTo>
                  <a:lnTo>
                    <a:pt x="1136865" y="1508340"/>
                  </a:lnTo>
                  <a:lnTo>
                    <a:pt x="1136865" y="1420761"/>
                  </a:lnTo>
                  <a:lnTo>
                    <a:pt x="1139215" y="1414005"/>
                  </a:lnTo>
                  <a:lnTo>
                    <a:pt x="1409992" y="1089012"/>
                  </a:lnTo>
                  <a:lnTo>
                    <a:pt x="1409992" y="620318"/>
                  </a:lnTo>
                  <a:close/>
                </a:path>
              </a:pathLst>
            </a:custGeom>
            <a:solidFill>
              <a:srgbClr val="FFFFFF"/>
            </a:solidFill>
          </p:spPr>
          <p:txBody>
            <a:bodyPr wrap="square" lIns="0" tIns="0" rIns="0" bIns="0" rtlCol="0"/>
            <a:lstStyle/>
            <a:p>
              <a:endParaRPr/>
            </a:p>
          </p:txBody>
        </p:sp>
      </p:grpSp>
      <p:sp>
        <p:nvSpPr>
          <p:cNvPr id="7" name="object 7"/>
          <p:cNvSpPr txBox="1"/>
          <p:nvPr/>
        </p:nvSpPr>
        <p:spPr>
          <a:xfrm>
            <a:off x="2477593" y="7621688"/>
            <a:ext cx="2104390" cy="927100"/>
          </a:xfrm>
          <a:prstGeom prst="rect">
            <a:avLst/>
          </a:prstGeom>
        </p:spPr>
        <p:txBody>
          <a:bodyPr vert="horz" wrap="square" lIns="0" tIns="34925" rIns="0" bIns="0" rtlCol="0">
            <a:spAutoFit/>
          </a:bodyPr>
          <a:lstStyle/>
          <a:p>
            <a:pPr marL="12065" marR="5080" algn="ctr">
              <a:lnSpc>
                <a:spcPts val="2330"/>
              </a:lnSpc>
              <a:spcBef>
                <a:spcPts val="275"/>
              </a:spcBef>
            </a:pPr>
            <a:r>
              <a:rPr sz="2000" b="1" spc="-10" dirty="0">
                <a:solidFill>
                  <a:srgbClr val="FFFFFF"/>
                </a:solidFill>
                <a:latin typeface="Roboto"/>
                <a:cs typeface="Roboto"/>
              </a:rPr>
              <a:t>Situación </a:t>
            </a:r>
            <a:r>
              <a:rPr sz="2000" b="1" dirty="0">
                <a:solidFill>
                  <a:srgbClr val="FFFFFF"/>
                </a:solidFill>
                <a:latin typeface="Roboto"/>
                <a:cs typeface="Roboto"/>
              </a:rPr>
              <a:t>económico-</a:t>
            </a:r>
            <a:r>
              <a:rPr sz="2000" b="1" spc="-10" dirty="0">
                <a:solidFill>
                  <a:srgbClr val="FFFFFF"/>
                </a:solidFill>
                <a:latin typeface="Roboto"/>
                <a:cs typeface="Roboto"/>
              </a:rPr>
              <a:t>social </a:t>
            </a:r>
            <a:r>
              <a:rPr sz="2000" b="1" dirty="0">
                <a:solidFill>
                  <a:srgbClr val="FFFFFF"/>
                </a:solidFill>
                <a:latin typeface="Roboto"/>
                <a:cs typeface="Roboto"/>
              </a:rPr>
              <a:t>de</a:t>
            </a:r>
            <a:r>
              <a:rPr sz="2000" b="1" spc="50" dirty="0">
                <a:solidFill>
                  <a:srgbClr val="FFFFFF"/>
                </a:solidFill>
                <a:latin typeface="Roboto"/>
                <a:cs typeface="Roboto"/>
              </a:rPr>
              <a:t> </a:t>
            </a:r>
            <a:r>
              <a:rPr sz="2000" b="1" spc="-10" dirty="0">
                <a:solidFill>
                  <a:srgbClr val="FFFFFF"/>
                </a:solidFill>
                <a:latin typeface="Roboto"/>
                <a:cs typeface="Roboto"/>
              </a:rPr>
              <a:t>Argentina</a:t>
            </a:r>
            <a:endParaRPr sz="2000">
              <a:latin typeface="Roboto"/>
              <a:cs typeface="Roboto"/>
            </a:endParaRPr>
          </a:p>
        </p:txBody>
      </p:sp>
      <p:grpSp>
        <p:nvGrpSpPr>
          <p:cNvPr id="8" name="object 8"/>
          <p:cNvGrpSpPr/>
          <p:nvPr/>
        </p:nvGrpSpPr>
        <p:grpSpPr>
          <a:xfrm>
            <a:off x="5811656" y="3686609"/>
            <a:ext cx="3086100" cy="5032375"/>
            <a:chOff x="5811656" y="3686609"/>
            <a:chExt cx="3086100" cy="5032375"/>
          </a:xfrm>
        </p:grpSpPr>
        <p:sp>
          <p:nvSpPr>
            <p:cNvPr id="9" name="object 9"/>
            <p:cNvSpPr/>
            <p:nvPr/>
          </p:nvSpPr>
          <p:spPr>
            <a:xfrm>
              <a:off x="5861300" y="7540185"/>
              <a:ext cx="3036570" cy="1179195"/>
            </a:xfrm>
            <a:custGeom>
              <a:avLst/>
              <a:gdLst/>
              <a:ahLst/>
              <a:cxnLst/>
              <a:rect l="l" t="t" r="r" b="b"/>
              <a:pathLst>
                <a:path w="3036570" h="1179195">
                  <a:moveTo>
                    <a:pt x="2447083" y="1178745"/>
                  </a:moveTo>
                  <a:lnTo>
                    <a:pt x="589372" y="1178745"/>
                  </a:lnTo>
                  <a:lnTo>
                    <a:pt x="541034" y="1176791"/>
                  </a:lnTo>
                  <a:lnTo>
                    <a:pt x="493773" y="1171031"/>
                  </a:lnTo>
                  <a:lnTo>
                    <a:pt x="447739" y="1161616"/>
                  </a:lnTo>
                  <a:lnTo>
                    <a:pt x="403085" y="1148698"/>
                  </a:lnTo>
                  <a:lnTo>
                    <a:pt x="359962" y="1132429"/>
                  </a:lnTo>
                  <a:lnTo>
                    <a:pt x="318521" y="1112960"/>
                  </a:lnTo>
                  <a:lnTo>
                    <a:pt x="278916" y="1090443"/>
                  </a:lnTo>
                  <a:lnTo>
                    <a:pt x="241296" y="1065030"/>
                  </a:lnTo>
                  <a:lnTo>
                    <a:pt x="205815" y="1036872"/>
                  </a:lnTo>
                  <a:lnTo>
                    <a:pt x="172623" y="1006122"/>
                  </a:lnTo>
                  <a:lnTo>
                    <a:pt x="141872" y="972930"/>
                  </a:lnTo>
                  <a:lnTo>
                    <a:pt x="113714" y="937448"/>
                  </a:lnTo>
                  <a:lnTo>
                    <a:pt x="88301" y="899829"/>
                  </a:lnTo>
                  <a:lnTo>
                    <a:pt x="65784" y="860223"/>
                  </a:lnTo>
                  <a:lnTo>
                    <a:pt x="46315" y="818783"/>
                  </a:lnTo>
                  <a:lnTo>
                    <a:pt x="30046" y="775660"/>
                  </a:lnTo>
                  <a:lnTo>
                    <a:pt x="17128" y="731005"/>
                  </a:lnTo>
                  <a:lnTo>
                    <a:pt x="7713" y="684971"/>
                  </a:lnTo>
                  <a:lnTo>
                    <a:pt x="1953" y="637710"/>
                  </a:lnTo>
                  <a:lnTo>
                    <a:pt x="0" y="589372"/>
                  </a:lnTo>
                  <a:lnTo>
                    <a:pt x="1953" y="541034"/>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1" y="65784"/>
                  </a:lnTo>
                  <a:lnTo>
                    <a:pt x="359962" y="46315"/>
                  </a:lnTo>
                  <a:lnTo>
                    <a:pt x="403085" y="30046"/>
                  </a:lnTo>
                  <a:lnTo>
                    <a:pt x="447739" y="17128"/>
                  </a:lnTo>
                  <a:lnTo>
                    <a:pt x="493773" y="7713"/>
                  </a:lnTo>
                  <a:lnTo>
                    <a:pt x="541034" y="1953"/>
                  </a:lnTo>
                  <a:lnTo>
                    <a:pt x="589372" y="0"/>
                  </a:lnTo>
                  <a:lnTo>
                    <a:pt x="2447083" y="0"/>
                  </a:lnTo>
                  <a:lnTo>
                    <a:pt x="2495421" y="1953"/>
                  </a:lnTo>
                  <a:lnTo>
                    <a:pt x="2542682" y="7713"/>
                  </a:lnTo>
                  <a:lnTo>
                    <a:pt x="2588716" y="17128"/>
                  </a:lnTo>
                  <a:lnTo>
                    <a:pt x="2633370" y="30046"/>
                  </a:lnTo>
                  <a:lnTo>
                    <a:pt x="2676493" y="46315"/>
                  </a:lnTo>
                  <a:lnTo>
                    <a:pt x="2717934" y="65784"/>
                  </a:lnTo>
                  <a:lnTo>
                    <a:pt x="2757539" y="88301"/>
                  </a:lnTo>
                  <a:lnTo>
                    <a:pt x="2795159" y="113714"/>
                  </a:lnTo>
                  <a:lnTo>
                    <a:pt x="2830640" y="141872"/>
                  </a:lnTo>
                  <a:lnTo>
                    <a:pt x="2863832" y="172623"/>
                  </a:lnTo>
                  <a:lnTo>
                    <a:pt x="2894583" y="205815"/>
                  </a:lnTo>
                  <a:lnTo>
                    <a:pt x="2922741" y="241296"/>
                  </a:lnTo>
                  <a:lnTo>
                    <a:pt x="2948154" y="278916"/>
                  </a:lnTo>
                  <a:lnTo>
                    <a:pt x="2970671" y="318522"/>
                  </a:lnTo>
                  <a:lnTo>
                    <a:pt x="2990140" y="359962"/>
                  </a:lnTo>
                  <a:lnTo>
                    <a:pt x="3006409" y="403085"/>
                  </a:lnTo>
                  <a:lnTo>
                    <a:pt x="3019327" y="447739"/>
                  </a:lnTo>
                  <a:lnTo>
                    <a:pt x="3028741" y="493773"/>
                  </a:lnTo>
                  <a:lnTo>
                    <a:pt x="3034502" y="541034"/>
                  </a:lnTo>
                  <a:lnTo>
                    <a:pt x="3036455" y="589372"/>
                  </a:lnTo>
                  <a:lnTo>
                    <a:pt x="3034502" y="637710"/>
                  </a:lnTo>
                  <a:lnTo>
                    <a:pt x="3028741" y="684971"/>
                  </a:lnTo>
                  <a:lnTo>
                    <a:pt x="3019327" y="731005"/>
                  </a:lnTo>
                  <a:lnTo>
                    <a:pt x="3006409" y="775660"/>
                  </a:lnTo>
                  <a:lnTo>
                    <a:pt x="2990140" y="818783"/>
                  </a:lnTo>
                  <a:lnTo>
                    <a:pt x="2970671" y="860223"/>
                  </a:lnTo>
                  <a:lnTo>
                    <a:pt x="2948154" y="899829"/>
                  </a:lnTo>
                  <a:lnTo>
                    <a:pt x="2922741" y="937448"/>
                  </a:lnTo>
                  <a:lnTo>
                    <a:pt x="2894583" y="972930"/>
                  </a:lnTo>
                  <a:lnTo>
                    <a:pt x="2863832" y="1006122"/>
                  </a:lnTo>
                  <a:lnTo>
                    <a:pt x="2830640" y="1036872"/>
                  </a:lnTo>
                  <a:lnTo>
                    <a:pt x="2795159" y="1065030"/>
                  </a:lnTo>
                  <a:lnTo>
                    <a:pt x="2757539" y="1090443"/>
                  </a:lnTo>
                  <a:lnTo>
                    <a:pt x="2717934" y="1112960"/>
                  </a:lnTo>
                  <a:lnTo>
                    <a:pt x="2676493" y="1132429"/>
                  </a:lnTo>
                  <a:lnTo>
                    <a:pt x="2633370" y="1148698"/>
                  </a:lnTo>
                  <a:lnTo>
                    <a:pt x="2588716" y="1161616"/>
                  </a:lnTo>
                  <a:lnTo>
                    <a:pt x="2542682" y="1171031"/>
                  </a:lnTo>
                  <a:lnTo>
                    <a:pt x="2495421" y="1176791"/>
                  </a:lnTo>
                  <a:lnTo>
                    <a:pt x="2447083" y="1178745"/>
                  </a:lnTo>
                  <a:close/>
                </a:path>
              </a:pathLst>
            </a:custGeom>
            <a:solidFill>
              <a:srgbClr val="21408B"/>
            </a:solidFill>
          </p:spPr>
          <p:txBody>
            <a:bodyPr wrap="square" lIns="0" tIns="0" rIns="0" bIns="0" rtlCol="0"/>
            <a:lstStyle/>
            <a:p>
              <a:endParaRPr/>
            </a:p>
          </p:txBody>
        </p:sp>
        <p:sp>
          <p:nvSpPr>
            <p:cNvPr id="10" name="object 10"/>
            <p:cNvSpPr/>
            <p:nvPr/>
          </p:nvSpPr>
          <p:spPr>
            <a:xfrm>
              <a:off x="5811656" y="3686609"/>
              <a:ext cx="3086100" cy="3086100"/>
            </a:xfrm>
            <a:custGeom>
              <a:avLst/>
              <a:gdLst/>
              <a:ahLst/>
              <a:cxnLst/>
              <a:rect l="l" t="t" r="r" b="b"/>
              <a:pathLst>
                <a:path w="3086100" h="3086100">
                  <a:moveTo>
                    <a:pt x="1543076" y="3086099"/>
                  </a:moveTo>
                  <a:lnTo>
                    <a:pt x="1494987" y="3085365"/>
                  </a:lnTo>
                  <a:lnTo>
                    <a:pt x="1447291" y="3083177"/>
                  </a:lnTo>
                  <a:lnTo>
                    <a:pt x="1399982" y="3079555"/>
                  </a:lnTo>
                  <a:lnTo>
                    <a:pt x="1353082" y="3074522"/>
                  </a:lnTo>
                  <a:lnTo>
                    <a:pt x="1306612" y="3068099"/>
                  </a:lnTo>
                  <a:lnTo>
                    <a:pt x="1260594" y="3060306"/>
                  </a:lnTo>
                  <a:lnTo>
                    <a:pt x="1215048" y="3051166"/>
                  </a:lnTo>
                  <a:lnTo>
                    <a:pt x="1169996" y="3040700"/>
                  </a:lnTo>
                  <a:lnTo>
                    <a:pt x="1125459" y="3028929"/>
                  </a:lnTo>
                  <a:lnTo>
                    <a:pt x="1081460" y="3015874"/>
                  </a:lnTo>
                  <a:lnTo>
                    <a:pt x="1038018" y="3001557"/>
                  </a:lnTo>
                  <a:lnTo>
                    <a:pt x="995155" y="2985999"/>
                  </a:lnTo>
                  <a:lnTo>
                    <a:pt x="952894" y="2969221"/>
                  </a:lnTo>
                  <a:lnTo>
                    <a:pt x="911254" y="2951246"/>
                  </a:lnTo>
                  <a:lnTo>
                    <a:pt x="870258" y="2932093"/>
                  </a:lnTo>
                  <a:lnTo>
                    <a:pt x="829926" y="2911785"/>
                  </a:lnTo>
                  <a:lnTo>
                    <a:pt x="790281" y="2890342"/>
                  </a:lnTo>
                  <a:lnTo>
                    <a:pt x="751343" y="2867787"/>
                  </a:lnTo>
                  <a:lnTo>
                    <a:pt x="713134" y="2844140"/>
                  </a:lnTo>
                  <a:lnTo>
                    <a:pt x="675675" y="2819423"/>
                  </a:lnTo>
                  <a:lnTo>
                    <a:pt x="638987" y="2793658"/>
                  </a:lnTo>
                  <a:lnTo>
                    <a:pt x="603092" y="2766864"/>
                  </a:lnTo>
                  <a:lnTo>
                    <a:pt x="568012" y="2739065"/>
                  </a:lnTo>
                  <a:lnTo>
                    <a:pt x="533766" y="2710280"/>
                  </a:lnTo>
                  <a:lnTo>
                    <a:pt x="500378" y="2680532"/>
                  </a:lnTo>
                  <a:lnTo>
                    <a:pt x="467868" y="2649842"/>
                  </a:lnTo>
                  <a:lnTo>
                    <a:pt x="436257" y="2618231"/>
                  </a:lnTo>
                  <a:lnTo>
                    <a:pt x="405567" y="2585721"/>
                  </a:lnTo>
                  <a:lnTo>
                    <a:pt x="375819" y="2552333"/>
                  </a:lnTo>
                  <a:lnTo>
                    <a:pt x="347034" y="2518087"/>
                  </a:lnTo>
                  <a:lnTo>
                    <a:pt x="319235" y="2483007"/>
                  </a:lnTo>
                  <a:lnTo>
                    <a:pt x="292441" y="2447112"/>
                  </a:lnTo>
                  <a:lnTo>
                    <a:pt x="266676" y="2410424"/>
                  </a:lnTo>
                  <a:lnTo>
                    <a:pt x="241959" y="2372965"/>
                  </a:lnTo>
                  <a:lnTo>
                    <a:pt x="218312" y="2334756"/>
                  </a:lnTo>
                  <a:lnTo>
                    <a:pt x="195757" y="2295818"/>
                  </a:lnTo>
                  <a:lnTo>
                    <a:pt x="174314" y="2256172"/>
                  </a:lnTo>
                  <a:lnTo>
                    <a:pt x="154006" y="2215841"/>
                  </a:lnTo>
                  <a:lnTo>
                    <a:pt x="134853" y="2174845"/>
                  </a:lnTo>
                  <a:lnTo>
                    <a:pt x="116878"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8"/>
                  </a:lnTo>
                  <a:lnTo>
                    <a:pt x="734" y="1591112"/>
                  </a:lnTo>
                  <a:lnTo>
                    <a:pt x="0" y="1543046"/>
                  </a:lnTo>
                  <a:lnTo>
                    <a:pt x="734" y="1494988"/>
                  </a:lnTo>
                  <a:lnTo>
                    <a:pt x="2922" y="1447292"/>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8" y="952894"/>
                  </a:lnTo>
                  <a:lnTo>
                    <a:pt x="134853" y="911254"/>
                  </a:lnTo>
                  <a:lnTo>
                    <a:pt x="154006" y="870258"/>
                  </a:lnTo>
                  <a:lnTo>
                    <a:pt x="174314" y="829927"/>
                  </a:lnTo>
                  <a:lnTo>
                    <a:pt x="195757" y="790281"/>
                  </a:lnTo>
                  <a:lnTo>
                    <a:pt x="218312" y="751343"/>
                  </a:lnTo>
                  <a:lnTo>
                    <a:pt x="241959" y="713134"/>
                  </a:lnTo>
                  <a:lnTo>
                    <a:pt x="266676" y="675675"/>
                  </a:lnTo>
                  <a:lnTo>
                    <a:pt x="292441" y="638987"/>
                  </a:lnTo>
                  <a:lnTo>
                    <a:pt x="319235" y="603092"/>
                  </a:lnTo>
                  <a:lnTo>
                    <a:pt x="347034" y="568012"/>
                  </a:lnTo>
                  <a:lnTo>
                    <a:pt x="375819" y="533766"/>
                  </a:lnTo>
                  <a:lnTo>
                    <a:pt x="405567" y="500378"/>
                  </a:lnTo>
                  <a:lnTo>
                    <a:pt x="436257" y="467868"/>
                  </a:lnTo>
                  <a:lnTo>
                    <a:pt x="467868" y="436257"/>
                  </a:lnTo>
                  <a:lnTo>
                    <a:pt x="500378" y="405567"/>
                  </a:lnTo>
                  <a:lnTo>
                    <a:pt x="533766" y="375819"/>
                  </a:lnTo>
                  <a:lnTo>
                    <a:pt x="568012" y="347034"/>
                  </a:lnTo>
                  <a:lnTo>
                    <a:pt x="603092" y="319235"/>
                  </a:lnTo>
                  <a:lnTo>
                    <a:pt x="638987" y="292442"/>
                  </a:lnTo>
                  <a:lnTo>
                    <a:pt x="675675" y="266676"/>
                  </a:lnTo>
                  <a:lnTo>
                    <a:pt x="713134" y="241959"/>
                  </a:lnTo>
                  <a:lnTo>
                    <a:pt x="751343" y="218312"/>
                  </a:lnTo>
                  <a:lnTo>
                    <a:pt x="790281" y="195757"/>
                  </a:lnTo>
                  <a:lnTo>
                    <a:pt x="829926" y="174314"/>
                  </a:lnTo>
                  <a:lnTo>
                    <a:pt x="870258" y="154006"/>
                  </a:lnTo>
                  <a:lnTo>
                    <a:pt x="911254" y="134853"/>
                  </a:lnTo>
                  <a:lnTo>
                    <a:pt x="952894" y="116878"/>
                  </a:lnTo>
                  <a:lnTo>
                    <a:pt x="995155" y="100100"/>
                  </a:lnTo>
                  <a:lnTo>
                    <a:pt x="1038018" y="84542"/>
                  </a:lnTo>
                  <a:lnTo>
                    <a:pt x="1081460" y="70225"/>
                  </a:lnTo>
                  <a:lnTo>
                    <a:pt x="1125459" y="57170"/>
                  </a:lnTo>
                  <a:lnTo>
                    <a:pt x="1169996" y="45399"/>
                  </a:lnTo>
                  <a:lnTo>
                    <a:pt x="1215048" y="34933"/>
                  </a:lnTo>
                  <a:lnTo>
                    <a:pt x="1260594" y="25793"/>
                  </a:lnTo>
                  <a:lnTo>
                    <a:pt x="1306612" y="18000"/>
                  </a:lnTo>
                  <a:lnTo>
                    <a:pt x="1353082" y="11577"/>
                  </a:lnTo>
                  <a:lnTo>
                    <a:pt x="1399982"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5" y="134853"/>
                  </a:lnTo>
                  <a:lnTo>
                    <a:pt x="2215841" y="154006"/>
                  </a:lnTo>
                  <a:lnTo>
                    <a:pt x="2256172" y="174314"/>
                  </a:lnTo>
                  <a:lnTo>
                    <a:pt x="2295818" y="195757"/>
                  </a:lnTo>
                  <a:lnTo>
                    <a:pt x="2334756" y="218312"/>
                  </a:lnTo>
                  <a:lnTo>
                    <a:pt x="2372965" y="241959"/>
                  </a:lnTo>
                  <a:lnTo>
                    <a:pt x="2410424" y="266676"/>
                  </a:lnTo>
                  <a:lnTo>
                    <a:pt x="2447112" y="292442"/>
                  </a:lnTo>
                  <a:lnTo>
                    <a:pt x="2483006" y="319235"/>
                  </a:lnTo>
                  <a:lnTo>
                    <a:pt x="2518087" y="347034"/>
                  </a:lnTo>
                  <a:lnTo>
                    <a:pt x="2552332"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5" y="911254"/>
                  </a:lnTo>
                  <a:lnTo>
                    <a:pt x="2969221" y="952894"/>
                  </a:lnTo>
                  <a:lnTo>
                    <a:pt x="2985999" y="995156"/>
                  </a:lnTo>
                  <a:lnTo>
                    <a:pt x="3001557" y="1038018"/>
                  </a:lnTo>
                  <a:lnTo>
                    <a:pt x="3015874" y="1081460"/>
                  </a:lnTo>
                  <a:lnTo>
                    <a:pt x="3028928" y="1125460"/>
                  </a:lnTo>
                  <a:lnTo>
                    <a:pt x="3040700" y="1169996"/>
                  </a:lnTo>
                  <a:lnTo>
                    <a:pt x="3051166" y="1215048"/>
                  </a:lnTo>
                  <a:lnTo>
                    <a:pt x="3060306" y="1260594"/>
                  </a:lnTo>
                  <a:lnTo>
                    <a:pt x="3068098" y="1306613"/>
                  </a:lnTo>
                  <a:lnTo>
                    <a:pt x="3074522" y="1353083"/>
                  </a:lnTo>
                  <a:lnTo>
                    <a:pt x="3079555" y="1399983"/>
                  </a:lnTo>
                  <a:lnTo>
                    <a:pt x="3083176" y="1447292"/>
                  </a:lnTo>
                  <a:lnTo>
                    <a:pt x="3085365" y="1494988"/>
                  </a:lnTo>
                  <a:lnTo>
                    <a:pt x="3086099" y="1543050"/>
                  </a:lnTo>
                  <a:lnTo>
                    <a:pt x="3085365" y="1591112"/>
                  </a:lnTo>
                  <a:lnTo>
                    <a:pt x="3083176" y="1638808"/>
                  </a:lnTo>
                  <a:lnTo>
                    <a:pt x="3079555" y="1686116"/>
                  </a:lnTo>
                  <a:lnTo>
                    <a:pt x="3074522" y="1733016"/>
                  </a:lnTo>
                  <a:lnTo>
                    <a:pt x="3068098" y="1779486"/>
                  </a:lnTo>
                  <a:lnTo>
                    <a:pt x="3060306" y="1825505"/>
                  </a:lnTo>
                  <a:lnTo>
                    <a:pt x="3051166" y="1871051"/>
                  </a:lnTo>
                  <a:lnTo>
                    <a:pt x="3040700" y="1916103"/>
                  </a:lnTo>
                  <a:lnTo>
                    <a:pt x="3028928" y="1960639"/>
                  </a:lnTo>
                  <a:lnTo>
                    <a:pt x="3015874" y="2004639"/>
                  </a:lnTo>
                  <a:lnTo>
                    <a:pt x="3001557" y="2048081"/>
                  </a:lnTo>
                  <a:lnTo>
                    <a:pt x="2985999" y="2090943"/>
                  </a:lnTo>
                  <a:lnTo>
                    <a:pt x="2969221" y="2133205"/>
                  </a:lnTo>
                  <a:lnTo>
                    <a:pt x="2951245"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7"/>
                  </a:lnTo>
                  <a:lnTo>
                    <a:pt x="2739064" y="2518087"/>
                  </a:lnTo>
                  <a:lnTo>
                    <a:pt x="2710280" y="2552333"/>
                  </a:lnTo>
                  <a:lnTo>
                    <a:pt x="2680532" y="2585721"/>
                  </a:lnTo>
                  <a:lnTo>
                    <a:pt x="2649842" y="2618231"/>
                  </a:lnTo>
                  <a:lnTo>
                    <a:pt x="2618231" y="2649842"/>
                  </a:lnTo>
                  <a:lnTo>
                    <a:pt x="2585721" y="2680532"/>
                  </a:lnTo>
                  <a:lnTo>
                    <a:pt x="2552332" y="2710280"/>
                  </a:lnTo>
                  <a:lnTo>
                    <a:pt x="2518087" y="2739065"/>
                  </a:lnTo>
                  <a:lnTo>
                    <a:pt x="2483006" y="2766864"/>
                  </a:lnTo>
                  <a:lnTo>
                    <a:pt x="2447112" y="2793658"/>
                  </a:lnTo>
                  <a:lnTo>
                    <a:pt x="2410424" y="2819423"/>
                  </a:lnTo>
                  <a:lnTo>
                    <a:pt x="2372965" y="2844140"/>
                  </a:lnTo>
                  <a:lnTo>
                    <a:pt x="2334756" y="2867787"/>
                  </a:lnTo>
                  <a:lnTo>
                    <a:pt x="2295818" y="2890342"/>
                  </a:lnTo>
                  <a:lnTo>
                    <a:pt x="2256172" y="2911785"/>
                  </a:lnTo>
                  <a:lnTo>
                    <a:pt x="2215841" y="2932093"/>
                  </a:lnTo>
                  <a:lnTo>
                    <a:pt x="2174845"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9"/>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11" name="object 11"/>
            <p:cNvSpPr/>
            <p:nvPr/>
          </p:nvSpPr>
          <p:spPr>
            <a:xfrm>
              <a:off x="6610998" y="4390224"/>
              <a:ext cx="1485900" cy="1487170"/>
            </a:xfrm>
            <a:custGeom>
              <a:avLst/>
              <a:gdLst/>
              <a:ahLst/>
              <a:cxnLst/>
              <a:rect l="l" t="t" r="r" b="b"/>
              <a:pathLst>
                <a:path w="1485900" h="1487170">
                  <a:moveTo>
                    <a:pt x="635812" y="665251"/>
                  </a:moveTo>
                  <a:lnTo>
                    <a:pt x="625830" y="640295"/>
                  </a:lnTo>
                  <a:lnTo>
                    <a:pt x="607466" y="621131"/>
                  </a:lnTo>
                  <a:lnTo>
                    <a:pt x="582739" y="610577"/>
                  </a:lnTo>
                  <a:lnTo>
                    <a:pt x="535990" y="486740"/>
                  </a:lnTo>
                  <a:lnTo>
                    <a:pt x="480390" y="507746"/>
                  </a:lnTo>
                  <a:lnTo>
                    <a:pt x="524662" y="624992"/>
                  </a:lnTo>
                  <a:lnTo>
                    <a:pt x="510159" y="638949"/>
                  </a:lnTo>
                  <a:lnTo>
                    <a:pt x="499592" y="663575"/>
                  </a:lnTo>
                  <a:lnTo>
                    <a:pt x="456501" y="858431"/>
                  </a:lnTo>
                  <a:lnTo>
                    <a:pt x="323507" y="922172"/>
                  </a:lnTo>
                  <a:lnTo>
                    <a:pt x="222999" y="922197"/>
                  </a:lnTo>
                  <a:lnTo>
                    <a:pt x="266293" y="916355"/>
                  </a:lnTo>
                  <a:lnTo>
                    <a:pt x="305320" y="899858"/>
                  </a:lnTo>
                  <a:lnTo>
                    <a:pt x="338404" y="874268"/>
                  </a:lnTo>
                  <a:lnTo>
                    <a:pt x="363982" y="841184"/>
                  </a:lnTo>
                  <a:lnTo>
                    <a:pt x="380479" y="802144"/>
                  </a:lnTo>
                  <a:lnTo>
                    <a:pt x="386334" y="758761"/>
                  </a:lnTo>
                  <a:lnTo>
                    <a:pt x="380479" y="715352"/>
                  </a:lnTo>
                  <a:lnTo>
                    <a:pt x="363982" y="676325"/>
                  </a:lnTo>
                  <a:lnTo>
                    <a:pt x="338404" y="643229"/>
                  </a:lnTo>
                  <a:lnTo>
                    <a:pt x="305320" y="617651"/>
                  </a:lnTo>
                  <a:lnTo>
                    <a:pt x="266293" y="601154"/>
                  </a:lnTo>
                  <a:lnTo>
                    <a:pt x="222885" y="595312"/>
                  </a:lnTo>
                  <a:lnTo>
                    <a:pt x="179476" y="601154"/>
                  </a:lnTo>
                  <a:lnTo>
                    <a:pt x="140449" y="617651"/>
                  </a:lnTo>
                  <a:lnTo>
                    <a:pt x="107353" y="643229"/>
                  </a:lnTo>
                  <a:lnTo>
                    <a:pt x="81775" y="676325"/>
                  </a:lnTo>
                  <a:lnTo>
                    <a:pt x="65278" y="715352"/>
                  </a:lnTo>
                  <a:lnTo>
                    <a:pt x="59436" y="758761"/>
                  </a:lnTo>
                  <a:lnTo>
                    <a:pt x="65278" y="802144"/>
                  </a:lnTo>
                  <a:lnTo>
                    <a:pt x="81775" y="841184"/>
                  </a:lnTo>
                  <a:lnTo>
                    <a:pt x="107353" y="874268"/>
                  </a:lnTo>
                  <a:lnTo>
                    <a:pt x="140449" y="899858"/>
                  </a:lnTo>
                  <a:lnTo>
                    <a:pt x="179476" y="916355"/>
                  </a:lnTo>
                  <a:lnTo>
                    <a:pt x="222758" y="922197"/>
                  </a:lnTo>
                  <a:lnTo>
                    <a:pt x="153403" y="922210"/>
                  </a:lnTo>
                  <a:lnTo>
                    <a:pt x="105930" y="930376"/>
                  </a:lnTo>
                  <a:lnTo>
                    <a:pt x="63944" y="947293"/>
                  </a:lnTo>
                  <a:lnTo>
                    <a:pt x="30353" y="972896"/>
                  </a:lnTo>
                  <a:lnTo>
                    <a:pt x="8077" y="1007148"/>
                  </a:lnTo>
                  <a:lnTo>
                    <a:pt x="0" y="1049959"/>
                  </a:lnTo>
                  <a:lnTo>
                    <a:pt x="0" y="1480185"/>
                  </a:lnTo>
                  <a:lnTo>
                    <a:pt x="6654" y="1486852"/>
                  </a:lnTo>
                  <a:lnTo>
                    <a:pt x="401193" y="1486852"/>
                  </a:lnTo>
                  <a:lnTo>
                    <a:pt x="409397" y="1486852"/>
                  </a:lnTo>
                  <a:lnTo>
                    <a:pt x="416052" y="1480185"/>
                  </a:lnTo>
                  <a:lnTo>
                    <a:pt x="416052" y="1095844"/>
                  </a:lnTo>
                  <a:lnTo>
                    <a:pt x="550164" y="987285"/>
                  </a:lnTo>
                  <a:lnTo>
                    <a:pt x="580351" y="946277"/>
                  </a:lnTo>
                  <a:lnTo>
                    <a:pt x="635698" y="693318"/>
                  </a:lnTo>
                  <a:lnTo>
                    <a:pt x="635812" y="665251"/>
                  </a:lnTo>
                  <a:close/>
                </a:path>
                <a:path w="1485900" h="1487170">
                  <a:moveTo>
                    <a:pt x="827163" y="343865"/>
                  </a:moveTo>
                  <a:lnTo>
                    <a:pt x="718197" y="13843"/>
                  </a:lnTo>
                  <a:lnTo>
                    <a:pt x="712812" y="7632"/>
                  </a:lnTo>
                  <a:lnTo>
                    <a:pt x="698665" y="558"/>
                  </a:lnTo>
                  <a:lnTo>
                    <a:pt x="690435" y="0"/>
                  </a:lnTo>
                  <a:lnTo>
                    <a:pt x="48437" y="216014"/>
                  </a:lnTo>
                  <a:lnTo>
                    <a:pt x="42252" y="221424"/>
                  </a:lnTo>
                  <a:lnTo>
                    <a:pt x="35242" y="235572"/>
                  </a:lnTo>
                  <a:lnTo>
                    <a:pt x="34709" y="243738"/>
                  </a:lnTo>
                  <a:lnTo>
                    <a:pt x="146773" y="573697"/>
                  </a:lnTo>
                  <a:lnTo>
                    <a:pt x="152184" y="579856"/>
                  </a:lnTo>
                  <a:lnTo>
                    <a:pt x="163385" y="585381"/>
                  </a:lnTo>
                  <a:lnTo>
                    <a:pt x="167881" y="586397"/>
                  </a:lnTo>
                  <a:lnTo>
                    <a:pt x="172364" y="586397"/>
                  </a:lnTo>
                  <a:lnTo>
                    <a:pt x="178866" y="585863"/>
                  </a:lnTo>
                  <a:lnTo>
                    <a:pt x="606628" y="439318"/>
                  </a:lnTo>
                  <a:lnTo>
                    <a:pt x="813231" y="371475"/>
                  </a:lnTo>
                  <a:lnTo>
                    <a:pt x="819442" y="366128"/>
                  </a:lnTo>
                  <a:lnTo>
                    <a:pt x="826541" y="352031"/>
                  </a:lnTo>
                  <a:lnTo>
                    <a:pt x="827163" y="343865"/>
                  </a:lnTo>
                  <a:close/>
                </a:path>
                <a:path w="1485900" h="1487170">
                  <a:moveTo>
                    <a:pt x="1426464" y="937069"/>
                  </a:moveTo>
                  <a:lnTo>
                    <a:pt x="1420609" y="893673"/>
                  </a:lnTo>
                  <a:lnTo>
                    <a:pt x="1404112" y="854646"/>
                  </a:lnTo>
                  <a:lnTo>
                    <a:pt x="1378534" y="821550"/>
                  </a:lnTo>
                  <a:lnTo>
                    <a:pt x="1345438" y="795972"/>
                  </a:lnTo>
                  <a:lnTo>
                    <a:pt x="1306410" y="779462"/>
                  </a:lnTo>
                  <a:lnTo>
                    <a:pt x="1263015" y="773620"/>
                  </a:lnTo>
                  <a:lnTo>
                    <a:pt x="1219619" y="779462"/>
                  </a:lnTo>
                  <a:lnTo>
                    <a:pt x="1180592" y="795972"/>
                  </a:lnTo>
                  <a:lnTo>
                    <a:pt x="1147495" y="821550"/>
                  </a:lnTo>
                  <a:lnTo>
                    <a:pt x="1121918" y="854646"/>
                  </a:lnTo>
                  <a:lnTo>
                    <a:pt x="1105420" y="893673"/>
                  </a:lnTo>
                  <a:lnTo>
                    <a:pt x="1099566" y="937069"/>
                  </a:lnTo>
                  <a:lnTo>
                    <a:pt x="1105420" y="980452"/>
                  </a:lnTo>
                  <a:lnTo>
                    <a:pt x="1121918" y="1019492"/>
                  </a:lnTo>
                  <a:lnTo>
                    <a:pt x="1147495" y="1052576"/>
                  </a:lnTo>
                  <a:lnTo>
                    <a:pt x="1180592" y="1078166"/>
                  </a:lnTo>
                  <a:lnTo>
                    <a:pt x="1219619" y="1094663"/>
                  </a:lnTo>
                  <a:lnTo>
                    <a:pt x="1263015" y="1100518"/>
                  </a:lnTo>
                  <a:lnTo>
                    <a:pt x="1306410" y="1094663"/>
                  </a:lnTo>
                  <a:lnTo>
                    <a:pt x="1345438" y="1078166"/>
                  </a:lnTo>
                  <a:lnTo>
                    <a:pt x="1378534" y="1052576"/>
                  </a:lnTo>
                  <a:lnTo>
                    <a:pt x="1404112" y="1019492"/>
                  </a:lnTo>
                  <a:lnTo>
                    <a:pt x="1420609" y="980452"/>
                  </a:lnTo>
                  <a:lnTo>
                    <a:pt x="1426464" y="937069"/>
                  </a:lnTo>
                  <a:close/>
                </a:path>
                <a:path w="1485900" h="1487170">
                  <a:moveTo>
                    <a:pt x="1451190" y="407250"/>
                  </a:moveTo>
                  <a:lnTo>
                    <a:pt x="835190" y="178663"/>
                  </a:lnTo>
                  <a:lnTo>
                    <a:pt x="881049" y="317563"/>
                  </a:lnTo>
                  <a:lnTo>
                    <a:pt x="884910" y="334721"/>
                  </a:lnTo>
                  <a:lnTo>
                    <a:pt x="876084" y="385762"/>
                  </a:lnTo>
                  <a:lnTo>
                    <a:pt x="840422" y="423252"/>
                  </a:lnTo>
                  <a:lnTo>
                    <a:pt x="667080" y="481965"/>
                  </a:lnTo>
                  <a:lnTo>
                    <a:pt x="661225" y="499910"/>
                  </a:lnTo>
                  <a:lnTo>
                    <a:pt x="680059" y="537324"/>
                  </a:lnTo>
                  <a:lnTo>
                    <a:pt x="1307261" y="746391"/>
                  </a:lnTo>
                  <a:lnTo>
                    <a:pt x="1313535" y="746899"/>
                  </a:lnTo>
                  <a:lnTo>
                    <a:pt x="1322552" y="745490"/>
                  </a:lnTo>
                  <a:lnTo>
                    <a:pt x="1330642" y="741464"/>
                  </a:lnTo>
                  <a:lnTo>
                    <a:pt x="1337208" y="735139"/>
                  </a:lnTo>
                  <a:lnTo>
                    <a:pt x="1341653" y="726808"/>
                  </a:lnTo>
                  <a:lnTo>
                    <a:pt x="1451190" y="407250"/>
                  </a:lnTo>
                  <a:close/>
                </a:path>
                <a:path w="1485900" h="1487170">
                  <a:moveTo>
                    <a:pt x="1485900" y="1225296"/>
                  </a:moveTo>
                  <a:lnTo>
                    <a:pt x="1477556" y="1172337"/>
                  </a:lnTo>
                  <a:lnTo>
                    <a:pt x="1453235" y="1133157"/>
                  </a:lnTo>
                  <a:lnTo>
                    <a:pt x="1414043" y="1108862"/>
                  </a:lnTo>
                  <a:lnTo>
                    <a:pt x="1361084" y="1100518"/>
                  </a:lnTo>
                  <a:lnTo>
                    <a:pt x="1263015" y="1100518"/>
                  </a:lnTo>
                  <a:lnTo>
                    <a:pt x="1162354" y="1100518"/>
                  </a:lnTo>
                  <a:lnTo>
                    <a:pt x="1029398" y="1036802"/>
                  </a:lnTo>
                  <a:lnTo>
                    <a:pt x="986345" y="842022"/>
                  </a:lnTo>
                  <a:lnTo>
                    <a:pt x="975753" y="817346"/>
                  </a:lnTo>
                  <a:lnTo>
                    <a:pt x="961186" y="803313"/>
                  </a:lnTo>
                  <a:lnTo>
                    <a:pt x="1005497" y="686079"/>
                  </a:lnTo>
                  <a:lnTo>
                    <a:pt x="949909" y="665060"/>
                  </a:lnTo>
                  <a:lnTo>
                    <a:pt x="903097" y="788924"/>
                  </a:lnTo>
                  <a:lnTo>
                    <a:pt x="878459" y="799465"/>
                  </a:lnTo>
                  <a:lnTo>
                    <a:pt x="860107" y="818642"/>
                  </a:lnTo>
                  <a:lnTo>
                    <a:pt x="850112" y="843648"/>
                  </a:lnTo>
                  <a:lnTo>
                    <a:pt x="850226" y="871804"/>
                  </a:lnTo>
                  <a:lnTo>
                    <a:pt x="900722" y="1109395"/>
                  </a:lnTo>
                  <a:lnTo>
                    <a:pt x="923963" y="1154125"/>
                  </a:lnTo>
                  <a:lnTo>
                    <a:pt x="1069848" y="1259293"/>
                  </a:lnTo>
                  <a:lnTo>
                    <a:pt x="1069848" y="1480185"/>
                  </a:lnTo>
                  <a:lnTo>
                    <a:pt x="1076502" y="1486852"/>
                  </a:lnTo>
                  <a:lnTo>
                    <a:pt x="1471041" y="1486852"/>
                  </a:lnTo>
                  <a:lnTo>
                    <a:pt x="1479245" y="1486852"/>
                  </a:lnTo>
                  <a:lnTo>
                    <a:pt x="1485900" y="1480185"/>
                  </a:lnTo>
                  <a:lnTo>
                    <a:pt x="1485900" y="1225296"/>
                  </a:lnTo>
                  <a:close/>
                </a:path>
              </a:pathLst>
            </a:custGeom>
            <a:solidFill>
              <a:srgbClr val="FFFFFF"/>
            </a:solidFill>
          </p:spPr>
          <p:txBody>
            <a:bodyPr wrap="square" lIns="0" tIns="0" rIns="0" bIns="0" rtlCol="0"/>
            <a:lstStyle/>
            <a:p>
              <a:endParaRPr/>
            </a:p>
          </p:txBody>
        </p:sp>
      </p:grpSp>
      <p:sp>
        <p:nvSpPr>
          <p:cNvPr id="12" name="object 12"/>
          <p:cNvSpPr txBox="1"/>
          <p:nvPr/>
        </p:nvSpPr>
        <p:spPr>
          <a:xfrm>
            <a:off x="6133934" y="7927637"/>
            <a:ext cx="2441575" cy="336550"/>
          </a:xfrm>
          <a:prstGeom prst="rect">
            <a:avLst/>
          </a:prstGeom>
        </p:spPr>
        <p:txBody>
          <a:bodyPr vert="horz" wrap="square" lIns="0" tIns="17145" rIns="0" bIns="0" rtlCol="0">
            <a:spAutoFit/>
          </a:bodyPr>
          <a:lstStyle/>
          <a:p>
            <a:pPr marL="12700">
              <a:lnSpc>
                <a:spcPct val="100000"/>
              </a:lnSpc>
              <a:spcBef>
                <a:spcPts val="135"/>
              </a:spcBef>
            </a:pPr>
            <a:r>
              <a:rPr sz="2000" b="1" dirty="0">
                <a:solidFill>
                  <a:srgbClr val="FFFFFF"/>
                </a:solidFill>
                <a:latin typeface="Roboto"/>
                <a:cs typeface="Roboto"/>
              </a:rPr>
              <a:t>Estallido</a:t>
            </a:r>
            <a:r>
              <a:rPr sz="2000" b="1" spc="30" dirty="0">
                <a:solidFill>
                  <a:srgbClr val="FFFFFF"/>
                </a:solidFill>
                <a:latin typeface="Roboto"/>
                <a:cs typeface="Roboto"/>
              </a:rPr>
              <a:t> </a:t>
            </a:r>
            <a:r>
              <a:rPr sz="2000" b="1" dirty="0">
                <a:solidFill>
                  <a:srgbClr val="FFFFFF"/>
                </a:solidFill>
                <a:latin typeface="Roboto"/>
                <a:cs typeface="Roboto"/>
              </a:rPr>
              <a:t>social</a:t>
            </a:r>
            <a:r>
              <a:rPr sz="2000" b="1" spc="35" dirty="0">
                <a:solidFill>
                  <a:srgbClr val="FFFFFF"/>
                </a:solidFill>
                <a:latin typeface="Roboto"/>
                <a:cs typeface="Roboto"/>
              </a:rPr>
              <a:t> </a:t>
            </a:r>
            <a:r>
              <a:rPr sz="2000" b="1" spc="-20" dirty="0">
                <a:solidFill>
                  <a:srgbClr val="FFFFFF"/>
                </a:solidFill>
                <a:latin typeface="Roboto"/>
                <a:cs typeface="Roboto"/>
              </a:rPr>
              <a:t>2019</a:t>
            </a:r>
            <a:endParaRPr sz="2000">
              <a:latin typeface="Roboto"/>
              <a:cs typeface="Roboto"/>
            </a:endParaRPr>
          </a:p>
        </p:txBody>
      </p:sp>
      <p:sp>
        <p:nvSpPr>
          <p:cNvPr id="13" name="object 13"/>
          <p:cNvSpPr txBox="1"/>
          <p:nvPr/>
        </p:nvSpPr>
        <p:spPr>
          <a:xfrm>
            <a:off x="5256519" y="1864488"/>
            <a:ext cx="7775575" cy="1062990"/>
          </a:xfrm>
          <a:prstGeom prst="rect">
            <a:avLst/>
          </a:prstGeom>
        </p:spPr>
        <p:txBody>
          <a:bodyPr vert="horz" wrap="square" lIns="0" tIns="33655" rIns="0" bIns="0" rtlCol="0">
            <a:spAutoFit/>
          </a:bodyPr>
          <a:lstStyle/>
          <a:p>
            <a:pPr marL="12700" marR="5080" indent="152400">
              <a:lnSpc>
                <a:spcPts val="4050"/>
              </a:lnSpc>
              <a:spcBef>
                <a:spcPts val="265"/>
              </a:spcBef>
            </a:pPr>
            <a:r>
              <a:rPr sz="3400" b="1" dirty="0">
                <a:solidFill>
                  <a:srgbClr val="E3112B"/>
                </a:solidFill>
                <a:latin typeface="Roboto"/>
                <a:cs typeface="Roboto"/>
              </a:rPr>
              <a:t>Chile</a:t>
            </a:r>
            <a:r>
              <a:rPr sz="3400" b="1" spc="100" dirty="0">
                <a:solidFill>
                  <a:srgbClr val="E3112B"/>
                </a:solidFill>
                <a:latin typeface="Roboto"/>
                <a:cs typeface="Roboto"/>
              </a:rPr>
              <a:t> </a:t>
            </a:r>
            <a:r>
              <a:rPr sz="3400" b="1" dirty="0">
                <a:solidFill>
                  <a:srgbClr val="E3112B"/>
                </a:solidFill>
                <a:latin typeface="Roboto"/>
                <a:cs typeface="Roboto"/>
              </a:rPr>
              <a:t>pierde</a:t>
            </a:r>
            <a:r>
              <a:rPr sz="3400" b="1" spc="105" dirty="0">
                <a:solidFill>
                  <a:srgbClr val="E3112B"/>
                </a:solidFill>
                <a:latin typeface="Roboto"/>
                <a:cs typeface="Roboto"/>
              </a:rPr>
              <a:t> </a:t>
            </a:r>
            <a:r>
              <a:rPr sz="3400" b="1" dirty="0">
                <a:solidFill>
                  <a:srgbClr val="E3112B"/>
                </a:solidFill>
                <a:latin typeface="Roboto"/>
                <a:cs typeface="Roboto"/>
              </a:rPr>
              <a:t>mercado</a:t>
            </a:r>
            <a:r>
              <a:rPr sz="3400" b="1" spc="105" dirty="0">
                <a:solidFill>
                  <a:srgbClr val="E3112B"/>
                </a:solidFill>
                <a:latin typeface="Roboto"/>
                <a:cs typeface="Roboto"/>
              </a:rPr>
              <a:t> </a:t>
            </a:r>
            <a:r>
              <a:rPr sz="3400" b="1" dirty="0">
                <a:solidFill>
                  <a:srgbClr val="E3112B"/>
                </a:solidFill>
                <a:latin typeface="Roboto"/>
                <a:cs typeface="Roboto"/>
              </a:rPr>
              <a:t>desde</a:t>
            </a:r>
            <a:r>
              <a:rPr sz="3400" b="1" spc="100" dirty="0">
                <a:solidFill>
                  <a:srgbClr val="E3112B"/>
                </a:solidFill>
                <a:latin typeface="Roboto"/>
                <a:cs typeface="Roboto"/>
              </a:rPr>
              <a:t> </a:t>
            </a:r>
            <a:r>
              <a:rPr sz="3400" b="1" dirty="0">
                <a:solidFill>
                  <a:srgbClr val="E3112B"/>
                </a:solidFill>
                <a:latin typeface="Roboto"/>
                <a:cs typeface="Roboto"/>
              </a:rPr>
              <a:t>2017</a:t>
            </a:r>
            <a:r>
              <a:rPr sz="3400" b="1" spc="105" dirty="0">
                <a:solidFill>
                  <a:srgbClr val="E3112B"/>
                </a:solidFill>
                <a:latin typeface="Roboto"/>
                <a:cs typeface="Roboto"/>
              </a:rPr>
              <a:t> </a:t>
            </a:r>
            <a:r>
              <a:rPr sz="3400" b="1" spc="-25" dirty="0">
                <a:solidFill>
                  <a:srgbClr val="E3112B"/>
                </a:solidFill>
                <a:latin typeface="Roboto"/>
                <a:cs typeface="Roboto"/>
              </a:rPr>
              <a:t>por </a:t>
            </a:r>
            <a:r>
              <a:rPr sz="3400" b="1" dirty="0">
                <a:solidFill>
                  <a:srgbClr val="E3112B"/>
                </a:solidFill>
                <a:latin typeface="Roboto"/>
                <a:cs typeface="Roboto"/>
              </a:rPr>
              <a:t>factores</a:t>
            </a:r>
            <a:r>
              <a:rPr sz="3400" b="1" spc="105" dirty="0">
                <a:solidFill>
                  <a:srgbClr val="E3112B"/>
                </a:solidFill>
                <a:latin typeface="Roboto"/>
                <a:cs typeface="Roboto"/>
              </a:rPr>
              <a:t> </a:t>
            </a:r>
            <a:r>
              <a:rPr sz="3400" b="1" dirty="0">
                <a:solidFill>
                  <a:srgbClr val="E3112B"/>
                </a:solidFill>
                <a:latin typeface="Roboto"/>
                <a:cs typeface="Roboto"/>
              </a:rPr>
              <a:t>externos</a:t>
            </a:r>
            <a:r>
              <a:rPr sz="3400" b="1" spc="110" dirty="0">
                <a:solidFill>
                  <a:srgbClr val="E3112B"/>
                </a:solidFill>
                <a:latin typeface="Roboto"/>
                <a:cs typeface="Roboto"/>
              </a:rPr>
              <a:t> </a:t>
            </a:r>
            <a:r>
              <a:rPr sz="3400" b="1" dirty="0">
                <a:solidFill>
                  <a:srgbClr val="E3112B"/>
                </a:solidFill>
                <a:latin typeface="Roboto"/>
                <a:cs typeface="Roboto"/>
              </a:rPr>
              <a:t>al</a:t>
            </a:r>
            <a:r>
              <a:rPr sz="3400" b="1" spc="110" dirty="0">
                <a:solidFill>
                  <a:srgbClr val="E3112B"/>
                </a:solidFill>
                <a:latin typeface="Roboto"/>
                <a:cs typeface="Roboto"/>
              </a:rPr>
              <a:t> </a:t>
            </a:r>
            <a:r>
              <a:rPr sz="3400" b="1" dirty="0">
                <a:solidFill>
                  <a:srgbClr val="E3112B"/>
                </a:solidFill>
                <a:latin typeface="Roboto"/>
                <a:cs typeface="Roboto"/>
              </a:rPr>
              <a:t>marketing</a:t>
            </a:r>
            <a:r>
              <a:rPr sz="3400" b="1" spc="105" dirty="0">
                <a:solidFill>
                  <a:srgbClr val="E3112B"/>
                </a:solidFill>
                <a:latin typeface="Roboto"/>
                <a:cs typeface="Roboto"/>
              </a:rPr>
              <a:t> </a:t>
            </a:r>
            <a:r>
              <a:rPr sz="3400" b="1" spc="-10" dirty="0">
                <a:solidFill>
                  <a:srgbClr val="E3112B"/>
                </a:solidFill>
                <a:latin typeface="Roboto"/>
                <a:cs typeface="Roboto"/>
              </a:rPr>
              <a:t>turístico</a:t>
            </a:r>
            <a:endParaRPr sz="3400">
              <a:latin typeface="Roboto"/>
              <a:cs typeface="Roboto"/>
            </a:endParaRPr>
          </a:p>
        </p:txBody>
      </p:sp>
      <p:sp>
        <p:nvSpPr>
          <p:cNvPr id="14" name="object 14"/>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sp>
        <p:nvSpPr>
          <p:cNvPr id="15" name="object 15"/>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1.</a:t>
            </a:r>
            <a:r>
              <a:rPr spc="-110" dirty="0"/>
              <a:t> </a:t>
            </a:r>
            <a:r>
              <a:rPr spc="-30" dirty="0"/>
              <a:t>Situación</a:t>
            </a:r>
            <a:r>
              <a:rPr spc="-105" dirty="0"/>
              <a:t> </a:t>
            </a:r>
            <a:r>
              <a:rPr spc="-10" dirty="0"/>
              <a:t>general</a:t>
            </a:r>
            <a:r>
              <a:rPr spc="-110" dirty="0"/>
              <a:t> </a:t>
            </a:r>
            <a:r>
              <a:rPr dirty="0"/>
              <a:t>del</a:t>
            </a:r>
            <a:r>
              <a:rPr spc="-105" dirty="0"/>
              <a:t> </a:t>
            </a:r>
            <a:r>
              <a:rPr spc="-10" dirty="0"/>
              <a:t>turismo</a:t>
            </a:r>
            <a:r>
              <a:rPr spc="-105" dirty="0"/>
              <a:t> </a:t>
            </a:r>
            <a:r>
              <a:rPr dirty="0"/>
              <a:t>hacia</a:t>
            </a:r>
            <a:r>
              <a:rPr spc="-110" dirty="0"/>
              <a:t> </a:t>
            </a:r>
            <a:r>
              <a:rPr spc="-10" dirty="0"/>
              <a:t>Chile</a:t>
            </a:r>
          </a:p>
        </p:txBody>
      </p:sp>
      <p:grpSp>
        <p:nvGrpSpPr>
          <p:cNvPr id="16" name="object 16"/>
          <p:cNvGrpSpPr/>
          <p:nvPr/>
        </p:nvGrpSpPr>
        <p:grpSpPr>
          <a:xfrm>
            <a:off x="9604556" y="3686609"/>
            <a:ext cx="3110865" cy="5032375"/>
            <a:chOff x="9604556" y="3686609"/>
            <a:chExt cx="3110865" cy="5032375"/>
          </a:xfrm>
        </p:grpSpPr>
        <p:sp>
          <p:nvSpPr>
            <p:cNvPr id="17" name="object 17"/>
            <p:cNvSpPr/>
            <p:nvPr/>
          </p:nvSpPr>
          <p:spPr>
            <a:xfrm>
              <a:off x="9678807" y="7540185"/>
              <a:ext cx="3036570" cy="1179195"/>
            </a:xfrm>
            <a:custGeom>
              <a:avLst/>
              <a:gdLst/>
              <a:ahLst/>
              <a:cxnLst/>
              <a:rect l="l" t="t" r="r" b="b"/>
              <a:pathLst>
                <a:path w="3036570" h="1179195">
                  <a:moveTo>
                    <a:pt x="2447083" y="1178745"/>
                  </a:moveTo>
                  <a:lnTo>
                    <a:pt x="589372" y="1178745"/>
                  </a:lnTo>
                  <a:lnTo>
                    <a:pt x="541034" y="1176791"/>
                  </a:lnTo>
                  <a:lnTo>
                    <a:pt x="493773" y="1171031"/>
                  </a:lnTo>
                  <a:lnTo>
                    <a:pt x="447739" y="1161616"/>
                  </a:lnTo>
                  <a:lnTo>
                    <a:pt x="403085" y="1148698"/>
                  </a:lnTo>
                  <a:lnTo>
                    <a:pt x="359962" y="1132429"/>
                  </a:lnTo>
                  <a:lnTo>
                    <a:pt x="318522" y="1112960"/>
                  </a:lnTo>
                  <a:lnTo>
                    <a:pt x="278916" y="1090443"/>
                  </a:lnTo>
                  <a:lnTo>
                    <a:pt x="241296" y="1065030"/>
                  </a:lnTo>
                  <a:lnTo>
                    <a:pt x="205815" y="1036872"/>
                  </a:lnTo>
                  <a:lnTo>
                    <a:pt x="172623" y="1006122"/>
                  </a:lnTo>
                  <a:lnTo>
                    <a:pt x="141872" y="972930"/>
                  </a:lnTo>
                  <a:lnTo>
                    <a:pt x="113714" y="937448"/>
                  </a:lnTo>
                  <a:lnTo>
                    <a:pt x="88301" y="899829"/>
                  </a:lnTo>
                  <a:lnTo>
                    <a:pt x="65784" y="860223"/>
                  </a:lnTo>
                  <a:lnTo>
                    <a:pt x="46315" y="818783"/>
                  </a:lnTo>
                  <a:lnTo>
                    <a:pt x="30046" y="775660"/>
                  </a:lnTo>
                  <a:lnTo>
                    <a:pt x="17128" y="731005"/>
                  </a:lnTo>
                  <a:lnTo>
                    <a:pt x="7713" y="684971"/>
                  </a:lnTo>
                  <a:lnTo>
                    <a:pt x="1953" y="637710"/>
                  </a:lnTo>
                  <a:lnTo>
                    <a:pt x="0" y="589372"/>
                  </a:lnTo>
                  <a:lnTo>
                    <a:pt x="1953" y="541034"/>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2" y="65784"/>
                  </a:lnTo>
                  <a:lnTo>
                    <a:pt x="359962" y="46315"/>
                  </a:lnTo>
                  <a:lnTo>
                    <a:pt x="403085" y="30046"/>
                  </a:lnTo>
                  <a:lnTo>
                    <a:pt x="447739" y="17128"/>
                  </a:lnTo>
                  <a:lnTo>
                    <a:pt x="493773" y="7713"/>
                  </a:lnTo>
                  <a:lnTo>
                    <a:pt x="541034" y="1953"/>
                  </a:lnTo>
                  <a:lnTo>
                    <a:pt x="589372" y="0"/>
                  </a:lnTo>
                  <a:lnTo>
                    <a:pt x="2447083" y="0"/>
                  </a:lnTo>
                  <a:lnTo>
                    <a:pt x="2495420" y="1953"/>
                  </a:lnTo>
                  <a:lnTo>
                    <a:pt x="2542682" y="7713"/>
                  </a:lnTo>
                  <a:lnTo>
                    <a:pt x="2588716" y="17128"/>
                  </a:lnTo>
                  <a:lnTo>
                    <a:pt x="2633370" y="30046"/>
                  </a:lnTo>
                  <a:lnTo>
                    <a:pt x="2676493" y="46315"/>
                  </a:lnTo>
                  <a:lnTo>
                    <a:pt x="2717933" y="65784"/>
                  </a:lnTo>
                  <a:lnTo>
                    <a:pt x="2757539" y="88301"/>
                  </a:lnTo>
                  <a:lnTo>
                    <a:pt x="2795159" y="113714"/>
                  </a:lnTo>
                  <a:lnTo>
                    <a:pt x="2830640" y="141872"/>
                  </a:lnTo>
                  <a:lnTo>
                    <a:pt x="2863832" y="172623"/>
                  </a:lnTo>
                  <a:lnTo>
                    <a:pt x="2894583" y="205815"/>
                  </a:lnTo>
                  <a:lnTo>
                    <a:pt x="2922741" y="241296"/>
                  </a:lnTo>
                  <a:lnTo>
                    <a:pt x="2948154" y="278916"/>
                  </a:lnTo>
                  <a:lnTo>
                    <a:pt x="2970671" y="318522"/>
                  </a:lnTo>
                  <a:lnTo>
                    <a:pt x="2990140" y="359962"/>
                  </a:lnTo>
                  <a:lnTo>
                    <a:pt x="3006409" y="403085"/>
                  </a:lnTo>
                  <a:lnTo>
                    <a:pt x="3019327" y="447739"/>
                  </a:lnTo>
                  <a:lnTo>
                    <a:pt x="3028741" y="493773"/>
                  </a:lnTo>
                  <a:lnTo>
                    <a:pt x="3034502" y="541034"/>
                  </a:lnTo>
                  <a:lnTo>
                    <a:pt x="3036455" y="589372"/>
                  </a:lnTo>
                  <a:lnTo>
                    <a:pt x="3034502" y="637710"/>
                  </a:lnTo>
                  <a:lnTo>
                    <a:pt x="3028741" y="684971"/>
                  </a:lnTo>
                  <a:lnTo>
                    <a:pt x="3019327" y="731005"/>
                  </a:lnTo>
                  <a:lnTo>
                    <a:pt x="3006409" y="775660"/>
                  </a:lnTo>
                  <a:lnTo>
                    <a:pt x="2990140" y="818783"/>
                  </a:lnTo>
                  <a:lnTo>
                    <a:pt x="2970671" y="860223"/>
                  </a:lnTo>
                  <a:lnTo>
                    <a:pt x="2948154" y="899829"/>
                  </a:lnTo>
                  <a:lnTo>
                    <a:pt x="2922741" y="937448"/>
                  </a:lnTo>
                  <a:lnTo>
                    <a:pt x="2894583" y="972930"/>
                  </a:lnTo>
                  <a:lnTo>
                    <a:pt x="2863832" y="1006122"/>
                  </a:lnTo>
                  <a:lnTo>
                    <a:pt x="2830640" y="1036872"/>
                  </a:lnTo>
                  <a:lnTo>
                    <a:pt x="2795159" y="1065030"/>
                  </a:lnTo>
                  <a:lnTo>
                    <a:pt x="2757539" y="1090443"/>
                  </a:lnTo>
                  <a:lnTo>
                    <a:pt x="2717933" y="1112960"/>
                  </a:lnTo>
                  <a:lnTo>
                    <a:pt x="2676493" y="1132429"/>
                  </a:lnTo>
                  <a:lnTo>
                    <a:pt x="2633370" y="1148698"/>
                  </a:lnTo>
                  <a:lnTo>
                    <a:pt x="2588716" y="1161616"/>
                  </a:lnTo>
                  <a:lnTo>
                    <a:pt x="2542682" y="1171031"/>
                  </a:lnTo>
                  <a:lnTo>
                    <a:pt x="2495420" y="1176791"/>
                  </a:lnTo>
                  <a:lnTo>
                    <a:pt x="2447083" y="1178745"/>
                  </a:lnTo>
                  <a:close/>
                </a:path>
              </a:pathLst>
            </a:custGeom>
            <a:solidFill>
              <a:srgbClr val="21408B"/>
            </a:solidFill>
          </p:spPr>
          <p:txBody>
            <a:bodyPr wrap="square" lIns="0" tIns="0" rIns="0" bIns="0" rtlCol="0"/>
            <a:lstStyle/>
            <a:p>
              <a:endParaRPr/>
            </a:p>
          </p:txBody>
        </p:sp>
        <p:pic>
          <p:nvPicPr>
            <p:cNvPr id="18" name="object 18"/>
            <p:cNvPicPr/>
            <p:nvPr/>
          </p:nvPicPr>
          <p:blipFill>
            <a:blip r:embed="rId2" cstate="print"/>
            <a:stretch>
              <a:fillRect/>
            </a:stretch>
          </p:blipFill>
          <p:spPr>
            <a:xfrm>
              <a:off x="9604556" y="3686609"/>
              <a:ext cx="3086099" cy="3086099"/>
            </a:xfrm>
            <a:prstGeom prst="rect">
              <a:avLst/>
            </a:prstGeom>
          </p:spPr>
        </p:pic>
      </p:grpSp>
      <p:sp>
        <p:nvSpPr>
          <p:cNvPr id="19" name="object 19"/>
          <p:cNvSpPr txBox="1"/>
          <p:nvPr/>
        </p:nvSpPr>
        <p:spPr>
          <a:xfrm>
            <a:off x="10383144" y="7784762"/>
            <a:ext cx="1699895" cy="622300"/>
          </a:xfrm>
          <a:prstGeom prst="rect">
            <a:avLst/>
          </a:prstGeom>
        </p:spPr>
        <p:txBody>
          <a:bodyPr vert="horz" wrap="square" lIns="0" tIns="42545" rIns="0" bIns="0" rtlCol="0">
            <a:spAutoFit/>
          </a:bodyPr>
          <a:lstStyle/>
          <a:p>
            <a:pPr marL="114300" marR="5080" indent="-102235">
              <a:lnSpc>
                <a:spcPts val="2250"/>
              </a:lnSpc>
              <a:spcBef>
                <a:spcPts val="335"/>
              </a:spcBef>
            </a:pPr>
            <a:r>
              <a:rPr sz="2000" b="1" spc="-25" dirty="0">
                <a:solidFill>
                  <a:srgbClr val="FFFFFF"/>
                </a:solidFill>
                <a:latin typeface="Roboto"/>
                <a:cs typeface="Roboto"/>
              </a:rPr>
              <a:t>Covid-</a:t>
            </a:r>
            <a:r>
              <a:rPr sz="2000" b="1" dirty="0">
                <a:solidFill>
                  <a:srgbClr val="FFFFFF"/>
                </a:solidFill>
                <a:latin typeface="Roboto"/>
                <a:cs typeface="Roboto"/>
              </a:rPr>
              <a:t>19</a:t>
            </a:r>
            <a:r>
              <a:rPr sz="2000" b="1" spc="-50" dirty="0">
                <a:solidFill>
                  <a:srgbClr val="FFFFFF"/>
                </a:solidFill>
                <a:latin typeface="Roboto"/>
                <a:cs typeface="Roboto"/>
              </a:rPr>
              <a:t> </a:t>
            </a:r>
            <a:r>
              <a:rPr sz="2000" b="1" dirty="0">
                <a:solidFill>
                  <a:srgbClr val="FFFFFF"/>
                </a:solidFill>
                <a:latin typeface="Roboto"/>
                <a:cs typeface="Roboto"/>
              </a:rPr>
              <a:t>y</a:t>
            </a:r>
            <a:r>
              <a:rPr sz="2000" b="1" spc="-45" dirty="0">
                <a:solidFill>
                  <a:srgbClr val="FFFFFF"/>
                </a:solidFill>
                <a:latin typeface="Roboto"/>
                <a:cs typeface="Roboto"/>
              </a:rPr>
              <a:t> </a:t>
            </a:r>
            <a:r>
              <a:rPr sz="2000" b="1" spc="-25" dirty="0">
                <a:solidFill>
                  <a:srgbClr val="FFFFFF"/>
                </a:solidFill>
                <a:latin typeface="Roboto"/>
                <a:cs typeface="Roboto"/>
              </a:rPr>
              <a:t>sus </a:t>
            </a:r>
            <a:r>
              <a:rPr sz="2000" b="1" spc="-10" dirty="0">
                <a:solidFill>
                  <a:srgbClr val="FFFFFF"/>
                </a:solidFill>
                <a:latin typeface="Roboto"/>
                <a:cs typeface="Roboto"/>
              </a:rPr>
              <a:t>restricciones</a:t>
            </a:r>
            <a:endParaRPr sz="2000">
              <a:latin typeface="Roboto"/>
              <a:cs typeface="Roboto"/>
            </a:endParaRPr>
          </a:p>
        </p:txBody>
      </p:sp>
      <p:pic>
        <p:nvPicPr>
          <p:cNvPr id="20" name="object 20"/>
          <p:cNvPicPr/>
          <p:nvPr/>
        </p:nvPicPr>
        <p:blipFill>
          <a:blip r:embed="rId3" cstate="print"/>
          <a:stretch>
            <a:fillRect/>
          </a:stretch>
        </p:blipFill>
        <p:spPr>
          <a:xfrm>
            <a:off x="17316450" y="237491"/>
            <a:ext cx="742949" cy="819149"/>
          </a:xfrm>
          <a:prstGeom prst="rect">
            <a:avLst/>
          </a:prstGeom>
        </p:spPr>
      </p:pic>
      <p:sp>
        <p:nvSpPr>
          <p:cNvPr id="21" name="object 21"/>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22" name="object 22"/>
          <p:cNvSpPr txBox="1"/>
          <p:nvPr/>
        </p:nvSpPr>
        <p:spPr>
          <a:xfrm>
            <a:off x="17811802" y="9932972"/>
            <a:ext cx="203835"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01</a:t>
            </a:r>
            <a:endParaRPr sz="900">
              <a:latin typeface="Arial"/>
              <a:cs typeface="Arial"/>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6367" y="3591120"/>
            <a:ext cx="5971540" cy="6187440"/>
          </a:xfrm>
          <a:custGeom>
            <a:avLst/>
            <a:gdLst/>
            <a:ahLst/>
            <a:cxnLst/>
            <a:rect l="l" t="t" r="r" b="b"/>
            <a:pathLst>
              <a:path w="5971540" h="6187440">
                <a:moveTo>
                  <a:pt x="0" y="6186859"/>
                </a:moveTo>
                <a:lnTo>
                  <a:pt x="5971282" y="6186859"/>
                </a:lnTo>
                <a:lnTo>
                  <a:pt x="5971282" y="0"/>
                </a:lnTo>
                <a:lnTo>
                  <a:pt x="0" y="0"/>
                </a:lnTo>
                <a:lnTo>
                  <a:pt x="0" y="6186859"/>
                </a:lnTo>
                <a:close/>
              </a:path>
            </a:pathLst>
          </a:custGeom>
          <a:solidFill>
            <a:srgbClr val="FFFFFF"/>
          </a:solidFill>
        </p:spPr>
        <p:txBody>
          <a:bodyPr wrap="square" lIns="0" tIns="0" rIns="0" bIns="0" rtlCol="0"/>
          <a:lstStyle/>
          <a:p>
            <a:endParaRPr/>
          </a:p>
        </p:txBody>
      </p:sp>
      <p:sp>
        <p:nvSpPr>
          <p:cNvPr id="3" name="object 3"/>
          <p:cNvSpPr/>
          <p:nvPr/>
        </p:nvSpPr>
        <p:spPr>
          <a:xfrm>
            <a:off x="1101000" y="1253324"/>
            <a:ext cx="1175385" cy="1175385"/>
          </a:xfrm>
          <a:custGeom>
            <a:avLst/>
            <a:gdLst/>
            <a:ahLst/>
            <a:cxnLst/>
            <a:rect l="l" t="t" r="r" b="b"/>
            <a:pathLst>
              <a:path w="1175385" h="1175385">
                <a:moveTo>
                  <a:pt x="587690" y="1175380"/>
                </a:moveTo>
                <a:lnTo>
                  <a:pt x="539490" y="1173432"/>
                </a:lnTo>
                <a:lnTo>
                  <a:pt x="492364" y="1167689"/>
                </a:lnTo>
                <a:lnTo>
                  <a:pt x="446461" y="1158301"/>
                </a:lnTo>
                <a:lnTo>
                  <a:pt x="401934" y="1145420"/>
                </a:lnTo>
                <a:lnTo>
                  <a:pt x="358934" y="1129197"/>
                </a:lnTo>
                <a:lnTo>
                  <a:pt x="317612" y="1109784"/>
                </a:lnTo>
                <a:lnTo>
                  <a:pt x="278120" y="1087331"/>
                </a:lnTo>
                <a:lnTo>
                  <a:pt x="240608" y="1061990"/>
                </a:lnTo>
                <a:lnTo>
                  <a:pt x="205227" y="1033913"/>
                </a:lnTo>
                <a:lnTo>
                  <a:pt x="172130" y="1003250"/>
                </a:lnTo>
                <a:lnTo>
                  <a:pt x="141467" y="970153"/>
                </a:lnTo>
                <a:lnTo>
                  <a:pt x="113390" y="934772"/>
                </a:lnTo>
                <a:lnTo>
                  <a:pt x="88049" y="897260"/>
                </a:lnTo>
                <a:lnTo>
                  <a:pt x="65596" y="857768"/>
                </a:lnTo>
                <a:lnTo>
                  <a:pt x="46183" y="816446"/>
                </a:lnTo>
                <a:lnTo>
                  <a:pt x="29960" y="773446"/>
                </a:lnTo>
                <a:lnTo>
                  <a:pt x="17079" y="728919"/>
                </a:lnTo>
                <a:lnTo>
                  <a:pt x="7691" y="683016"/>
                </a:lnTo>
                <a:lnTo>
                  <a:pt x="1948" y="635890"/>
                </a:lnTo>
                <a:lnTo>
                  <a:pt x="0" y="587690"/>
                </a:lnTo>
                <a:lnTo>
                  <a:pt x="1948" y="539490"/>
                </a:lnTo>
                <a:lnTo>
                  <a:pt x="7691" y="492363"/>
                </a:lnTo>
                <a:lnTo>
                  <a:pt x="17079" y="446461"/>
                </a:lnTo>
                <a:lnTo>
                  <a:pt x="29960" y="401934"/>
                </a:lnTo>
                <a:lnTo>
                  <a:pt x="46183" y="358934"/>
                </a:lnTo>
                <a:lnTo>
                  <a:pt x="65596" y="317612"/>
                </a:lnTo>
                <a:lnTo>
                  <a:pt x="88049" y="278120"/>
                </a:lnTo>
                <a:lnTo>
                  <a:pt x="113390" y="240607"/>
                </a:lnTo>
                <a:lnTo>
                  <a:pt x="141467" y="205227"/>
                </a:lnTo>
                <a:lnTo>
                  <a:pt x="172130" y="172130"/>
                </a:lnTo>
                <a:lnTo>
                  <a:pt x="205227" y="141467"/>
                </a:lnTo>
                <a:lnTo>
                  <a:pt x="240608" y="113389"/>
                </a:lnTo>
                <a:lnTo>
                  <a:pt x="278120" y="88049"/>
                </a:lnTo>
                <a:lnTo>
                  <a:pt x="317612" y="65596"/>
                </a:lnTo>
                <a:lnTo>
                  <a:pt x="358934" y="46183"/>
                </a:lnTo>
                <a:lnTo>
                  <a:pt x="401934" y="29960"/>
                </a:lnTo>
                <a:lnTo>
                  <a:pt x="446461" y="17079"/>
                </a:lnTo>
                <a:lnTo>
                  <a:pt x="492364" y="7691"/>
                </a:lnTo>
                <a:lnTo>
                  <a:pt x="539490" y="1947"/>
                </a:lnTo>
                <a:lnTo>
                  <a:pt x="587696" y="0"/>
                </a:lnTo>
                <a:lnTo>
                  <a:pt x="635890" y="1947"/>
                </a:lnTo>
                <a:lnTo>
                  <a:pt x="683016" y="7691"/>
                </a:lnTo>
                <a:lnTo>
                  <a:pt x="728919" y="17079"/>
                </a:lnTo>
                <a:lnTo>
                  <a:pt x="773446" y="29960"/>
                </a:lnTo>
                <a:lnTo>
                  <a:pt x="816446" y="46183"/>
                </a:lnTo>
                <a:lnTo>
                  <a:pt x="857768" y="65596"/>
                </a:lnTo>
                <a:lnTo>
                  <a:pt x="897260" y="88049"/>
                </a:lnTo>
                <a:lnTo>
                  <a:pt x="934772" y="113389"/>
                </a:lnTo>
                <a:lnTo>
                  <a:pt x="970153" y="141467"/>
                </a:lnTo>
                <a:lnTo>
                  <a:pt x="1003250" y="172130"/>
                </a:lnTo>
                <a:lnTo>
                  <a:pt x="1033913" y="205227"/>
                </a:lnTo>
                <a:lnTo>
                  <a:pt x="1061990" y="240607"/>
                </a:lnTo>
                <a:lnTo>
                  <a:pt x="1087331" y="278120"/>
                </a:lnTo>
                <a:lnTo>
                  <a:pt x="1109784" y="317612"/>
                </a:lnTo>
                <a:lnTo>
                  <a:pt x="1129197" y="358934"/>
                </a:lnTo>
                <a:lnTo>
                  <a:pt x="1145420" y="401934"/>
                </a:lnTo>
                <a:lnTo>
                  <a:pt x="1158301" y="446461"/>
                </a:lnTo>
                <a:lnTo>
                  <a:pt x="1167689" y="492363"/>
                </a:lnTo>
                <a:lnTo>
                  <a:pt x="1173432" y="539490"/>
                </a:lnTo>
                <a:lnTo>
                  <a:pt x="1175381" y="587690"/>
                </a:lnTo>
                <a:lnTo>
                  <a:pt x="1173432" y="635890"/>
                </a:lnTo>
                <a:lnTo>
                  <a:pt x="1167689" y="683016"/>
                </a:lnTo>
                <a:lnTo>
                  <a:pt x="1158301" y="728919"/>
                </a:lnTo>
                <a:lnTo>
                  <a:pt x="1145420" y="773446"/>
                </a:lnTo>
                <a:lnTo>
                  <a:pt x="1129197" y="816446"/>
                </a:lnTo>
                <a:lnTo>
                  <a:pt x="1109784" y="857768"/>
                </a:lnTo>
                <a:lnTo>
                  <a:pt x="1087331" y="897260"/>
                </a:lnTo>
                <a:lnTo>
                  <a:pt x="1061990" y="934772"/>
                </a:lnTo>
                <a:lnTo>
                  <a:pt x="1033913" y="970153"/>
                </a:lnTo>
                <a:lnTo>
                  <a:pt x="1003250" y="1003250"/>
                </a:lnTo>
                <a:lnTo>
                  <a:pt x="970153" y="1033913"/>
                </a:lnTo>
                <a:lnTo>
                  <a:pt x="934772" y="1061990"/>
                </a:lnTo>
                <a:lnTo>
                  <a:pt x="897260" y="1087331"/>
                </a:lnTo>
                <a:lnTo>
                  <a:pt x="857768" y="1109784"/>
                </a:lnTo>
                <a:lnTo>
                  <a:pt x="816446" y="1129197"/>
                </a:lnTo>
                <a:lnTo>
                  <a:pt x="773446" y="1145420"/>
                </a:lnTo>
                <a:lnTo>
                  <a:pt x="728919" y="1158301"/>
                </a:lnTo>
                <a:lnTo>
                  <a:pt x="683016" y="1167689"/>
                </a:lnTo>
                <a:lnTo>
                  <a:pt x="635890" y="1173432"/>
                </a:lnTo>
                <a:lnTo>
                  <a:pt x="587690" y="1175380"/>
                </a:lnTo>
                <a:close/>
              </a:path>
            </a:pathLst>
          </a:custGeom>
          <a:solidFill>
            <a:srgbClr val="21408B"/>
          </a:solidFill>
        </p:spPr>
        <p:txBody>
          <a:bodyPr wrap="square" lIns="0" tIns="0" rIns="0" bIns="0" rtlCol="0"/>
          <a:lstStyle/>
          <a:p>
            <a:endParaRPr/>
          </a:p>
        </p:txBody>
      </p:sp>
      <p:sp>
        <p:nvSpPr>
          <p:cNvPr id="4" name="object 4"/>
          <p:cNvSpPr/>
          <p:nvPr/>
        </p:nvSpPr>
        <p:spPr>
          <a:xfrm>
            <a:off x="13590065" y="1503105"/>
            <a:ext cx="254000" cy="552450"/>
          </a:xfrm>
          <a:custGeom>
            <a:avLst/>
            <a:gdLst/>
            <a:ahLst/>
            <a:cxnLst/>
            <a:rect l="l" t="t" r="r" b="b"/>
            <a:pathLst>
              <a:path w="254000" h="552450">
                <a:moveTo>
                  <a:pt x="169333" y="552192"/>
                </a:moveTo>
                <a:lnTo>
                  <a:pt x="0" y="552192"/>
                </a:lnTo>
                <a:lnTo>
                  <a:pt x="0" y="0"/>
                </a:lnTo>
                <a:lnTo>
                  <a:pt x="169333" y="0"/>
                </a:lnTo>
                <a:lnTo>
                  <a:pt x="202288" y="6676"/>
                </a:lnTo>
                <a:lnTo>
                  <a:pt x="229200" y="24883"/>
                </a:lnTo>
                <a:lnTo>
                  <a:pt x="247346" y="51886"/>
                </a:lnTo>
                <a:lnTo>
                  <a:pt x="253999" y="84952"/>
                </a:lnTo>
                <a:lnTo>
                  <a:pt x="253999" y="467239"/>
                </a:lnTo>
                <a:lnTo>
                  <a:pt x="247346" y="500305"/>
                </a:lnTo>
                <a:lnTo>
                  <a:pt x="229200" y="527309"/>
                </a:lnTo>
                <a:lnTo>
                  <a:pt x="202288" y="545516"/>
                </a:lnTo>
                <a:lnTo>
                  <a:pt x="169333" y="552192"/>
                </a:lnTo>
                <a:close/>
              </a:path>
            </a:pathLst>
          </a:custGeom>
          <a:solidFill>
            <a:srgbClr val="EC2938"/>
          </a:solidFill>
        </p:spPr>
        <p:txBody>
          <a:bodyPr wrap="square" lIns="0" tIns="0" rIns="0" bIns="0" rtlCol="0"/>
          <a:lstStyle/>
          <a:p>
            <a:endParaRPr/>
          </a:p>
        </p:txBody>
      </p:sp>
      <p:grpSp>
        <p:nvGrpSpPr>
          <p:cNvPr id="5" name="object 5"/>
          <p:cNvGrpSpPr/>
          <p:nvPr/>
        </p:nvGrpSpPr>
        <p:grpSpPr>
          <a:xfrm>
            <a:off x="13082065" y="1503105"/>
            <a:ext cx="508000" cy="552450"/>
            <a:chOff x="13082065" y="1503105"/>
            <a:chExt cx="508000" cy="552450"/>
          </a:xfrm>
        </p:grpSpPr>
        <p:sp>
          <p:nvSpPr>
            <p:cNvPr id="6" name="object 6"/>
            <p:cNvSpPr/>
            <p:nvPr/>
          </p:nvSpPr>
          <p:spPr>
            <a:xfrm>
              <a:off x="13082065" y="1503105"/>
              <a:ext cx="254000" cy="552450"/>
            </a:xfrm>
            <a:custGeom>
              <a:avLst/>
              <a:gdLst/>
              <a:ahLst/>
              <a:cxnLst/>
              <a:rect l="l" t="t" r="r" b="b"/>
              <a:pathLst>
                <a:path w="254000" h="552450">
                  <a:moveTo>
                    <a:pt x="253999" y="552192"/>
                  </a:moveTo>
                  <a:lnTo>
                    <a:pt x="84666" y="552192"/>
                  </a:lnTo>
                  <a:lnTo>
                    <a:pt x="51711" y="545516"/>
                  </a:lnTo>
                  <a:lnTo>
                    <a:pt x="24799" y="527309"/>
                  </a:lnTo>
                  <a:lnTo>
                    <a:pt x="6653" y="500305"/>
                  </a:lnTo>
                  <a:lnTo>
                    <a:pt x="0" y="467239"/>
                  </a:lnTo>
                  <a:lnTo>
                    <a:pt x="0" y="84952"/>
                  </a:lnTo>
                  <a:lnTo>
                    <a:pt x="6653" y="51886"/>
                  </a:lnTo>
                  <a:lnTo>
                    <a:pt x="24799" y="24883"/>
                  </a:lnTo>
                  <a:lnTo>
                    <a:pt x="51711" y="6676"/>
                  </a:lnTo>
                  <a:lnTo>
                    <a:pt x="84666" y="0"/>
                  </a:lnTo>
                  <a:lnTo>
                    <a:pt x="253999" y="0"/>
                  </a:lnTo>
                  <a:lnTo>
                    <a:pt x="253999" y="552192"/>
                  </a:lnTo>
                  <a:close/>
                </a:path>
              </a:pathLst>
            </a:custGeom>
            <a:solidFill>
              <a:srgbClr val="002494"/>
            </a:solidFill>
          </p:spPr>
          <p:txBody>
            <a:bodyPr wrap="square" lIns="0" tIns="0" rIns="0" bIns="0" rtlCol="0"/>
            <a:lstStyle/>
            <a:p>
              <a:endParaRPr/>
            </a:p>
          </p:txBody>
        </p:sp>
        <p:sp>
          <p:nvSpPr>
            <p:cNvPr id="7" name="object 7"/>
            <p:cNvSpPr/>
            <p:nvPr/>
          </p:nvSpPr>
          <p:spPr>
            <a:xfrm>
              <a:off x="13336065" y="1503105"/>
              <a:ext cx="254000" cy="552450"/>
            </a:xfrm>
            <a:custGeom>
              <a:avLst/>
              <a:gdLst/>
              <a:ahLst/>
              <a:cxnLst/>
              <a:rect l="l" t="t" r="r" b="b"/>
              <a:pathLst>
                <a:path w="254000" h="552450">
                  <a:moveTo>
                    <a:pt x="253999" y="552192"/>
                  </a:moveTo>
                  <a:lnTo>
                    <a:pt x="0" y="552192"/>
                  </a:lnTo>
                  <a:lnTo>
                    <a:pt x="0" y="0"/>
                  </a:lnTo>
                  <a:lnTo>
                    <a:pt x="253999" y="0"/>
                  </a:lnTo>
                  <a:lnTo>
                    <a:pt x="253999" y="552192"/>
                  </a:lnTo>
                  <a:close/>
                </a:path>
              </a:pathLst>
            </a:custGeom>
            <a:solidFill>
              <a:srgbClr val="EDEDED"/>
            </a:solidFill>
          </p:spPr>
          <p:txBody>
            <a:bodyPr wrap="square" lIns="0" tIns="0" rIns="0" bIns="0" rtlCol="0"/>
            <a:lstStyle/>
            <a:p>
              <a:endParaRPr/>
            </a:p>
          </p:txBody>
        </p:sp>
      </p:grpSp>
      <p:grpSp>
        <p:nvGrpSpPr>
          <p:cNvPr id="8" name="object 8"/>
          <p:cNvGrpSpPr/>
          <p:nvPr/>
        </p:nvGrpSpPr>
        <p:grpSpPr>
          <a:xfrm>
            <a:off x="15525447" y="1503105"/>
            <a:ext cx="762000" cy="552450"/>
            <a:chOff x="15525447" y="1503105"/>
            <a:chExt cx="762000" cy="552450"/>
          </a:xfrm>
        </p:grpSpPr>
        <p:sp>
          <p:nvSpPr>
            <p:cNvPr id="9" name="object 9"/>
            <p:cNvSpPr/>
            <p:nvPr/>
          </p:nvSpPr>
          <p:spPr>
            <a:xfrm>
              <a:off x="15525447" y="1885392"/>
              <a:ext cx="762000" cy="170180"/>
            </a:xfrm>
            <a:custGeom>
              <a:avLst/>
              <a:gdLst/>
              <a:ahLst/>
              <a:cxnLst/>
              <a:rect l="l" t="t" r="r" b="b"/>
              <a:pathLst>
                <a:path w="762000" h="170180">
                  <a:moveTo>
                    <a:pt x="677333" y="169905"/>
                  </a:moveTo>
                  <a:lnTo>
                    <a:pt x="84666" y="169905"/>
                  </a:lnTo>
                  <a:lnTo>
                    <a:pt x="51711" y="163228"/>
                  </a:lnTo>
                  <a:lnTo>
                    <a:pt x="24799" y="145022"/>
                  </a:lnTo>
                  <a:lnTo>
                    <a:pt x="6653" y="118018"/>
                  </a:lnTo>
                  <a:lnTo>
                    <a:pt x="0" y="84952"/>
                  </a:lnTo>
                  <a:lnTo>
                    <a:pt x="0" y="0"/>
                  </a:lnTo>
                  <a:lnTo>
                    <a:pt x="761999" y="0"/>
                  </a:lnTo>
                  <a:lnTo>
                    <a:pt x="761999" y="84952"/>
                  </a:lnTo>
                  <a:lnTo>
                    <a:pt x="755345" y="118018"/>
                  </a:lnTo>
                  <a:lnTo>
                    <a:pt x="737200" y="145022"/>
                  </a:lnTo>
                  <a:lnTo>
                    <a:pt x="710288" y="163228"/>
                  </a:lnTo>
                  <a:lnTo>
                    <a:pt x="677333" y="169905"/>
                  </a:lnTo>
                  <a:close/>
                </a:path>
              </a:pathLst>
            </a:custGeom>
            <a:solidFill>
              <a:srgbClr val="FFCC04"/>
            </a:solidFill>
          </p:spPr>
          <p:txBody>
            <a:bodyPr wrap="square" lIns="0" tIns="0" rIns="0" bIns="0" rtlCol="0"/>
            <a:lstStyle/>
            <a:p>
              <a:endParaRPr/>
            </a:p>
          </p:txBody>
        </p:sp>
        <p:sp>
          <p:nvSpPr>
            <p:cNvPr id="10" name="object 10"/>
            <p:cNvSpPr/>
            <p:nvPr/>
          </p:nvSpPr>
          <p:spPr>
            <a:xfrm>
              <a:off x="15525447" y="1694248"/>
              <a:ext cx="762000" cy="191770"/>
            </a:xfrm>
            <a:custGeom>
              <a:avLst/>
              <a:gdLst/>
              <a:ahLst/>
              <a:cxnLst/>
              <a:rect l="l" t="t" r="r" b="b"/>
              <a:pathLst>
                <a:path w="762000" h="191769">
                  <a:moveTo>
                    <a:pt x="761999" y="191143"/>
                  </a:moveTo>
                  <a:lnTo>
                    <a:pt x="0" y="191143"/>
                  </a:lnTo>
                  <a:lnTo>
                    <a:pt x="0" y="0"/>
                  </a:lnTo>
                  <a:lnTo>
                    <a:pt x="761999" y="0"/>
                  </a:lnTo>
                  <a:lnTo>
                    <a:pt x="761999" y="191143"/>
                  </a:lnTo>
                  <a:close/>
                </a:path>
              </a:pathLst>
            </a:custGeom>
            <a:solidFill>
              <a:srgbClr val="EC1F24"/>
            </a:solidFill>
          </p:spPr>
          <p:txBody>
            <a:bodyPr wrap="square" lIns="0" tIns="0" rIns="0" bIns="0" rtlCol="0"/>
            <a:lstStyle/>
            <a:p>
              <a:endParaRPr/>
            </a:p>
          </p:txBody>
        </p:sp>
        <p:sp>
          <p:nvSpPr>
            <p:cNvPr id="11" name="object 11"/>
            <p:cNvSpPr/>
            <p:nvPr/>
          </p:nvSpPr>
          <p:spPr>
            <a:xfrm>
              <a:off x="15525447" y="1503105"/>
              <a:ext cx="762000" cy="191770"/>
            </a:xfrm>
            <a:custGeom>
              <a:avLst/>
              <a:gdLst/>
              <a:ahLst/>
              <a:cxnLst/>
              <a:rect l="l" t="t" r="r" b="b"/>
              <a:pathLst>
                <a:path w="762000" h="191769">
                  <a:moveTo>
                    <a:pt x="761999" y="191143"/>
                  </a:moveTo>
                  <a:lnTo>
                    <a:pt x="0" y="191143"/>
                  </a:lnTo>
                  <a:lnTo>
                    <a:pt x="0" y="84952"/>
                  </a:lnTo>
                  <a:lnTo>
                    <a:pt x="6653" y="51886"/>
                  </a:lnTo>
                  <a:lnTo>
                    <a:pt x="24799" y="24883"/>
                  </a:lnTo>
                  <a:lnTo>
                    <a:pt x="51711" y="6676"/>
                  </a:lnTo>
                  <a:lnTo>
                    <a:pt x="84666" y="0"/>
                  </a:lnTo>
                  <a:lnTo>
                    <a:pt x="677333" y="0"/>
                  </a:lnTo>
                  <a:lnTo>
                    <a:pt x="710288" y="6676"/>
                  </a:lnTo>
                  <a:lnTo>
                    <a:pt x="737200" y="24883"/>
                  </a:lnTo>
                  <a:lnTo>
                    <a:pt x="755345" y="51886"/>
                  </a:lnTo>
                  <a:lnTo>
                    <a:pt x="761999" y="84952"/>
                  </a:lnTo>
                  <a:lnTo>
                    <a:pt x="761999" y="191143"/>
                  </a:lnTo>
                  <a:close/>
                </a:path>
              </a:pathLst>
            </a:custGeom>
            <a:solidFill>
              <a:srgbClr val="131313"/>
            </a:solidFill>
          </p:spPr>
          <p:txBody>
            <a:bodyPr wrap="square" lIns="0" tIns="0" rIns="0" bIns="0" rtlCol="0"/>
            <a:lstStyle/>
            <a:p>
              <a:endParaRPr/>
            </a:p>
          </p:txBody>
        </p:sp>
      </p:grpSp>
      <p:grpSp>
        <p:nvGrpSpPr>
          <p:cNvPr id="12" name="object 12"/>
          <p:cNvGrpSpPr/>
          <p:nvPr/>
        </p:nvGrpSpPr>
        <p:grpSpPr>
          <a:xfrm>
            <a:off x="16767601" y="1502502"/>
            <a:ext cx="762000" cy="553720"/>
            <a:chOff x="16767601" y="1502502"/>
            <a:chExt cx="762000" cy="553720"/>
          </a:xfrm>
        </p:grpSpPr>
        <p:sp>
          <p:nvSpPr>
            <p:cNvPr id="13" name="object 13"/>
            <p:cNvSpPr/>
            <p:nvPr/>
          </p:nvSpPr>
          <p:spPr>
            <a:xfrm>
              <a:off x="16767601" y="1503105"/>
              <a:ext cx="762000" cy="552450"/>
            </a:xfrm>
            <a:custGeom>
              <a:avLst/>
              <a:gdLst/>
              <a:ahLst/>
              <a:cxnLst/>
              <a:rect l="l" t="t" r="r" b="b"/>
              <a:pathLst>
                <a:path w="762000" h="552450">
                  <a:moveTo>
                    <a:pt x="275166" y="123967"/>
                  </a:moveTo>
                  <a:lnTo>
                    <a:pt x="98721" y="0"/>
                  </a:lnTo>
                  <a:lnTo>
                    <a:pt x="275166" y="0"/>
                  </a:lnTo>
                  <a:lnTo>
                    <a:pt x="275166" y="123967"/>
                  </a:lnTo>
                  <a:close/>
                </a:path>
                <a:path w="762000" h="552450">
                  <a:moveTo>
                    <a:pt x="119125" y="169905"/>
                  </a:moveTo>
                  <a:lnTo>
                    <a:pt x="0" y="169905"/>
                  </a:lnTo>
                  <a:lnTo>
                    <a:pt x="0" y="86205"/>
                  </a:lnTo>
                  <a:lnTo>
                    <a:pt x="119125" y="169905"/>
                  </a:lnTo>
                  <a:close/>
                </a:path>
                <a:path w="762000" h="552450">
                  <a:moveTo>
                    <a:pt x="0" y="465986"/>
                  </a:moveTo>
                  <a:lnTo>
                    <a:pt x="0" y="382287"/>
                  </a:lnTo>
                  <a:lnTo>
                    <a:pt x="119168" y="382287"/>
                  </a:lnTo>
                  <a:lnTo>
                    <a:pt x="0" y="465986"/>
                  </a:lnTo>
                  <a:close/>
                </a:path>
                <a:path w="762000" h="552450">
                  <a:moveTo>
                    <a:pt x="275166" y="552192"/>
                  </a:moveTo>
                  <a:lnTo>
                    <a:pt x="98721" y="552192"/>
                  </a:lnTo>
                  <a:lnTo>
                    <a:pt x="275166" y="428225"/>
                  </a:lnTo>
                  <a:lnTo>
                    <a:pt x="275166" y="552192"/>
                  </a:lnTo>
                  <a:close/>
                </a:path>
                <a:path w="762000" h="552450">
                  <a:moveTo>
                    <a:pt x="761999" y="466007"/>
                  </a:moveTo>
                  <a:lnTo>
                    <a:pt x="642810" y="382287"/>
                  </a:lnTo>
                  <a:lnTo>
                    <a:pt x="761999" y="382287"/>
                  </a:lnTo>
                  <a:lnTo>
                    <a:pt x="761999" y="466007"/>
                  </a:lnTo>
                  <a:close/>
                </a:path>
                <a:path w="762000" h="552450">
                  <a:moveTo>
                    <a:pt x="663257" y="552192"/>
                  </a:moveTo>
                  <a:lnTo>
                    <a:pt x="486833" y="552192"/>
                  </a:lnTo>
                  <a:lnTo>
                    <a:pt x="486833" y="428246"/>
                  </a:lnTo>
                  <a:lnTo>
                    <a:pt x="663257" y="552192"/>
                  </a:lnTo>
                  <a:close/>
                </a:path>
                <a:path w="762000" h="552450">
                  <a:moveTo>
                    <a:pt x="486833" y="123967"/>
                  </a:moveTo>
                  <a:lnTo>
                    <a:pt x="486833" y="0"/>
                  </a:lnTo>
                  <a:lnTo>
                    <a:pt x="663299" y="0"/>
                  </a:lnTo>
                  <a:lnTo>
                    <a:pt x="486833" y="123967"/>
                  </a:lnTo>
                  <a:close/>
                </a:path>
                <a:path w="762000" h="552450">
                  <a:moveTo>
                    <a:pt x="761999" y="169905"/>
                  </a:moveTo>
                  <a:lnTo>
                    <a:pt x="642852" y="169905"/>
                  </a:lnTo>
                  <a:lnTo>
                    <a:pt x="761999" y="86205"/>
                  </a:lnTo>
                  <a:lnTo>
                    <a:pt x="761999" y="169905"/>
                  </a:lnTo>
                  <a:close/>
                </a:path>
              </a:pathLst>
            </a:custGeom>
            <a:solidFill>
              <a:srgbClr val="00247D"/>
            </a:solidFill>
          </p:spPr>
          <p:txBody>
            <a:bodyPr wrap="square" lIns="0" tIns="0" rIns="0" bIns="0" rtlCol="0"/>
            <a:lstStyle/>
            <a:p>
              <a:endParaRPr/>
            </a:p>
          </p:txBody>
        </p:sp>
        <p:sp>
          <p:nvSpPr>
            <p:cNvPr id="14" name="object 14"/>
            <p:cNvSpPr/>
            <p:nvPr/>
          </p:nvSpPr>
          <p:spPr>
            <a:xfrm>
              <a:off x="16770924" y="1505547"/>
              <a:ext cx="755650" cy="547370"/>
            </a:xfrm>
            <a:custGeom>
              <a:avLst/>
              <a:gdLst/>
              <a:ahLst/>
              <a:cxnLst/>
              <a:rect l="l" t="t" r="r" b="b"/>
              <a:pathLst>
                <a:path w="755650" h="547369">
                  <a:moveTo>
                    <a:pt x="734377" y="524285"/>
                  </a:moveTo>
                  <a:lnTo>
                    <a:pt x="528806" y="379844"/>
                  </a:lnTo>
                  <a:lnTo>
                    <a:pt x="602614" y="379844"/>
                  </a:lnTo>
                  <a:lnTo>
                    <a:pt x="755332" y="487139"/>
                  </a:lnTo>
                  <a:lnTo>
                    <a:pt x="751834" y="497489"/>
                  </a:lnTo>
                  <a:lnTo>
                    <a:pt x="747148" y="507210"/>
                  </a:lnTo>
                  <a:lnTo>
                    <a:pt x="741315" y="516181"/>
                  </a:lnTo>
                  <a:lnTo>
                    <a:pt x="734377" y="524285"/>
                  </a:lnTo>
                  <a:close/>
                </a:path>
                <a:path w="755650" h="547369">
                  <a:moveTo>
                    <a:pt x="61997" y="547307"/>
                  </a:moveTo>
                  <a:lnTo>
                    <a:pt x="50450" y="543713"/>
                  </a:lnTo>
                  <a:lnTo>
                    <a:pt x="39676" y="538605"/>
                  </a:lnTo>
                  <a:lnTo>
                    <a:pt x="29808" y="532087"/>
                  </a:lnTo>
                  <a:lnTo>
                    <a:pt x="20976" y="524264"/>
                  </a:lnTo>
                  <a:lnTo>
                    <a:pt x="226525" y="379844"/>
                  </a:lnTo>
                  <a:lnTo>
                    <a:pt x="271843" y="379844"/>
                  </a:lnTo>
                  <a:lnTo>
                    <a:pt x="271843" y="399872"/>
                  </a:lnTo>
                  <a:lnTo>
                    <a:pt x="61997" y="547307"/>
                  </a:lnTo>
                  <a:close/>
                </a:path>
                <a:path w="755650" h="547369">
                  <a:moveTo>
                    <a:pt x="528827" y="167462"/>
                  </a:moveTo>
                  <a:lnTo>
                    <a:pt x="483510" y="167462"/>
                  </a:lnTo>
                  <a:lnTo>
                    <a:pt x="483510" y="147435"/>
                  </a:lnTo>
                  <a:lnTo>
                    <a:pt x="693377" y="0"/>
                  </a:lnTo>
                  <a:lnTo>
                    <a:pt x="704921" y="3594"/>
                  </a:lnTo>
                  <a:lnTo>
                    <a:pt x="715687" y="8702"/>
                  </a:lnTo>
                  <a:lnTo>
                    <a:pt x="725548" y="15219"/>
                  </a:lnTo>
                  <a:lnTo>
                    <a:pt x="734377" y="23043"/>
                  </a:lnTo>
                  <a:lnTo>
                    <a:pt x="528827" y="167462"/>
                  </a:lnTo>
                  <a:close/>
                </a:path>
                <a:path w="755650" h="547369">
                  <a:moveTo>
                    <a:pt x="226525" y="167462"/>
                  </a:moveTo>
                  <a:lnTo>
                    <a:pt x="152717" y="167462"/>
                  </a:lnTo>
                  <a:lnTo>
                    <a:pt x="0" y="60188"/>
                  </a:lnTo>
                  <a:lnTo>
                    <a:pt x="3509" y="49842"/>
                  </a:lnTo>
                  <a:lnTo>
                    <a:pt x="8202" y="40126"/>
                  </a:lnTo>
                  <a:lnTo>
                    <a:pt x="14037" y="31156"/>
                  </a:lnTo>
                  <a:lnTo>
                    <a:pt x="20976" y="23043"/>
                  </a:lnTo>
                  <a:lnTo>
                    <a:pt x="226525" y="167462"/>
                  </a:lnTo>
                  <a:close/>
                </a:path>
              </a:pathLst>
            </a:custGeom>
            <a:solidFill>
              <a:srgbClr val="CF1B2A"/>
            </a:solidFill>
          </p:spPr>
          <p:txBody>
            <a:bodyPr wrap="square" lIns="0" tIns="0" rIns="0" bIns="0" rtlCol="0"/>
            <a:lstStyle/>
            <a:p>
              <a:endParaRPr/>
            </a:p>
          </p:txBody>
        </p:sp>
        <p:sp>
          <p:nvSpPr>
            <p:cNvPr id="15" name="object 15"/>
            <p:cNvSpPr/>
            <p:nvPr/>
          </p:nvSpPr>
          <p:spPr>
            <a:xfrm>
              <a:off x="16767601" y="1503105"/>
              <a:ext cx="762000" cy="552450"/>
            </a:xfrm>
            <a:custGeom>
              <a:avLst/>
              <a:gdLst/>
              <a:ahLst/>
              <a:cxnLst/>
              <a:rect l="l" t="t" r="r" b="b"/>
              <a:pathLst>
                <a:path w="762000" h="552450">
                  <a:moveTo>
                    <a:pt x="486833" y="552192"/>
                  </a:moveTo>
                  <a:lnTo>
                    <a:pt x="444499" y="552192"/>
                  </a:lnTo>
                  <a:lnTo>
                    <a:pt x="444499" y="339810"/>
                  </a:lnTo>
                  <a:lnTo>
                    <a:pt x="761999" y="339810"/>
                  </a:lnTo>
                  <a:lnTo>
                    <a:pt x="761999" y="382287"/>
                  </a:lnTo>
                  <a:lnTo>
                    <a:pt x="532129" y="382287"/>
                  </a:lnTo>
                  <a:lnTo>
                    <a:pt x="597540" y="428246"/>
                  </a:lnTo>
                  <a:lnTo>
                    <a:pt x="486833" y="428246"/>
                  </a:lnTo>
                  <a:lnTo>
                    <a:pt x="486833" y="552192"/>
                  </a:lnTo>
                  <a:close/>
                </a:path>
                <a:path w="762000" h="552450">
                  <a:moveTo>
                    <a:pt x="758655" y="489582"/>
                  </a:moveTo>
                  <a:lnTo>
                    <a:pt x="605938" y="382287"/>
                  </a:lnTo>
                  <a:lnTo>
                    <a:pt x="642810" y="382287"/>
                  </a:lnTo>
                  <a:lnTo>
                    <a:pt x="761999" y="466007"/>
                  </a:lnTo>
                  <a:lnTo>
                    <a:pt x="761999" y="475012"/>
                  </a:lnTo>
                  <a:lnTo>
                    <a:pt x="760623" y="482425"/>
                  </a:lnTo>
                  <a:lnTo>
                    <a:pt x="758655" y="489582"/>
                  </a:lnTo>
                  <a:close/>
                </a:path>
                <a:path w="762000" h="552450">
                  <a:moveTo>
                    <a:pt x="677333" y="552192"/>
                  </a:moveTo>
                  <a:lnTo>
                    <a:pt x="663257" y="552192"/>
                  </a:lnTo>
                  <a:lnTo>
                    <a:pt x="486833" y="428246"/>
                  </a:lnTo>
                  <a:lnTo>
                    <a:pt x="597540" y="428246"/>
                  </a:lnTo>
                  <a:lnTo>
                    <a:pt x="737700" y="526727"/>
                  </a:lnTo>
                  <a:lnTo>
                    <a:pt x="725109" y="537319"/>
                  </a:lnTo>
                  <a:lnTo>
                    <a:pt x="710620" y="545337"/>
                  </a:lnTo>
                  <a:lnTo>
                    <a:pt x="694579" y="550417"/>
                  </a:lnTo>
                  <a:lnTo>
                    <a:pt x="677333" y="552192"/>
                  </a:lnTo>
                  <a:close/>
                </a:path>
                <a:path w="762000" h="552450">
                  <a:moveTo>
                    <a:pt x="98721" y="552192"/>
                  </a:moveTo>
                  <a:lnTo>
                    <a:pt x="77977" y="552192"/>
                  </a:lnTo>
                  <a:lnTo>
                    <a:pt x="71543" y="551215"/>
                  </a:lnTo>
                  <a:lnTo>
                    <a:pt x="65320" y="549728"/>
                  </a:lnTo>
                  <a:lnTo>
                    <a:pt x="275166" y="402314"/>
                  </a:lnTo>
                  <a:lnTo>
                    <a:pt x="275166" y="382287"/>
                  </a:lnTo>
                  <a:lnTo>
                    <a:pt x="0" y="382287"/>
                  </a:lnTo>
                  <a:lnTo>
                    <a:pt x="0" y="339810"/>
                  </a:lnTo>
                  <a:lnTo>
                    <a:pt x="317499" y="339810"/>
                  </a:lnTo>
                  <a:lnTo>
                    <a:pt x="317499" y="428225"/>
                  </a:lnTo>
                  <a:lnTo>
                    <a:pt x="275166" y="428225"/>
                  </a:lnTo>
                  <a:lnTo>
                    <a:pt x="98721" y="552192"/>
                  </a:lnTo>
                  <a:close/>
                </a:path>
                <a:path w="762000" h="552450">
                  <a:moveTo>
                    <a:pt x="24299" y="526706"/>
                  </a:moveTo>
                  <a:lnTo>
                    <a:pt x="14171" y="514204"/>
                  </a:lnTo>
                  <a:lnTo>
                    <a:pt x="6521" y="499912"/>
                  </a:lnTo>
                  <a:lnTo>
                    <a:pt x="1686" y="484150"/>
                  </a:lnTo>
                  <a:lnTo>
                    <a:pt x="0" y="467239"/>
                  </a:lnTo>
                  <a:lnTo>
                    <a:pt x="0" y="465986"/>
                  </a:lnTo>
                  <a:lnTo>
                    <a:pt x="119168" y="382287"/>
                  </a:lnTo>
                  <a:lnTo>
                    <a:pt x="229848" y="382287"/>
                  </a:lnTo>
                  <a:lnTo>
                    <a:pt x="24299" y="526706"/>
                  </a:lnTo>
                  <a:close/>
                </a:path>
                <a:path w="762000" h="552450">
                  <a:moveTo>
                    <a:pt x="317499" y="552192"/>
                  </a:moveTo>
                  <a:lnTo>
                    <a:pt x="275166" y="552192"/>
                  </a:lnTo>
                  <a:lnTo>
                    <a:pt x="275166" y="428225"/>
                  </a:lnTo>
                  <a:lnTo>
                    <a:pt x="317499" y="428225"/>
                  </a:lnTo>
                  <a:lnTo>
                    <a:pt x="317499" y="552192"/>
                  </a:lnTo>
                  <a:close/>
                </a:path>
                <a:path w="762000" h="552450">
                  <a:moveTo>
                    <a:pt x="761999" y="212381"/>
                  </a:moveTo>
                  <a:lnTo>
                    <a:pt x="444499" y="212381"/>
                  </a:lnTo>
                  <a:lnTo>
                    <a:pt x="444499" y="0"/>
                  </a:lnTo>
                  <a:lnTo>
                    <a:pt x="486833" y="0"/>
                  </a:lnTo>
                  <a:lnTo>
                    <a:pt x="486833" y="123967"/>
                  </a:lnTo>
                  <a:lnTo>
                    <a:pt x="523715" y="123967"/>
                  </a:lnTo>
                  <a:lnTo>
                    <a:pt x="486833" y="149877"/>
                  </a:lnTo>
                  <a:lnTo>
                    <a:pt x="486833" y="169905"/>
                  </a:lnTo>
                  <a:lnTo>
                    <a:pt x="761999" y="169905"/>
                  </a:lnTo>
                  <a:lnTo>
                    <a:pt x="761999" y="212381"/>
                  </a:lnTo>
                  <a:close/>
                </a:path>
                <a:path w="762000" h="552450">
                  <a:moveTo>
                    <a:pt x="523715" y="123967"/>
                  </a:moveTo>
                  <a:lnTo>
                    <a:pt x="486833" y="123967"/>
                  </a:lnTo>
                  <a:lnTo>
                    <a:pt x="663299" y="0"/>
                  </a:lnTo>
                  <a:lnTo>
                    <a:pt x="684021" y="0"/>
                  </a:lnTo>
                  <a:lnTo>
                    <a:pt x="690456" y="976"/>
                  </a:lnTo>
                  <a:lnTo>
                    <a:pt x="696700" y="2442"/>
                  </a:lnTo>
                  <a:lnTo>
                    <a:pt x="523715" y="123967"/>
                  </a:lnTo>
                  <a:close/>
                </a:path>
                <a:path w="762000" h="552450">
                  <a:moveTo>
                    <a:pt x="642852" y="169905"/>
                  </a:moveTo>
                  <a:lnTo>
                    <a:pt x="532151" y="169905"/>
                  </a:lnTo>
                  <a:lnTo>
                    <a:pt x="737700" y="25485"/>
                  </a:lnTo>
                  <a:lnTo>
                    <a:pt x="747828" y="37988"/>
                  </a:lnTo>
                  <a:lnTo>
                    <a:pt x="755477" y="52280"/>
                  </a:lnTo>
                  <a:lnTo>
                    <a:pt x="760313" y="68042"/>
                  </a:lnTo>
                  <a:lnTo>
                    <a:pt x="761999" y="84952"/>
                  </a:lnTo>
                  <a:lnTo>
                    <a:pt x="761999" y="86205"/>
                  </a:lnTo>
                  <a:lnTo>
                    <a:pt x="642852" y="169905"/>
                  </a:lnTo>
                  <a:close/>
                </a:path>
                <a:path w="762000" h="552450">
                  <a:moveTo>
                    <a:pt x="317499" y="212381"/>
                  </a:moveTo>
                  <a:lnTo>
                    <a:pt x="0" y="212381"/>
                  </a:lnTo>
                  <a:lnTo>
                    <a:pt x="0" y="169905"/>
                  </a:lnTo>
                  <a:lnTo>
                    <a:pt x="229848" y="169905"/>
                  </a:lnTo>
                  <a:lnTo>
                    <a:pt x="24299" y="25485"/>
                  </a:lnTo>
                  <a:lnTo>
                    <a:pt x="36886" y="14882"/>
                  </a:lnTo>
                  <a:lnTo>
                    <a:pt x="51371" y="6857"/>
                  </a:lnTo>
                  <a:lnTo>
                    <a:pt x="67411" y="1775"/>
                  </a:lnTo>
                  <a:lnTo>
                    <a:pt x="84666" y="0"/>
                  </a:lnTo>
                  <a:lnTo>
                    <a:pt x="98721" y="0"/>
                  </a:lnTo>
                  <a:lnTo>
                    <a:pt x="275166" y="123967"/>
                  </a:lnTo>
                  <a:lnTo>
                    <a:pt x="317499" y="123967"/>
                  </a:lnTo>
                  <a:lnTo>
                    <a:pt x="317499" y="212381"/>
                  </a:lnTo>
                  <a:close/>
                </a:path>
                <a:path w="762000" h="552450">
                  <a:moveTo>
                    <a:pt x="317499" y="123967"/>
                  </a:moveTo>
                  <a:lnTo>
                    <a:pt x="275166" y="123967"/>
                  </a:lnTo>
                  <a:lnTo>
                    <a:pt x="275166" y="0"/>
                  </a:lnTo>
                  <a:lnTo>
                    <a:pt x="317499" y="0"/>
                  </a:lnTo>
                  <a:lnTo>
                    <a:pt x="317499" y="123967"/>
                  </a:lnTo>
                  <a:close/>
                </a:path>
                <a:path w="762000" h="552450">
                  <a:moveTo>
                    <a:pt x="156040" y="169905"/>
                  </a:moveTo>
                  <a:lnTo>
                    <a:pt x="119125" y="169905"/>
                  </a:lnTo>
                  <a:lnTo>
                    <a:pt x="0" y="86205"/>
                  </a:lnTo>
                  <a:lnTo>
                    <a:pt x="0" y="77179"/>
                  </a:lnTo>
                  <a:lnTo>
                    <a:pt x="1375" y="69788"/>
                  </a:lnTo>
                  <a:lnTo>
                    <a:pt x="3323" y="62631"/>
                  </a:lnTo>
                  <a:lnTo>
                    <a:pt x="156040" y="169905"/>
                  </a:lnTo>
                  <a:close/>
                </a:path>
              </a:pathLst>
            </a:custGeom>
            <a:solidFill>
              <a:srgbClr val="EDEDED"/>
            </a:solidFill>
          </p:spPr>
          <p:txBody>
            <a:bodyPr wrap="square" lIns="0" tIns="0" rIns="0" bIns="0" rtlCol="0"/>
            <a:lstStyle/>
            <a:p>
              <a:endParaRPr/>
            </a:p>
          </p:txBody>
        </p:sp>
        <p:sp>
          <p:nvSpPr>
            <p:cNvPr id="16" name="object 16"/>
            <p:cNvSpPr/>
            <p:nvPr/>
          </p:nvSpPr>
          <p:spPr>
            <a:xfrm>
              <a:off x="16767595" y="1502510"/>
              <a:ext cx="762000" cy="553720"/>
            </a:xfrm>
            <a:custGeom>
              <a:avLst/>
              <a:gdLst/>
              <a:ahLst/>
              <a:cxnLst/>
              <a:rect l="l" t="t" r="r" b="b"/>
              <a:pathLst>
                <a:path w="762000" h="553719">
                  <a:moveTo>
                    <a:pt x="762000" y="212445"/>
                  </a:moveTo>
                  <a:lnTo>
                    <a:pt x="444500" y="212445"/>
                  </a:lnTo>
                  <a:lnTo>
                    <a:pt x="444500" y="0"/>
                  </a:lnTo>
                  <a:lnTo>
                    <a:pt x="317500" y="0"/>
                  </a:lnTo>
                  <a:lnTo>
                    <a:pt x="317500" y="212445"/>
                  </a:lnTo>
                  <a:lnTo>
                    <a:pt x="0" y="212445"/>
                  </a:lnTo>
                  <a:lnTo>
                    <a:pt x="0" y="340931"/>
                  </a:lnTo>
                  <a:lnTo>
                    <a:pt x="317500" y="340931"/>
                  </a:lnTo>
                  <a:lnTo>
                    <a:pt x="317500" y="553377"/>
                  </a:lnTo>
                  <a:lnTo>
                    <a:pt x="444500" y="553377"/>
                  </a:lnTo>
                  <a:lnTo>
                    <a:pt x="444500" y="340931"/>
                  </a:lnTo>
                  <a:lnTo>
                    <a:pt x="762000" y="340931"/>
                  </a:lnTo>
                  <a:lnTo>
                    <a:pt x="762000" y="212445"/>
                  </a:lnTo>
                  <a:close/>
                </a:path>
              </a:pathLst>
            </a:custGeom>
            <a:solidFill>
              <a:srgbClr val="CF1B2A"/>
            </a:solidFill>
          </p:spPr>
          <p:txBody>
            <a:bodyPr wrap="square" lIns="0" tIns="0" rIns="0" bIns="0" rtlCol="0"/>
            <a:lstStyle/>
            <a:p>
              <a:endParaRPr/>
            </a:p>
          </p:txBody>
        </p:sp>
      </p:grpSp>
      <p:grpSp>
        <p:nvGrpSpPr>
          <p:cNvPr id="17" name="object 17"/>
          <p:cNvGrpSpPr/>
          <p:nvPr/>
        </p:nvGrpSpPr>
        <p:grpSpPr>
          <a:xfrm>
            <a:off x="14224066" y="1502976"/>
            <a:ext cx="828675" cy="552450"/>
            <a:chOff x="14224066" y="1502976"/>
            <a:chExt cx="828675" cy="552450"/>
          </a:xfrm>
        </p:grpSpPr>
        <p:sp>
          <p:nvSpPr>
            <p:cNvPr id="18" name="object 18"/>
            <p:cNvSpPr/>
            <p:nvPr/>
          </p:nvSpPr>
          <p:spPr>
            <a:xfrm>
              <a:off x="14224066" y="1502976"/>
              <a:ext cx="828675" cy="552450"/>
            </a:xfrm>
            <a:custGeom>
              <a:avLst/>
              <a:gdLst/>
              <a:ahLst/>
              <a:cxnLst/>
              <a:rect l="l" t="t" r="r" b="b"/>
              <a:pathLst>
                <a:path w="828675" h="552450">
                  <a:moveTo>
                    <a:pt x="724542" y="552449"/>
                  </a:moveTo>
                  <a:lnTo>
                    <a:pt x="103608" y="552449"/>
                  </a:lnTo>
                  <a:lnTo>
                    <a:pt x="63271" y="544306"/>
                  </a:lnTo>
                  <a:lnTo>
                    <a:pt x="30339" y="522102"/>
                  </a:lnTo>
                  <a:lnTo>
                    <a:pt x="8139" y="489176"/>
                  </a:lnTo>
                  <a:lnTo>
                    <a:pt x="0" y="448865"/>
                  </a:lnTo>
                  <a:lnTo>
                    <a:pt x="0" y="103584"/>
                  </a:lnTo>
                  <a:lnTo>
                    <a:pt x="8126" y="63273"/>
                  </a:lnTo>
                  <a:lnTo>
                    <a:pt x="30305" y="30346"/>
                  </a:lnTo>
                  <a:lnTo>
                    <a:pt x="63233" y="8143"/>
                  </a:lnTo>
                  <a:lnTo>
                    <a:pt x="103608" y="0"/>
                  </a:lnTo>
                  <a:lnTo>
                    <a:pt x="724542" y="0"/>
                  </a:lnTo>
                  <a:lnTo>
                    <a:pt x="764880" y="8143"/>
                  </a:lnTo>
                  <a:lnTo>
                    <a:pt x="797812" y="30346"/>
                  </a:lnTo>
                  <a:lnTo>
                    <a:pt x="820012" y="63273"/>
                  </a:lnTo>
                  <a:lnTo>
                    <a:pt x="828151" y="103584"/>
                  </a:lnTo>
                  <a:lnTo>
                    <a:pt x="828151" y="448865"/>
                  </a:lnTo>
                  <a:lnTo>
                    <a:pt x="820024" y="489176"/>
                  </a:lnTo>
                  <a:lnTo>
                    <a:pt x="797846" y="522102"/>
                  </a:lnTo>
                  <a:lnTo>
                    <a:pt x="764918" y="544306"/>
                  </a:lnTo>
                  <a:lnTo>
                    <a:pt x="724542" y="552449"/>
                  </a:lnTo>
                  <a:close/>
                </a:path>
              </a:pathLst>
            </a:custGeom>
            <a:solidFill>
              <a:srgbClr val="D90F23"/>
            </a:solidFill>
          </p:spPr>
          <p:txBody>
            <a:bodyPr wrap="square" lIns="0" tIns="0" rIns="0" bIns="0" rtlCol="0"/>
            <a:lstStyle/>
            <a:p>
              <a:endParaRPr/>
            </a:p>
          </p:txBody>
        </p:sp>
        <p:sp>
          <p:nvSpPr>
            <p:cNvPr id="19" name="object 19"/>
            <p:cNvSpPr/>
            <p:nvPr/>
          </p:nvSpPr>
          <p:spPr>
            <a:xfrm>
              <a:off x="14224066" y="1641088"/>
              <a:ext cx="828675" cy="276225"/>
            </a:xfrm>
            <a:custGeom>
              <a:avLst/>
              <a:gdLst/>
              <a:ahLst/>
              <a:cxnLst/>
              <a:rect l="l" t="t" r="r" b="b"/>
              <a:pathLst>
                <a:path w="828675" h="276225">
                  <a:moveTo>
                    <a:pt x="828151" y="276224"/>
                  </a:moveTo>
                  <a:lnTo>
                    <a:pt x="0" y="276224"/>
                  </a:lnTo>
                  <a:lnTo>
                    <a:pt x="0" y="0"/>
                  </a:lnTo>
                  <a:lnTo>
                    <a:pt x="828151" y="0"/>
                  </a:lnTo>
                  <a:lnTo>
                    <a:pt x="828151" y="276224"/>
                  </a:lnTo>
                  <a:close/>
                </a:path>
              </a:pathLst>
            </a:custGeom>
            <a:solidFill>
              <a:srgbClr val="F1C400"/>
            </a:solidFill>
          </p:spPr>
          <p:txBody>
            <a:bodyPr wrap="square" lIns="0" tIns="0" rIns="0" bIns="0" rtlCol="0"/>
            <a:lstStyle/>
            <a:p>
              <a:endParaRPr/>
            </a:p>
          </p:txBody>
        </p:sp>
        <p:pic>
          <p:nvPicPr>
            <p:cNvPr id="20" name="object 20"/>
            <p:cNvPicPr/>
            <p:nvPr/>
          </p:nvPicPr>
          <p:blipFill>
            <a:blip r:embed="rId2" cstate="print"/>
            <a:stretch>
              <a:fillRect/>
            </a:stretch>
          </p:blipFill>
          <p:spPr>
            <a:xfrm>
              <a:off x="14301705" y="1658353"/>
              <a:ext cx="293303" cy="243225"/>
            </a:xfrm>
            <a:prstGeom prst="rect">
              <a:avLst/>
            </a:prstGeom>
          </p:spPr>
        </p:pic>
      </p:grpSp>
      <p:grpSp>
        <p:nvGrpSpPr>
          <p:cNvPr id="21" name="object 21"/>
          <p:cNvGrpSpPr/>
          <p:nvPr/>
        </p:nvGrpSpPr>
        <p:grpSpPr>
          <a:xfrm>
            <a:off x="4240906" y="4125461"/>
            <a:ext cx="757555" cy="549275"/>
            <a:chOff x="4240906" y="4125461"/>
            <a:chExt cx="757555" cy="549275"/>
          </a:xfrm>
        </p:grpSpPr>
        <p:sp>
          <p:nvSpPr>
            <p:cNvPr id="22" name="object 22"/>
            <p:cNvSpPr/>
            <p:nvPr/>
          </p:nvSpPr>
          <p:spPr>
            <a:xfrm>
              <a:off x="4240906" y="4125461"/>
              <a:ext cx="757555" cy="549275"/>
            </a:xfrm>
            <a:custGeom>
              <a:avLst/>
              <a:gdLst/>
              <a:ahLst/>
              <a:cxnLst/>
              <a:rect l="l" t="t" r="r" b="b"/>
              <a:pathLst>
                <a:path w="757554" h="549275">
                  <a:moveTo>
                    <a:pt x="163516" y="548901"/>
                  </a:moveTo>
                  <a:lnTo>
                    <a:pt x="84970" y="530350"/>
                  </a:lnTo>
                  <a:lnTo>
                    <a:pt x="76285" y="515539"/>
                  </a:lnTo>
                  <a:lnTo>
                    <a:pt x="78324" y="510453"/>
                  </a:lnTo>
                  <a:lnTo>
                    <a:pt x="282393" y="362867"/>
                  </a:lnTo>
                  <a:lnTo>
                    <a:pt x="93051" y="291281"/>
                  </a:lnTo>
                  <a:lnTo>
                    <a:pt x="47963" y="258966"/>
                  </a:lnTo>
                  <a:lnTo>
                    <a:pt x="20004" y="227035"/>
                  </a:lnTo>
                  <a:lnTo>
                    <a:pt x="0" y="160087"/>
                  </a:lnTo>
                  <a:lnTo>
                    <a:pt x="8236" y="125967"/>
                  </a:lnTo>
                  <a:lnTo>
                    <a:pt x="55364" y="3515"/>
                  </a:lnTo>
                  <a:lnTo>
                    <a:pt x="61633" y="0"/>
                  </a:lnTo>
                  <a:lnTo>
                    <a:pt x="107779" y="8751"/>
                  </a:lnTo>
                  <a:lnTo>
                    <a:pt x="111932" y="12641"/>
                  </a:lnTo>
                  <a:lnTo>
                    <a:pt x="141765" y="140554"/>
                  </a:lnTo>
                  <a:lnTo>
                    <a:pt x="673159" y="329356"/>
                  </a:lnTo>
                  <a:lnTo>
                    <a:pt x="715907" y="357481"/>
                  </a:lnTo>
                  <a:lnTo>
                    <a:pt x="748778" y="401609"/>
                  </a:lnTo>
                  <a:lnTo>
                    <a:pt x="757294" y="436314"/>
                  </a:lnTo>
                  <a:lnTo>
                    <a:pt x="754779" y="450771"/>
                  </a:lnTo>
                  <a:lnTo>
                    <a:pt x="746343" y="465122"/>
                  </a:lnTo>
                  <a:lnTo>
                    <a:pt x="735870" y="473226"/>
                  </a:lnTo>
                  <a:lnTo>
                    <a:pt x="722487" y="477998"/>
                  </a:lnTo>
                  <a:lnTo>
                    <a:pt x="706229" y="479418"/>
                  </a:lnTo>
                  <a:lnTo>
                    <a:pt x="687132" y="477465"/>
                  </a:lnTo>
                  <a:lnTo>
                    <a:pt x="485480" y="425552"/>
                  </a:lnTo>
                  <a:lnTo>
                    <a:pt x="163516" y="548901"/>
                  </a:lnTo>
                  <a:close/>
                </a:path>
              </a:pathLst>
            </a:custGeom>
            <a:solidFill>
              <a:srgbClr val="21408B"/>
            </a:solidFill>
          </p:spPr>
          <p:txBody>
            <a:bodyPr wrap="square" lIns="0" tIns="0" rIns="0" bIns="0" rtlCol="0"/>
            <a:lstStyle/>
            <a:p>
              <a:endParaRPr/>
            </a:p>
          </p:txBody>
        </p:sp>
        <p:pic>
          <p:nvPicPr>
            <p:cNvPr id="23" name="object 23"/>
            <p:cNvPicPr/>
            <p:nvPr/>
          </p:nvPicPr>
          <p:blipFill>
            <a:blip r:embed="rId3" cstate="print"/>
            <a:stretch>
              <a:fillRect/>
            </a:stretch>
          </p:blipFill>
          <p:spPr>
            <a:xfrm>
              <a:off x="4486461" y="4160685"/>
              <a:ext cx="207146" cy="186117"/>
            </a:xfrm>
            <a:prstGeom prst="rect">
              <a:avLst/>
            </a:prstGeom>
          </p:spPr>
        </p:pic>
      </p:grpSp>
      <p:sp>
        <p:nvSpPr>
          <p:cNvPr id="24" name="object 24"/>
          <p:cNvSpPr/>
          <p:nvPr/>
        </p:nvSpPr>
        <p:spPr>
          <a:xfrm>
            <a:off x="4183889" y="4798236"/>
            <a:ext cx="850900" cy="60960"/>
          </a:xfrm>
          <a:custGeom>
            <a:avLst/>
            <a:gdLst/>
            <a:ahLst/>
            <a:cxnLst/>
            <a:rect l="l" t="t" r="r" b="b"/>
            <a:pathLst>
              <a:path w="850900" h="60960">
                <a:moveTo>
                  <a:pt x="820731" y="60664"/>
                </a:moveTo>
                <a:lnTo>
                  <a:pt x="29983" y="60664"/>
                </a:lnTo>
                <a:lnTo>
                  <a:pt x="18320" y="58245"/>
                </a:lnTo>
                <a:lnTo>
                  <a:pt x="8789" y="51688"/>
                </a:lnTo>
                <a:lnTo>
                  <a:pt x="2358" y="42046"/>
                </a:lnTo>
                <a:lnTo>
                  <a:pt x="0" y="30369"/>
                </a:lnTo>
                <a:lnTo>
                  <a:pt x="2358" y="18713"/>
                </a:lnTo>
                <a:lnTo>
                  <a:pt x="8789" y="9041"/>
                </a:lnTo>
                <a:lnTo>
                  <a:pt x="18320" y="2441"/>
                </a:lnTo>
                <a:lnTo>
                  <a:pt x="29983" y="0"/>
                </a:lnTo>
                <a:lnTo>
                  <a:pt x="820731" y="0"/>
                </a:lnTo>
                <a:lnTo>
                  <a:pt x="832394" y="2441"/>
                </a:lnTo>
                <a:lnTo>
                  <a:pt x="841925" y="9041"/>
                </a:lnTo>
                <a:lnTo>
                  <a:pt x="848355" y="18713"/>
                </a:lnTo>
                <a:lnTo>
                  <a:pt x="850714" y="30369"/>
                </a:lnTo>
                <a:lnTo>
                  <a:pt x="848355" y="42046"/>
                </a:lnTo>
                <a:lnTo>
                  <a:pt x="841925" y="51688"/>
                </a:lnTo>
                <a:lnTo>
                  <a:pt x="832394" y="58245"/>
                </a:lnTo>
                <a:lnTo>
                  <a:pt x="820731" y="60664"/>
                </a:lnTo>
                <a:close/>
              </a:path>
            </a:pathLst>
          </a:custGeom>
          <a:solidFill>
            <a:srgbClr val="21408B"/>
          </a:solidFill>
        </p:spPr>
        <p:txBody>
          <a:bodyPr wrap="square" lIns="0" tIns="0" rIns="0" bIns="0" rtlCol="0"/>
          <a:lstStyle/>
          <a:p>
            <a:endParaRPr/>
          </a:p>
        </p:txBody>
      </p:sp>
      <p:sp>
        <p:nvSpPr>
          <p:cNvPr id="25" name="object 25"/>
          <p:cNvSpPr/>
          <p:nvPr/>
        </p:nvSpPr>
        <p:spPr>
          <a:xfrm>
            <a:off x="1649602" y="4100854"/>
            <a:ext cx="701040" cy="699135"/>
          </a:xfrm>
          <a:custGeom>
            <a:avLst/>
            <a:gdLst/>
            <a:ahLst/>
            <a:cxnLst/>
            <a:rect l="l" t="t" r="r" b="b"/>
            <a:pathLst>
              <a:path w="701039" h="699135">
                <a:moveTo>
                  <a:pt x="378637" y="231787"/>
                </a:moveTo>
                <a:lnTo>
                  <a:pt x="377253" y="214845"/>
                </a:lnTo>
                <a:lnTo>
                  <a:pt x="375323" y="207873"/>
                </a:lnTo>
                <a:lnTo>
                  <a:pt x="373075" y="199720"/>
                </a:lnTo>
                <a:lnTo>
                  <a:pt x="343865" y="165925"/>
                </a:lnTo>
                <a:lnTo>
                  <a:pt x="308851" y="149847"/>
                </a:lnTo>
                <a:lnTo>
                  <a:pt x="308851" y="227241"/>
                </a:lnTo>
                <a:lnTo>
                  <a:pt x="308851" y="233146"/>
                </a:lnTo>
                <a:lnTo>
                  <a:pt x="307454" y="242303"/>
                </a:lnTo>
                <a:lnTo>
                  <a:pt x="303276" y="249821"/>
                </a:lnTo>
                <a:lnTo>
                  <a:pt x="296329" y="255689"/>
                </a:lnTo>
                <a:lnTo>
                  <a:pt x="286588" y="259918"/>
                </a:lnTo>
                <a:lnTo>
                  <a:pt x="286588" y="256895"/>
                </a:lnTo>
                <a:lnTo>
                  <a:pt x="286588" y="208038"/>
                </a:lnTo>
                <a:lnTo>
                  <a:pt x="288112" y="208038"/>
                </a:lnTo>
                <a:lnTo>
                  <a:pt x="288112" y="207873"/>
                </a:lnTo>
                <a:lnTo>
                  <a:pt x="295529" y="210908"/>
                </a:lnTo>
                <a:lnTo>
                  <a:pt x="301421" y="215290"/>
                </a:lnTo>
                <a:lnTo>
                  <a:pt x="304457" y="218313"/>
                </a:lnTo>
                <a:lnTo>
                  <a:pt x="307492" y="222694"/>
                </a:lnTo>
                <a:lnTo>
                  <a:pt x="308851" y="227241"/>
                </a:lnTo>
                <a:lnTo>
                  <a:pt x="308851" y="149847"/>
                </a:lnTo>
                <a:lnTo>
                  <a:pt x="289623" y="144195"/>
                </a:lnTo>
                <a:lnTo>
                  <a:pt x="289623" y="127863"/>
                </a:lnTo>
                <a:lnTo>
                  <a:pt x="289623" y="81876"/>
                </a:lnTo>
                <a:lnTo>
                  <a:pt x="301040" y="85979"/>
                </a:lnTo>
                <a:lnTo>
                  <a:pt x="313016" y="91668"/>
                </a:lnTo>
                <a:lnTo>
                  <a:pt x="325564" y="98755"/>
                </a:lnTo>
                <a:lnTo>
                  <a:pt x="338683" y="107137"/>
                </a:lnTo>
                <a:lnTo>
                  <a:pt x="355854" y="81876"/>
                </a:lnTo>
                <a:lnTo>
                  <a:pt x="357911" y="78841"/>
                </a:lnTo>
                <a:lnTo>
                  <a:pt x="372910" y="56769"/>
                </a:lnTo>
                <a:lnTo>
                  <a:pt x="351764" y="43688"/>
                </a:lnTo>
                <a:lnTo>
                  <a:pt x="330593" y="33540"/>
                </a:lnTo>
                <a:lnTo>
                  <a:pt x="309422" y="26479"/>
                </a:lnTo>
                <a:lnTo>
                  <a:pt x="288277" y="22580"/>
                </a:lnTo>
                <a:lnTo>
                  <a:pt x="288277" y="342"/>
                </a:lnTo>
                <a:lnTo>
                  <a:pt x="243776" y="342"/>
                </a:lnTo>
                <a:lnTo>
                  <a:pt x="243776" y="21056"/>
                </a:lnTo>
                <a:lnTo>
                  <a:pt x="243598" y="21094"/>
                </a:lnTo>
                <a:lnTo>
                  <a:pt x="243598" y="78841"/>
                </a:lnTo>
                <a:lnTo>
                  <a:pt x="243598" y="127863"/>
                </a:lnTo>
                <a:lnTo>
                  <a:pt x="235826" y="123748"/>
                </a:lnTo>
                <a:lnTo>
                  <a:pt x="230238" y="118071"/>
                </a:lnTo>
                <a:lnTo>
                  <a:pt x="226860" y="110972"/>
                </a:lnTo>
                <a:lnTo>
                  <a:pt x="225729" y="102590"/>
                </a:lnTo>
                <a:lnTo>
                  <a:pt x="226847" y="94526"/>
                </a:lnTo>
                <a:lnTo>
                  <a:pt x="230174" y="87934"/>
                </a:lnTo>
                <a:lnTo>
                  <a:pt x="235762" y="82740"/>
                </a:lnTo>
                <a:lnTo>
                  <a:pt x="243598" y="78841"/>
                </a:lnTo>
                <a:lnTo>
                  <a:pt x="243598" y="21094"/>
                </a:lnTo>
                <a:lnTo>
                  <a:pt x="194487" y="38328"/>
                </a:lnTo>
                <a:lnTo>
                  <a:pt x="163372" y="76060"/>
                </a:lnTo>
                <a:lnTo>
                  <a:pt x="157734" y="107137"/>
                </a:lnTo>
                <a:lnTo>
                  <a:pt x="157822" y="110972"/>
                </a:lnTo>
                <a:lnTo>
                  <a:pt x="169506" y="153111"/>
                </a:lnTo>
                <a:lnTo>
                  <a:pt x="204863" y="181190"/>
                </a:lnTo>
                <a:lnTo>
                  <a:pt x="243776" y="194564"/>
                </a:lnTo>
                <a:lnTo>
                  <a:pt x="243776" y="256895"/>
                </a:lnTo>
                <a:lnTo>
                  <a:pt x="230085" y="252196"/>
                </a:lnTo>
                <a:lnTo>
                  <a:pt x="215747" y="244678"/>
                </a:lnTo>
                <a:lnTo>
                  <a:pt x="200571" y="234391"/>
                </a:lnTo>
                <a:lnTo>
                  <a:pt x="184429" y="221348"/>
                </a:lnTo>
                <a:lnTo>
                  <a:pt x="184086" y="221183"/>
                </a:lnTo>
                <a:lnTo>
                  <a:pt x="145491" y="268681"/>
                </a:lnTo>
                <a:lnTo>
                  <a:pt x="168541" y="286791"/>
                </a:lnTo>
                <a:lnTo>
                  <a:pt x="193001" y="300964"/>
                </a:lnTo>
                <a:lnTo>
                  <a:pt x="218579" y="311251"/>
                </a:lnTo>
                <a:lnTo>
                  <a:pt x="244944" y="317703"/>
                </a:lnTo>
                <a:lnTo>
                  <a:pt x="244944" y="348869"/>
                </a:lnTo>
                <a:lnTo>
                  <a:pt x="289458" y="348869"/>
                </a:lnTo>
                <a:lnTo>
                  <a:pt x="289458" y="319214"/>
                </a:lnTo>
                <a:lnTo>
                  <a:pt x="308686" y="315836"/>
                </a:lnTo>
                <a:lnTo>
                  <a:pt x="354863" y="291084"/>
                </a:lnTo>
                <a:lnTo>
                  <a:pt x="374091" y="259918"/>
                </a:lnTo>
                <a:lnTo>
                  <a:pt x="377228" y="248780"/>
                </a:lnTo>
                <a:lnTo>
                  <a:pt x="378637" y="231787"/>
                </a:lnTo>
                <a:close/>
              </a:path>
              <a:path w="701039" h="699135">
                <a:moveTo>
                  <a:pt x="699287" y="669099"/>
                </a:moveTo>
                <a:lnTo>
                  <a:pt x="696950" y="657567"/>
                </a:lnTo>
                <a:lnTo>
                  <a:pt x="690587" y="648144"/>
                </a:lnTo>
                <a:lnTo>
                  <a:pt x="681151" y="641781"/>
                </a:lnTo>
                <a:lnTo>
                  <a:pt x="669620" y="639445"/>
                </a:lnTo>
                <a:lnTo>
                  <a:pt x="59334" y="639610"/>
                </a:lnTo>
                <a:lnTo>
                  <a:pt x="59334" y="29654"/>
                </a:lnTo>
                <a:lnTo>
                  <a:pt x="56997" y="18122"/>
                </a:lnTo>
                <a:lnTo>
                  <a:pt x="50634" y="8699"/>
                </a:lnTo>
                <a:lnTo>
                  <a:pt x="41198" y="2336"/>
                </a:lnTo>
                <a:lnTo>
                  <a:pt x="29667" y="0"/>
                </a:lnTo>
                <a:lnTo>
                  <a:pt x="18135" y="2336"/>
                </a:lnTo>
                <a:lnTo>
                  <a:pt x="8699" y="8699"/>
                </a:lnTo>
                <a:lnTo>
                  <a:pt x="2336" y="18122"/>
                </a:lnTo>
                <a:lnTo>
                  <a:pt x="0" y="29654"/>
                </a:lnTo>
                <a:lnTo>
                  <a:pt x="0" y="669099"/>
                </a:lnTo>
                <a:lnTo>
                  <a:pt x="2336" y="680618"/>
                </a:lnTo>
                <a:lnTo>
                  <a:pt x="8699" y="690041"/>
                </a:lnTo>
                <a:lnTo>
                  <a:pt x="18135" y="696404"/>
                </a:lnTo>
                <a:lnTo>
                  <a:pt x="29667" y="698741"/>
                </a:lnTo>
                <a:lnTo>
                  <a:pt x="669620" y="698741"/>
                </a:lnTo>
                <a:lnTo>
                  <a:pt x="681151" y="696404"/>
                </a:lnTo>
                <a:lnTo>
                  <a:pt x="690587" y="690041"/>
                </a:lnTo>
                <a:lnTo>
                  <a:pt x="696950" y="680618"/>
                </a:lnTo>
                <a:lnTo>
                  <a:pt x="699287" y="669099"/>
                </a:lnTo>
                <a:close/>
              </a:path>
              <a:path w="701039" h="699135">
                <a:moveTo>
                  <a:pt x="700976" y="301028"/>
                </a:moveTo>
                <a:lnTo>
                  <a:pt x="698639" y="289496"/>
                </a:lnTo>
                <a:lnTo>
                  <a:pt x="692277" y="280073"/>
                </a:lnTo>
                <a:lnTo>
                  <a:pt x="682840" y="273710"/>
                </a:lnTo>
                <a:lnTo>
                  <a:pt x="671309" y="271373"/>
                </a:lnTo>
                <a:lnTo>
                  <a:pt x="504913" y="271373"/>
                </a:lnTo>
                <a:lnTo>
                  <a:pt x="493369" y="273710"/>
                </a:lnTo>
                <a:lnTo>
                  <a:pt x="483946" y="280073"/>
                </a:lnTo>
                <a:lnTo>
                  <a:pt x="477570" y="289496"/>
                </a:lnTo>
                <a:lnTo>
                  <a:pt x="475234" y="301028"/>
                </a:lnTo>
                <a:lnTo>
                  <a:pt x="477570" y="312547"/>
                </a:lnTo>
                <a:lnTo>
                  <a:pt x="483946" y="321983"/>
                </a:lnTo>
                <a:lnTo>
                  <a:pt x="493369" y="328345"/>
                </a:lnTo>
                <a:lnTo>
                  <a:pt x="504913" y="330669"/>
                </a:lnTo>
                <a:lnTo>
                  <a:pt x="604380" y="330669"/>
                </a:lnTo>
                <a:lnTo>
                  <a:pt x="454329" y="465772"/>
                </a:lnTo>
                <a:lnTo>
                  <a:pt x="341553" y="366382"/>
                </a:lnTo>
                <a:lnTo>
                  <a:pt x="331774" y="360743"/>
                </a:lnTo>
                <a:lnTo>
                  <a:pt x="320979" y="359308"/>
                </a:lnTo>
                <a:lnTo>
                  <a:pt x="310451" y="361784"/>
                </a:lnTo>
                <a:lnTo>
                  <a:pt x="301421" y="367906"/>
                </a:lnTo>
                <a:lnTo>
                  <a:pt x="135039" y="537032"/>
                </a:lnTo>
                <a:lnTo>
                  <a:pt x="128397" y="546823"/>
                </a:lnTo>
                <a:lnTo>
                  <a:pt x="126187" y="557771"/>
                </a:lnTo>
                <a:lnTo>
                  <a:pt x="128397" y="568744"/>
                </a:lnTo>
                <a:lnTo>
                  <a:pt x="135039" y="578637"/>
                </a:lnTo>
                <a:lnTo>
                  <a:pt x="140931" y="584530"/>
                </a:lnTo>
                <a:lnTo>
                  <a:pt x="148348" y="587565"/>
                </a:lnTo>
                <a:lnTo>
                  <a:pt x="155943" y="587565"/>
                </a:lnTo>
                <a:lnTo>
                  <a:pt x="163360" y="587565"/>
                </a:lnTo>
                <a:lnTo>
                  <a:pt x="170776" y="584530"/>
                </a:lnTo>
                <a:lnTo>
                  <a:pt x="325196" y="428713"/>
                </a:lnTo>
                <a:lnTo>
                  <a:pt x="436638" y="526580"/>
                </a:lnTo>
                <a:lnTo>
                  <a:pt x="445604" y="532460"/>
                </a:lnTo>
                <a:lnTo>
                  <a:pt x="455942" y="534416"/>
                </a:lnTo>
                <a:lnTo>
                  <a:pt x="466267" y="532460"/>
                </a:lnTo>
                <a:lnTo>
                  <a:pt x="475234" y="526580"/>
                </a:lnTo>
                <a:lnTo>
                  <a:pt x="641629" y="375310"/>
                </a:lnTo>
                <a:lnTo>
                  <a:pt x="641629" y="465772"/>
                </a:lnTo>
                <a:lnTo>
                  <a:pt x="643966" y="477304"/>
                </a:lnTo>
                <a:lnTo>
                  <a:pt x="650341" y="486727"/>
                </a:lnTo>
                <a:lnTo>
                  <a:pt x="659765" y="493090"/>
                </a:lnTo>
                <a:lnTo>
                  <a:pt x="671309" y="495414"/>
                </a:lnTo>
                <a:lnTo>
                  <a:pt x="682840" y="493090"/>
                </a:lnTo>
                <a:lnTo>
                  <a:pt x="692277" y="486727"/>
                </a:lnTo>
                <a:lnTo>
                  <a:pt x="698639" y="477304"/>
                </a:lnTo>
                <a:lnTo>
                  <a:pt x="700976" y="465772"/>
                </a:lnTo>
                <a:lnTo>
                  <a:pt x="700976" y="301028"/>
                </a:lnTo>
                <a:close/>
              </a:path>
            </a:pathLst>
          </a:custGeom>
          <a:solidFill>
            <a:srgbClr val="21408B"/>
          </a:solidFill>
        </p:spPr>
        <p:txBody>
          <a:bodyPr wrap="square" lIns="0" tIns="0" rIns="0" bIns="0" rtlCol="0"/>
          <a:lstStyle/>
          <a:p>
            <a:endParaRPr/>
          </a:p>
        </p:txBody>
      </p:sp>
      <p:sp>
        <p:nvSpPr>
          <p:cNvPr id="26" name="object 26"/>
          <p:cNvSpPr/>
          <p:nvPr/>
        </p:nvSpPr>
        <p:spPr>
          <a:xfrm>
            <a:off x="4362016" y="8244949"/>
            <a:ext cx="556260" cy="557530"/>
          </a:xfrm>
          <a:custGeom>
            <a:avLst/>
            <a:gdLst/>
            <a:ahLst/>
            <a:cxnLst/>
            <a:rect l="l" t="t" r="r" b="b"/>
            <a:pathLst>
              <a:path w="556260" h="557529">
                <a:moveTo>
                  <a:pt x="277939" y="557041"/>
                </a:moveTo>
                <a:lnTo>
                  <a:pt x="232919" y="553389"/>
                </a:lnTo>
                <a:lnTo>
                  <a:pt x="190189" y="542820"/>
                </a:lnTo>
                <a:lnTo>
                  <a:pt x="150325" y="525911"/>
                </a:lnTo>
                <a:lnTo>
                  <a:pt x="113904" y="503239"/>
                </a:lnTo>
                <a:lnTo>
                  <a:pt x="81504" y="475381"/>
                </a:lnTo>
                <a:lnTo>
                  <a:pt x="53701" y="442915"/>
                </a:lnTo>
                <a:lnTo>
                  <a:pt x="31072" y="406419"/>
                </a:lnTo>
                <a:lnTo>
                  <a:pt x="14194" y="366469"/>
                </a:lnTo>
                <a:lnTo>
                  <a:pt x="3644" y="323644"/>
                </a:lnTo>
                <a:lnTo>
                  <a:pt x="0" y="278520"/>
                </a:lnTo>
                <a:lnTo>
                  <a:pt x="3644" y="233403"/>
                </a:lnTo>
                <a:lnTo>
                  <a:pt x="14191" y="190582"/>
                </a:lnTo>
                <a:lnTo>
                  <a:pt x="31067" y="150634"/>
                </a:lnTo>
                <a:lnTo>
                  <a:pt x="53693" y="114137"/>
                </a:lnTo>
                <a:lnTo>
                  <a:pt x="81494" y="81670"/>
                </a:lnTo>
                <a:lnTo>
                  <a:pt x="113892" y="53810"/>
                </a:lnTo>
                <a:lnTo>
                  <a:pt x="150313" y="31135"/>
                </a:lnTo>
                <a:lnTo>
                  <a:pt x="190178" y="14223"/>
                </a:lnTo>
                <a:lnTo>
                  <a:pt x="232912" y="3652"/>
                </a:lnTo>
                <a:lnTo>
                  <a:pt x="277939" y="0"/>
                </a:lnTo>
                <a:lnTo>
                  <a:pt x="322973" y="3652"/>
                </a:lnTo>
                <a:lnTo>
                  <a:pt x="365713" y="14223"/>
                </a:lnTo>
                <a:lnTo>
                  <a:pt x="405583" y="31135"/>
                </a:lnTo>
                <a:lnTo>
                  <a:pt x="442007" y="53810"/>
                </a:lnTo>
                <a:lnTo>
                  <a:pt x="474408" y="81670"/>
                </a:lnTo>
                <a:lnTo>
                  <a:pt x="502211" y="114137"/>
                </a:lnTo>
                <a:lnTo>
                  <a:pt x="524838" y="150634"/>
                </a:lnTo>
                <a:lnTo>
                  <a:pt x="541714" y="190582"/>
                </a:lnTo>
                <a:lnTo>
                  <a:pt x="552262" y="233403"/>
                </a:lnTo>
                <a:lnTo>
                  <a:pt x="555906" y="278520"/>
                </a:lnTo>
                <a:lnTo>
                  <a:pt x="552262" y="323644"/>
                </a:lnTo>
                <a:lnTo>
                  <a:pt x="541714" y="366469"/>
                </a:lnTo>
                <a:lnTo>
                  <a:pt x="524838" y="406419"/>
                </a:lnTo>
                <a:lnTo>
                  <a:pt x="502211" y="442915"/>
                </a:lnTo>
                <a:lnTo>
                  <a:pt x="474408" y="475381"/>
                </a:lnTo>
                <a:lnTo>
                  <a:pt x="442007" y="503239"/>
                </a:lnTo>
                <a:lnTo>
                  <a:pt x="405583" y="525911"/>
                </a:lnTo>
                <a:lnTo>
                  <a:pt x="365713" y="542820"/>
                </a:lnTo>
                <a:lnTo>
                  <a:pt x="322973" y="553389"/>
                </a:lnTo>
                <a:lnTo>
                  <a:pt x="277939" y="557041"/>
                </a:lnTo>
                <a:close/>
              </a:path>
            </a:pathLst>
          </a:custGeom>
          <a:solidFill>
            <a:srgbClr val="21408B"/>
          </a:solidFill>
        </p:spPr>
        <p:txBody>
          <a:bodyPr wrap="square" lIns="0" tIns="0" rIns="0" bIns="0" rtlCol="0"/>
          <a:lstStyle/>
          <a:p>
            <a:endParaRPr/>
          </a:p>
        </p:txBody>
      </p:sp>
      <p:sp>
        <p:nvSpPr>
          <p:cNvPr id="27" name="object 27"/>
          <p:cNvSpPr/>
          <p:nvPr/>
        </p:nvSpPr>
        <p:spPr>
          <a:xfrm>
            <a:off x="4082438" y="8854147"/>
            <a:ext cx="1115060" cy="402590"/>
          </a:xfrm>
          <a:custGeom>
            <a:avLst/>
            <a:gdLst/>
            <a:ahLst/>
            <a:cxnLst/>
            <a:rect l="l" t="t" r="r" b="b"/>
            <a:pathLst>
              <a:path w="1115060" h="402590">
                <a:moveTo>
                  <a:pt x="1108811" y="402075"/>
                </a:moveTo>
                <a:lnTo>
                  <a:pt x="6225" y="402075"/>
                </a:lnTo>
                <a:lnTo>
                  <a:pt x="0" y="395837"/>
                </a:lnTo>
                <a:lnTo>
                  <a:pt x="0" y="388152"/>
                </a:lnTo>
                <a:lnTo>
                  <a:pt x="2883" y="348526"/>
                </a:lnTo>
                <a:lnTo>
                  <a:pt x="11346" y="310032"/>
                </a:lnTo>
                <a:lnTo>
                  <a:pt x="25106" y="272865"/>
                </a:lnTo>
                <a:lnTo>
                  <a:pt x="43880" y="237222"/>
                </a:lnTo>
                <a:lnTo>
                  <a:pt x="67386" y="203299"/>
                </a:lnTo>
                <a:lnTo>
                  <a:pt x="95342" y="171295"/>
                </a:lnTo>
                <a:lnTo>
                  <a:pt x="127466" y="141405"/>
                </a:lnTo>
                <a:lnTo>
                  <a:pt x="163474" y="113826"/>
                </a:lnTo>
                <a:lnTo>
                  <a:pt x="203085" y="88754"/>
                </a:lnTo>
                <a:lnTo>
                  <a:pt x="246016" y="66387"/>
                </a:lnTo>
                <a:lnTo>
                  <a:pt x="291986" y="46922"/>
                </a:lnTo>
                <a:lnTo>
                  <a:pt x="340710" y="30554"/>
                </a:lnTo>
                <a:lnTo>
                  <a:pt x="391908" y="17482"/>
                </a:lnTo>
                <a:lnTo>
                  <a:pt x="445297" y="7901"/>
                </a:lnTo>
                <a:lnTo>
                  <a:pt x="500594" y="2008"/>
                </a:lnTo>
                <a:lnTo>
                  <a:pt x="557518" y="0"/>
                </a:lnTo>
                <a:lnTo>
                  <a:pt x="614446" y="2007"/>
                </a:lnTo>
                <a:lnTo>
                  <a:pt x="669748" y="7899"/>
                </a:lnTo>
                <a:lnTo>
                  <a:pt x="723140" y="17479"/>
                </a:lnTo>
                <a:lnTo>
                  <a:pt x="774341" y="30551"/>
                </a:lnTo>
                <a:lnTo>
                  <a:pt x="823069" y="46916"/>
                </a:lnTo>
                <a:lnTo>
                  <a:pt x="869040" y="66380"/>
                </a:lnTo>
                <a:lnTo>
                  <a:pt x="911973" y="88745"/>
                </a:lnTo>
                <a:lnTo>
                  <a:pt x="951586" y="113815"/>
                </a:lnTo>
                <a:lnTo>
                  <a:pt x="987595" y="141393"/>
                </a:lnTo>
                <a:lnTo>
                  <a:pt x="1019720" y="171283"/>
                </a:lnTo>
                <a:lnTo>
                  <a:pt x="1047676" y="203287"/>
                </a:lnTo>
                <a:lnTo>
                  <a:pt x="1071183" y="237210"/>
                </a:lnTo>
                <a:lnTo>
                  <a:pt x="1089957" y="272854"/>
                </a:lnTo>
                <a:lnTo>
                  <a:pt x="1103717" y="310024"/>
                </a:lnTo>
                <a:lnTo>
                  <a:pt x="1112180" y="348522"/>
                </a:lnTo>
                <a:lnTo>
                  <a:pt x="1115064" y="388152"/>
                </a:lnTo>
                <a:lnTo>
                  <a:pt x="1115064" y="395837"/>
                </a:lnTo>
                <a:lnTo>
                  <a:pt x="1108811" y="402075"/>
                </a:lnTo>
                <a:close/>
              </a:path>
            </a:pathLst>
          </a:custGeom>
          <a:solidFill>
            <a:srgbClr val="21408B"/>
          </a:solidFill>
        </p:spPr>
        <p:txBody>
          <a:bodyPr wrap="square" lIns="0" tIns="0" rIns="0" bIns="0" rtlCol="0"/>
          <a:lstStyle/>
          <a:p>
            <a:endParaRPr/>
          </a:p>
        </p:txBody>
      </p:sp>
      <p:sp>
        <p:nvSpPr>
          <p:cNvPr id="28" name="object 28"/>
          <p:cNvSpPr/>
          <p:nvPr/>
        </p:nvSpPr>
        <p:spPr>
          <a:xfrm>
            <a:off x="4626060" y="8030977"/>
            <a:ext cx="27940" cy="139065"/>
          </a:xfrm>
          <a:custGeom>
            <a:avLst/>
            <a:gdLst/>
            <a:ahLst/>
            <a:cxnLst/>
            <a:rect l="l" t="t" r="r" b="b"/>
            <a:pathLst>
              <a:path w="27939" h="139065">
                <a:moveTo>
                  <a:pt x="21565" y="138480"/>
                </a:moveTo>
                <a:lnTo>
                  <a:pt x="6225" y="138480"/>
                </a:lnTo>
                <a:lnTo>
                  <a:pt x="0" y="132242"/>
                </a:lnTo>
                <a:lnTo>
                  <a:pt x="0" y="6265"/>
                </a:lnTo>
                <a:lnTo>
                  <a:pt x="6253" y="0"/>
                </a:lnTo>
                <a:lnTo>
                  <a:pt x="21565" y="0"/>
                </a:lnTo>
                <a:lnTo>
                  <a:pt x="27791" y="6265"/>
                </a:lnTo>
                <a:lnTo>
                  <a:pt x="27791" y="124557"/>
                </a:lnTo>
                <a:lnTo>
                  <a:pt x="27791" y="132270"/>
                </a:lnTo>
                <a:lnTo>
                  <a:pt x="21565" y="138480"/>
                </a:lnTo>
                <a:close/>
              </a:path>
            </a:pathLst>
          </a:custGeom>
          <a:solidFill>
            <a:srgbClr val="21408B"/>
          </a:solidFill>
        </p:spPr>
        <p:txBody>
          <a:bodyPr wrap="square" lIns="0" tIns="0" rIns="0" bIns="0" rtlCol="0"/>
          <a:lstStyle/>
          <a:p>
            <a:endParaRPr/>
          </a:p>
        </p:txBody>
      </p:sp>
      <p:pic>
        <p:nvPicPr>
          <p:cNvPr id="29" name="object 29"/>
          <p:cNvPicPr/>
          <p:nvPr/>
        </p:nvPicPr>
        <p:blipFill>
          <a:blip r:embed="rId4" cstate="print"/>
          <a:stretch>
            <a:fillRect/>
          </a:stretch>
        </p:blipFill>
        <p:spPr>
          <a:xfrm>
            <a:off x="4343508" y="8120559"/>
            <a:ext cx="96407" cy="119155"/>
          </a:xfrm>
          <a:prstGeom prst="rect">
            <a:avLst/>
          </a:prstGeom>
        </p:spPr>
      </p:pic>
      <p:pic>
        <p:nvPicPr>
          <p:cNvPr id="30" name="object 30"/>
          <p:cNvPicPr/>
          <p:nvPr/>
        </p:nvPicPr>
        <p:blipFill>
          <a:blip r:embed="rId5" cstate="print"/>
          <a:stretch>
            <a:fillRect/>
          </a:stretch>
        </p:blipFill>
        <p:spPr>
          <a:xfrm>
            <a:off x="4170146" y="8359955"/>
            <a:ext cx="136148" cy="63768"/>
          </a:xfrm>
          <a:prstGeom prst="rect">
            <a:avLst/>
          </a:prstGeom>
        </p:spPr>
      </p:pic>
      <p:pic>
        <p:nvPicPr>
          <p:cNvPr id="31" name="object 31"/>
          <p:cNvPicPr/>
          <p:nvPr/>
        </p:nvPicPr>
        <p:blipFill>
          <a:blip r:embed="rId6" cstate="print"/>
          <a:stretch>
            <a:fillRect/>
          </a:stretch>
        </p:blipFill>
        <p:spPr>
          <a:xfrm>
            <a:off x="4170174" y="8621545"/>
            <a:ext cx="136176" cy="63712"/>
          </a:xfrm>
          <a:prstGeom prst="rect">
            <a:avLst/>
          </a:prstGeom>
        </p:spPr>
      </p:pic>
      <p:pic>
        <p:nvPicPr>
          <p:cNvPr id="32" name="object 32"/>
          <p:cNvPicPr/>
          <p:nvPr/>
        </p:nvPicPr>
        <p:blipFill>
          <a:blip r:embed="rId7" cstate="print"/>
          <a:stretch>
            <a:fillRect/>
          </a:stretch>
        </p:blipFill>
        <p:spPr>
          <a:xfrm>
            <a:off x="4973616" y="8621462"/>
            <a:ext cx="136176" cy="63768"/>
          </a:xfrm>
          <a:prstGeom prst="rect">
            <a:avLst/>
          </a:prstGeom>
        </p:spPr>
      </p:pic>
      <p:pic>
        <p:nvPicPr>
          <p:cNvPr id="33" name="object 33"/>
          <p:cNvPicPr/>
          <p:nvPr/>
        </p:nvPicPr>
        <p:blipFill>
          <a:blip r:embed="rId8" cstate="print"/>
          <a:stretch>
            <a:fillRect/>
          </a:stretch>
        </p:blipFill>
        <p:spPr>
          <a:xfrm>
            <a:off x="4973533" y="8359983"/>
            <a:ext cx="136232" cy="63740"/>
          </a:xfrm>
          <a:prstGeom prst="rect">
            <a:avLst/>
          </a:prstGeom>
        </p:spPr>
      </p:pic>
      <p:pic>
        <p:nvPicPr>
          <p:cNvPr id="34" name="object 34"/>
          <p:cNvPicPr/>
          <p:nvPr/>
        </p:nvPicPr>
        <p:blipFill>
          <a:blip r:embed="rId9" cstate="print"/>
          <a:stretch>
            <a:fillRect/>
          </a:stretch>
        </p:blipFill>
        <p:spPr>
          <a:xfrm>
            <a:off x="4840080" y="8120559"/>
            <a:ext cx="96407" cy="119155"/>
          </a:xfrm>
          <a:prstGeom prst="rect">
            <a:avLst/>
          </a:prstGeom>
        </p:spPr>
      </p:pic>
      <p:sp>
        <p:nvSpPr>
          <p:cNvPr id="35" name="object 35"/>
          <p:cNvSpPr/>
          <p:nvPr/>
        </p:nvSpPr>
        <p:spPr>
          <a:xfrm>
            <a:off x="8622410" y="4733943"/>
            <a:ext cx="1675764" cy="905510"/>
          </a:xfrm>
          <a:custGeom>
            <a:avLst/>
            <a:gdLst/>
            <a:ahLst/>
            <a:cxnLst/>
            <a:rect l="l" t="t" r="r" b="b"/>
            <a:pathLst>
              <a:path w="1675765" h="905510">
                <a:moveTo>
                  <a:pt x="0" y="905166"/>
                </a:moveTo>
                <a:lnTo>
                  <a:pt x="1675400" y="905166"/>
                </a:lnTo>
                <a:lnTo>
                  <a:pt x="1675400" y="0"/>
                </a:lnTo>
                <a:lnTo>
                  <a:pt x="0" y="0"/>
                </a:lnTo>
                <a:lnTo>
                  <a:pt x="0" y="905166"/>
                </a:lnTo>
                <a:close/>
              </a:path>
            </a:pathLst>
          </a:custGeom>
          <a:solidFill>
            <a:srgbClr val="ECE4D5"/>
          </a:solidFill>
        </p:spPr>
        <p:txBody>
          <a:bodyPr wrap="square" lIns="0" tIns="0" rIns="0" bIns="0" rtlCol="0"/>
          <a:lstStyle/>
          <a:p>
            <a:endParaRPr/>
          </a:p>
        </p:txBody>
      </p:sp>
      <p:sp>
        <p:nvSpPr>
          <p:cNvPr id="36" name="object 36"/>
          <p:cNvSpPr/>
          <p:nvPr/>
        </p:nvSpPr>
        <p:spPr>
          <a:xfrm>
            <a:off x="10416744" y="4733943"/>
            <a:ext cx="1675764" cy="1885314"/>
          </a:xfrm>
          <a:custGeom>
            <a:avLst/>
            <a:gdLst/>
            <a:ahLst/>
            <a:cxnLst/>
            <a:rect l="l" t="t" r="r" b="b"/>
            <a:pathLst>
              <a:path w="1675765" h="1885315">
                <a:moveTo>
                  <a:pt x="1675400" y="1884825"/>
                </a:moveTo>
                <a:lnTo>
                  <a:pt x="0" y="1884825"/>
                </a:lnTo>
                <a:lnTo>
                  <a:pt x="0" y="0"/>
                </a:lnTo>
                <a:lnTo>
                  <a:pt x="1675400" y="0"/>
                </a:lnTo>
                <a:lnTo>
                  <a:pt x="1675400" y="1884825"/>
                </a:lnTo>
                <a:close/>
              </a:path>
            </a:pathLst>
          </a:custGeom>
          <a:solidFill>
            <a:srgbClr val="ECE4D5"/>
          </a:solidFill>
        </p:spPr>
        <p:txBody>
          <a:bodyPr wrap="square" lIns="0" tIns="0" rIns="0" bIns="0" rtlCol="0"/>
          <a:lstStyle/>
          <a:p>
            <a:endParaRPr/>
          </a:p>
        </p:txBody>
      </p:sp>
      <p:sp>
        <p:nvSpPr>
          <p:cNvPr id="37" name="object 37"/>
          <p:cNvSpPr/>
          <p:nvPr/>
        </p:nvSpPr>
        <p:spPr>
          <a:xfrm>
            <a:off x="12211077" y="4733943"/>
            <a:ext cx="1675764" cy="905510"/>
          </a:xfrm>
          <a:custGeom>
            <a:avLst/>
            <a:gdLst/>
            <a:ahLst/>
            <a:cxnLst/>
            <a:rect l="l" t="t" r="r" b="b"/>
            <a:pathLst>
              <a:path w="1675765" h="905510">
                <a:moveTo>
                  <a:pt x="0" y="905166"/>
                </a:moveTo>
                <a:lnTo>
                  <a:pt x="1675400" y="905166"/>
                </a:lnTo>
                <a:lnTo>
                  <a:pt x="1675400" y="0"/>
                </a:lnTo>
                <a:lnTo>
                  <a:pt x="0" y="0"/>
                </a:lnTo>
                <a:lnTo>
                  <a:pt x="0" y="905166"/>
                </a:lnTo>
                <a:close/>
              </a:path>
            </a:pathLst>
          </a:custGeom>
          <a:solidFill>
            <a:srgbClr val="ECE4D5"/>
          </a:solidFill>
        </p:spPr>
        <p:txBody>
          <a:bodyPr wrap="square" lIns="0" tIns="0" rIns="0" bIns="0" rtlCol="0"/>
          <a:lstStyle/>
          <a:p>
            <a:endParaRPr/>
          </a:p>
        </p:txBody>
      </p:sp>
      <p:pic>
        <p:nvPicPr>
          <p:cNvPr id="38" name="object 38"/>
          <p:cNvPicPr/>
          <p:nvPr/>
        </p:nvPicPr>
        <p:blipFill>
          <a:blip r:embed="rId10" cstate="print"/>
          <a:stretch>
            <a:fillRect/>
          </a:stretch>
        </p:blipFill>
        <p:spPr>
          <a:xfrm>
            <a:off x="6826394" y="4456469"/>
            <a:ext cx="1675400" cy="1182640"/>
          </a:xfrm>
          <a:prstGeom prst="rect">
            <a:avLst/>
          </a:prstGeom>
        </p:spPr>
      </p:pic>
      <p:sp>
        <p:nvSpPr>
          <p:cNvPr id="39" name="object 39"/>
          <p:cNvSpPr/>
          <p:nvPr/>
        </p:nvSpPr>
        <p:spPr>
          <a:xfrm>
            <a:off x="11406943" y="4483724"/>
            <a:ext cx="219075" cy="273050"/>
          </a:xfrm>
          <a:custGeom>
            <a:avLst/>
            <a:gdLst/>
            <a:ahLst/>
            <a:cxnLst/>
            <a:rect l="l" t="t" r="r" b="b"/>
            <a:pathLst>
              <a:path w="219075" h="273050">
                <a:moveTo>
                  <a:pt x="0" y="272797"/>
                </a:moveTo>
                <a:lnTo>
                  <a:pt x="0" y="0"/>
                </a:lnTo>
                <a:lnTo>
                  <a:pt x="43064" y="17948"/>
                </a:lnTo>
                <a:lnTo>
                  <a:pt x="83821" y="39950"/>
                </a:lnTo>
                <a:lnTo>
                  <a:pt x="122019" y="65752"/>
                </a:lnTo>
                <a:lnTo>
                  <a:pt x="157404" y="95102"/>
                </a:lnTo>
                <a:lnTo>
                  <a:pt x="189726" y="127746"/>
                </a:lnTo>
                <a:lnTo>
                  <a:pt x="218730" y="163432"/>
                </a:lnTo>
                <a:lnTo>
                  <a:pt x="0" y="272797"/>
                </a:lnTo>
                <a:close/>
              </a:path>
            </a:pathLst>
          </a:custGeom>
          <a:solidFill>
            <a:srgbClr val="263375"/>
          </a:solidFill>
        </p:spPr>
        <p:txBody>
          <a:bodyPr wrap="square" lIns="0" tIns="0" rIns="0" bIns="0" rtlCol="0"/>
          <a:lstStyle/>
          <a:p>
            <a:endParaRPr/>
          </a:p>
        </p:txBody>
      </p:sp>
      <p:sp>
        <p:nvSpPr>
          <p:cNvPr id="40" name="object 40"/>
          <p:cNvSpPr/>
          <p:nvPr/>
        </p:nvSpPr>
        <p:spPr>
          <a:xfrm>
            <a:off x="10873125" y="4483461"/>
            <a:ext cx="219710" cy="273685"/>
          </a:xfrm>
          <a:custGeom>
            <a:avLst/>
            <a:gdLst/>
            <a:ahLst/>
            <a:cxnLst/>
            <a:rect l="l" t="t" r="r" b="b"/>
            <a:pathLst>
              <a:path w="219709" h="273685">
                <a:moveTo>
                  <a:pt x="219280" y="273061"/>
                </a:moveTo>
                <a:lnTo>
                  <a:pt x="0" y="163424"/>
                </a:lnTo>
                <a:lnTo>
                  <a:pt x="29076" y="127706"/>
                </a:lnTo>
                <a:lnTo>
                  <a:pt x="61480" y="95041"/>
                </a:lnTo>
                <a:lnTo>
                  <a:pt x="96958" y="65685"/>
                </a:lnTo>
                <a:lnTo>
                  <a:pt x="135255" y="39889"/>
                </a:lnTo>
                <a:lnTo>
                  <a:pt x="176116" y="17910"/>
                </a:lnTo>
                <a:lnTo>
                  <a:pt x="219288" y="0"/>
                </a:lnTo>
                <a:lnTo>
                  <a:pt x="219288" y="273068"/>
                </a:lnTo>
                <a:close/>
              </a:path>
            </a:pathLst>
          </a:custGeom>
          <a:solidFill>
            <a:srgbClr val="263375"/>
          </a:solidFill>
        </p:spPr>
        <p:txBody>
          <a:bodyPr wrap="square" lIns="0" tIns="0" rIns="0" bIns="0" rtlCol="0"/>
          <a:lstStyle/>
          <a:p>
            <a:endParaRPr/>
          </a:p>
        </p:txBody>
      </p:sp>
      <p:sp>
        <p:nvSpPr>
          <p:cNvPr id="41" name="object 41"/>
          <p:cNvSpPr/>
          <p:nvPr/>
        </p:nvSpPr>
        <p:spPr>
          <a:xfrm>
            <a:off x="10873125" y="5089623"/>
            <a:ext cx="219710" cy="273685"/>
          </a:xfrm>
          <a:custGeom>
            <a:avLst/>
            <a:gdLst/>
            <a:ahLst/>
            <a:cxnLst/>
            <a:rect l="l" t="t" r="r" b="b"/>
            <a:pathLst>
              <a:path w="219709" h="273685">
                <a:moveTo>
                  <a:pt x="219288" y="273068"/>
                </a:moveTo>
                <a:lnTo>
                  <a:pt x="176116" y="255158"/>
                </a:lnTo>
                <a:lnTo>
                  <a:pt x="135255" y="233178"/>
                </a:lnTo>
                <a:lnTo>
                  <a:pt x="96958" y="207383"/>
                </a:lnTo>
                <a:lnTo>
                  <a:pt x="61480" y="178026"/>
                </a:lnTo>
                <a:lnTo>
                  <a:pt x="29076" y="145362"/>
                </a:lnTo>
                <a:lnTo>
                  <a:pt x="0" y="109644"/>
                </a:lnTo>
                <a:lnTo>
                  <a:pt x="219288" y="0"/>
                </a:lnTo>
                <a:lnTo>
                  <a:pt x="219288" y="273068"/>
                </a:lnTo>
                <a:close/>
              </a:path>
            </a:pathLst>
          </a:custGeom>
          <a:solidFill>
            <a:srgbClr val="263375"/>
          </a:solidFill>
        </p:spPr>
        <p:txBody>
          <a:bodyPr wrap="square" lIns="0" tIns="0" rIns="0" bIns="0" rtlCol="0"/>
          <a:lstStyle/>
          <a:p>
            <a:endParaRPr/>
          </a:p>
        </p:txBody>
      </p:sp>
      <p:sp>
        <p:nvSpPr>
          <p:cNvPr id="42" name="object 42"/>
          <p:cNvSpPr/>
          <p:nvPr/>
        </p:nvSpPr>
        <p:spPr>
          <a:xfrm>
            <a:off x="11406943" y="5089623"/>
            <a:ext cx="219075" cy="273050"/>
          </a:xfrm>
          <a:custGeom>
            <a:avLst/>
            <a:gdLst/>
            <a:ahLst/>
            <a:cxnLst/>
            <a:rect l="l" t="t" r="r" b="b"/>
            <a:pathLst>
              <a:path w="219075" h="273050">
                <a:moveTo>
                  <a:pt x="0" y="272805"/>
                </a:moveTo>
                <a:lnTo>
                  <a:pt x="0" y="0"/>
                </a:lnTo>
                <a:lnTo>
                  <a:pt x="218730" y="109365"/>
                </a:lnTo>
                <a:lnTo>
                  <a:pt x="189726" y="145050"/>
                </a:lnTo>
                <a:lnTo>
                  <a:pt x="157404" y="177695"/>
                </a:lnTo>
                <a:lnTo>
                  <a:pt x="122019" y="207045"/>
                </a:lnTo>
                <a:lnTo>
                  <a:pt x="83821" y="232849"/>
                </a:lnTo>
                <a:lnTo>
                  <a:pt x="43064" y="254853"/>
                </a:lnTo>
                <a:lnTo>
                  <a:pt x="0" y="272805"/>
                </a:lnTo>
                <a:close/>
              </a:path>
            </a:pathLst>
          </a:custGeom>
          <a:solidFill>
            <a:srgbClr val="263375"/>
          </a:solidFill>
        </p:spPr>
        <p:txBody>
          <a:bodyPr wrap="square" lIns="0" tIns="0" rIns="0" bIns="0" rtlCol="0"/>
          <a:lstStyle/>
          <a:p>
            <a:endParaRPr/>
          </a:p>
        </p:txBody>
      </p:sp>
      <p:sp>
        <p:nvSpPr>
          <p:cNvPr id="43" name="object 43"/>
          <p:cNvSpPr/>
          <p:nvPr/>
        </p:nvSpPr>
        <p:spPr>
          <a:xfrm>
            <a:off x="10809815" y="4646885"/>
            <a:ext cx="283210" cy="119380"/>
          </a:xfrm>
          <a:custGeom>
            <a:avLst/>
            <a:gdLst/>
            <a:ahLst/>
            <a:cxnLst/>
            <a:rect l="l" t="t" r="r" b="b"/>
            <a:pathLst>
              <a:path w="283209" h="119379">
                <a:moveTo>
                  <a:pt x="282599" y="118926"/>
                </a:moveTo>
                <a:lnTo>
                  <a:pt x="0" y="118926"/>
                </a:lnTo>
                <a:lnTo>
                  <a:pt x="1107" y="115819"/>
                </a:lnTo>
                <a:lnTo>
                  <a:pt x="3432" y="109652"/>
                </a:lnTo>
                <a:lnTo>
                  <a:pt x="19843" y="117787"/>
                </a:lnTo>
                <a:lnTo>
                  <a:pt x="123064" y="117787"/>
                </a:lnTo>
                <a:lnTo>
                  <a:pt x="22074" y="67339"/>
                </a:lnTo>
                <a:lnTo>
                  <a:pt x="31334" y="49806"/>
                </a:lnTo>
                <a:lnTo>
                  <a:pt x="41306" y="32725"/>
                </a:lnTo>
                <a:lnTo>
                  <a:pt x="51971" y="16116"/>
                </a:lnTo>
                <a:lnTo>
                  <a:pt x="63310" y="0"/>
                </a:lnTo>
                <a:lnTo>
                  <a:pt x="282599" y="109644"/>
                </a:lnTo>
                <a:lnTo>
                  <a:pt x="282599" y="118926"/>
                </a:lnTo>
                <a:close/>
              </a:path>
            </a:pathLst>
          </a:custGeom>
          <a:solidFill>
            <a:srgbClr val="FFFFFF"/>
          </a:solidFill>
        </p:spPr>
        <p:txBody>
          <a:bodyPr wrap="square" lIns="0" tIns="0" rIns="0" bIns="0" rtlCol="0"/>
          <a:lstStyle/>
          <a:p>
            <a:endParaRPr/>
          </a:p>
        </p:txBody>
      </p:sp>
      <p:pic>
        <p:nvPicPr>
          <p:cNvPr id="44" name="object 44"/>
          <p:cNvPicPr/>
          <p:nvPr/>
        </p:nvPicPr>
        <p:blipFill>
          <a:blip r:embed="rId11" cstate="print"/>
          <a:stretch>
            <a:fillRect/>
          </a:stretch>
        </p:blipFill>
        <p:spPr>
          <a:xfrm>
            <a:off x="11406943" y="4647156"/>
            <a:ext cx="236652" cy="118655"/>
          </a:xfrm>
          <a:prstGeom prst="rect">
            <a:avLst/>
          </a:prstGeom>
        </p:spPr>
      </p:pic>
      <p:sp>
        <p:nvSpPr>
          <p:cNvPr id="45" name="object 45"/>
          <p:cNvSpPr/>
          <p:nvPr/>
        </p:nvSpPr>
        <p:spPr>
          <a:xfrm>
            <a:off x="11406943" y="5080341"/>
            <a:ext cx="281940" cy="118745"/>
          </a:xfrm>
          <a:custGeom>
            <a:avLst/>
            <a:gdLst/>
            <a:ahLst/>
            <a:cxnLst/>
            <a:rect l="l" t="t" r="r" b="b"/>
            <a:pathLst>
              <a:path w="281940" h="118745">
                <a:moveTo>
                  <a:pt x="218730" y="118647"/>
                </a:moveTo>
                <a:lnTo>
                  <a:pt x="0" y="9282"/>
                </a:lnTo>
                <a:lnTo>
                  <a:pt x="0" y="0"/>
                </a:lnTo>
                <a:lnTo>
                  <a:pt x="281839" y="0"/>
                </a:lnTo>
                <a:lnTo>
                  <a:pt x="280778" y="2967"/>
                </a:lnTo>
                <a:lnTo>
                  <a:pt x="278562" y="8856"/>
                </a:lnTo>
                <a:lnTo>
                  <a:pt x="262004" y="643"/>
                </a:lnTo>
                <a:lnTo>
                  <a:pt x="158775" y="643"/>
                </a:lnTo>
                <a:lnTo>
                  <a:pt x="259966" y="51192"/>
                </a:lnTo>
                <a:lnTo>
                  <a:pt x="250706" y="68754"/>
                </a:lnTo>
                <a:lnTo>
                  <a:pt x="240734" y="85864"/>
                </a:lnTo>
                <a:lnTo>
                  <a:pt x="230069" y="102501"/>
                </a:lnTo>
                <a:lnTo>
                  <a:pt x="218730" y="118647"/>
                </a:lnTo>
                <a:close/>
              </a:path>
            </a:pathLst>
          </a:custGeom>
          <a:solidFill>
            <a:srgbClr val="FFFFFF"/>
          </a:solidFill>
        </p:spPr>
        <p:txBody>
          <a:bodyPr wrap="square" lIns="0" tIns="0" rIns="0" bIns="0" rtlCol="0"/>
          <a:lstStyle/>
          <a:p>
            <a:endParaRPr/>
          </a:p>
        </p:txBody>
      </p:sp>
      <p:pic>
        <p:nvPicPr>
          <p:cNvPr id="46" name="object 46"/>
          <p:cNvPicPr/>
          <p:nvPr/>
        </p:nvPicPr>
        <p:blipFill>
          <a:blip r:embed="rId12" cstate="print"/>
          <a:stretch>
            <a:fillRect/>
          </a:stretch>
        </p:blipFill>
        <p:spPr>
          <a:xfrm>
            <a:off x="10809815" y="5080341"/>
            <a:ext cx="282599" cy="118926"/>
          </a:xfrm>
          <a:prstGeom prst="rect">
            <a:avLst/>
          </a:prstGeom>
        </p:spPr>
      </p:pic>
      <p:sp>
        <p:nvSpPr>
          <p:cNvPr id="47" name="object 47"/>
          <p:cNvSpPr/>
          <p:nvPr/>
        </p:nvSpPr>
        <p:spPr>
          <a:xfrm>
            <a:off x="11564781" y="4714681"/>
            <a:ext cx="124460" cy="51435"/>
          </a:xfrm>
          <a:custGeom>
            <a:avLst/>
            <a:gdLst/>
            <a:ahLst/>
            <a:cxnLst/>
            <a:rect l="l" t="t" r="r" b="b"/>
            <a:pathLst>
              <a:path w="124459" h="51435">
                <a:moveTo>
                  <a:pt x="124001" y="51130"/>
                </a:moveTo>
                <a:lnTo>
                  <a:pt x="0" y="51130"/>
                </a:lnTo>
                <a:lnTo>
                  <a:pt x="102159" y="0"/>
                </a:lnTo>
                <a:lnTo>
                  <a:pt x="108170" y="12485"/>
                </a:lnTo>
                <a:lnTo>
                  <a:pt x="113818" y="25172"/>
                </a:lnTo>
                <a:lnTo>
                  <a:pt x="119098" y="38055"/>
                </a:lnTo>
                <a:lnTo>
                  <a:pt x="124001" y="51130"/>
                </a:lnTo>
                <a:close/>
              </a:path>
            </a:pathLst>
          </a:custGeom>
          <a:solidFill>
            <a:srgbClr val="FFFFFF"/>
          </a:solidFill>
        </p:spPr>
        <p:txBody>
          <a:bodyPr wrap="square" lIns="0" tIns="0" rIns="0" bIns="0" rtlCol="0"/>
          <a:lstStyle/>
          <a:p>
            <a:endParaRPr/>
          </a:p>
        </p:txBody>
      </p:sp>
      <p:sp>
        <p:nvSpPr>
          <p:cNvPr id="48" name="object 48"/>
          <p:cNvSpPr/>
          <p:nvPr/>
        </p:nvSpPr>
        <p:spPr>
          <a:xfrm>
            <a:off x="11344036" y="5017434"/>
            <a:ext cx="362585" cy="363220"/>
          </a:xfrm>
          <a:custGeom>
            <a:avLst/>
            <a:gdLst/>
            <a:ahLst/>
            <a:cxnLst/>
            <a:rect l="l" t="t" r="r" b="b"/>
            <a:pathLst>
              <a:path w="362584" h="363220">
                <a:moveTo>
                  <a:pt x="0" y="362684"/>
                </a:moveTo>
                <a:lnTo>
                  <a:pt x="0" y="0"/>
                </a:lnTo>
                <a:lnTo>
                  <a:pt x="362389" y="0"/>
                </a:lnTo>
                <a:lnTo>
                  <a:pt x="349954" y="47517"/>
                </a:lnTo>
                <a:lnTo>
                  <a:pt x="62907" y="62907"/>
                </a:lnTo>
                <a:lnTo>
                  <a:pt x="62907" y="344995"/>
                </a:lnTo>
                <a:lnTo>
                  <a:pt x="47521" y="350213"/>
                </a:lnTo>
                <a:lnTo>
                  <a:pt x="31901" y="354911"/>
                </a:lnTo>
                <a:lnTo>
                  <a:pt x="16057" y="359073"/>
                </a:lnTo>
                <a:lnTo>
                  <a:pt x="0" y="362684"/>
                </a:lnTo>
                <a:close/>
              </a:path>
            </a:pathLst>
          </a:custGeom>
          <a:solidFill>
            <a:srgbClr val="FFFFFF"/>
          </a:solidFill>
        </p:spPr>
        <p:txBody>
          <a:bodyPr wrap="square" lIns="0" tIns="0" rIns="0" bIns="0" rtlCol="0"/>
          <a:lstStyle/>
          <a:p>
            <a:endParaRPr/>
          </a:p>
        </p:txBody>
      </p:sp>
      <p:sp>
        <p:nvSpPr>
          <p:cNvPr id="49" name="object 49"/>
          <p:cNvSpPr/>
          <p:nvPr/>
        </p:nvSpPr>
        <p:spPr>
          <a:xfrm>
            <a:off x="11344036" y="4466027"/>
            <a:ext cx="362585" cy="363220"/>
          </a:xfrm>
          <a:custGeom>
            <a:avLst/>
            <a:gdLst/>
            <a:ahLst/>
            <a:cxnLst/>
            <a:rect l="l" t="t" r="r" b="b"/>
            <a:pathLst>
              <a:path w="362584" h="363220">
                <a:moveTo>
                  <a:pt x="362389" y="362691"/>
                </a:moveTo>
                <a:lnTo>
                  <a:pt x="0" y="362691"/>
                </a:lnTo>
                <a:lnTo>
                  <a:pt x="0" y="0"/>
                </a:lnTo>
                <a:lnTo>
                  <a:pt x="47521" y="12474"/>
                </a:lnTo>
                <a:lnTo>
                  <a:pt x="62907" y="299784"/>
                </a:lnTo>
                <a:lnTo>
                  <a:pt x="344747" y="299784"/>
                </a:lnTo>
                <a:lnTo>
                  <a:pt x="349954" y="315169"/>
                </a:lnTo>
                <a:lnTo>
                  <a:pt x="354640" y="330787"/>
                </a:lnTo>
                <a:lnTo>
                  <a:pt x="358790" y="346631"/>
                </a:lnTo>
                <a:lnTo>
                  <a:pt x="362389" y="362691"/>
                </a:lnTo>
                <a:close/>
              </a:path>
            </a:pathLst>
          </a:custGeom>
          <a:solidFill>
            <a:srgbClr val="FFFFFF"/>
          </a:solidFill>
        </p:spPr>
        <p:txBody>
          <a:bodyPr wrap="square" lIns="0" tIns="0" rIns="0" bIns="0" rtlCol="0"/>
          <a:lstStyle/>
          <a:p>
            <a:endParaRPr/>
          </a:p>
        </p:txBody>
      </p:sp>
      <p:sp>
        <p:nvSpPr>
          <p:cNvPr id="50" name="object 50"/>
          <p:cNvSpPr/>
          <p:nvPr/>
        </p:nvSpPr>
        <p:spPr>
          <a:xfrm>
            <a:off x="10792172" y="5017434"/>
            <a:ext cx="363220" cy="363220"/>
          </a:xfrm>
          <a:custGeom>
            <a:avLst/>
            <a:gdLst/>
            <a:ahLst/>
            <a:cxnLst/>
            <a:rect l="l" t="t" r="r" b="b"/>
            <a:pathLst>
              <a:path w="363220" h="363220">
                <a:moveTo>
                  <a:pt x="363148" y="362854"/>
                </a:moveTo>
                <a:lnTo>
                  <a:pt x="347088" y="359267"/>
                </a:lnTo>
                <a:lnTo>
                  <a:pt x="331244" y="355128"/>
                </a:lnTo>
                <a:lnTo>
                  <a:pt x="315626" y="350453"/>
                </a:lnTo>
                <a:lnTo>
                  <a:pt x="300241" y="345258"/>
                </a:lnTo>
                <a:lnTo>
                  <a:pt x="300241" y="62907"/>
                </a:lnTo>
                <a:lnTo>
                  <a:pt x="246717" y="62907"/>
                </a:lnTo>
                <a:lnTo>
                  <a:pt x="247708" y="62411"/>
                </a:lnTo>
                <a:lnTo>
                  <a:pt x="141667" y="62411"/>
                </a:lnTo>
                <a:lnTo>
                  <a:pt x="140675" y="62907"/>
                </a:lnTo>
                <a:lnTo>
                  <a:pt x="17642" y="62907"/>
                </a:lnTo>
                <a:lnTo>
                  <a:pt x="12435" y="47517"/>
                </a:lnTo>
                <a:lnTo>
                  <a:pt x="7749" y="31898"/>
                </a:lnTo>
                <a:lnTo>
                  <a:pt x="3598" y="16056"/>
                </a:lnTo>
                <a:lnTo>
                  <a:pt x="0" y="0"/>
                </a:lnTo>
                <a:lnTo>
                  <a:pt x="363148" y="0"/>
                </a:lnTo>
                <a:lnTo>
                  <a:pt x="363148" y="362854"/>
                </a:lnTo>
                <a:close/>
              </a:path>
            </a:pathLst>
          </a:custGeom>
          <a:solidFill>
            <a:srgbClr val="FFFFFF"/>
          </a:solidFill>
        </p:spPr>
        <p:txBody>
          <a:bodyPr wrap="square" lIns="0" tIns="0" rIns="0" bIns="0" rtlCol="0"/>
          <a:lstStyle/>
          <a:p>
            <a:endParaRPr/>
          </a:p>
        </p:txBody>
      </p:sp>
      <p:grpSp>
        <p:nvGrpSpPr>
          <p:cNvPr id="51" name="object 51"/>
          <p:cNvGrpSpPr/>
          <p:nvPr/>
        </p:nvGrpSpPr>
        <p:grpSpPr>
          <a:xfrm>
            <a:off x="10782619" y="4456396"/>
            <a:ext cx="933450" cy="933450"/>
            <a:chOff x="10782619" y="4456396"/>
            <a:chExt cx="933450" cy="933450"/>
          </a:xfrm>
        </p:grpSpPr>
        <p:sp>
          <p:nvSpPr>
            <p:cNvPr id="52" name="object 52"/>
            <p:cNvSpPr/>
            <p:nvPr/>
          </p:nvSpPr>
          <p:spPr>
            <a:xfrm>
              <a:off x="10792172" y="4465865"/>
              <a:ext cx="363220" cy="363220"/>
            </a:xfrm>
            <a:custGeom>
              <a:avLst/>
              <a:gdLst/>
              <a:ahLst/>
              <a:cxnLst/>
              <a:rect l="l" t="t" r="r" b="b"/>
              <a:pathLst>
                <a:path w="363220" h="363220">
                  <a:moveTo>
                    <a:pt x="363148" y="362854"/>
                  </a:moveTo>
                  <a:lnTo>
                    <a:pt x="0" y="362854"/>
                  </a:lnTo>
                  <a:lnTo>
                    <a:pt x="3598" y="346793"/>
                  </a:lnTo>
                  <a:lnTo>
                    <a:pt x="7749" y="330950"/>
                  </a:lnTo>
                  <a:lnTo>
                    <a:pt x="12435" y="315332"/>
                  </a:lnTo>
                  <a:lnTo>
                    <a:pt x="17642" y="299947"/>
                  </a:lnTo>
                  <a:lnTo>
                    <a:pt x="300241" y="299947"/>
                  </a:lnTo>
                  <a:lnTo>
                    <a:pt x="300241" y="17596"/>
                  </a:lnTo>
                  <a:lnTo>
                    <a:pt x="315626" y="12400"/>
                  </a:lnTo>
                  <a:lnTo>
                    <a:pt x="331244" y="7725"/>
                  </a:lnTo>
                  <a:lnTo>
                    <a:pt x="347088" y="3587"/>
                  </a:lnTo>
                  <a:lnTo>
                    <a:pt x="363148" y="0"/>
                  </a:lnTo>
                  <a:lnTo>
                    <a:pt x="363148" y="362854"/>
                  </a:lnTo>
                  <a:close/>
                </a:path>
              </a:pathLst>
            </a:custGeom>
            <a:solidFill>
              <a:srgbClr val="FFFFFF"/>
            </a:solidFill>
          </p:spPr>
          <p:txBody>
            <a:bodyPr wrap="square" lIns="0" tIns="0" rIns="0" bIns="0" rtlCol="0"/>
            <a:lstStyle/>
            <a:p>
              <a:endParaRPr/>
            </a:p>
          </p:txBody>
        </p:sp>
        <p:sp>
          <p:nvSpPr>
            <p:cNvPr id="53" name="object 53"/>
            <p:cNvSpPr/>
            <p:nvPr/>
          </p:nvSpPr>
          <p:spPr>
            <a:xfrm>
              <a:off x="10782618" y="4456404"/>
              <a:ext cx="933450" cy="933450"/>
            </a:xfrm>
            <a:custGeom>
              <a:avLst/>
              <a:gdLst/>
              <a:ahLst/>
              <a:cxnLst/>
              <a:rect l="l" t="t" r="r" b="b"/>
              <a:pathLst>
                <a:path w="933450" h="933450">
                  <a:moveTo>
                    <a:pt x="150253" y="308279"/>
                  </a:moveTo>
                  <a:lnTo>
                    <a:pt x="49263" y="257822"/>
                  </a:lnTo>
                  <a:lnTo>
                    <a:pt x="44221" y="268198"/>
                  </a:lnTo>
                  <a:lnTo>
                    <a:pt x="39433" y="278701"/>
                  </a:lnTo>
                  <a:lnTo>
                    <a:pt x="34899" y="289356"/>
                  </a:lnTo>
                  <a:lnTo>
                    <a:pt x="30619" y="300139"/>
                  </a:lnTo>
                  <a:lnTo>
                    <a:pt x="47028" y="308279"/>
                  </a:lnTo>
                  <a:lnTo>
                    <a:pt x="150253" y="308279"/>
                  </a:lnTo>
                  <a:close/>
                </a:path>
                <a:path w="933450" h="933450">
                  <a:moveTo>
                    <a:pt x="933348" y="466674"/>
                  </a:moveTo>
                  <a:lnTo>
                    <a:pt x="932738" y="442582"/>
                  </a:lnTo>
                  <a:lnTo>
                    <a:pt x="930922" y="418807"/>
                  </a:lnTo>
                  <a:lnTo>
                    <a:pt x="927938" y="395376"/>
                  </a:lnTo>
                  <a:lnTo>
                    <a:pt x="923798" y="372325"/>
                  </a:lnTo>
                  <a:lnTo>
                    <a:pt x="561416" y="372325"/>
                  </a:lnTo>
                  <a:lnTo>
                    <a:pt x="561416" y="9626"/>
                  </a:lnTo>
                  <a:lnTo>
                    <a:pt x="538264" y="5461"/>
                  </a:lnTo>
                  <a:lnTo>
                    <a:pt x="514743" y="2451"/>
                  </a:lnTo>
                  <a:lnTo>
                    <a:pt x="490867" y="622"/>
                  </a:lnTo>
                  <a:lnTo>
                    <a:pt x="466674" y="0"/>
                  </a:lnTo>
                  <a:lnTo>
                    <a:pt x="442683" y="609"/>
                  </a:lnTo>
                  <a:lnTo>
                    <a:pt x="418998" y="2400"/>
                  </a:lnTo>
                  <a:lnTo>
                    <a:pt x="395655" y="5372"/>
                  </a:lnTo>
                  <a:lnTo>
                    <a:pt x="372694" y="9461"/>
                  </a:lnTo>
                  <a:lnTo>
                    <a:pt x="372694" y="372325"/>
                  </a:lnTo>
                  <a:lnTo>
                    <a:pt x="9550" y="372325"/>
                  </a:lnTo>
                  <a:lnTo>
                    <a:pt x="5410" y="395376"/>
                  </a:lnTo>
                  <a:lnTo>
                    <a:pt x="2425" y="418807"/>
                  </a:lnTo>
                  <a:lnTo>
                    <a:pt x="609" y="442582"/>
                  </a:lnTo>
                  <a:lnTo>
                    <a:pt x="0" y="466674"/>
                  </a:lnTo>
                  <a:lnTo>
                    <a:pt x="609" y="490778"/>
                  </a:lnTo>
                  <a:lnTo>
                    <a:pt x="2425" y="514553"/>
                  </a:lnTo>
                  <a:lnTo>
                    <a:pt x="5410" y="537984"/>
                  </a:lnTo>
                  <a:lnTo>
                    <a:pt x="9550" y="561035"/>
                  </a:lnTo>
                  <a:lnTo>
                    <a:pt x="372694" y="561035"/>
                  </a:lnTo>
                  <a:lnTo>
                    <a:pt x="372694" y="923886"/>
                  </a:lnTo>
                  <a:lnTo>
                    <a:pt x="395655" y="927989"/>
                  </a:lnTo>
                  <a:lnTo>
                    <a:pt x="418998" y="930948"/>
                  </a:lnTo>
                  <a:lnTo>
                    <a:pt x="442683" y="932751"/>
                  </a:lnTo>
                  <a:lnTo>
                    <a:pt x="466674" y="933348"/>
                  </a:lnTo>
                  <a:lnTo>
                    <a:pt x="490867" y="932738"/>
                  </a:lnTo>
                  <a:lnTo>
                    <a:pt x="514743" y="930897"/>
                  </a:lnTo>
                  <a:lnTo>
                    <a:pt x="538264" y="927887"/>
                  </a:lnTo>
                  <a:lnTo>
                    <a:pt x="561416" y="923721"/>
                  </a:lnTo>
                  <a:lnTo>
                    <a:pt x="561416" y="561035"/>
                  </a:lnTo>
                  <a:lnTo>
                    <a:pt x="923798" y="561035"/>
                  </a:lnTo>
                  <a:lnTo>
                    <a:pt x="927938" y="537984"/>
                  </a:lnTo>
                  <a:lnTo>
                    <a:pt x="930922" y="514553"/>
                  </a:lnTo>
                  <a:lnTo>
                    <a:pt x="932738" y="490778"/>
                  </a:lnTo>
                  <a:lnTo>
                    <a:pt x="933348" y="466674"/>
                  </a:lnTo>
                  <a:close/>
                </a:path>
              </a:pathLst>
            </a:custGeom>
            <a:solidFill>
              <a:srgbClr val="D11C2B"/>
            </a:solidFill>
          </p:spPr>
          <p:txBody>
            <a:bodyPr wrap="square" lIns="0" tIns="0" rIns="0" bIns="0" rtlCol="0"/>
            <a:lstStyle/>
            <a:p>
              <a:endParaRPr/>
            </a:p>
          </p:txBody>
        </p:sp>
        <p:pic>
          <p:nvPicPr>
            <p:cNvPr id="54" name="object 54"/>
            <p:cNvPicPr/>
            <p:nvPr/>
          </p:nvPicPr>
          <p:blipFill>
            <a:blip r:embed="rId13" cstate="print"/>
            <a:stretch>
              <a:fillRect/>
            </a:stretch>
          </p:blipFill>
          <p:spPr>
            <a:xfrm>
              <a:off x="11458716" y="4673376"/>
              <a:ext cx="208224" cy="92443"/>
            </a:xfrm>
            <a:prstGeom prst="rect">
              <a:avLst/>
            </a:prstGeom>
          </p:spPr>
        </p:pic>
        <p:sp>
          <p:nvSpPr>
            <p:cNvPr id="55" name="object 55"/>
            <p:cNvSpPr/>
            <p:nvPr/>
          </p:nvSpPr>
          <p:spPr>
            <a:xfrm>
              <a:off x="11565719" y="5080984"/>
              <a:ext cx="120014" cy="50800"/>
            </a:xfrm>
            <a:custGeom>
              <a:avLst/>
              <a:gdLst/>
              <a:ahLst/>
              <a:cxnLst/>
              <a:rect l="l" t="t" r="r" b="b"/>
              <a:pathLst>
                <a:path w="120015" h="50800">
                  <a:moveTo>
                    <a:pt x="101191" y="50549"/>
                  </a:moveTo>
                  <a:lnTo>
                    <a:pt x="0" y="0"/>
                  </a:lnTo>
                  <a:lnTo>
                    <a:pt x="103228" y="0"/>
                  </a:lnTo>
                  <a:lnTo>
                    <a:pt x="119786" y="8213"/>
                  </a:lnTo>
                  <a:lnTo>
                    <a:pt x="115519" y="19002"/>
                  </a:lnTo>
                  <a:lnTo>
                    <a:pt x="110994" y="29657"/>
                  </a:lnTo>
                  <a:lnTo>
                    <a:pt x="106217" y="40173"/>
                  </a:lnTo>
                  <a:lnTo>
                    <a:pt x="101191" y="50549"/>
                  </a:lnTo>
                  <a:close/>
                </a:path>
              </a:pathLst>
            </a:custGeom>
            <a:solidFill>
              <a:srgbClr val="D11C2B"/>
            </a:solidFill>
          </p:spPr>
          <p:txBody>
            <a:bodyPr wrap="square" lIns="0" tIns="0" rIns="0" bIns="0" rtlCol="0"/>
            <a:lstStyle/>
            <a:p>
              <a:endParaRPr/>
            </a:p>
          </p:txBody>
        </p:sp>
        <p:pic>
          <p:nvPicPr>
            <p:cNvPr id="56" name="object 56"/>
            <p:cNvPicPr/>
            <p:nvPr/>
          </p:nvPicPr>
          <p:blipFill>
            <a:blip r:embed="rId14" cstate="print"/>
            <a:stretch>
              <a:fillRect/>
            </a:stretch>
          </p:blipFill>
          <p:spPr>
            <a:xfrm>
              <a:off x="10831463" y="5079845"/>
              <a:ext cx="208418" cy="92559"/>
            </a:xfrm>
            <a:prstGeom prst="rect">
              <a:avLst/>
            </a:prstGeom>
          </p:spPr>
        </p:pic>
      </p:grpSp>
      <p:pic>
        <p:nvPicPr>
          <p:cNvPr id="57" name="object 57"/>
          <p:cNvPicPr/>
          <p:nvPr/>
        </p:nvPicPr>
        <p:blipFill>
          <a:blip r:embed="rId15" cstate="print"/>
          <a:stretch>
            <a:fillRect/>
          </a:stretch>
        </p:blipFill>
        <p:spPr>
          <a:xfrm>
            <a:off x="12580771" y="4456469"/>
            <a:ext cx="933449" cy="933449"/>
          </a:xfrm>
          <a:prstGeom prst="rect">
            <a:avLst/>
          </a:prstGeom>
        </p:spPr>
      </p:pic>
      <p:sp>
        <p:nvSpPr>
          <p:cNvPr id="58" name="object 58"/>
          <p:cNvSpPr/>
          <p:nvPr/>
        </p:nvSpPr>
        <p:spPr>
          <a:xfrm>
            <a:off x="6682486" y="8259088"/>
            <a:ext cx="7162165" cy="1044575"/>
          </a:xfrm>
          <a:custGeom>
            <a:avLst/>
            <a:gdLst/>
            <a:ahLst/>
            <a:cxnLst/>
            <a:rect l="l" t="t" r="r" b="b"/>
            <a:pathLst>
              <a:path w="7162165" h="1044575">
                <a:moveTo>
                  <a:pt x="7161581" y="144348"/>
                </a:moveTo>
                <a:lnTo>
                  <a:pt x="882167" y="144348"/>
                </a:lnTo>
                <a:lnTo>
                  <a:pt x="858748" y="122821"/>
                </a:lnTo>
                <a:lnTo>
                  <a:pt x="823442" y="95542"/>
                </a:lnTo>
                <a:lnTo>
                  <a:pt x="785850" y="71297"/>
                </a:lnTo>
                <a:lnTo>
                  <a:pt x="746137" y="50279"/>
                </a:lnTo>
                <a:lnTo>
                  <a:pt x="704494" y="32677"/>
                </a:lnTo>
                <a:lnTo>
                  <a:pt x="661098" y="18656"/>
                </a:lnTo>
                <a:lnTo>
                  <a:pt x="616140" y="8407"/>
                </a:lnTo>
                <a:lnTo>
                  <a:pt x="569798" y="2133"/>
                </a:lnTo>
                <a:lnTo>
                  <a:pt x="522262" y="0"/>
                </a:lnTo>
                <a:lnTo>
                  <a:pt x="474726" y="2133"/>
                </a:lnTo>
                <a:lnTo>
                  <a:pt x="428383" y="8407"/>
                </a:lnTo>
                <a:lnTo>
                  <a:pt x="383425" y="18656"/>
                </a:lnTo>
                <a:lnTo>
                  <a:pt x="340029" y="32677"/>
                </a:lnTo>
                <a:lnTo>
                  <a:pt x="298373" y="50279"/>
                </a:lnTo>
                <a:lnTo>
                  <a:pt x="258660" y="71297"/>
                </a:lnTo>
                <a:lnTo>
                  <a:pt x="221068" y="95542"/>
                </a:lnTo>
                <a:lnTo>
                  <a:pt x="185775" y="122821"/>
                </a:lnTo>
                <a:lnTo>
                  <a:pt x="152958" y="152971"/>
                </a:lnTo>
                <a:lnTo>
                  <a:pt x="122821" y="185775"/>
                </a:lnTo>
                <a:lnTo>
                  <a:pt x="95542" y="221068"/>
                </a:lnTo>
                <a:lnTo>
                  <a:pt x="71297" y="258660"/>
                </a:lnTo>
                <a:lnTo>
                  <a:pt x="50279" y="298373"/>
                </a:lnTo>
                <a:lnTo>
                  <a:pt x="32677" y="340029"/>
                </a:lnTo>
                <a:lnTo>
                  <a:pt x="18656" y="383425"/>
                </a:lnTo>
                <a:lnTo>
                  <a:pt x="8407" y="428383"/>
                </a:lnTo>
                <a:lnTo>
                  <a:pt x="2133" y="474726"/>
                </a:lnTo>
                <a:lnTo>
                  <a:pt x="0" y="522262"/>
                </a:lnTo>
                <a:lnTo>
                  <a:pt x="2133" y="569798"/>
                </a:lnTo>
                <a:lnTo>
                  <a:pt x="8407" y="616140"/>
                </a:lnTo>
                <a:lnTo>
                  <a:pt x="18656" y="661098"/>
                </a:lnTo>
                <a:lnTo>
                  <a:pt x="32677" y="704494"/>
                </a:lnTo>
                <a:lnTo>
                  <a:pt x="50279" y="746137"/>
                </a:lnTo>
                <a:lnTo>
                  <a:pt x="71297" y="785850"/>
                </a:lnTo>
                <a:lnTo>
                  <a:pt x="95542" y="823442"/>
                </a:lnTo>
                <a:lnTo>
                  <a:pt x="122821" y="858748"/>
                </a:lnTo>
                <a:lnTo>
                  <a:pt x="152958" y="891552"/>
                </a:lnTo>
                <a:lnTo>
                  <a:pt x="185775" y="921689"/>
                </a:lnTo>
                <a:lnTo>
                  <a:pt x="221068" y="948969"/>
                </a:lnTo>
                <a:lnTo>
                  <a:pt x="258660" y="973213"/>
                </a:lnTo>
                <a:lnTo>
                  <a:pt x="298373" y="994232"/>
                </a:lnTo>
                <a:lnTo>
                  <a:pt x="340029" y="1011847"/>
                </a:lnTo>
                <a:lnTo>
                  <a:pt x="383425" y="1025855"/>
                </a:lnTo>
                <a:lnTo>
                  <a:pt x="428383" y="1036104"/>
                </a:lnTo>
                <a:lnTo>
                  <a:pt x="474726" y="1042377"/>
                </a:lnTo>
                <a:lnTo>
                  <a:pt x="522262" y="1044511"/>
                </a:lnTo>
                <a:lnTo>
                  <a:pt x="569798" y="1042377"/>
                </a:lnTo>
                <a:lnTo>
                  <a:pt x="616140" y="1036104"/>
                </a:lnTo>
                <a:lnTo>
                  <a:pt x="661098" y="1025855"/>
                </a:lnTo>
                <a:lnTo>
                  <a:pt x="704494" y="1011847"/>
                </a:lnTo>
                <a:lnTo>
                  <a:pt x="746137" y="994232"/>
                </a:lnTo>
                <a:lnTo>
                  <a:pt x="785850" y="973213"/>
                </a:lnTo>
                <a:lnTo>
                  <a:pt x="823442" y="948969"/>
                </a:lnTo>
                <a:lnTo>
                  <a:pt x="858748" y="921689"/>
                </a:lnTo>
                <a:lnTo>
                  <a:pt x="881456" y="900823"/>
                </a:lnTo>
                <a:lnTo>
                  <a:pt x="7161581" y="900823"/>
                </a:lnTo>
                <a:lnTo>
                  <a:pt x="7161581" y="144348"/>
                </a:lnTo>
                <a:close/>
              </a:path>
            </a:pathLst>
          </a:custGeom>
          <a:solidFill>
            <a:srgbClr val="21408B"/>
          </a:solidFill>
        </p:spPr>
        <p:txBody>
          <a:bodyPr wrap="square" lIns="0" tIns="0" rIns="0" bIns="0" rtlCol="0"/>
          <a:lstStyle/>
          <a:p>
            <a:endParaRPr/>
          </a:p>
        </p:txBody>
      </p:sp>
      <p:sp>
        <p:nvSpPr>
          <p:cNvPr id="59" name="object 59"/>
          <p:cNvSpPr/>
          <p:nvPr/>
        </p:nvSpPr>
        <p:spPr>
          <a:xfrm>
            <a:off x="10950946" y="7221678"/>
            <a:ext cx="2894965" cy="756920"/>
          </a:xfrm>
          <a:custGeom>
            <a:avLst/>
            <a:gdLst/>
            <a:ahLst/>
            <a:cxnLst/>
            <a:rect l="l" t="t" r="r" b="b"/>
            <a:pathLst>
              <a:path w="2894965" h="756920">
                <a:moveTo>
                  <a:pt x="2894700" y="756481"/>
                </a:moveTo>
                <a:lnTo>
                  <a:pt x="0" y="756481"/>
                </a:lnTo>
                <a:lnTo>
                  <a:pt x="0" y="0"/>
                </a:lnTo>
                <a:lnTo>
                  <a:pt x="2894700" y="0"/>
                </a:lnTo>
                <a:lnTo>
                  <a:pt x="2894700" y="756481"/>
                </a:lnTo>
                <a:close/>
              </a:path>
            </a:pathLst>
          </a:custGeom>
          <a:solidFill>
            <a:srgbClr val="21408B"/>
          </a:solidFill>
        </p:spPr>
        <p:txBody>
          <a:bodyPr wrap="square" lIns="0" tIns="0" rIns="0" bIns="0" rtlCol="0"/>
          <a:lstStyle/>
          <a:p>
            <a:endParaRPr/>
          </a:p>
        </p:txBody>
      </p:sp>
      <p:grpSp>
        <p:nvGrpSpPr>
          <p:cNvPr id="60" name="object 60"/>
          <p:cNvGrpSpPr/>
          <p:nvPr/>
        </p:nvGrpSpPr>
        <p:grpSpPr>
          <a:xfrm>
            <a:off x="8994806" y="4456469"/>
            <a:ext cx="933450" cy="933450"/>
            <a:chOff x="8994806" y="4456469"/>
            <a:chExt cx="933450" cy="933450"/>
          </a:xfrm>
        </p:grpSpPr>
        <p:sp>
          <p:nvSpPr>
            <p:cNvPr id="61" name="object 61"/>
            <p:cNvSpPr/>
            <p:nvPr/>
          </p:nvSpPr>
          <p:spPr>
            <a:xfrm>
              <a:off x="8994806" y="4456469"/>
              <a:ext cx="932815" cy="933450"/>
            </a:xfrm>
            <a:custGeom>
              <a:avLst/>
              <a:gdLst/>
              <a:ahLst/>
              <a:cxnLst/>
              <a:rect l="l" t="t" r="r" b="b"/>
              <a:pathLst>
                <a:path w="932815" h="933450">
                  <a:moveTo>
                    <a:pt x="466132" y="933450"/>
                  </a:moveTo>
                  <a:lnTo>
                    <a:pt x="420443" y="931202"/>
                  </a:lnTo>
                  <a:lnTo>
                    <a:pt x="375194" y="924481"/>
                  </a:lnTo>
                  <a:lnTo>
                    <a:pt x="330821" y="913353"/>
                  </a:lnTo>
                  <a:lnTo>
                    <a:pt x="287751" y="897922"/>
                  </a:lnTo>
                  <a:lnTo>
                    <a:pt x="246398" y="878339"/>
                  </a:lnTo>
                  <a:lnTo>
                    <a:pt x="207162" y="854792"/>
                  </a:lnTo>
                  <a:lnTo>
                    <a:pt x="170421" y="827508"/>
                  </a:lnTo>
                  <a:lnTo>
                    <a:pt x="136526" y="796749"/>
                  </a:lnTo>
                  <a:lnTo>
                    <a:pt x="105807" y="762812"/>
                  </a:lnTo>
                  <a:lnTo>
                    <a:pt x="78557" y="726023"/>
                  </a:lnTo>
                  <a:lnTo>
                    <a:pt x="55040" y="686737"/>
                  </a:lnTo>
                  <a:lnTo>
                    <a:pt x="35482" y="645332"/>
                  </a:lnTo>
                  <a:lnTo>
                    <a:pt x="20071" y="602208"/>
                  </a:lnTo>
                  <a:lnTo>
                    <a:pt x="8956" y="557778"/>
                  </a:lnTo>
                  <a:lnTo>
                    <a:pt x="2244" y="512472"/>
                  </a:lnTo>
                  <a:lnTo>
                    <a:pt x="0" y="466725"/>
                  </a:lnTo>
                  <a:lnTo>
                    <a:pt x="140" y="455267"/>
                  </a:lnTo>
                  <a:lnTo>
                    <a:pt x="3505" y="409589"/>
                  </a:lnTo>
                  <a:lnTo>
                    <a:pt x="11326" y="364461"/>
                  </a:lnTo>
                  <a:lnTo>
                    <a:pt x="23527" y="320318"/>
                  </a:lnTo>
                  <a:lnTo>
                    <a:pt x="39990" y="277585"/>
                  </a:lnTo>
                  <a:lnTo>
                    <a:pt x="60558" y="236673"/>
                  </a:lnTo>
                  <a:lnTo>
                    <a:pt x="85031" y="197977"/>
                  </a:lnTo>
                  <a:lnTo>
                    <a:pt x="113174" y="161870"/>
                  </a:lnTo>
                  <a:lnTo>
                    <a:pt x="144717" y="128698"/>
                  </a:lnTo>
                  <a:lnTo>
                    <a:pt x="179355" y="98781"/>
                  </a:lnTo>
                  <a:lnTo>
                    <a:pt x="216755" y="72408"/>
                  </a:lnTo>
                  <a:lnTo>
                    <a:pt x="256556" y="49833"/>
                  </a:lnTo>
                  <a:lnTo>
                    <a:pt x="298376" y="31272"/>
                  </a:lnTo>
                  <a:lnTo>
                    <a:pt x="341811" y="16905"/>
                  </a:lnTo>
                  <a:lnTo>
                    <a:pt x="386444" y="6870"/>
                  </a:lnTo>
                  <a:lnTo>
                    <a:pt x="431844" y="1264"/>
                  </a:lnTo>
                  <a:lnTo>
                    <a:pt x="466132" y="0"/>
                  </a:lnTo>
                  <a:lnTo>
                    <a:pt x="477574" y="140"/>
                  </a:lnTo>
                  <a:lnTo>
                    <a:pt x="523195" y="3510"/>
                  </a:lnTo>
                  <a:lnTo>
                    <a:pt x="568265" y="11340"/>
                  </a:lnTo>
                  <a:lnTo>
                    <a:pt x="612352" y="23557"/>
                  </a:lnTo>
                  <a:lnTo>
                    <a:pt x="655031" y="40041"/>
                  </a:lnTo>
                  <a:lnTo>
                    <a:pt x="695890" y="60635"/>
                  </a:lnTo>
                  <a:lnTo>
                    <a:pt x="734537" y="85139"/>
                  </a:lnTo>
                  <a:lnTo>
                    <a:pt x="770599" y="113318"/>
                  </a:lnTo>
                  <a:lnTo>
                    <a:pt x="803729" y="144901"/>
                  </a:lnTo>
                  <a:lnTo>
                    <a:pt x="833607" y="179583"/>
                  </a:lnTo>
                  <a:lnTo>
                    <a:pt x="859947" y="217031"/>
                  </a:lnTo>
                  <a:lnTo>
                    <a:pt x="882493" y="256883"/>
                  </a:lnTo>
                  <a:lnTo>
                    <a:pt x="901031" y="298756"/>
                  </a:lnTo>
                  <a:lnTo>
                    <a:pt x="915379" y="342246"/>
                  </a:lnTo>
                  <a:lnTo>
                    <a:pt x="925402" y="386936"/>
                  </a:lnTo>
                  <a:lnTo>
                    <a:pt x="931001" y="432394"/>
                  </a:lnTo>
                  <a:lnTo>
                    <a:pt x="932264" y="466725"/>
                  </a:lnTo>
                  <a:lnTo>
                    <a:pt x="932123" y="478182"/>
                  </a:lnTo>
                  <a:lnTo>
                    <a:pt x="928758" y="523860"/>
                  </a:lnTo>
                  <a:lnTo>
                    <a:pt x="920937" y="568988"/>
                  </a:lnTo>
                  <a:lnTo>
                    <a:pt x="908736" y="613131"/>
                  </a:lnTo>
                  <a:lnTo>
                    <a:pt x="892273" y="655864"/>
                  </a:lnTo>
                  <a:lnTo>
                    <a:pt x="871705" y="696775"/>
                  </a:lnTo>
                  <a:lnTo>
                    <a:pt x="847232" y="735471"/>
                  </a:lnTo>
                  <a:lnTo>
                    <a:pt x="819089" y="771579"/>
                  </a:lnTo>
                  <a:lnTo>
                    <a:pt x="787546" y="804751"/>
                  </a:lnTo>
                  <a:lnTo>
                    <a:pt x="752908" y="834668"/>
                  </a:lnTo>
                  <a:lnTo>
                    <a:pt x="715508" y="861041"/>
                  </a:lnTo>
                  <a:lnTo>
                    <a:pt x="675707" y="883616"/>
                  </a:lnTo>
                  <a:lnTo>
                    <a:pt x="633887" y="902177"/>
                  </a:lnTo>
                  <a:lnTo>
                    <a:pt x="590452" y="916544"/>
                  </a:lnTo>
                  <a:lnTo>
                    <a:pt x="545819" y="926579"/>
                  </a:lnTo>
                  <a:lnTo>
                    <a:pt x="500419" y="932185"/>
                  </a:lnTo>
                  <a:lnTo>
                    <a:pt x="466132" y="933450"/>
                  </a:lnTo>
                  <a:close/>
                </a:path>
              </a:pathLst>
            </a:custGeom>
            <a:solidFill>
              <a:srgbClr val="002553"/>
            </a:solidFill>
          </p:spPr>
          <p:txBody>
            <a:bodyPr wrap="square" lIns="0" tIns="0" rIns="0" bIns="0" rtlCol="0"/>
            <a:lstStyle/>
            <a:p>
              <a:endParaRPr/>
            </a:p>
          </p:txBody>
        </p:sp>
        <p:sp>
          <p:nvSpPr>
            <p:cNvPr id="62" name="object 62"/>
            <p:cNvSpPr/>
            <p:nvPr/>
          </p:nvSpPr>
          <p:spPr>
            <a:xfrm>
              <a:off x="9616315" y="4482668"/>
              <a:ext cx="311785" cy="881380"/>
            </a:xfrm>
            <a:custGeom>
              <a:avLst/>
              <a:gdLst/>
              <a:ahLst/>
              <a:cxnLst/>
              <a:rect l="l" t="t" r="r" b="b"/>
              <a:pathLst>
                <a:path w="311784" h="881379">
                  <a:moveTo>
                    <a:pt x="0" y="881114"/>
                  </a:moveTo>
                  <a:lnTo>
                    <a:pt x="0" y="0"/>
                  </a:lnTo>
                  <a:lnTo>
                    <a:pt x="44269" y="18178"/>
                  </a:lnTo>
                  <a:lnTo>
                    <a:pt x="86123" y="40639"/>
                  </a:lnTo>
                  <a:lnTo>
                    <a:pt x="125289" y="67109"/>
                  </a:lnTo>
                  <a:lnTo>
                    <a:pt x="161493" y="97313"/>
                  </a:lnTo>
                  <a:lnTo>
                    <a:pt x="194462" y="130980"/>
                  </a:lnTo>
                  <a:lnTo>
                    <a:pt x="223922" y="167834"/>
                  </a:lnTo>
                  <a:lnTo>
                    <a:pt x="249599" y="207602"/>
                  </a:lnTo>
                  <a:lnTo>
                    <a:pt x="271222" y="250012"/>
                  </a:lnTo>
                  <a:lnTo>
                    <a:pt x="288515" y="294789"/>
                  </a:lnTo>
                  <a:lnTo>
                    <a:pt x="301206" y="341659"/>
                  </a:lnTo>
                  <a:lnTo>
                    <a:pt x="309021" y="390350"/>
                  </a:lnTo>
                  <a:lnTo>
                    <a:pt x="311686" y="440588"/>
                  </a:lnTo>
                  <a:lnTo>
                    <a:pt x="309021" y="490824"/>
                  </a:lnTo>
                  <a:lnTo>
                    <a:pt x="301206" y="539512"/>
                  </a:lnTo>
                  <a:lnTo>
                    <a:pt x="288515" y="586377"/>
                  </a:lnTo>
                  <a:lnTo>
                    <a:pt x="271222" y="631148"/>
                  </a:lnTo>
                  <a:lnTo>
                    <a:pt x="249599" y="673550"/>
                  </a:lnTo>
                  <a:lnTo>
                    <a:pt x="223922" y="713311"/>
                  </a:lnTo>
                  <a:lnTo>
                    <a:pt x="194462" y="750157"/>
                  </a:lnTo>
                  <a:lnTo>
                    <a:pt x="161493" y="783816"/>
                  </a:lnTo>
                  <a:lnTo>
                    <a:pt x="125289" y="814015"/>
                  </a:lnTo>
                  <a:lnTo>
                    <a:pt x="86123" y="840479"/>
                  </a:lnTo>
                  <a:lnTo>
                    <a:pt x="44269" y="862937"/>
                  </a:lnTo>
                  <a:lnTo>
                    <a:pt x="0" y="881114"/>
                  </a:lnTo>
                  <a:close/>
                </a:path>
              </a:pathLst>
            </a:custGeom>
            <a:solidFill>
              <a:srgbClr val="CD1125"/>
            </a:solidFill>
          </p:spPr>
          <p:txBody>
            <a:bodyPr wrap="square" lIns="0" tIns="0" rIns="0" bIns="0" rtlCol="0"/>
            <a:lstStyle/>
            <a:p>
              <a:endParaRPr/>
            </a:p>
          </p:txBody>
        </p:sp>
        <p:sp>
          <p:nvSpPr>
            <p:cNvPr id="63" name="object 63"/>
            <p:cNvSpPr/>
            <p:nvPr/>
          </p:nvSpPr>
          <p:spPr>
            <a:xfrm>
              <a:off x="9304690" y="4456469"/>
              <a:ext cx="311785" cy="933450"/>
            </a:xfrm>
            <a:custGeom>
              <a:avLst/>
              <a:gdLst/>
              <a:ahLst/>
              <a:cxnLst/>
              <a:rect l="l" t="t" r="r" b="b"/>
              <a:pathLst>
                <a:path w="311784" h="933450">
                  <a:moveTo>
                    <a:pt x="157179" y="933450"/>
                  </a:moveTo>
                  <a:lnTo>
                    <a:pt x="116171" y="931714"/>
                  </a:lnTo>
                  <a:lnTo>
                    <a:pt x="76212" y="926565"/>
                  </a:lnTo>
                  <a:lnTo>
                    <a:pt x="37442" y="918091"/>
                  </a:lnTo>
                  <a:lnTo>
                    <a:pt x="0" y="906379"/>
                  </a:lnTo>
                  <a:lnTo>
                    <a:pt x="0" y="27070"/>
                  </a:lnTo>
                  <a:lnTo>
                    <a:pt x="37442" y="15489"/>
                  </a:lnTo>
                  <a:lnTo>
                    <a:pt x="76212" y="7000"/>
                  </a:lnTo>
                  <a:lnTo>
                    <a:pt x="116171" y="1779"/>
                  </a:lnTo>
                  <a:lnTo>
                    <a:pt x="157179" y="0"/>
                  </a:lnTo>
                  <a:lnTo>
                    <a:pt x="197323" y="1722"/>
                  </a:lnTo>
                  <a:lnTo>
                    <a:pt x="236546" y="6775"/>
                  </a:lnTo>
                  <a:lnTo>
                    <a:pt x="274697" y="14990"/>
                  </a:lnTo>
                  <a:lnTo>
                    <a:pt x="311624" y="26198"/>
                  </a:lnTo>
                  <a:lnTo>
                    <a:pt x="311624" y="907251"/>
                  </a:lnTo>
                  <a:lnTo>
                    <a:pt x="274697" y="918459"/>
                  </a:lnTo>
                  <a:lnTo>
                    <a:pt x="236546" y="926674"/>
                  </a:lnTo>
                  <a:lnTo>
                    <a:pt x="197323" y="931728"/>
                  </a:lnTo>
                  <a:lnTo>
                    <a:pt x="157179" y="933450"/>
                  </a:lnTo>
                  <a:close/>
                </a:path>
              </a:pathLst>
            </a:custGeom>
            <a:solidFill>
              <a:srgbClr val="FFFFFF"/>
            </a:solidFill>
          </p:spPr>
          <p:txBody>
            <a:bodyPr wrap="square" lIns="0" tIns="0" rIns="0" bIns="0" rtlCol="0"/>
            <a:lstStyle/>
            <a:p>
              <a:endParaRPr/>
            </a:p>
          </p:txBody>
        </p:sp>
      </p:grpSp>
      <p:sp>
        <p:nvSpPr>
          <p:cNvPr id="64" name="object 64"/>
          <p:cNvSpPr/>
          <p:nvPr/>
        </p:nvSpPr>
        <p:spPr>
          <a:xfrm>
            <a:off x="7024551" y="8499942"/>
            <a:ext cx="400050" cy="561975"/>
          </a:xfrm>
          <a:custGeom>
            <a:avLst/>
            <a:gdLst/>
            <a:ahLst/>
            <a:cxnLst/>
            <a:rect l="l" t="t" r="r" b="b"/>
            <a:pathLst>
              <a:path w="400050" h="561975">
                <a:moveTo>
                  <a:pt x="199820" y="388514"/>
                </a:moveTo>
                <a:lnTo>
                  <a:pt x="155005" y="379577"/>
                </a:lnTo>
                <a:lnTo>
                  <a:pt x="118394" y="355211"/>
                </a:lnTo>
                <a:lnTo>
                  <a:pt x="93701" y="319082"/>
                </a:lnTo>
                <a:lnTo>
                  <a:pt x="84644" y="274860"/>
                </a:lnTo>
                <a:lnTo>
                  <a:pt x="84644" y="113654"/>
                </a:lnTo>
                <a:lnTo>
                  <a:pt x="93701" y="69431"/>
                </a:lnTo>
                <a:lnTo>
                  <a:pt x="118394" y="33303"/>
                </a:lnTo>
                <a:lnTo>
                  <a:pt x="155005" y="8937"/>
                </a:lnTo>
                <a:lnTo>
                  <a:pt x="199820" y="0"/>
                </a:lnTo>
                <a:lnTo>
                  <a:pt x="244634" y="8937"/>
                </a:lnTo>
                <a:lnTo>
                  <a:pt x="281246" y="33303"/>
                </a:lnTo>
                <a:lnTo>
                  <a:pt x="305939" y="69431"/>
                </a:lnTo>
                <a:lnTo>
                  <a:pt x="314995" y="113654"/>
                </a:lnTo>
                <a:lnTo>
                  <a:pt x="314995" y="274860"/>
                </a:lnTo>
                <a:lnTo>
                  <a:pt x="305939" y="319082"/>
                </a:lnTo>
                <a:lnTo>
                  <a:pt x="281246" y="355211"/>
                </a:lnTo>
                <a:lnTo>
                  <a:pt x="244634" y="379577"/>
                </a:lnTo>
                <a:lnTo>
                  <a:pt x="199820" y="388514"/>
                </a:lnTo>
                <a:close/>
              </a:path>
              <a:path w="400050" h="561975">
                <a:moveTo>
                  <a:pt x="219870" y="521954"/>
                </a:moveTo>
                <a:lnTo>
                  <a:pt x="179200" y="521954"/>
                </a:lnTo>
                <a:lnTo>
                  <a:pt x="179200" y="467431"/>
                </a:lnTo>
                <a:lnTo>
                  <a:pt x="131037" y="456469"/>
                </a:lnTo>
                <a:lnTo>
                  <a:pt x="88083" y="434739"/>
                </a:lnTo>
                <a:lnTo>
                  <a:pt x="51920" y="403803"/>
                </a:lnTo>
                <a:lnTo>
                  <a:pt x="24130" y="365223"/>
                </a:lnTo>
                <a:lnTo>
                  <a:pt x="6296" y="320560"/>
                </a:lnTo>
                <a:lnTo>
                  <a:pt x="0" y="271375"/>
                </a:lnTo>
                <a:lnTo>
                  <a:pt x="0" y="251028"/>
                </a:lnTo>
                <a:lnTo>
                  <a:pt x="1598" y="243253"/>
                </a:lnTo>
                <a:lnTo>
                  <a:pt x="5952" y="236891"/>
                </a:lnTo>
                <a:lnTo>
                  <a:pt x="12399" y="232595"/>
                </a:lnTo>
                <a:lnTo>
                  <a:pt x="20278" y="231017"/>
                </a:lnTo>
                <a:lnTo>
                  <a:pt x="28156" y="232595"/>
                </a:lnTo>
                <a:lnTo>
                  <a:pt x="34603" y="236891"/>
                </a:lnTo>
                <a:lnTo>
                  <a:pt x="38957" y="243253"/>
                </a:lnTo>
                <a:lnTo>
                  <a:pt x="40556" y="251028"/>
                </a:lnTo>
                <a:lnTo>
                  <a:pt x="40556" y="271375"/>
                </a:lnTo>
                <a:lnTo>
                  <a:pt x="48687" y="321003"/>
                </a:lnTo>
                <a:lnTo>
                  <a:pt x="71320" y="364139"/>
                </a:lnTo>
                <a:lnTo>
                  <a:pt x="105814" y="398177"/>
                </a:lnTo>
                <a:lnTo>
                  <a:pt x="149528" y="420511"/>
                </a:lnTo>
                <a:lnTo>
                  <a:pt x="199820" y="428535"/>
                </a:lnTo>
                <a:lnTo>
                  <a:pt x="318833" y="428535"/>
                </a:lnTo>
                <a:lnTo>
                  <a:pt x="311287" y="434972"/>
                </a:lnTo>
                <a:lnTo>
                  <a:pt x="268194" y="456666"/>
                </a:lnTo>
                <a:lnTo>
                  <a:pt x="219870" y="467544"/>
                </a:lnTo>
                <a:lnTo>
                  <a:pt x="219870" y="521954"/>
                </a:lnTo>
                <a:close/>
              </a:path>
              <a:path w="400050" h="561975">
                <a:moveTo>
                  <a:pt x="318833" y="428535"/>
                </a:moveTo>
                <a:lnTo>
                  <a:pt x="199820" y="428535"/>
                </a:lnTo>
                <a:lnTo>
                  <a:pt x="250111" y="420511"/>
                </a:lnTo>
                <a:lnTo>
                  <a:pt x="293825" y="398177"/>
                </a:lnTo>
                <a:lnTo>
                  <a:pt x="328319" y="364139"/>
                </a:lnTo>
                <a:lnTo>
                  <a:pt x="350952" y="321003"/>
                </a:lnTo>
                <a:lnTo>
                  <a:pt x="359083" y="271375"/>
                </a:lnTo>
                <a:lnTo>
                  <a:pt x="359083" y="251028"/>
                </a:lnTo>
                <a:lnTo>
                  <a:pt x="360682" y="243253"/>
                </a:lnTo>
                <a:lnTo>
                  <a:pt x="365036" y="236891"/>
                </a:lnTo>
                <a:lnTo>
                  <a:pt x="371483" y="232595"/>
                </a:lnTo>
                <a:lnTo>
                  <a:pt x="379362" y="231017"/>
                </a:lnTo>
                <a:lnTo>
                  <a:pt x="387264" y="232595"/>
                </a:lnTo>
                <a:lnTo>
                  <a:pt x="393687" y="236849"/>
                </a:lnTo>
                <a:lnTo>
                  <a:pt x="398041" y="243206"/>
                </a:lnTo>
                <a:lnTo>
                  <a:pt x="399640" y="251028"/>
                </a:lnTo>
                <a:lnTo>
                  <a:pt x="399640" y="271375"/>
                </a:lnTo>
                <a:lnTo>
                  <a:pt x="393325" y="320662"/>
                </a:lnTo>
                <a:lnTo>
                  <a:pt x="375438" y="365402"/>
                </a:lnTo>
                <a:lnTo>
                  <a:pt x="347563" y="404028"/>
                </a:lnTo>
                <a:lnTo>
                  <a:pt x="318833" y="428535"/>
                </a:lnTo>
                <a:close/>
              </a:path>
              <a:path w="400050" h="561975">
                <a:moveTo>
                  <a:pt x="301325" y="561974"/>
                </a:moveTo>
                <a:lnTo>
                  <a:pt x="98315" y="561974"/>
                </a:lnTo>
                <a:lnTo>
                  <a:pt x="90436" y="560397"/>
                </a:lnTo>
                <a:lnTo>
                  <a:pt x="83989" y="556101"/>
                </a:lnTo>
                <a:lnTo>
                  <a:pt x="79635" y="549739"/>
                </a:lnTo>
                <a:lnTo>
                  <a:pt x="78036" y="541964"/>
                </a:lnTo>
                <a:lnTo>
                  <a:pt x="79635" y="534190"/>
                </a:lnTo>
                <a:lnTo>
                  <a:pt x="83989" y="527828"/>
                </a:lnTo>
                <a:lnTo>
                  <a:pt x="90436" y="523531"/>
                </a:lnTo>
                <a:lnTo>
                  <a:pt x="98315" y="521954"/>
                </a:lnTo>
                <a:lnTo>
                  <a:pt x="301325" y="521954"/>
                </a:lnTo>
                <a:lnTo>
                  <a:pt x="309203" y="523531"/>
                </a:lnTo>
                <a:lnTo>
                  <a:pt x="315650" y="527828"/>
                </a:lnTo>
                <a:lnTo>
                  <a:pt x="320004" y="534190"/>
                </a:lnTo>
                <a:lnTo>
                  <a:pt x="321603" y="541964"/>
                </a:lnTo>
                <a:lnTo>
                  <a:pt x="320004" y="549739"/>
                </a:lnTo>
                <a:lnTo>
                  <a:pt x="315650" y="556101"/>
                </a:lnTo>
                <a:lnTo>
                  <a:pt x="309203" y="560397"/>
                </a:lnTo>
                <a:lnTo>
                  <a:pt x="301325" y="561974"/>
                </a:lnTo>
                <a:close/>
              </a:path>
            </a:pathLst>
          </a:custGeom>
          <a:solidFill>
            <a:srgbClr val="FFFFFF"/>
          </a:solidFill>
        </p:spPr>
        <p:txBody>
          <a:bodyPr wrap="square" lIns="0" tIns="0" rIns="0" bIns="0" rtlCol="0"/>
          <a:lstStyle/>
          <a:p>
            <a:endParaRPr/>
          </a:p>
        </p:txBody>
      </p:sp>
      <p:grpSp>
        <p:nvGrpSpPr>
          <p:cNvPr id="65" name="object 65"/>
          <p:cNvGrpSpPr/>
          <p:nvPr/>
        </p:nvGrpSpPr>
        <p:grpSpPr>
          <a:xfrm>
            <a:off x="6682491" y="7077334"/>
            <a:ext cx="4477385" cy="1044575"/>
            <a:chOff x="6682491" y="7077334"/>
            <a:chExt cx="4477385" cy="1044575"/>
          </a:xfrm>
        </p:grpSpPr>
        <p:sp>
          <p:nvSpPr>
            <p:cNvPr id="66" name="object 66"/>
            <p:cNvSpPr/>
            <p:nvPr/>
          </p:nvSpPr>
          <p:spPr>
            <a:xfrm>
              <a:off x="6682491" y="7077334"/>
              <a:ext cx="1044575" cy="1044575"/>
            </a:xfrm>
            <a:custGeom>
              <a:avLst/>
              <a:gdLst/>
              <a:ahLst/>
              <a:cxnLst/>
              <a:rect l="l" t="t" r="r" b="b"/>
              <a:pathLst>
                <a:path w="1044575" h="1044575">
                  <a:moveTo>
                    <a:pt x="522271" y="1044516"/>
                  </a:moveTo>
                  <a:lnTo>
                    <a:pt x="474722" y="1042383"/>
                  </a:lnTo>
                  <a:lnTo>
                    <a:pt x="428381" y="1036103"/>
                  </a:lnTo>
                  <a:lnTo>
                    <a:pt x="383421" y="1025861"/>
                  </a:lnTo>
                  <a:lnTo>
                    <a:pt x="340025" y="1011843"/>
                  </a:lnTo>
                  <a:lnTo>
                    <a:pt x="298378" y="994232"/>
                  </a:lnTo>
                  <a:lnTo>
                    <a:pt x="258664" y="973213"/>
                  </a:lnTo>
                  <a:lnTo>
                    <a:pt x="221068" y="948971"/>
                  </a:lnTo>
                  <a:lnTo>
                    <a:pt x="185773" y="921688"/>
                  </a:lnTo>
                  <a:lnTo>
                    <a:pt x="152965" y="891551"/>
                  </a:lnTo>
                  <a:lnTo>
                    <a:pt x="122828" y="858743"/>
                  </a:lnTo>
                  <a:lnTo>
                    <a:pt x="95546" y="823449"/>
                  </a:lnTo>
                  <a:lnTo>
                    <a:pt x="71303" y="785852"/>
                  </a:lnTo>
                  <a:lnTo>
                    <a:pt x="50284" y="746138"/>
                  </a:lnTo>
                  <a:lnTo>
                    <a:pt x="32673" y="704491"/>
                  </a:lnTo>
                  <a:lnTo>
                    <a:pt x="18655" y="661095"/>
                  </a:lnTo>
                  <a:lnTo>
                    <a:pt x="8414" y="616135"/>
                  </a:lnTo>
                  <a:lnTo>
                    <a:pt x="2134" y="569794"/>
                  </a:lnTo>
                  <a:lnTo>
                    <a:pt x="0" y="522258"/>
                  </a:lnTo>
                  <a:lnTo>
                    <a:pt x="2134" y="474722"/>
                  </a:lnTo>
                  <a:lnTo>
                    <a:pt x="8414" y="428381"/>
                  </a:lnTo>
                  <a:lnTo>
                    <a:pt x="18655" y="383421"/>
                  </a:lnTo>
                  <a:lnTo>
                    <a:pt x="32673" y="340025"/>
                  </a:lnTo>
                  <a:lnTo>
                    <a:pt x="50284" y="298378"/>
                  </a:lnTo>
                  <a:lnTo>
                    <a:pt x="71303" y="258664"/>
                  </a:lnTo>
                  <a:lnTo>
                    <a:pt x="95546" y="221068"/>
                  </a:lnTo>
                  <a:lnTo>
                    <a:pt x="122828" y="185773"/>
                  </a:lnTo>
                  <a:lnTo>
                    <a:pt x="152965" y="152965"/>
                  </a:lnTo>
                  <a:lnTo>
                    <a:pt x="185773" y="122828"/>
                  </a:lnTo>
                  <a:lnTo>
                    <a:pt x="221068" y="95546"/>
                  </a:lnTo>
                  <a:lnTo>
                    <a:pt x="258664" y="71303"/>
                  </a:lnTo>
                  <a:lnTo>
                    <a:pt x="298378" y="50284"/>
                  </a:lnTo>
                  <a:lnTo>
                    <a:pt x="340025" y="32673"/>
                  </a:lnTo>
                  <a:lnTo>
                    <a:pt x="383421" y="18655"/>
                  </a:lnTo>
                  <a:lnTo>
                    <a:pt x="428381" y="8414"/>
                  </a:lnTo>
                  <a:lnTo>
                    <a:pt x="474722" y="2134"/>
                  </a:lnTo>
                  <a:lnTo>
                    <a:pt x="522258" y="0"/>
                  </a:lnTo>
                  <a:lnTo>
                    <a:pt x="569794" y="2134"/>
                  </a:lnTo>
                  <a:lnTo>
                    <a:pt x="616135" y="8414"/>
                  </a:lnTo>
                  <a:lnTo>
                    <a:pt x="661095" y="18655"/>
                  </a:lnTo>
                  <a:lnTo>
                    <a:pt x="704491" y="32673"/>
                  </a:lnTo>
                  <a:lnTo>
                    <a:pt x="746138" y="50284"/>
                  </a:lnTo>
                  <a:lnTo>
                    <a:pt x="785852" y="71303"/>
                  </a:lnTo>
                  <a:lnTo>
                    <a:pt x="823448" y="95546"/>
                  </a:lnTo>
                  <a:lnTo>
                    <a:pt x="858743" y="122828"/>
                  </a:lnTo>
                  <a:lnTo>
                    <a:pt x="891551" y="152965"/>
                  </a:lnTo>
                  <a:lnTo>
                    <a:pt x="921688" y="185773"/>
                  </a:lnTo>
                  <a:lnTo>
                    <a:pt x="948970" y="221068"/>
                  </a:lnTo>
                  <a:lnTo>
                    <a:pt x="973213" y="258664"/>
                  </a:lnTo>
                  <a:lnTo>
                    <a:pt x="994232" y="298378"/>
                  </a:lnTo>
                  <a:lnTo>
                    <a:pt x="1011843" y="340025"/>
                  </a:lnTo>
                  <a:lnTo>
                    <a:pt x="1025861" y="383421"/>
                  </a:lnTo>
                  <a:lnTo>
                    <a:pt x="1036102" y="428381"/>
                  </a:lnTo>
                  <a:lnTo>
                    <a:pt x="1042382" y="474722"/>
                  </a:lnTo>
                  <a:lnTo>
                    <a:pt x="1044517" y="522258"/>
                  </a:lnTo>
                  <a:lnTo>
                    <a:pt x="1042382" y="569794"/>
                  </a:lnTo>
                  <a:lnTo>
                    <a:pt x="1036102" y="616135"/>
                  </a:lnTo>
                  <a:lnTo>
                    <a:pt x="1025861" y="661095"/>
                  </a:lnTo>
                  <a:lnTo>
                    <a:pt x="1011843" y="704491"/>
                  </a:lnTo>
                  <a:lnTo>
                    <a:pt x="994232" y="746138"/>
                  </a:lnTo>
                  <a:lnTo>
                    <a:pt x="973213" y="785852"/>
                  </a:lnTo>
                  <a:lnTo>
                    <a:pt x="948970" y="823449"/>
                  </a:lnTo>
                  <a:lnTo>
                    <a:pt x="921688" y="858743"/>
                  </a:lnTo>
                  <a:lnTo>
                    <a:pt x="891551" y="891551"/>
                  </a:lnTo>
                  <a:lnTo>
                    <a:pt x="858743" y="921688"/>
                  </a:lnTo>
                  <a:lnTo>
                    <a:pt x="823448" y="948971"/>
                  </a:lnTo>
                  <a:lnTo>
                    <a:pt x="785852" y="973213"/>
                  </a:lnTo>
                  <a:lnTo>
                    <a:pt x="746138" y="994232"/>
                  </a:lnTo>
                  <a:lnTo>
                    <a:pt x="704491" y="1011843"/>
                  </a:lnTo>
                  <a:lnTo>
                    <a:pt x="661095" y="1025861"/>
                  </a:lnTo>
                  <a:lnTo>
                    <a:pt x="616135" y="1036103"/>
                  </a:lnTo>
                  <a:lnTo>
                    <a:pt x="569794" y="1042383"/>
                  </a:lnTo>
                  <a:lnTo>
                    <a:pt x="522271" y="1044516"/>
                  </a:lnTo>
                  <a:close/>
                </a:path>
              </a:pathLst>
            </a:custGeom>
            <a:solidFill>
              <a:srgbClr val="21408B"/>
            </a:solidFill>
          </p:spPr>
          <p:txBody>
            <a:bodyPr wrap="square" lIns="0" tIns="0" rIns="0" bIns="0" rtlCol="0"/>
            <a:lstStyle/>
            <a:p>
              <a:endParaRPr/>
            </a:p>
          </p:txBody>
        </p:sp>
        <p:sp>
          <p:nvSpPr>
            <p:cNvPr id="67" name="object 67"/>
            <p:cNvSpPr/>
            <p:nvPr/>
          </p:nvSpPr>
          <p:spPr>
            <a:xfrm>
              <a:off x="6974636" y="7351800"/>
              <a:ext cx="447675" cy="485775"/>
            </a:xfrm>
            <a:custGeom>
              <a:avLst/>
              <a:gdLst/>
              <a:ahLst/>
              <a:cxnLst/>
              <a:rect l="l" t="t" r="r" b="b"/>
              <a:pathLst>
                <a:path w="447675" h="485775">
                  <a:moveTo>
                    <a:pt x="281305" y="446925"/>
                  </a:moveTo>
                  <a:lnTo>
                    <a:pt x="281101" y="444957"/>
                  </a:lnTo>
                  <a:lnTo>
                    <a:pt x="280111" y="443484"/>
                  </a:lnTo>
                  <a:lnTo>
                    <a:pt x="279006" y="441909"/>
                  </a:lnTo>
                  <a:lnTo>
                    <a:pt x="276821" y="440829"/>
                  </a:lnTo>
                  <a:lnTo>
                    <a:pt x="275424" y="441032"/>
                  </a:lnTo>
                  <a:lnTo>
                    <a:pt x="172554" y="441617"/>
                  </a:lnTo>
                  <a:lnTo>
                    <a:pt x="168859" y="442607"/>
                  </a:lnTo>
                  <a:lnTo>
                    <a:pt x="166865" y="445744"/>
                  </a:lnTo>
                  <a:lnTo>
                    <a:pt x="166662" y="447713"/>
                  </a:lnTo>
                  <a:lnTo>
                    <a:pt x="167462" y="449389"/>
                  </a:lnTo>
                  <a:lnTo>
                    <a:pt x="176961" y="464400"/>
                  </a:lnTo>
                  <a:lnTo>
                    <a:pt x="190182" y="475869"/>
                  </a:lnTo>
                  <a:lnTo>
                    <a:pt x="206146" y="483196"/>
                  </a:lnTo>
                  <a:lnTo>
                    <a:pt x="223888" y="485775"/>
                  </a:lnTo>
                  <a:lnTo>
                    <a:pt x="241858" y="483146"/>
                  </a:lnTo>
                  <a:lnTo>
                    <a:pt x="257924" y="475678"/>
                  </a:lnTo>
                  <a:lnTo>
                    <a:pt x="271157" y="463994"/>
                  </a:lnTo>
                  <a:lnTo>
                    <a:pt x="280606" y="448703"/>
                  </a:lnTo>
                  <a:lnTo>
                    <a:pt x="281305" y="446925"/>
                  </a:lnTo>
                  <a:close/>
                </a:path>
                <a:path w="447675" h="485775">
                  <a:moveTo>
                    <a:pt x="447675" y="394220"/>
                  </a:moveTo>
                  <a:lnTo>
                    <a:pt x="446176" y="391071"/>
                  </a:lnTo>
                  <a:lnTo>
                    <a:pt x="380580" y="337096"/>
                  </a:lnTo>
                  <a:lnTo>
                    <a:pt x="380580" y="198729"/>
                  </a:lnTo>
                  <a:lnTo>
                    <a:pt x="372122" y="148640"/>
                  </a:lnTo>
                  <a:lnTo>
                    <a:pt x="348640" y="105384"/>
                  </a:lnTo>
                  <a:lnTo>
                    <a:pt x="312966" y="71729"/>
                  </a:lnTo>
                  <a:lnTo>
                    <a:pt x="267944" y="50444"/>
                  </a:lnTo>
                  <a:lnTo>
                    <a:pt x="268249" y="48387"/>
                  </a:lnTo>
                  <a:lnTo>
                    <a:pt x="268643" y="46316"/>
                  </a:lnTo>
                  <a:lnTo>
                    <a:pt x="268643" y="45923"/>
                  </a:lnTo>
                  <a:lnTo>
                    <a:pt x="268643" y="44157"/>
                  </a:lnTo>
                  <a:lnTo>
                    <a:pt x="265125" y="26974"/>
                  </a:lnTo>
                  <a:lnTo>
                    <a:pt x="261747" y="22034"/>
                  </a:lnTo>
                  <a:lnTo>
                    <a:pt x="255536" y="12941"/>
                  </a:lnTo>
                  <a:lnTo>
                    <a:pt x="246214" y="6743"/>
                  </a:lnTo>
                  <a:lnTo>
                    <a:pt x="246214" y="44157"/>
                  </a:lnTo>
                  <a:lnTo>
                    <a:pt x="246113" y="45339"/>
                  </a:lnTo>
                  <a:lnTo>
                    <a:pt x="246011" y="45923"/>
                  </a:lnTo>
                  <a:lnTo>
                    <a:pt x="238734" y="44945"/>
                  </a:lnTo>
                  <a:lnTo>
                    <a:pt x="231355" y="44157"/>
                  </a:lnTo>
                  <a:lnTo>
                    <a:pt x="216204" y="44157"/>
                  </a:lnTo>
                  <a:lnTo>
                    <a:pt x="208927" y="44843"/>
                  </a:lnTo>
                  <a:lnTo>
                    <a:pt x="201650" y="45923"/>
                  </a:lnTo>
                  <a:lnTo>
                    <a:pt x="201650" y="45339"/>
                  </a:lnTo>
                  <a:lnTo>
                    <a:pt x="201523" y="44945"/>
                  </a:lnTo>
                  <a:lnTo>
                    <a:pt x="201460" y="44157"/>
                  </a:lnTo>
                  <a:lnTo>
                    <a:pt x="203225" y="35560"/>
                  </a:lnTo>
                  <a:lnTo>
                    <a:pt x="208038" y="28524"/>
                  </a:lnTo>
                  <a:lnTo>
                    <a:pt x="215163" y="23774"/>
                  </a:lnTo>
                  <a:lnTo>
                    <a:pt x="223888" y="22034"/>
                  </a:lnTo>
                  <a:lnTo>
                    <a:pt x="232587" y="23774"/>
                  </a:lnTo>
                  <a:lnTo>
                    <a:pt x="239687" y="28524"/>
                  </a:lnTo>
                  <a:lnTo>
                    <a:pt x="244462" y="35560"/>
                  </a:lnTo>
                  <a:lnTo>
                    <a:pt x="246214" y="44157"/>
                  </a:lnTo>
                  <a:lnTo>
                    <a:pt x="246214" y="6743"/>
                  </a:lnTo>
                  <a:lnTo>
                    <a:pt x="241312" y="3479"/>
                  </a:lnTo>
                  <a:lnTo>
                    <a:pt x="223888" y="0"/>
                  </a:lnTo>
                  <a:lnTo>
                    <a:pt x="206463" y="3479"/>
                  </a:lnTo>
                  <a:lnTo>
                    <a:pt x="192239" y="12941"/>
                  </a:lnTo>
                  <a:lnTo>
                    <a:pt x="182651" y="26974"/>
                  </a:lnTo>
                  <a:lnTo>
                    <a:pt x="179133" y="44157"/>
                  </a:lnTo>
                  <a:lnTo>
                    <a:pt x="179133" y="46316"/>
                  </a:lnTo>
                  <a:lnTo>
                    <a:pt x="179527" y="48387"/>
                  </a:lnTo>
                  <a:lnTo>
                    <a:pt x="179832" y="50444"/>
                  </a:lnTo>
                  <a:lnTo>
                    <a:pt x="134810" y="71716"/>
                  </a:lnTo>
                  <a:lnTo>
                    <a:pt x="99136" y="105346"/>
                  </a:lnTo>
                  <a:lnTo>
                    <a:pt x="75641" y="148602"/>
                  </a:lnTo>
                  <a:lnTo>
                    <a:pt x="67183" y="198729"/>
                  </a:lnTo>
                  <a:lnTo>
                    <a:pt x="67183" y="337096"/>
                  </a:lnTo>
                  <a:lnTo>
                    <a:pt x="3987" y="389013"/>
                  </a:lnTo>
                  <a:lnTo>
                    <a:pt x="1397" y="391071"/>
                  </a:lnTo>
                  <a:lnTo>
                    <a:pt x="0" y="394220"/>
                  </a:lnTo>
                  <a:lnTo>
                    <a:pt x="0" y="414578"/>
                  </a:lnTo>
                  <a:lnTo>
                    <a:pt x="4978" y="419493"/>
                  </a:lnTo>
                  <a:lnTo>
                    <a:pt x="442683" y="419493"/>
                  </a:lnTo>
                  <a:lnTo>
                    <a:pt x="447675" y="414578"/>
                  </a:lnTo>
                  <a:lnTo>
                    <a:pt x="447675" y="394220"/>
                  </a:lnTo>
                  <a:close/>
                </a:path>
              </a:pathLst>
            </a:custGeom>
            <a:solidFill>
              <a:srgbClr val="FFFFFF"/>
            </a:solidFill>
          </p:spPr>
          <p:txBody>
            <a:bodyPr wrap="square" lIns="0" tIns="0" rIns="0" bIns="0" rtlCol="0"/>
            <a:lstStyle/>
            <a:p>
              <a:endParaRPr/>
            </a:p>
          </p:txBody>
        </p:sp>
        <p:sp>
          <p:nvSpPr>
            <p:cNvPr id="68" name="object 68"/>
            <p:cNvSpPr/>
            <p:nvPr/>
          </p:nvSpPr>
          <p:spPr>
            <a:xfrm>
              <a:off x="7452563" y="7077341"/>
              <a:ext cx="3707129" cy="1044575"/>
            </a:xfrm>
            <a:custGeom>
              <a:avLst/>
              <a:gdLst/>
              <a:ahLst/>
              <a:cxnLst/>
              <a:rect l="l" t="t" r="r" b="b"/>
              <a:pathLst>
                <a:path w="3707129" h="1044575">
                  <a:moveTo>
                    <a:pt x="3706914" y="522262"/>
                  </a:moveTo>
                  <a:lnTo>
                    <a:pt x="3704780" y="474726"/>
                  </a:lnTo>
                  <a:lnTo>
                    <a:pt x="3698494" y="428383"/>
                  </a:lnTo>
                  <a:lnTo>
                    <a:pt x="3688257" y="383425"/>
                  </a:lnTo>
                  <a:lnTo>
                    <a:pt x="3674237" y="340029"/>
                  </a:lnTo>
                  <a:lnTo>
                    <a:pt x="3656622" y="298373"/>
                  </a:lnTo>
                  <a:lnTo>
                    <a:pt x="3635603" y="258660"/>
                  </a:lnTo>
                  <a:lnTo>
                    <a:pt x="3611359" y="221068"/>
                  </a:lnTo>
                  <a:lnTo>
                    <a:pt x="3584079" y="185775"/>
                  </a:lnTo>
                  <a:lnTo>
                    <a:pt x="3553942" y="152971"/>
                  </a:lnTo>
                  <a:lnTo>
                    <a:pt x="3521138" y="122834"/>
                  </a:lnTo>
                  <a:lnTo>
                    <a:pt x="3485845" y="95542"/>
                  </a:lnTo>
                  <a:lnTo>
                    <a:pt x="3448240" y="71297"/>
                  </a:lnTo>
                  <a:lnTo>
                    <a:pt x="3408527" y="50279"/>
                  </a:lnTo>
                  <a:lnTo>
                    <a:pt x="3366884" y="32677"/>
                  </a:lnTo>
                  <a:lnTo>
                    <a:pt x="3323488" y="18656"/>
                  </a:lnTo>
                  <a:lnTo>
                    <a:pt x="3278530" y="8420"/>
                  </a:lnTo>
                  <a:lnTo>
                    <a:pt x="3232188" y="2133"/>
                  </a:lnTo>
                  <a:lnTo>
                    <a:pt x="3184652" y="0"/>
                  </a:lnTo>
                  <a:lnTo>
                    <a:pt x="3137116" y="2133"/>
                  </a:lnTo>
                  <a:lnTo>
                    <a:pt x="3090773" y="8420"/>
                  </a:lnTo>
                  <a:lnTo>
                    <a:pt x="3045815" y="18656"/>
                  </a:lnTo>
                  <a:lnTo>
                    <a:pt x="3002419" y="32677"/>
                  </a:lnTo>
                  <a:lnTo>
                    <a:pt x="2960776" y="50279"/>
                  </a:lnTo>
                  <a:lnTo>
                    <a:pt x="2921063" y="71297"/>
                  </a:lnTo>
                  <a:lnTo>
                    <a:pt x="2883458" y="95542"/>
                  </a:lnTo>
                  <a:lnTo>
                    <a:pt x="2848165" y="122834"/>
                  </a:lnTo>
                  <a:lnTo>
                    <a:pt x="2824746" y="144348"/>
                  </a:lnTo>
                  <a:lnTo>
                    <a:pt x="0" y="144348"/>
                  </a:lnTo>
                  <a:lnTo>
                    <a:pt x="0" y="900823"/>
                  </a:lnTo>
                  <a:lnTo>
                    <a:pt x="2825445" y="900823"/>
                  </a:lnTo>
                  <a:lnTo>
                    <a:pt x="2848165" y="921689"/>
                  </a:lnTo>
                  <a:lnTo>
                    <a:pt x="2883458" y="948969"/>
                  </a:lnTo>
                  <a:lnTo>
                    <a:pt x="2921063" y="973213"/>
                  </a:lnTo>
                  <a:lnTo>
                    <a:pt x="2960776" y="994232"/>
                  </a:lnTo>
                  <a:lnTo>
                    <a:pt x="3002419" y="1011847"/>
                  </a:lnTo>
                  <a:lnTo>
                    <a:pt x="3045815" y="1025867"/>
                  </a:lnTo>
                  <a:lnTo>
                    <a:pt x="3090773" y="1036104"/>
                  </a:lnTo>
                  <a:lnTo>
                    <a:pt x="3137116" y="1042377"/>
                  </a:lnTo>
                  <a:lnTo>
                    <a:pt x="3184664" y="1044511"/>
                  </a:lnTo>
                  <a:lnTo>
                    <a:pt x="3232188" y="1042377"/>
                  </a:lnTo>
                  <a:lnTo>
                    <a:pt x="3278530" y="1036104"/>
                  </a:lnTo>
                  <a:lnTo>
                    <a:pt x="3323488" y="1025867"/>
                  </a:lnTo>
                  <a:lnTo>
                    <a:pt x="3366884" y="1011847"/>
                  </a:lnTo>
                  <a:lnTo>
                    <a:pt x="3408527" y="994232"/>
                  </a:lnTo>
                  <a:lnTo>
                    <a:pt x="3448240" y="973213"/>
                  </a:lnTo>
                  <a:lnTo>
                    <a:pt x="3485845" y="948969"/>
                  </a:lnTo>
                  <a:lnTo>
                    <a:pt x="3521138" y="921689"/>
                  </a:lnTo>
                  <a:lnTo>
                    <a:pt x="3553942" y="891552"/>
                  </a:lnTo>
                  <a:lnTo>
                    <a:pt x="3584079" y="858748"/>
                  </a:lnTo>
                  <a:lnTo>
                    <a:pt x="3611359" y="823442"/>
                  </a:lnTo>
                  <a:lnTo>
                    <a:pt x="3635603" y="785850"/>
                  </a:lnTo>
                  <a:lnTo>
                    <a:pt x="3656622" y="746137"/>
                  </a:lnTo>
                  <a:lnTo>
                    <a:pt x="3674237" y="704494"/>
                  </a:lnTo>
                  <a:lnTo>
                    <a:pt x="3688257" y="661098"/>
                  </a:lnTo>
                  <a:lnTo>
                    <a:pt x="3698494" y="616140"/>
                  </a:lnTo>
                  <a:lnTo>
                    <a:pt x="3704780" y="569798"/>
                  </a:lnTo>
                  <a:lnTo>
                    <a:pt x="3706914" y="522262"/>
                  </a:lnTo>
                  <a:close/>
                </a:path>
              </a:pathLst>
            </a:custGeom>
            <a:solidFill>
              <a:srgbClr val="21408B"/>
            </a:solidFill>
          </p:spPr>
          <p:txBody>
            <a:bodyPr wrap="square" lIns="0" tIns="0" rIns="0" bIns="0" rtlCol="0"/>
            <a:lstStyle/>
            <a:p>
              <a:endParaRPr/>
            </a:p>
          </p:txBody>
        </p:sp>
        <p:sp>
          <p:nvSpPr>
            <p:cNvPr id="69" name="object 69"/>
            <p:cNvSpPr/>
            <p:nvPr/>
          </p:nvSpPr>
          <p:spPr>
            <a:xfrm>
              <a:off x="10386563" y="7273247"/>
              <a:ext cx="565150" cy="565150"/>
            </a:xfrm>
            <a:custGeom>
              <a:avLst/>
              <a:gdLst/>
              <a:ahLst/>
              <a:cxnLst/>
              <a:rect l="l" t="t" r="r" b="b"/>
              <a:pathLst>
                <a:path w="565150" h="565150">
                  <a:moveTo>
                    <a:pt x="167329" y="401088"/>
                  </a:moveTo>
                  <a:lnTo>
                    <a:pt x="112021" y="283521"/>
                  </a:lnTo>
                  <a:lnTo>
                    <a:pt x="152445" y="256180"/>
                  </a:lnTo>
                  <a:lnTo>
                    <a:pt x="172096" y="242434"/>
                  </a:lnTo>
                  <a:lnTo>
                    <a:pt x="215969" y="204960"/>
                  </a:lnTo>
                  <a:lnTo>
                    <a:pt x="253535" y="150184"/>
                  </a:lnTo>
                  <a:lnTo>
                    <a:pt x="265681" y="109014"/>
                  </a:lnTo>
                  <a:lnTo>
                    <a:pt x="267000" y="91756"/>
                  </a:lnTo>
                  <a:lnTo>
                    <a:pt x="266948" y="76735"/>
                  </a:lnTo>
                  <a:lnTo>
                    <a:pt x="264810" y="69982"/>
                  </a:lnTo>
                  <a:lnTo>
                    <a:pt x="281319" y="64692"/>
                  </a:lnTo>
                  <a:lnTo>
                    <a:pt x="283350" y="72301"/>
                  </a:lnTo>
                  <a:lnTo>
                    <a:pt x="422853" y="368705"/>
                  </a:lnTo>
                  <a:lnTo>
                    <a:pt x="307896" y="368705"/>
                  </a:lnTo>
                  <a:lnTo>
                    <a:pt x="235257" y="377796"/>
                  </a:lnTo>
                  <a:lnTo>
                    <a:pt x="191776" y="391382"/>
                  </a:lnTo>
                  <a:lnTo>
                    <a:pt x="183859" y="394481"/>
                  </a:lnTo>
                  <a:lnTo>
                    <a:pt x="167329" y="401088"/>
                  </a:lnTo>
                  <a:close/>
                </a:path>
                <a:path w="565150" h="565150">
                  <a:moveTo>
                    <a:pt x="392056" y="256591"/>
                  </a:moveTo>
                  <a:lnTo>
                    <a:pt x="367552" y="204626"/>
                  </a:lnTo>
                  <a:lnTo>
                    <a:pt x="380883" y="202434"/>
                  </a:lnTo>
                  <a:lnTo>
                    <a:pt x="391603" y="203854"/>
                  </a:lnTo>
                  <a:lnTo>
                    <a:pt x="399939" y="208836"/>
                  </a:lnTo>
                  <a:lnTo>
                    <a:pt x="406116" y="217329"/>
                  </a:lnTo>
                  <a:lnTo>
                    <a:pt x="409446" y="227769"/>
                  </a:lnTo>
                  <a:lnTo>
                    <a:pt x="408355" y="237639"/>
                  </a:lnTo>
                  <a:lnTo>
                    <a:pt x="402630" y="247170"/>
                  </a:lnTo>
                  <a:lnTo>
                    <a:pt x="392056" y="256591"/>
                  </a:lnTo>
                  <a:close/>
                </a:path>
                <a:path w="565150" h="565150">
                  <a:moveTo>
                    <a:pt x="65706" y="441884"/>
                  </a:moveTo>
                  <a:lnTo>
                    <a:pt x="28983" y="430658"/>
                  </a:lnTo>
                  <a:lnTo>
                    <a:pt x="5733" y="400444"/>
                  </a:lnTo>
                  <a:lnTo>
                    <a:pt x="2625" y="393295"/>
                  </a:lnTo>
                  <a:lnTo>
                    <a:pt x="857" y="385828"/>
                  </a:lnTo>
                  <a:lnTo>
                    <a:pt x="0" y="370260"/>
                  </a:lnTo>
                  <a:lnTo>
                    <a:pt x="937" y="362645"/>
                  </a:lnTo>
                  <a:lnTo>
                    <a:pt x="18567" y="328570"/>
                  </a:lnTo>
                  <a:lnTo>
                    <a:pt x="60220" y="303950"/>
                  </a:lnTo>
                  <a:lnTo>
                    <a:pt x="91147" y="289403"/>
                  </a:lnTo>
                  <a:lnTo>
                    <a:pt x="148638" y="411465"/>
                  </a:lnTo>
                  <a:lnTo>
                    <a:pt x="98075" y="433218"/>
                  </a:lnTo>
                  <a:lnTo>
                    <a:pt x="73369" y="441371"/>
                  </a:lnTo>
                  <a:lnTo>
                    <a:pt x="65706" y="441884"/>
                  </a:lnTo>
                  <a:close/>
                </a:path>
                <a:path w="565150" h="565150">
                  <a:moveTo>
                    <a:pt x="425050" y="411904"/>
                  </a:moveTo>
                  <a:lnTo>
                    <a:pt x="386664" y="384339"/>
                  </a:lnTo>
                  <a:lnTo>
                    <a:pt x="345086" y="371952"/>
                  </a:lnTo>
                  <a:lnTo>
                    <a:pt x="307896" y="368705"/>
                  </a:lnTo>
                  <a:lnTo>
                    <a:pt x="422853" y="368705"/>
                  </a:lnTo>
                  <a:lnTo>
                    <a:pt x="434722" y="393895"/>
                  </a:lnTo>
                  <a:lnTo>
                    <a:pt x="436033" y="396624"/>
                  </a:lnTo>
                  <a:lnTo>
                    <a:pt x="439762" y="406053"/>
                  </a:lnTo>
                  <a:lnTo>
                    <a:pt x="439118" y="408130"/>
                  </a:lnTo>
                  <a:lnTo>
                    <a:pt x="438853" y="408819"/>
                  </a:lnTo>
                  <a:lnTo>
                    <a:pt x="438155" y="410476"/>
                  </a:lnTo>
                  <a:lnTo>
                    <a:pt x="437213" y="411495"/>
                  </a:lnTo>
                  <a:lnTo>
                    <a:pt x="430947" y="411495"/>
                  </a:lnTo>
                  <a:lnTo>
                    <a:pt x="425050" y="411904"/>
                  </a:lnTo>
                  <a:close/>
                </a:path>
                <a:path w="565150" h="565150">
                  <a:moveTo>
                    <a:pt x="191175" y="450697"/>
                  </a:moveTo>
                  <a:lnTo>
                    <a:pt x="188234" y="445141"/>
                  </a:lnTo>
                  <a:lnTo>
                    <a:pt x="180291" y="430436"/>
                  </a:lnTo>
                  <a:lnTo>
                    <a:pt x="176705" y="423615"/>
                  </a:lnTo>
                  <a:lnTo>
                    <a:pt x="217825" y="405371"/>
                  </a:lnTo>
                  <a:lnTo>
                    <a:pt x="224437" y="420664"/>
                  </a:lnTo>
                  <a:lnTo>
                    <a:pt x="224015" y="432269"/>
                  </a:lnTo>
                  <a:lnTo>
                    <a:pt x="213836" y="441756"/>
                  </a:lnTo>
                  <a:lnTo>
                    <a:pt x="191175" y="450697"/>
                  </a:lnTo>
                  <a:close/>
                </a:path>
                <a:path w="565150" h="565150">
                  <a:moveTo>
                    <a:pt x="435411" y="412541"/>
                  </a:moveTo>
                  <a:lnTo>
                    <a:pt x="430947" y="411495"/>
                  </a:lnTo>
                  <a:lnTo>
                    <a:pt x="437213" y="411495"/>
                  </a:lnTo>
                  <a:lnTo>
                    <a:pt x="437008" y="411716"/>
                  </a:lnTo>
                  <a:lnTo>
                    <a:pt x="435411" y="412541"/>
                  </a:lnTo>
                  <a:close/>
                </a:path>
                <a:path w="565150" h="565150">
                  <a:moveTo>
                    <a:pt x="195836" y="564754"/>
                  </a:moveTo>
                  <a:lnTo>
                    <a:pt x="189765" y="560722"/>
                  </a:lnTo>
                  <a:lnTo>
                    <a:pt x="168273" y="527163"/>
                  </a:lnTo>
                  <a:lnTo>
                    <a:pt x="117805" y="448931"/>
                  </a:lnTo>
                  <a:lnTo>
                    <a:pt x="156900" y="430436"/>
                  </a:lnTo>
                  <a:lnTo>
                    <a:pt x="157012" y="430671"/>
                  </a:lnTo>
                  <a:lnTo>
                    <a:pt x="158461" y="433218"/>
                  </a:lnTo>
                  <a:lnTo>
                    <a:pt x="159992" y="435537"/>
                  </a:lnTo>
                  <a:lnTo>
                    <a:pt x="208722" y="539090"/>
                  </a:lnTo>
                  <a:lnTo>
                    <a:pt x="211257" y="546432"/>
                  </a:lnTo>
                  <a:lnTo>
                    <a:pt x="211454" y="552605"/>
                  </a:lnTo>
                  <a:lnTo>
                    <a:pt x="209286" y="557449"/>
                  </a:lnTo>
                  <a:lnTo>
                    <a:pt x="204727" y="560805"/>
                  </a:lnTo>
                  <a:lnTo>
                    <a:pt x="195836" y="564754"/>
                  </a:lnTo>
                  <a:close/>
                </a:path>
                <a:path w="565150" h="565150">
                  <a:moveTo>
                    <a:pt x="373295" y="58021"/>
                  </a:moveTo>
                  <a:lnTo>
                    <a:pt x="366875" y="55665"/>
                  </a:lnTo>
                  <a:lnTo>
                    <a:pt x="364532" y="53534"/>
                  </a:lnTo>
                  <a:lnTo>
                    <a:pt x="360924" y="45981"/>
                  </a:lnTo>
                  <a:lnTo>
                    <a:pt x="361303" y="41736"/>
                  </a:lnTo>
                  <a:lnTo>
                    <a:pt x="364194" y="37716"/>
                  </a:lnTo>
                  <a:lnTo>
                    <a:pt x="369518" y="29762"/>
                  </a:lnTo>
                  <a:lnTo>
                    <a:pt x="374881" y="21856"/>
                  </a:lnTo>
                  <a:lnTo>
                    <a:pt x="380281" y="13997"/>
                  </a:lnTo>
                  <a:lnTo>
                    <a:pt x="385720" y="6185"/>
                  </a:lnTo>
                  <a:lnTo>
                    <a:pt x="388445" y="2046"/>
                  </a:lnTo>
                  <a:lnTo>
                    <a:pt x="392285" y="0"/>
                  </a:lnTo>
                  <a:lnTo>
                    <a:pt x="397241" y="45"/>
                  </a:lnTo>
                  <a:lnTo>
                    <a:pt x="402363" y="257"/>
                  </a:lnTo>
                  <a:lnTo>
                    <a:pt x="406203" y="2584"/>
                  </a:lnTo>
                  <a:lnTo>
                    <a:pt x="408762" y="7026"/>
                  </a:lnTo>
                  <a:lnTo>
                    <a:pt x="409595" y="8231"/>
                  </a:lnTo>
                  <a:lnTo>
                    <a:pt x="409292" y="9747"/>
                  </a:lnTo>
                  <a:lnTo>
                    <a:pt x="408989" y="11415"/>
                  </a:lnTo>
                  <a:lnTo>
                    <a:pt x="408913" y="12248"/>
                  </a:lnTo>
                  <a:lnTo>
                    <a:pt x="408774" y="14863"/>
                  </a:lnTo>
                  <a:lnTo>
                    <a:pt x="408066" y="17314"/>
                  </a:lnTo>
                  <a:lnTo>
                    <a:pt x="384734" y="52041"/>
                  </a:lnTo>
                  <a:lnTo>
                    <a:pt x="376460" y="57911"/>
                  </a:lnTo>
                  <a:lnTo>
                    <a:pt x="373295" y="58021"/>
                  </a:lnTo>
                  <a:close/>
                </a:path>
                <a:path w="565150" h="565150">
                  <a:moveTo>
                    <a:pt x="469143" y="191089"/>
                  </a:moveTo>
                  <a:lnTo>
                    <a:pt x="461323" y="173782"/>
                  </a:lnTo>
                  <a:lnTo>
                    <a:pt x="463420" y="170069"/>
                  </a:lnTo>
                  <a:lnTo>
                    <a:pt x="467655" y="167562"/>
                  </a:lnTo>
                  <a:lnTo>
                    <a:pt x="475798" y="162519"/>
                  </a:lnTo>
                  <a:lnTo>
                    <a:pt x="492170" y="152575"/>
                  </a:lnTo>
                  <a:lnTo>
                    <a:pt x="500399" y="147703"/>
                  </a:lnTo>
                  <a:lnTo>
                    <a:pt x="504540" y="145044"/>
                  </a:lnTo>
                  <a:lnTo>
                    <a:pt x="521015" y="157935"/>
                  </a:lnTo>
                  <a:lnTo>
                    <a:pt x="521243" y="159451"/>
                  </a:lnTo>
                  <a:lnTo>
                    <a:pt x="520257" y="160664"/>
                  </a:lnTo>
                  <a:lnTo>
                    <a:pt x="519878" y="161346"/>
                  </a:lnTo>
                  <a:lnTo>
                    <a:pt x="519424" y="162028"/>
                  </a:lnTo>
                  <a:lnTo>
                    <a:pt x="518969" y="162786"/>
                  </a:lnTo>
                  <a:lnTo>
                    <a:pt x="517773" y="165109"/>
                  </a:lnTo>
                  <a:lnTo>
                    <a:pt x="516131" y="167054"/>
                  </a:lnTo>
                  <a:lnTo>
                    <a:pt x="480456" y="189017"/>
                  </a:lnTo>
                  <a:lnTo>
                    <a:pt x="478508" y="190292"/>
                  </a:lnTo>
                  <a:lnTo>
                    <a:pt x="476360" y="190949"/>
                  </a:lnTo>
                  <a:lnTo>
                    <a:pt x="469143" y="191089"/>
                  </a:lnTo>
                  <a:close/>
                </a:path>
                <a:path w="565150" h="565150">
                  <a:moveTo>
                    <a:pt x="550507" y="375637"/>
                  </a:moveTo>
                  <a:lnTo>
                    <a:pt x="547923" y="375242"/>
                  </a:lnTo>
                  <a:lnTo>
                    <a:pt x="538219" y="372816"/>
                  </a:lnTo>
                  <a:lnTo>
                    <a:pt x="528680" y="370315"/>
                  </a:lnTo>
                  <a:lnTo>
                    <a:pt x="509949" y="365161"/>
                  </a:lnTo>
                  <a:lnTo>
                    <a:pt x="507705" y="364609"/>
                  </a:lnTo>
                  <a:lnTo>
                    <a:pt x="505760" y="363523"/>
                  </a:lnTo>
                  <a:lnTo>
                    <a:pt x="500645" y="358453"/>
                  </a:lnTo>
                  <a:lnTo>
                    <a:pt x="499609" y="354386"/>
                  </a:lnTo>
                  <a:lnTo>
                    <a:pt x="501005" y="349699"/>
                  </a:lnTo>
                  <a:lnTo>
                    <a:pt x="511871" y="339759"/>
                  </a:lnTo>
                  <a:lnTo>
                    <a:pt x="516619" y="341058"/>
                  </a:lnTo>
                  <a:lnTo>
                    <a:pt x="544417" y="348349"/>
                  </a:lnTo>
                  <a:lnTo>
                    <a:pt x="553607" y="350911"/>
                  </a:lnTo>
                  <a:lnTo>
                    <a:pt x="558370" y="352087"/>
                  </a:lnTo>
                  <a:lnTo>
                    <a:pt x="561554" y="354992"/>
                  </a:lnTo>
                  <a:lnTo>
                    <a:pt x="563158" y="359628"/>
                  </a:lnTo>
                  <a:lnTo>
                    <a:pt x="564702" y="364513"/>
                  </a:lnTo>
                  <a:lnTo>
                    <a:pt x="563818" y="368909"/>
                  </a:lnTo>
                  <a:lnTo>
                    <a:pt x="560491" y="372835"/>
                  </a:lnTo>
                  <a:lnTo>
                    <a:pt x="559595" y="374105"/>
                  </a:lnTo>
                  <a:lnTo>
                    <a:pt x="558004" y="374257"/>
                  </a:lnTo>
                  <a:lnTo>
                    <a:pt x="556412" y="374560"/>
                  </a:lnTo>
                  <a:lnTo>
                    <a:pt x="553059" y="375485"/>
                  </a:lnTo>
                  <a:lnTo>
                    <a:pt x="550507" y="375637"/>
                  </a:lnTo>
                  <a:close/>
                </a:path>
              </a:pathLst>
            </a:custGeom>
            <a:solidFill>
              <a:srgbClr val="FFFFFF"/>
            </a:solidFill>
          </p:spPr>
          <p:txBody>
            <a:bodyPr wrap="square" lIns="0" tIns="0" rIns="0" bIns="0" rtlCol="0"/>
            <a:lstStyle/>
            <a:p>
              <a:endParaRPr/>
            </a:p>
          </p:txBody>
        </p:sp>
      </p:grpSp>
      <p:grpSp>
        <p:nvGrpSpPr>
          <p:cNvPr id="70" name="object 70"/>
          <p:cNvGrpSpPr/>
          <p:nvPr/>
        </p:nvGrpSpPr>
        <p:grpSpPr>
          <a:xfrm>
            <a:off x="14873045" y="8368993"/>
            <a:ext cx="762000" cy="681355"/>
            <a:chOff x="14873045" y="8368993"/>
            <a:chExt cx="762000" cy="681355"/>
          </a:xfrm>
        </p:grpSpPr>
        <p:sp>
          <p:nvSpPr>
            <p:cNvPr id="71" name="object 71"/>
            <p:cNvSpPr/>
            <p:nvPr/>
          </p:nvSpPr>
          <p:spPr>
            <a:xfrm>
              <a:off x="14873045" y="8368993"/>
              <a:ext cx="762000" cy="681355"/>
            </a:xfrm>
            <a:custGeom>
              <a:avLst/>
              <a:gdLst/>
              <a:ahLst/>
              <a:cxnLst/>
              <a:rect l="l" t="t" r="r" b="b"/>
              <a:pathLst>
                <a:path w="762000" h="681354">
                  <a:moveTo>
                    <a:pt x="128188" y="681177"/>
                  </a:moveTo>
                  <a:lnTo>
                    <a:pt x="121441" y="679156"/>
                  </a:lnTo>
                  <a:lnTo>
                    <a:pt x="154857" y="638116"/>
                  </a:lnTo>
                  <a:lnTo>
                    <a:pt x="179662" y="596466"/>
                  </a:lnTo>
                  <a:lnTo>
                    <a:pt x="195101" y="564170"/>
                  </a:lnTo>
                  <a:lnTo>
                    <a:pt x="200416" y="551190"/>
                  </a:lnTo>
                  <a:lnTo>
                    <a:pt x="72717" y="551190"/>
                  </a:lnTo>
                  <a:lnTo>
                    <a:pt x="44415" y="545483"/>
                  </a:lnTo>
                  <a:lnTo>
                    <a:pt x="21300" y="529919"/>
                  </a:lnTo>
                  <a:lnTo>
                    <a:pt x="5715" y="506835"/>
                  </a:lnTo>
                  <a:lnTo>
                    <a:pt x="0" y="478568"/>
                  </a:lnTo>
                  <a:lnTo>
                    <a:pt x="0" y="72622"/>
                  </a:lnTo>
                  <a:lnTo>
                    <a:pt x="5715" y="44355"/>
                  </a:lnTo>
                  <a:lnTo>
                    <a:pt x="21300" y="21271"/>
                  </a:lnTo>
                  <a:lnTo>
                    <a:pt x="44415" y="5707"/>
                  </a:lnTo>
                  <a:lnTo>
                    <a:pt x="72717" y="0"/>
                  </a:lnTo>
                  <a:lnTo>
                    <a:pt x="688684" y="0"/>
                  </a:lnTo>
                  <a:lnTo>
                    <a:pt x="717004" y="5707"/>
                  </a:lnTo>
                  <a:lnTo>
                    <a:pt x="740119" y="21271"/>
                  </a:lnTo>
                  <a:lnTo>
                    <a:pt x="755699" y="44355"/>
                  </a:lnTo>
                  <a:lnTo>
                    <a:pt x="761410" y="72622"/>
                  </a:lnTo>
                  <a:lnTo>
                    <a:pt x="761410" y="478568"/>
                  </a:lnTo>
                  <a:lnTo>
                    <a:pt x="755699" y="506835"/>
                  </a:lnTo>
                  <a:lnTo>
                    <a:pt x="740119" y="529919"/>
                  </a:lnTo>
                  <a:lnTo>
                    <a:pt x="717004" y="545483"/>
                  </a:lnTo>
                  <a:lnTo>
                    <a:pt x="688684" y="551190"/>
                  </a:lnTo>
                  <a:lnTo>
                    <a:pt x="427217" y="551190"/>
                  </a:lnTo>
                  <a:lnTo>
                    <a:pt x="401210" y="577496"/>
                  </a:lnTo>
                  <a:lnTo>
                    <a:pt x="359230" y="603058"/>
                  </a:lnTo>
                  <a:lnTo>
                    <a:pt x="307519" y="626776"/>
                  </a:lnTo>
                  <a:lnTo>
                    <a:pt x="252318" y="647547"/>
                  </a:lnTo>
                  <a:lnTo>
                    <a:pt x="199868" y="664272"/>
                  </a:lnTo>
                  <a:lnTo>
                    <a:pt x="156411" y="675849"/>
                  </a:lnTo>
                  <a:lnTo>
                    <a:pt x="128188" y="681177"/>
                  </a:lnTo>
                  <a:close/>
                </a:path>
              </a:pathLst>
            </a:custGeom>
            <a:solidFill>
              <a:srgbClr val="21408B"/>
            </a:solidFill>
          </p:spPr>
          <p:txBody>
            <a:bodyPr wrap="square" lIns="0" tIns="0" rIns="0" bIns="0" rtlCol="0"/>
            <a:lstStyle/>
            <a:p>
              <a:endParaRPr/>
            </a:p>
          </p:txBody>
        </p:sp>
        <p:pic>
          <p:nvPicPr>
            <p:cNvPr id="72" name="object 72"/>
            <p:cNvPicPr/>
            <p:nvPr/>
          </p:nvPicPr>
          <p:blipFill>
            <a:blip r:embed="rId16" cstate="print"/>
            <a:stretch>
              <a:fillRect/>
            </a:stretch>
          </p:blipFill>
          <p:spPr>
            <a:xfrm>
              <a:off x="15018699" y="8596338"/>
              <a:ext cx="99371" cy="99229"/>
            </a:xfrm>
            <a:prstGeom prst="rect">
              <a:avLst/>
            </a:prstGeom>
          </p:spPr>
        </p:pic>
        <p:pic>
          <p:nvPicPr>
            <p:cNvPr id="73" name="object 73"/>
            <p:cNvPicPr/>
            <p:nvPr/>
          </p:nvPicPr>
          <p:blipFill>
            <a:blip r:embed="rId17" cstate="print"/>
            <a:stretch>
              <a:fillRect/>
            </a:stretch>
          </p:blipFill>
          <p:spPr>
            <a:xfrm>
              <a:off x="15204075" y="8596338"/>
              <a:ext cx="99371" cy="99229"/>
            </a:xfrm>
            <a:prstGeom prst="rect">
              <a:avLst/>
            </a:prstGeom>
          </p:spPr>
        </p:pic>
        <p:pic>
          <p:nvPicPr>
            <p:cNvPr id="74" name="object 74"/>
            <p:cNvPicPr/>
            <p:nvPr/>
          </p:nvPicPr>
          <p:blipFill>
            <a:blip r:embed="rId18" cstate="print"/>
            <a:stretch>
              <a:fillRect/>
            </a:stretch>
          </p:blipFill>
          <p:spPr>
            <a:xfrm>
              <a:off x="15389451" y="8596338"/>
              <a:ext cx="99371" cy="99229"/>
            </a:xfrm>
            <a:prstGeom prst="rect">
              <a:avLst/>
            </a:prstGeom>
          </p:spPr>
        </p:pic>
      </p:grpSp>
      <p:sp>
        <p:nvSpPr>
          <p:cNvPr id="75" name="object 75"/>
          <p:cNvSpPr/>
          <p:nvPr/>
        </p:nvSpPr>
        <p:spPr>
          <a:xfrm>
            <a:off x="15276935" y="4660265"/>
            <a:ext cx="607695" cy="598805"/>
          </a:xfrm>
          <a:custGeom>
            <a:avLst/>
            <a:gdLst/>
            <a:ahLst/>
            <a:cxnLst/>
            <a:rect l="l" t="t" r="r" b="b"/>
            <a:pathLst>
              <a:path w="607694" h="598804">
                <a:moveTo>
                  <a:pt x="484154" y="494145"/>
                </a:moveTo>
                <a:lnTo>
                  <a:pt x="439749" y="487873"/>
                </a:lnTo>
                <a:lnTo>
                  <a:pt x="392850" y="464143"/>
                </a:lnTo>
                <a:lnTo>
                  <a:pt x="360639" y="436512"/>
                </a:lnTo>
                <a:lnTo>
                  <a:pt x="65847" y="144767"/>
                </a:lnTo>
                <a:lnTo>
                  <a:pt x="34879" y="110970"/>
                </a:lnTo>
                <a:lnTo>
                  <a:pt x="12816" y="76437"/>
                </a:lnTo>
                <a:lnTo>
                  <a:pt x="0" y="24319"/>
                </a:lnTo>
                <a:lnTo>
                  <a:pt x="226" y="3803"/>
                </a:lnTo>
                <a:lnTo>
                  <a:pt x="348" y="1885"/>
                </a:lnTo>
                <a:lnTo>
                  <a:pt x="1904" y="359"/>
                </a:lnTo>
                <a:lnTo>
                  <a:pt x="3842" y="223"/>
                </a:lnTo>
                <a:lnTo>
                  <a:pt x="24580" y="0"/>
                </a:lnTo>
                <a:lnTo>
                  <a:pt x="43536" y="2092"/>
                </a:lnTo>
                <a:lnTo>
                  <a:pt x="94965" y="22389"/>
                </a:lnTo>
                <a:lnTo>
                  <a:pt x="129095" y="48855"/>
                </a:lnTo>
                <a:lnTo>
                  <a:pt x="441048" y="356930"/>
                </a:lnTo>
                <a:lnTo>
                  <a:pt x="468979" y="388811"/>
                </a:lnTo>
                <a:lnTo>
                  <a:pt x="488325" y="422481"/>
                </a:lnTo>
                <a:lnTo>
                  <a:pt x="499041" y="470738"/>
                </a:lnTo>
                <a:lnTo>
                  <a:pt x="498916" y="490191"/>
                </a:lnTo>
                <a:lnTo>
                  <a:pt x="498794" y="492109"/>
                </a:lnTo>
                <a:lnTo>
                  <a:pt x="497222" y="493665"/>
                </a:lnTo>
                <a:lnTo>
                  <a:pt x="495284" y="493786"/>
                </a:lnTo>
                <a:lnTo>
                  <a:pt x="484154" y="494145"/>
                </a:lnTo>
                <a:close/>
              </a:path>
              <a:path w="607694" h="598804">
                <a:moveTo>
                  <a:pt x="440590" y="93897"/>
                </a:moveTo>
                <a:lnTo>
                  <a:pt x="439461" y="93474"/>
                </a:lnTo>
                <a:lnTo>
                  <a:pt x="436561" y="90589"/>
                </a:lnTo>
                <a:lnTo>
                  <a:pt x="433631" y="87659"/>
                </a:lnTo>
                <a:lnTo>
                  <a:pt x="432151" y="83793"/>
                </a:lnTo>
                <a:lnTo>
                  <a:pt x="432168" y="75999"/>
                </a:lnTo>
                <a:lnTo>
                  <a:pt x="433616" y="72178"/>
                </a:lnTo>
                <a:lnTo>
                  <a:pt x="439537" y="66318"/>
                </a:lnTo>
                <a:lnTo>
                  <a:pt x="443459" y="64852"/>
                </a:lnTo>
                <a:lnTo>
                  <a:pt x="451272" y="64852"/>
                </a:lnTo>
                <a:lnTo>
                  <a:pt x="455194" y="66333"/>
                </a:lnTo>
                <a:lnTo>
                  <a:pt x="476041" y="86980"/>
                </a:lnTo>
                <a:lnTo>
                  <a:pt x="474591" y="90952"/>
                </a:lnTo>
                <a:lnTo>
                  <a:pt x="440590" y="93897"/>
                </a:lnTo>
                <a:close/>
              </a:path>
              <a:path w="607694" h="598804">
                <a:moveTo>
                  <a:pt x="311881" y="105029"/>
                </a:moveTo>
                <a:lnTo>
                  <a:pt x="310736" y="104621"/>
                </a:lnTo>
                <a:lnTo>
                  <a:pt x="304922" y="98851"/>
                </a:lnTo>
                <a:lnTo>
                  <a:pt x="303441" y="94970"/>
                </a:lnTo>
                <a:lnTo>
                  <a:pt x="303441" y="87357"/>
                </a:lnTo>
                <a:lnTo>
                  <a:pt x="304769" y="83672"/>
                </a:lnTo>
                <a:lnTo>
                  <a:pt x="307424" y="80802"/>
                </a:lnTo>
                <a:lnTo>
                  <a:pt x="310797" y="77464"/>
                </a:lnTo>
                <a:lnTo>
                  <a:pt x="314719" y="75999"/>
                </a:lnTo>
                <a:lnTo>
                  <a:pt x="322563" y="75999"/>
                </a:lnTo>
                <a:lnTo>
                  <a:pt x="326485" y="77479"/>
                </a:lnTo>
                <a:lnTo>
                  <a:pt x="347331" y="98126"/>
                </a:lnTo>
                <a:lnTo>
                  <a:pt x="345882" y="102099"/>
                </a:lnTo>
                <a:lnTo>
                  <a:pt x="311881" y="105029"/>
                </a:lnTo>
                <a:close/>
              </a:path>
              <a:path w="607694" h="598804">
                <a:moveTo>
                  <a:pt x="382828" y="262758"/>
                </a:moveTo>
                <a:lnTo>
                  <a:pt x="375930" y="261837"/>
                </a:lnTo>
                <a:lnTo>
                  <a:pt x="358884" y="246280"/>
                </a:lnTo>
                <a:lnTo>
                  <a:pt x="249281" y="136233"/>
                </a:lnTo>
                <a:lnTo>
                  <a:pt x="250731" y="132261"/>
                </a:lnTo>
                <a:lnTo>
                  <a:pt x="552589" y="106131"/>
                </a:lnTo>
                <a:lnTo>
                  <a:pt x="553718" y="106524"/>
                </a:lnTo>
                <a:lnTo>
                  <a:pt x="598233" y="149857"/>
                </a:lnTo>
                <a:lnTo>
                  <a:pt x="597760" y="152998"/>
                </a:lnTo>
                <a:lnTo>
                  <a:pt x="382828" y="262758"/>
                </a:lnTo>
                <a:close/>
              </a:path>
              <a:path w="607694" h="598804">
                <a:moveTo>
                  <a:pt x="150346" y="593109"/>
                </a:moveTo>
                <a:lnTo>
                  <a:pt x="106578" y="549036"/>
                </a:lnTo>
                <a:lnTo>
                  <a:pt x="106166" y="547933"/>
                </a:lnTo>
                <a:lnTo>
                  <a:pt x="132750" y="247292"/>
                </a:lnTo>
                <a:lnTo>
                  <a:pt x="136763" y="245842"/>
                </a:lnTo>
                <a:lnTo>
                  <a:pt x="233166" y="341917"/>
                </a:lnTo>
                <a:lnTo>
                  <a:pt x="263947" y="371792"/>
                </a:lnTo>
                <a:lnTo>
                  <a:pt x="265076" y="378665"/>
                </a:lnTo>
                <a:lnTo>
                  <a:pt x="153520" y="592641"/>
                </a:lnTo>
                <a:lnTo>
                  <a:pt x="150346" y="593109"/>
                </a:lnTo>
                <a:close/>
              </a:path>
              <a:path w="607694" h="598804">
                <a:moveTo>
                  <a:pt x="98077" y="344817"/>
                </a:moveTo>
                <a:lnTo>
                  <a:pt x="79719" y="326662"/>
                </a:lnTo>
                <a:lnTo>
                  <a:pt x="77079" y="323792"/>
                </a:lnTo>
                <a:lnTo>
                  <a:pt x="75736" y="320107"/>
                </a:lnTo>
                <a:lnTo>
                  <a:pt x="75736" y="312510"/>
                </a:lnTo>
                <a:lnTo>
                  <a:pt x="77201" y="308628"/>
                </a:lnTo>
                <a:lnTo>
                  <a:pt x="83122" y="302813"/>
                </a:lnTo>
                <a:lnTo>
                  <a:pt x="87029" y="301348"/>
                </a:lnTo>
                <a:lnTo>
                  <a:pt x="94873" y="301348"/>
                </a:lnTo>
                <a:lnTo>
                  <a:pt x="98795" y="302813"/>
                </a:lnTo>
                <a:lnTo>
                  <a:pt x="104624" y="308583"/>
                </a:lnTo>
                <a:lnTo>
                  <a:pt x="105052" y="309716"/>
                </a:lnTo>
                <a:lnTo>
                  <a:pt x="102076" y="343352"/>
                </a:lnTo>
                <a:lnTo>
                  <a:pt x="98077" y="344817"/>
                </a:lnTo>
                <a:close/>
              </a:path>
              <a:path w="607694" h="598804">
                <a:moveTo>
                  <a:pt x="516375" y="431347"/>
                </a:moveTo>
                <a:lnTo>
                  <a:pt x="514437" y="430169"/>
                </a:lnTo>
                <a:lnTo>
                  <a:pt x="512331" y="423463"/>
                </a:lnTo>
                <a:lnTo>
                  <a:pt x="510606" y="418750"/>
                </a:lnTo>
                <a:lnTo>
                  <a:pt x="493499" y="385612"/>
                </a:lnTo>
                <a:lnTo>
                  <a:pt x="495422" y="382229"/>
                </a:lnTo>
                <a:lnTo>
                  <a:pt x="581065" y="384344"/>
                </a:lnTo>
                <a:lnTo>
                  <a:pt x="582026" y="384752"/>
                </a:lnTo>
                <a:lnTo>
                  <a:pt x="607283" y="409733"/>
                </a:lnTo>
                <a:lnTo>
                  <a:pt x="606138" y="413464"/>
                </a:lnTo>
                <a:lnTo>
                  <a:pt x="516375" y="431347"/>
                </a:lnTo>
                <a:close/>
              </a:path>
              <a:path w="607694" h="598804">
                <a:moveTo>
                  <a:pt x="86830" y="472188"/>
                </a:moveTo>
                <a:lnTo>
                  <a:pt x="65969" y="451526"/>
                </a:lnTo>
                <a:lnTo>
                  <a:pt x="64489" y="447659"/>
                </a:lnTo>
                <a:lnTo>
                  <a:pt x="64489" y="439911"/>
                </a:lnTo>
                <a:lnTo>
                  <a:pt x="65954" y="436044"/>
                </a:lnTo>
                <a:lnTo>
                  <a:pt x="71860" y="430199"/>
                </a:lnTo>
                <a:lnTo>
                  <a:pt x="75797" y="428719"/>
                </a:lnTo>
                <a:lnTo>
                  <a:pt x="83610" y="428719"/>
                </a:lnTo>
                <a:lnTo>
                  <a:pt x="87532" y="430199"/>
                </a:lnTo>
                <a:lnTo>
                  <a:pt x="93408" y="435999"/>
                </a:lnTo>
                <a:lnTo>
                  <a:pt x="93820" y="437132"/>
                </a:lnTo>
                <a:lnTo>
                  <a:pt x="90844" y="470738"/>
                </a:lnTo>
                <a:lnTo>
                  <a:pt x="86830" y="472188"/>
                </a:lnTo>
                <a:close/>
              </a:path>
              <a:path w="607694" h="598804">
                <a:moveTo>
                  <a:pt x="416676" y="598365"/>
                </a:moveTo>
                <a:lnTo>
                  <a:pt x="391420" y="573368"/>
                </a:lnTo>
                <a:lnTo>
                  <a:pt x="391023" y="572432"/>
                </a:lnTo>
                <a:lnTo>
                  <a:pt x="388993" y="492049"/>
                </a:lnTo>
                <a:lnTo>
                  <a:pt x="392351" y="490131"/>
                </a:lnTo>
                <a:lnTo>
                  <a:pt x="395706" y="492109"/>
                </a:lnTo>
                <a:lnTo>
                  <a:pt x="400709" y="494960"/>
                </a:lnTo>
                <a:lnTo>
                  <a:pt x="436653" y="509721"/>
                </a:lnTo>
                <a:lnTo>
                  <a:pt x="437858" y="511654"/>
                </a:lnTo>
                <a:lnTo>
                  <a:pt x="420461" y="597247"/>
                </a:lnTo>
                <a:lnTo>
                  <a:pt x="416676" y="598365"/>
                </a:lnTo>
                <a:close/>
              </a:path>
            </a:pathLst>
          </a:custGeom>
          <a:solidFill>
            <a:srgbClr val="21408B"/>
          </a:solidFill>
        </p:spPr>
        <p:txBody>
          <a:bodyPr wrap="square" lIns="0" tIns="0" rIns="0" bIns="0" rtlCol="0"/>
          <a:lstStyle/>
          <a:p>
            <a:endParaRPr/>
          </a:p>
        </p:txBody>
      </p:sp>
      <p:sp>
        <p:nvSpPr>
          <p:cNvPr id="76" name="object 76"/>
          <p:cNvSpPr/>
          <p:nvPr/>
        </p:nvSpPr>
        <p:spPr>
          <a:xfrm>
            <a:off x="4158856" y="5940602"/>
            <a:ext cx="793115" cy="793115"/>
          </a:xfrm>
          <a:custGeom>
            <a:avLst/>
            <a:gdLst/>
            <a:ahLst/>
            <a:cxnLst/>
            <a:rect l="l" t="t" r="r" b="b"/>
            <a:pathLst>
              <a:path w="793114" h="793115">
                <a:moveTo>
                  <a:pt x="320090" y="594461"/>
                </a:moveTo>
                <a:lnTo>
                  <a:pt x="286664" y="569874"/>
                </a:lnTo>
                <a:lnTo>
                  <a:pt x="252133" y="539013"/>
                </a:lnTo>
                <a:lnTo>
                  <a:pt x="220433" y="505345"/>
                </a:lnTo>
                <a:lnTo>
                  <a:pt x="195440" y="472287"/>
                </a:lnTo>
                <a:lnTo>
                  <a:pt x="21856" y="666013"/>
                </a:lnTo>
                <a:lnTo>
                  <a:pt x="5486" y="690549"/>
                </a:lnTo>
                <a:lnTo>
                  <a:pt x="0" y="718477"/>
                </a:lnTo>
                <a:lnTo>
                  <a:pt x="5422" y="746379"/>
                </a:lnTo>
                <a:lnTo>
                  <a:pt x="21704" y="770839"/>
                </a:lnTo>
                <a:lnTo>
                  <a:pt x="46253" y="787209"/>
                </a:lnTo>
                <a:lnTo>
                  <a:pt x="74218" y="792670"/>
                </a:lnTo>
                <a:lnTo>
                  <a:pt x="102209" y="787209"/>
                </a:lnTo>
                <a:lnTo>
                  <a:pt x="126847" y="770839"/>
                </a:lnTo>
                <a:lnTo>
                  <a:pt x="320090" y="594461"/>
                </a:lnTo>
                <a:close/>
              </a:path>
              <a:path w="793114" h="793115">
                <a:moveTo>
                  <a:pt x="792848" y="297319"/>
                </a:moveTo>
                <a:lnTo>
                  <a:pt x="788949" y="249097"/>
                </a:lnTo>
                <a:lnTo>
                  <a:pt x="777684" y="203365"/>
                </a:lnTo>
                <a:lnTo>
                  <a:pt x="759650" y="160705"/>
                </a:lnTo>
                <a:lnTo>
                  <a:pt x="735469" y="121754"/>
                </a:lnTo>
                <a:lnTo>
                  <a:pt x="718515" y="102006"/>
                </a:lnTo>
                <a:lnTo>
                  <a:pt x="718515" y="297319"/>
                </a:lnTo>
                <a:lnTo>
                  <a:pt x="713981" y="342188"/>
                </a:lnTo>
                <a:lnTo>
                  <a:pt x="700963" y="384022"/>
                </a:lnTo>
                <a:lnTo>
                  <a:pt x="680389" y="421894"/>
                </a:lnTo>
                <a:lnTo>
                  <a:pt x="653135" y="454914"/>
                </a:lnTo>
                <a:lnTo>
                  <a:pt x="620115" y="482155"/>
                </a:lnTo>
                <a:lnTo>
                  <a:pt x="582244" y="502742"/>
                </a:lnTo>
                <a:lnTo>
                  <a:pt x="540423" y="515759"/>
                </a:lnTo>
                <a:lnTo>
                  <a:pt x="495541" y="520293"/>
                </a:lnTo>
                <a:lnTo>
                  <a:pt x="450659" y="515759"/>
                </a:lnTo>
                <a:lnTo>
                  <a:pt x="408825" y="502742"/>
                </a:lnTo>
                <a:lnTo>
                  <a:pt x="370954" y="482155"/>
                </a:lnTo>
                <a:lnTo>
                  <a:pt x="337947" y="454914"/>
                </a:lnTo>
                <a:lnTo>
                  <a:pt x="310692" y="421894"/>
                </a:lnTo>
                <a:lnTo>
                  <a:pt x="290106" y="384022"/>
                </a:lnTo>
                <a:lnTo>
                  <a:pt x="277101" y="342188"/>
                </a:lnTo>
                <a:lnTo>
                  <a:pt x="272554" y="297319"/>
                </a:lnTo>
                <a:lnTo>
                  <a:pt x="277101" y="252437"/>
                </a:lnTo>
                <a:lnTo>
                  <a:pt x="290106" y="210604"/>
                </a:lnTo>
                <a:lnTo>
                  <a:pt x="310692" y="172732"/>
                </a:lnTo>
                <a:lnTo>
                  <a:pt x="337947" y="139712"/>
                </a:lnTo>
                <a:lnTo>
                  <a:pt x="370954" y="112471"/>
                </a:lnTo>
                <a:lnTo>
                  <a:pt x="408825" y="91884"/>
                </a:lnTo>
                <a:lnTo>
                  <a:pt x="450659" y="78867"/>
                </a:lnTo>
                <a:lnTo>
                  <a:pt x="495541" y="74333"/>
                </a:lnTo>
                <a:lnTo>
                  <a:pt x="540423" y="78867"/>
                </a:lnTo>
                <a:lnTo>
                  <a:pt x="582244" y="91884"/>
                </a:lnTo>
                <a:lnTo>
                  <a:pt x="620115" y="112471"/>
                </a:lnTo>
                <a:lnTo>
                  <a:pt x="653135" y="139712"/>
                </a:lnTo>
                <a:lnTo>
                  <a:pt x="680389" y="172732"/>
                </a:lnTo>
                <a:lnTo>
                  <a:pt x="700963" y="210604"/>
                </a:lnTo>
                <a:lnTo>
                  <a:pt x="713981" y="252437"/>
                </a:lnTo>
                <a:lnTo>
                  <a:pt x="718515" y="297319"/>
                </a:lnTo>
                <a:lnTo>
                  <a:pt x="718515" y="102006"/>
                </a:lnTo>
                <a:lnTo>
                  <a:pt x="671093" y="57391"/>
                </a:lnTo>
                <a:lnTo>
                  <a:pt x="632142" y="33197"/>
                </a:lnTo>
                <a:lnTo>
                  <a:pt x="589483" y="15163"/>
                </a:lnTo>
                <a:lnTo>
                  <a:pt x="543750" y="3898"/>
                </a:lnTo>
                <a:lnTo>
                  <a:pt x="495541" y="0"/>
                </a:lnTo>
                <a:lnTo>
                  <a:pt x="447332" y="3898"/>
                </a:lnTo>
                <a:lnTo>
                  <a:pt x="401586" y="15163"/>
                </a:lnTo>
                <a:lnTo>
                  <a:pt x="358940" y="33197"/>
                </a:lnTo>
                <a:lnTo>
                  <a:pt x="319976" y="57391"/>
                </a:lnTo>
                <a:lnTo>
                  <a:pt x="300228" y="74333"/>
                </a:lnTo>
                <a:lnTo>
                  <a:pt x="285330" y="87109"/>
                </a:lnTo>
                <a:lnTo>
                  <a:pt x="255612" y="121754"/>
                </a:lnTo>
                <a:lnTo>
                  <a:pt x="231432" y="160705"/>
                </a:lnTo>
                <a:lnTo>
                  <a:pt x="213398" y="203365"/>
                </a:lnTo>
                <a:lnTo>
                  <a:pt x="202120" y="249097"/>
                </a:lnTo>
                <a:lnTo>
                  <a:pt x="198234" y="297319"/>
                </a:lnTo>
                <a:lnTo>
                  <a:pt x="202120" y="345528"/>
                </a:lnTo>
                <a:lnTo>
                  <a:pt x="213398" y="391261"/>
                </a:lnTo>
                <a:lnTo>
                  <a:pt x="231432" y="433920"/>
                </a:lnTo>
                <a:lnTo>
                  <a:pt x="255612" y="472871"/>
                </a:lnTo>
                <a:lnTo>
                  <a:pt x="285330" y="507517"/>
                </a:lnTo>
                <a:lnTo>
                  <a:pt x="300228" y="520293"/>
                </a:lnTo>
                <a:lnTo>
                  <a:pt x="319976" y="537235"/>
                </a:lnTo>
                <a:lnTo>
                  <a:pt x="358940" y="561428"/>
                </a:lnTo>
                <a:lnTo>
                  <a:pt x="401586" y="579462"/>
                </a:lnTo>
                <a:lnTo>
                  <a:pt x="447332" y="590727"/>
                </a:lnTo>
                <a:lnTo>
                  <a:pt x="495541" y="594626"/>
                </a:lnTo>
                <a:lnTo>
                  <a:pt x="543750" y="590727"/>
                </a:lnTo>
                <a:lnTo>
                  <a:pt x="589483" y="579462"/>
                </a:lnTo>
                <a:lnTo>
                  <a:pt x="632142" y="561428"/>
                </a:lnTo>
                <a:lnTo>
                  <a:pt x="671093" y="537235"/>
                </a:lnTo>
                <a:lnTo>
                  <a:pt x="705739" y="507517"/>
                </a:lnTo>
                <a:lnTo>
                  <a:pt x="735469" y="472871"/>
                </a:lnTo>
                <a:lnTo>
                  <a:pt x="759650" y="433920"/>
                </a:lnTo>
                <a:lnTo>
                  <a:pt x="777684" y="391261"/>
                </a:lnTo>
                <a:lnTo>
                  <a:pt x="788949" y="345528"/>
                </a:lnTo>
                <a:lnTo>
                  <a:pt x="792848" y="297319"/>
                </a:lnTo>
                <a:close/>
              </a:path>
            </a:pathLst>
          </a:custGeom>
          <a:solidFill>
            <a:srgbClr val="21408B"/>
          </a:solidFill>
        </p:spPr>
        <p:txBody>
          <a:bodyPr wrap="square" lIns="0" tIns="0" rIns="0" bIns="0" rtlCol="0"/>
          <a:lstStyle/>
          <a:p>
            <a:endParaRPr/>
          </a:p>
        </p:txBody>
      </p:sp>
      <p:grpSp>
        <p:nvGrpSpPr>
          <p:cNvPr id="77" name="object 77"/>
          <p:cNvGrpSpPr/>
          <p:nvPr/>
        </p:nvGrpSpPr>
        <p:grpSpPr>
          <a:xfrm>
            <a:off x="15210107" y="7171556"/>
            <a:ext cx="740410" cy="560070"/>
            <a:chOff x="15210107" y="7171556"/>
            <a:chExt cx="740410" cy="560070"/>
          </a:xfrm>
        </p:grpSpPr>
        <p:sp>
          <p:nvSpPr>
            <p:cNvPr id="78" name="object 78"/>
            <p:cNvSpPr/>
            <p:nvPr/>
          </p:nvSpPr>
          <p:spPr>
            <a:xfrm>
              <a:off x="15210104" y="7171562"/>
              <a:ext cx="740410" cy="560070"/>
            </a:xfrm>
            <a:custGeom>
              <a:avLst/>
              <a:gdLst/>
              <a:ahLst/>
              <a:cxnLst/>
              <a:rect l="l" t="t" r="r" b="b"/>
              <a:pathLst>
                <a:path w="740409" h="560070">
                  <a:moveTo>
                    <a:pt x="680072" y="51739"/>
                  </a:moveTo>
                  <a:lnTo>
                    <a:pt x="661238" y="13690"/>
                  </a:lnTo>
                  <a:lnTo>
                    <a:pt x="628205" y="0"/>
                  </a:lnTo>
                  <a:lnTo>
                    <a:pt x="610425" y="0"/>
                  </a:lnTo>
                  <a:lnTo>
                    <a:pt x="610425" y="75196"/>
                  </a:lnTo>
                  <a:lnTo>
                    <a:pt x="610425" y="402005"/>
                  </a:lnTo>
                  <a:lnTo>
                    <a:pt x="609625" y="403936"/>
                  </a:lnTo>
                  <a:lnTo>
                    <a:pt x="606399" y="407149"/>
                  </a:lnTo>
                  <a:lnTo>
                    <a:pt x="604456" y="407949"/>
                  </a:lnTo>
                  <a:lnTo>
                    <a:pt x="135991" y="407949"/>
                  </a:lnTo>
                  <a:lnTo>
                    <a:pt x="134048" y="407149"/>
                  </a:lnTo>
                  <a:lnTo>
                    <a:pt x="130835" y="403936"/>
                  </a:lnTo>
                  <a:lnTo>
                    <a:pt x="130022" y="402005"/>
                  </a:lnTo>
                  <a:lnTo>
                    <a:pt x="130035" y="75196"/>
                  </a:lnTo>
                  <a:lnTo>
                    <a:pt x="130835" y="73279"/>
                  </a:lnTo>
                  <a:lnTo>
                    <a:pt x="134061" y="70091"/>
                  </a:lnTo>
                  <a:lnTo>
                    <a:pt x="136004" y="69316"/>
                  </a:lnTo>
                  <a:lnTo>
                    <a:pt x="138264" y="69329"/>
                  </a:lnTo>
                  <a:lnTo>
                    <a:pt x="602183" y="69329"/>
                  </a:lnTo>
                  <a:lnTo>
                    <a:pt x="604443" y="69316"/>
                  </a:lnTo>
                  <a:lnTo>
                    <a:pt x="606386" y="70091"/>
                  </a:lnTo>
                  <a:lnTo>
                    <a:pt x="609612" y="73279"/>
                  </a:lnTo>
                  <a:lnTo>
                    <a:pt x="610425" y="75196"/>
                  </a:lnTo>
                  <a:lnTo>
                    <a:pt x="610425" y="0"/>
                  </a:lnTo>
                  <a:lnTo>
                    <a:pt x="112268" y="0"/>
                  </a:lnTo>
                  <a:lnTo>
                    <a:pt x="108699" y="355"/>
                  </a:lnTo>
                  <a:lnTo>
                    <a:pt x="74104" y="18821"/>
                  </a:lnTo>
                  <a:lnTo>
                    <a:pt x="60426" y="51739"/>
                  </a:lnTo>
                  <a:lnTo>
                    <a:pt x="60426" y="439089"/>
                  </a:lnTo>
                  <a:lnTo>
                    <a:pt x="680072" y="439089"/>
                  </a:lnTo>
                  <a:lnTo>
                    <a:pt x="680072" y="407949"/>
                  </a:lnTo>
                  <a:lnTo>
                    <a:pt x="680072" y="69316"/>
                  </a:lnTo>
                  <a:lnTo>
                    <a:pt x="680072" y="51739"/>
                  </a:lnTo>
                  <a:close/>
                </a:path>
                <a:path w="740409" h="560070">
                  <a:moveTo>
                    <a:pt x="740410" y="484974"/>
                  </a:moveTo>
                  <a:lnTo>
                    <a:pt x="739660" y="475513"/>
                  </a:lnTo>
                  <a:lnTo>
                    <a:pt x="738174" y="471144"/>
                  </a:lnTo>
                  <a:lnTo>
                    <a:pt x="737273" y="469760"/>
                  </a:lnTo>
                  <a:lnTo>
                    <a:pt x="735558" y="467156"/>
                  </a:lnTo>
                  <a:lnTo>
                    <a:pt x="732993" y="463181"/>
                  </a:lnTo>
                  <a:lnTo>
                    <a:pt x="729627" y="460070"/>
                  </a:lnTo>
                  <a:lnTo>
                    <a:pt x="721283" y="455549"/>
                  </a:lnTo>
                  <a:lnTo>
                    <a:pt x="716864" y="454431"/>
                  </a:lnTo>
                  <a:lnTo>
                    <a:pt x="712076" y="454431"/>
                  </a:lnTo>
                  <a:lnTo>
                    <a:pt x="446620" y="454431"/>
                  </a:lnTo>
                  <a:lnTo>
                    <a:pt x="446620" y="469760"/>
                  </a:lnTo>
                  <a:lnTo>
                    <a:pt x="439762" y="481888"/>
                  </a:lnTo>
                  <a:lnTo>
                    <a:pt x="428129" y="489407"/>
                  </a:lnTo>
                  <a:lnTo>
                    <a:pt x="312216" y="489407"/>
                  </a:lnTo>
                  <a:lnTo>
                    <a:pt x="306857" y="488988"/>
                  </a:lnTo>
                  <a:lnTo>
                    <a:pt x="302958" y="486410"/>
                  </a:lnTo>
                  <a:lnTo>
                    <a:pt x="300621" y="481888"/>
                  </a:lnTo>
                  <a:lnTo>
                    <a:pt x="293801" y="469760"/>
                  </a:lnTo>
                  <a:lnTo>
                    <a:pt x="446620" y="469760"/>
                  </a:lnTo>
                  <a:lnTo>
                    <a:pt x="446620" y="454431"/>
                  </a:lnTo>
                  <a:lnTo>
                    <a:pt x="23609" y="454418"/>
                  </a:lnTo>
                  <a:lnTo>
                    <a:pt x="19177" y="455536"/>
                  </a:lnTo>
                  <a:lnTo>
                    <a:pt x="0" y="484974"/>
                  </a:lnTo>
                  <a:lnTo>
                    <a:pt x="774" y="489521"/>
                  </a:lnTo>
                  <a:lnTo>
                    <a:pt x="16611" y="524471"/>
                  </a:lnTo>
                  <a:lnTo>
                    <a:pt x="45567" y="552081"/>
                  </a:lnTo>
                  <a:lnTo>
                    <a:pt x="78155" y="559727"/>
                  </a:lnTo>
                  <a:lnTo>
                    <a:pt x="662114" y="559727"/>
                  </a:lnTo>
                  <a:lnTo>
                    <a:pt x="706043" y="544753"/>
                  </a:lnTo>
                  <a:lnTo>
                    <a:pt x="726389" y="518312"/>
                  </a:lnTo>
                  <a:lnTo>
                    <a:pt x="737641" y="493928"/>
                  </a:lnTo>
                  <a:lnTo>
                    <a:pt x="739609" y="489521"/>
                  </a:lnTo>
                  <a:lnTo>
                    <a:pt x="740410" y="484974"/>
                  </a:lnTo>
                  <a:close/>
                </a:path>
              </a:pathLst>
            </a:custGeom>
            <a:solidFill>
              <a:srgbClr val="21408B"/>
            </a:solidFill>
          </p:spPr>
          <p:txBody>
            <a:bodyPr wrap="square" lIns="0" tIns="0" rIns="0" bIns="0" rtlCol="0"/>
            <a:lstStyle/>
            <a:p>
              <a:endParaRPr/>
            </a:p>
          </p:txBody>
        </p:sp>
        <p:pic>
          <p:nvPicPr>
            <p:cNvPr id="79" name="object 79"/>
            <p:cNvPicPr/>
            <p:nvPr/>
          </p:nvPicPr>
          <p:blipFill>
            <a:blip r:embed="rId19" cstate="print"/>
            <a:stretch>
              <a:fillRect/>
            </a:stretch>
          </p:blipFill>
          <p:spPr>
            <a:xfrm>
              <a:off x="15477702" y="7293956"/>
              <a:ext cx="205172" cy="242596"/>
            </a:xfrm>
            <a:prstGeom prst="rect">
              <a:avLst/>
            </a:prstGeom>
          </p:spPr>
        </p:pic>
      </p:grpSp>
      <p:sp>
        <p:nvSpPr>
          <p:cNvPr id="80" name="object 80"/>
          <p:cNvSpPr/>
          <p:nvPr/>
        </p:nvSpPr>
        <p:spPr>
          <a:xfrm>
            <a:off x="15201868" y="6123896"/>
            <a:ext cx="271145" cy="360680"/>
          </a:xfrm>
          <a:custGeom>
            <a:avLst/>
            <a:gdLst/>
            <a:ahLst/>
            <a:cxnLst/>
            <a:rect l="l" t="t" r="r" b="b"/>
            <a:pathLst>
              <a:path w="271144" h="360679">
                <a:moveTo>
                  <a:pt x="255377" y="360263"/>
                </a:moveTo>
                <a:lnTo>
                  <a:pt x="246685" y="360263"/>
                </a:lnTo>
                <a:lnTo>
                  <a:pt x="239994" y="354647"/>
                </a:lnTo>
                <a:lnTo>
                  <a:pt x="228641" y="275630"/>
                </a:lnTo>
                <a:lnTo>
                  <a:pt x="151244" y="282365"/>
                </a:lnTo>
                <a:lnTo>
                  <a:pt x="140854" y="354647"/>
                </a:lnTo>
                <a:lnTo>
                  <a:pt x="134163" y="360263"/>
                </a:lnTo>
                <a:lnTo>
                  <a:pt x="126510" y="360263"/>
                </a:lnTo>
                <a:lnTo>
                  <a:pt x="124457" y="360162"/>
                </a:lnTo>
                <a:lnTo>
                  <a:pt x="115182" y="358357"/>
                </a:lnTo>
                <a:lnTo>
                  <a:pt x="109860" y="350250"/>
                </a:lnTo>
                <a:lnTo>
                  <a:pt x="119515" y="283178"/>
                </a:lnTo>
                <a:lnTo>
                  <a:pt x="88555" y="274450"/>
                </a:lnTo>
                <a:lnTo>
                  <a:pt x="62206" y="256638"/>
                </a:lnTo>
                <a:lnTo>
                  <a:pt x="42591" y="231383"/>
                </a:lnTo>
                <a:lnTo>
                  <a:pt x="31830" y="200324"/>
                </a:lnTo>
                <a:lnTo>
                  <a:pt x="0" y="10979"/>
                </a:lnTo>
                <a:lnTo>
                  <a:pt x="5752" y="2871"/>
                </a:lnTo>
                <a:lnTo>
                  <a:pt x="22783" y="0"/>
                </a:lnTo>
                <a:lnTo>
                  <a:pt x="30867" y="5769"/>
                </a:lnTo>
                <a:lnTo>
                  <a:pt x="62697" y="195088"/>
                </a:lnTo>
                <a:lnTo>
                  <a:pt x="71689" y="219219"/>
                </a:lnTo>
                <a:lnTo>
                  <a:pt x="88388" y="237907"/>
                </a:lnTo>
                <a:lnTo>
                  <a:pt x="110609" y="249457"/>
                </a:lnTo>
                <a:lnTo>
                  <a:pt x="136165" y="252172"/>
                </a:lnTo>
                <a:lnTo>
                  <a:pt x="257531" y="241624"/>
                </a:lnTo>
                <a:lnTo>
                  <a:pt x="260243" y="272885"/>
                </a:lnTo>
                <a:lnTo>
                  <a:pt x="259863" y="272936"/>
                </a:lnTo>
                <a:lnTo>
                  <a:pt x="270988" y="350250"/>
                </a:lnTo>
                <a:lnTo>
                  <a:pt x="265666" y="358357"/>
                </a:lnTo>
                <a:lnTo>
                  <a:pt x="257430" y="359958"/>
                </a:lnTo>
                <a:lnTo>
                  <a:pt x="255377" y="360263"/>
                </a:lnTo>
                <a:close/>
              </a:path>
            </a:pathLst>
          </a:custGeom>
          <a:solidFill>
            <a:srgbClr val="21408B"/>
          </a:solidFill>
        </p:spPr>
        <p:txBody>
          <a:bodyPr wrap="square" lIns="0" tIns="0" rIns="0" bIns="0" rtlCol="0"/>
          <a:lstStyle/>
          <a:p>
            <a:endParaRPr/>
          </a:p>
        </p:txBody>
      </p:sp>
      <p:grpSp>
        <p:nvGrpSpPr>
          <p:cNvPr id="81" name="object 81"/>
          <p:cNvGrpSpPr/>
          <p:nvPr/>
        </p:nvGrpSpPr>
        <p:grpSpPr>
          <a:xfrm>
            <a:off x="15272954" y="5933840"/>
            <a:ext cx="285115" cy="520065"/>
            <a:chOff x="15272954" y="5933840"/>
            <a:chExt cx="285115" cy="520065"/>
          </a:xfrm>
        </p:grpSpPr>
        <p:pic>
          <p:nvPicPr>
            <p:cNvPr id="82" name="object 82"/>
            <p:cNvPicPr/>
            <p:nvPr/>
          </p:nvPicPr>
          <p:blipFill>
            <a:blip r:embed="rId20" cstate="print"/>
            <a:stretch>
              <a:fillRect/>
            </a:stretch>
          </p:blipFill>
          <p:spPr>
            <a:xfrm>
              <a:off x="15309221" y="5933840"/>
              <a:ext cx="109682" cy="109998"/>
            </a:xfrm>
            <a:prstGeom prst="rect">
              <a:avLst/>
            </a:prstGeom>
          </p:spPr>
        </p:pic>
        <p:sp>
          <p:nvSpPr>
            <p:cNvPr id="83" name="object 83"/>
            <p:cNvSpPr/>
            <p:nvPr/>
          </p:nvSpPr>
          <p:spPr>
            <a:xfrm>
              <a:off x="15272954" y="6068948"/>
              <a:ext cx="285115" cy="384810"/>
            </a:xfrm>
            <a:custGeom>
              <a:avLst/>
              <a:gdLst/>
              <a:ahLst/>
              <a:cxnLst/>
              <a:rect l="l" t="t" r="r" b="b"/>
              <a:pathLst>
                <a:path w="285115" h="384810">
                  <a:moveTo>
                    <a:pt x="257085" y="384701"/>
                  </a:moveTo>
                  <a:lnTo>
                    <a:pt x="248162" y="381959"/>
                  </a:lnTo>
                  <a:lnTo>
                    <a:pt x="240826" y="376191"/>
                  </a:lnTo>
                  <a:lnTo>
                    <a:pt x="235966" y="367914"/>
                  </a:lnTo>
                  <a:lnTo>
                    <a:pt x="201069" y="268565"/>
                  </a:lnTo>
                  <a:lnTo>
                    <a:pt x="58365" y="278832"/>
                  </a:lnTo>
                  <a:lnTo>
                    <a:pt x="21277" y="251822"/>
                  </a:lnTo>
                  <a:lnTo>
                    <a:pt x="9057" y="206474"/>
                  </a:lnTo>
                  <a:lnTo>
                    <a:pt x="0" y="132755"/>
                  </a:lnTo>
                  <a:lnTo>
                    <a:pt x="1420" y="95714"/>
                  </a:lnTo>
                  <a:lnTo>
                    <a:pt x="7286" y="62402"/>
                  </a:lnTo>
                  <a:lnTo>
                    <a:pt x="20253" y="28185"/>
                  </a:lnTo>
                  <a:lnTo>
                    <a:pt x="42557" y="3804"/>
                  </a:lnTo>
                  <a:lnTo>
                    <a:pt x="76434" y="0"/>
                  </a:lnTo>
                  <a:lnTo>
                    <a:pt x="93031" y="8419"/>
                  </a:lnTo>
                  <a:lnTo>
                    <a:pt x="103231" y="22086"/>
                  </a:lnTo>
                  <a:lnTo>
                    <a:pt x="109339" y="38935"/>
                  </a:lnTo>
                  <a:lnTo>
                    <a:pt x="121468" y="90097"/>
                  </a:lnTo>
                  <a:lnTo>
                    <a:pt x="181150" y="97417"/>
                  </a:lnTo>
                  <a:lnTo>
                    <a:pt x="190451" y="97417"/>
                  </a:lnTo>
                  <a:lnTo>
                    <a:pt x="198003" y="104965"/>
                  </a:lnTo>
                  <a:lnTo>
                    <a:pt x="198003" y="123646"/>
                  </a:lnTo>
                  <a:lnTo>
                    <a:pt x="190451" y="131219"/>
                  </a:lnTo>
                  <a:lnTo>
                    <a:pt x="100814" y="131219"/>
                  </a:lnTo>
                  <a:lnTo>
                    <a:pt x="100891" y="144684"/>
                  </a:lnTo>
                  <a:lnTo>
                    <a:pt x="101416" y="158840"/>
                  </a:lnTo>
                  <a:lnTo>
                    <a:pt x="102425" y="173672"/>
                  </a:lnTo>
                  <a:lnTo>
                    <a:pt x="103956" y="189167"/>
                  </a:lnTo>
                  <a:lnTo>
                    <a:pt x="217947" y="197350"/>
                  </a:lnTo>
                  <a:lnTo>
                    <a:pt x="228619" y="199838"/>
                  </a:lnTo>
                  <a:lnTo>
                    <a:pt x="284168" y="352588"/>
                  </a:lnTo>
                  <a:lnTo>
                    <a:pt x="284932" y="362627"/>
                  </a:lnTo>
                  <a:lnTo>
                    <a:pt x="281899" y="371866"/>
                  </a:lnTo>
                  <a:lnTo>
                    <a:pt x="275636" y="379293"/>
                  </a:lnTo>
                  <a:lnTo>
                    <a:pt x="266707" y="383900"/>
                  </a:lnTo>
                  <a:lnTo>
                    <a:pt x="257085" y="384701"/>
                  </a:lnTo>
                  <a:close/>
                </a:path>
              </a:pathLst>
            </a:custGeom>
            <a:solidFill>
              <a:srgbClr val="21408B"/>
            </a:solidFill>
          </p:spPr>
          <p:txBody>
            <a:bodyPr wrap="square" lIns="0" tIns="0" rIns="0" bIns="0" rtlCol="0"/>
            <a:lstStyle/>
            <a:p>
              <a:endParaRPr/>
            </a:p>
          </p:txBody>
        </p:sp>
      </p:grpSp>
      <p:sp>
        <p:nvSpPr>
          <p:cNvPr id="84" name="object 84"/>
          <p:cNvSpPr/>
          <p:nvPr/>
        </p:nvSpPr>
        <p:spPr>
          <a:xfrm>
            <a:off x="15682948" y="6123896"/>
            <a:ext cx="271145" cy="360680"/>
          </a:xfrm>
          <a:custGeom>
            <a:avLst/>
            <a:gdLst/>
            <a:ahLst/>
            <a:cxnLst/>
            <a:rect l="l" t="t" r="r" b="b"/>
            <a:pathLst>
              <a:path w="271144" h="360679">
                <a:moveTo>
                  <a:pt x="145492" y="360263"/>
                </a:moveTo>
                <a:lnTo>
                  <a:pt x="136824" y="360263"/>
                </a:lnTo>
                <a:lnTo>
                  <a:pt x="130134" y="354647"/>
                </a:lnTo>
                <a:lnTo>
                  <a:pt x="119718" y="282365"/>
                </a:lnTo>
                <a:lnTo>
                  <a:pt x="42347" y="275630"/>
                </a:lnTo>
                <a:lnTo>
                  <a:pt x="30994" y="354647"/>
                </a:lnTo>
                <a:lnTo>
                  <a:pt x="24303" y="360263"/>
                </a:lnTo>
                <a:lnTo>
                  <a:pt x="16650" y="360263"/>
                </a:lnTo>
                <a:lnTo>
                  <a:pt x="14572" y="360162"/>
                </a:lnTo>
                <a:lnTo>
                  <a:pt x="5321" y="358357"/>
                </a:lnTo>
                <a:lnTo>
                  <a:pt x="0" y="350250"/>
                </a:lnTo>
                <a:lnTo>
                  <a:pt x="11100" y="272936"/>
                </a:lnTo>
                <a:lnTo>
                  <a:pt x="10770" y="272885"/>
                </a:lnTo>
                <a:lnTo>
                  <a:pt x="13456" y="241624"/>
                </a:lnTo>
                <a:lnTo>
                  <a:pt x="134822" y="252172"/>
                </a:lnTo>
                <a:lnTo>
                  <a:pt x="160379" y="249457"/>
                </a:lnTo>
                <a:lnTo>
                  <a:pt x="182599" y="237907"/>
                </a:lnTo>
                <a:lnTo>
                  <a:pt x="199299" y="219219"/>
                </a:lnTo>
                <a:lnTo>
                  <a:pt x="208291" y="195088"/>
                </a:lnTo>
                <a:lnTo>
                  <a:pt x="240121" y="5769"/>
                </a:lnTo>
                <a:lnTo>
                  <a:pt x="248180" y="0"/>
                </a:lnTo>
                <a:lnTo>
                  <a:pt x="256720" y="1448"/>
                </a:lnTo>
                <a:lnTo>
                  <a:pt x="265235" y="2871"/>
                </a:lnTo>
                <a:lnTo>
                  <a:pt x="270988" y="10979"/>
                </a:lnTo>
                <a:lnTo>
                  <a:pt x="239158" y="200324"/>
                </a:lnTo>
                <a:lnTo>
                  <a:pt x="208782" y="256638"/>
                </a:lnTo>
                <a:lnTo>
                  <a:pt x="151472" y="283178"/>
                </a:lnTo>
                <a:lnTo>
                  <a:pt x="161103" y="350250"/>
                </a:lnTo>
                <a:lnTo>
                  <a:pt x="155781" y="358357"/>
                </a:lnTo>
                <a:lnTo>
                  <a:pt x="147570" y="359958"/>
                </a:lnTo>
                <a:lnTo>
                  <a:pt x="145492" y="360263"/>
                </a:lnTo>
                <a:close/>
              </a:path>
            </a:pathLst>
          </a:custGeom>
          <a:solidFill>
            <a:srgbClr val="21408B"/>
          </a:solidFill>
        </p:spPr>
        <p:txBody>
          <a:bodyPr wrap="square" lIns="0" tIns="0" rIns="0" bIns="0" rtlCol="0"/>
          <a:lstStyle/>
          <a:p>
            <a:endParaRPr/>
          </a:p>
        </p:txBody>
      </p:sp>
      <p:grpSp>
        <p:nvGrpSpPr>
          <p:cNvPr id="85" name="object 85"/>
          <p:cNvGrpSpPr/>
          <p:nvPr/>
        </p:nvGrpSpPr>
        <p:grpSpPr>
          <a:xfrm>
            <a:off x="15416141" y="5669033"/>
            <a:ext cx="466725" cy="784860"/>
            <a:chOff x="15416141" y="5669033"/>
            <a:chExt cx="466725" cy="784860"/>
          </a:xfrm>
        </p:grpSpPr>
        <p:pic>
          <p:nvPicPr>
            <p:cNvPr id="86" name="object 86"/>
            <p:cNvPicPr/>
            <p:nvPr/>
          </p:nvPicPr>
          <p:blipFill>
            <a:blip r:embed="rId20" cstate="print"/>
            <a:stretch>
              <a:fillRect/>
            </a:stretch>
          </p:blipFill>
          <p:spPr>
            <a:xfrm>
              <a:off x="15736902" y="5933839"/>
              <a:ext cx="109682" cy="109998"/>
            </a:xfrm>
            <a:prstGeom prst="rect">
              <a:avLst/>
            </a:prstGeom>
          </p:spPr>
        </p:pic>
        <p:sp>
          <p:nvSpPr>
            <p:cNvPr id="87" name="object 87"/>
            <p:cNvSpPr/>
            <p:nvPr/>
          </p:nvSpPr>
          <p:spPr>
            <a:xfrm>
              <a:off x="15597916" y="6068948"/>
              <a:ext cx="285115" cy="384810"/>
            </a:xfrm>
            <a:custGeom>
              <a:avLst/>
              <a:gdLst/>
              <a:ahLst/>
              <a:cxnLst/>
              <a:rect l="l" t="t" r="r" b="b"/>
              <a:pathLst>
                <a:path w="285115" h="384810">
                  <a:moveTo>
                    <a:pt x="27850" y="384701"/>
                  </a:moveTo>
                  <a:lnTo>
                    <a:pt x="18228" y="383900"/>
                  </a:lnTo>
                  <a:lnTo>
                    <a:pt x="9288" y="379293"/>
                  </a:lnTo>
                  <a:lnTo>
                    <a:pt x="3026" y="371866"/>
                  </a:lnTo>
                  <a:lnTo>
                    <a:pt x="0" y="362627"/>
                  </a:lnTo>
                  <a:lnTo>
                    <a:pt x="767" y="352588"/>
                  </a:lnTo>
                  <a:lnTo>
                    <a:pt x="35867" y="222715"/>
                  </a:lnTo>
                  <a:lnTo>
                    <a:pt x="66988" y="197350"/>
                  </a:lnTo>
                  <a:lnTo>
                    <a:pt x="180979" y="189167"/>
                  </a:lnTo>
                  <a:lnTo>
                    <a:pt x="182510" y="173672"/>
                  </a:lnTo>
                  <a:lnTo>
                    <a:pt x="183519" y="158840"/>
                  </a:lnTo>
                  <a:lnTo>
                    <a:pt x="184044" y="144684"/>
                  </a:lnTo>
                  <a:lnTo>
                    <a:pt x="184121" y="131219"/>
                  </a:lnTo>
                  <a:lnTo>
                    <a:pt x="94459" y="131219"/>
                  </a:lnTo>
                  <a:lnTo>
                    <a:pt x="86932" y="123646"/>
                  </a:lnTo>
                  <a:lnTo>
                    <a:pt x="86932" y="104965"/>
                  </a:lnTo>
                  <a:lnTo>
                    <a:pt x="94459" y="97417"/>
                  </a:lnTo>
                  <a:lnTo>
                    <a:pt x="103785" y="97417"/>
                  </a:lnTo>
                  <a:lnTo>
                    <a:pt x="163467" y="90097"/>
                  </a:lnTo>
                  <a:lnTo>
                    <a:pt x="175596" y="38935"/>
                  </a:lnTo>
                  <a:lnTo>
                    <a:pt x="181704" y="22086"/>
                  </a:lnTo>
                  <a:lnTo>
                    <a:pt x="191903" y="8419"/>
                  </a:lnTo>
                  <a:lnTo>
                    <a:pt x="208501" y="0"/>
                  </a:lnTo>
                  <a:lnTo>
                    <a:pt x="242378" y="3804"/>
                  </a:lnTo>
                  <a:lnTo>
                    <a:pt x="264682" y="28185"/>
                  </a:lnTo>
                  <a:lnTo>
                    <a:pt x="277649" y="62402"/>
                  </a:lnTo>
                  <a:lnTo>
                    <a:pt x="283515" y="95714"/>
                  </a:lnTo>
                  <a:lnTo>
                    <a:pt x="284935" y="132755"/>
                  </a:lnTo>
                  <a:lnTo>
                    <a:pt x="282086" y="169781"/>
                  </a:lnTo>
                  <a:lnTo>
                    <a:pt x="267220" y="242514"/>
                  </a:lnTo>
                  <a:lnTo>
                    <a:pt x="242054" y="273190"/>
                  </a:lnTo>
                  <a:lnTo>
                    <a:pt x="226570" y="278832"/>
                  </a:lnTo>
                  <a:lnTo>
                    <a:pt x="83866" y="268565"/>
                  </a:lnTo>
                  <a:lnTo>
                    <a:pt x="48969" y="367914"/>
                  </a:lnTo>
                  <a:lnTo>
                    <a:pt x="44109" y="376191"/>
                  </a:lnTo>
                  <a:lnTo>
                    <a:pt x="36773" y="381959"/>
                  </a:lnTo>
                  <a:lnTo>
                    <a:pt x="27850" y="384701"/>
                  </a:lnTo>
                  <a:close/>
                </a:path>
              </a:pathLst>
            </a:custGeom>
            <a:solidFill>
              <a:srgbClr val="21408B"/>
            </a:solidFill>
          </p:spPr>
          <p:txBody>
            <a:bodyPr wrap="square" lIns="0" tIns="0" rIns="0" bIns="0" rtlCol="0"/>
            <a:lstStyle/>
            <a:p>
              <a:endParaRPr/>
            </a:p>
          </p:txBody>
        </p:sp>
        <p:pic>
          <p:nvPicPr>
            <p:cNvPr id="88" name="object 88"/>
            <p:cNvPicPr/>
            <p:nvPr/>
          </p:nvPicPr>
          <p:blipFill>
            <a:blip r:embed="rId21" cstate="print"/>
            <a:stretch>
              <a:fillRect/>
            </a:stretch>
          </p:blipFill>
          <p:spPr>
            <a:xfrm>
              <a:off x="15416141" y="5669033"/>
              <a:ext cx="368744" cy="252021"/>
            </a:xfrm>
            <a:prstGeom prst="rect">
              <a:avLst/>
            </a:prstGeom>
          </p:spPr>
        </p:pic>
      </p:grpSp>
      <p:sp>
        <p:nvSpPr>
          <p:cNvPr id="89" name="object 89"/>
          <p:cNvSpPr txBox="1"/>
          <p:nvPr/>
        </p:nvSpPr>
        <p:spPr>
          <a:xfrm>
            <a:off x="9314218" y="3718796"/>
            <a:ext cx="2414905"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737373"/>
                </a:solidFill>
                <a:latin typeface="Roboto"/>
                <a:cs typeface="Roboto"/>
              </a:rPr>
              <a:t>Asistencia </a:t>
            </a:r>
            <a:r>
              <a:rPr sz="2400" b="1" spc="-10" dirty="0">
                <a:solidFill>
                  <a:srgbClr val="737373"/>
                </a:solidFill>
                <a:latin typeface="Roboto"/>
                <a:cs typeface="Roboto"/>
              </a:rPr>
              <a:t>ferias:</a:t>
            </a:r>
            <a:endParaRPr sz="2400">
              <a:latin typeface="Roboto"/>
              <a:cs typeface="Roboto"/>
            </a:endParaRPr>
          </a:p>
        </p:txBody>
      </p:sp>
      <p:sp>
        <p:nvSpPr>
          <p:cNvPr id="90" name="object 90"/>
          <p:cNvSpPr/>
          <p:nvPr/>
        </p:nvSpPr>
        <p:spPr>
          <a:xfrm>
            <a:off x="6437706" y="2807029"/>
            <a:ext cx="11651615" cy="1224280"/>
          </a:xfrm>
          <a:custGeom>
            <a:avLst/>
            <a:gdLst/>
            <a:ahLst/>
            <a:cxnLst/>
            <a:rect l="l" t="t" r="r" b="b"/>
            <a:pathLst>
              <a:path w="11651615" h="1224279">
                <a:moveTo>
                  <a:pt x="11651526" y="0"/>
                </a:moveTo>
                <a:lnTo>
                  <a:pt x="0" y="0"/>
                </a:lnTo>
                <a:lnTo>
                  <a:pt x="0" y="784098"/>
                </a:lnTo>
                <a:lnTo>
                  <a:pt x="255663" y="784098"/>
                </a:lnTo>
                <a:lnTo>
                  <a:pt x="507047" y="1224000"/>
                </a:lnTo>
                <a:lnTo>
                  <a:pt x="758405" y="784098"/>
                </a:lnTo>
                <a:lnTo>
                  <a:pt x="11651526" y="784098"/>
                </a:lnTo>
                <a:lnTo>
                  <a:pt x="11651526" y="0"/>
                </a:lnTo>
                <a:close/>
              </a:path>
            </a:pathLst>
          </a:custGeom>
          <a:solidFill>
            <a:srgbClr val="E3112B"/>
          </a:solidFill>
        </p:spPr>
        <p:txBody>
          <a:bodyPr wrap="square" lIns="0" tIns="0" rIns="0" bIns="0" rtlCol="0"/>
          <a:lstStyle/>
          <a:p>
            <a:endParaRPr/>
          </a:p>
        </p:txBody>
      </p:sp>
      <p:sp>
        <p:nvSpPr>
          <p:cNvPr id="91" name="object 91"/>
          <p:cNvSpPr txBox="1"/>
          <p:nvPr/>
        </p:nvSpPr>
        <p:spPr>
          <a:xfrm>
            <a:off x="6932053" y="2957771"/>
            <a:ext cx="387096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Acciones</a:t>
            </a:r>
            <a:r>
              <a:rPr sz="2400" b="1" spc="10" dirty="0">
                <a:solidFill>
                  <a:srgbClr val="FFFFFF"/>
                </a:solidFill>
                <a:latin typeface="Arial"/>
                <a:cs typeface="Arial"/>
              </a:rPr>
              <a:t> </a:t>
            </a:r>
            <a:r>
              <a:rPr sz="2400" b="1" spc="90" dirty="0">
                <a:solidFill>
                  <a:srgbClr val="FFFFFF"/>
                </a:solidFill>
                <a:latin typeface="Arial"/>
                <a:cs typeface="Arial"/>
              </a:rPr>
              <a:t>clave</a:t>
            </a:r>
            <a:r>
              <a:rPr sz="2400" b="1" spc="15" dirty="0">
                <a:solidFill>
                  <a:srgbClr val="FFFFFF"/>
                </a:solidFill>
                <a:latin typeface="Arial"/>
                <a:cs typeface="Arial"/>
              </a:rPr>
              <a:t> </a:t>
            </a:r>
            <a:r>
              <a:rPr sz="2400" b="1" spc="114" dirty="0">
                <a:solidFill>
                  <a:srgbClr val="FFFFFF"/>
                </a:solidFill>
                <a:latin typeface="Arial"/>
                <a:cs typeface="Arial"/>
              </a:rPr>
              <a:t>(anuales)</a:t>
            </a:r>
            <a:endParaRPr sz="2400">
              <a:latin typeface="Arial"/>
              <a:cs typeface="Arial"/>
            </a:endParaRPr>
          </a:p>
        </p:txBody>
      </p:sp>
      <p:sp>
        <p:nvSpPr>
          <p:cNvPr id="92" name="object 92"/>
          <p:cNvSpPr/>
          <p:nvPr/>
        </p:nvSpPr>
        <p:spPr>
          <a:xfrm>
            <a:off x="196380" y="2807029"/>
            <a:ext cx="6019800" cy="1224280"/>
          </a:xfrm>
          <a:custGeom>
            <a:avLst/>
            <a:gdLst/>
            <a:ahLst/>
            <a:cxnLst/>
            <a:rect l="l" t="t" r="r" b="b"/>
            <a:pathLst>
              <a:path w="6019800" h="1224279">
                <a:moveTo>
                  <a:pt x="6019508" y="0"/>
                </a:moveTo>
                <a:lnTo>
                  <a:pt x="0" y="0"/>
                </a:lnTo>
                <a:lnTo>
                  <a:pt x="0" y="784098"/>
                </a:lnTo>
                <a:lnTo>
                  <a:pt x="255663" y="784098"/>
                </a:lnTo>
                <a:lnTo>
                  <a:pt x="507034" y="1224000"/>
                </a:lnTo>
                <a:lnTo>
                  <a:pt x="758405" y="784098"/>
                </a:lnTo>
                <a:lnTo>
                  <a:pt x="6019508" y="784098"/>
                </a:lnTo>
                <a:lnTo>
                  <a:pt x="6019508" y="0"/>
                </a:lnTo>
                <a:close/>
              </a:path>
            </a:pathLst>
          </a:custGeom>
          <a:solidFill>
            <a:srgbClr val="E3112B"/>
          </a:solidFill>
        </p:spPr>
        <p:txBody>
          <a:bodyPr wrap="square" lIns="0" tIns="0" rIns="0" bIns="0" rtlCol="0"/>
          <a:lstStyle/>
          <a:p>
            <a:endParaRPr/>
          </a:p>
        </p:txBody>
      </p:sp>
      <p:sp>
        <p:nvSpPr>
          <p:cNvPr id="93" name="object 93"/>
          <p:cNvSpPr txBox="1"/>
          <p:nvPr/>
        </p:nvSpPr>
        <p:spPr>
          <a:xfrm>
            <a:off x="1896142" y="2957771"/>
            <a:ext cx="249809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Foco</a:t>
            </a:r>
            <a:r>
              <a:rPr sz="2400" b="1" spc="-35" dirty="0">
                <a:solidFill>
                  <a:srgbClr val="FFFFFF"/>
                </a:solidFill>
                <a:latin typeface="Arial"/>
                <a:cs typeface="Arial"/>
              </a:rPr>
              <a:t> </a:t>
            </a:r>
            <a:r>
              <a:rPr sz="2400" b="1" spc="130" dirty="0">
                <a:solidFill>
                  <a:srgbClr val="FFFFFF"/>
                </a:solidFill>
                <a:latin typeface="Arial"/>
                <a:cs typeface="Arial"/>
              </a:rPr>
              <a:t>de</a:t>
            </a:r>
            <a:r>
              <a:rPr sz="2400" b="1" spc="-30" dirty="0">
                <a:solidFill>
                  <a:srgbClr val="FFFFFF"/>
                </a:solidFill>
                <a:latin typeface="Arial"/>
                <a:cs typeface="Arial"/>
              </a:rPr>
              <a:t> </a:t>
            </a:r>
            <a:r>
              <a:rPr sz="2400" b="1" spc="175" dirty="0">
                <a:solidFill>
                  <a:srgbClr val="FFFFFF"/>
                </a:solidFill>
                <a:latin typeface="Arial"/>
                <a:cs typeface="Arial"/>
              </a:rPr>
              <a:t>trabajo</a:t>
            </a:r>
            <a:endParaRPr sz="2400">
              <a:latin typeface="Arial"/>
              <a:cs typeface="Arial"/>
            </a:endParaRPr>
          </a:p>
        </p:txBody>
      </p:sp>
      <p:sp>
        <p:nvSpPr>
          <p:cNvPr id="94" name="object 94"/>
          <p:cNvSpPr/>
          <p:nvPr/>
        </p:nvSpPr>
        <p:spPr>
          <a:xfrm>
            <a:off x="1320497" y="1470825"/>
            <a:ext cx="738505" cy="740410"/>
          </a:xfrm>
          <a:custGeom>
            <a:avLst/>
            <a:gdLst/>
            <a:ahLst/>
            <a:cxnLst/>
            <a:rect l="l" t="t" r="r" b="b"/>
            <a:pathLst>
              <a:path w="738505" h="740410">
                <a:moveTo>
                  <a:pt x="374177" y="740409"/>
                </a:moveTo>
                <a:lnTo>
                  <a:pt x="332567" y="740409"/>
                </a:lnTo>
                <a:lnTo>
                  <a:pt x="310585" y="737869"/>
                </a:lnTo>
                <a:lnTo>
                  <a:pt x="307760" y="736599"/>
                </a:lnTo>
                <a:lnTo>
                  <a:pt x="298567" y="736599"/>
                </a:lnTo>
                <a:lnTo>
                  <a:pt x="282618" y="732789"/>
                </a:lnTo>
                <a:lnTo>
                  <a:pt x="256536" y="725169"/>
                </a:lnTo>
                <a:lnTo>
                  <a:pt x="230092" y="716279"/>
                </a:lnTo>
                <a:lnTo>
                  <a:pt x="213058" y="708659"/>
                </a:lnTo>
                <a:lnTo>
                  <a:pt x="199635" y="701039"/>
                </a:lnTo>
                <a:lnTo>
                  <a:pt x="182039" y="692149"/>
                </a:lnTo>
                <a:lnTo>
                  <a:pt x="131425" y="655319"/>
                </a:lnTo>
                <a:lnTo>
                  <a:pt x="83628" y="607059"/>
                </a:lnTo>
                <a:lnTo>
                  <a:pt x="46016" y="551179"/>
                </a:lnTo>
                <a:lnTo>
                  <a:pt x="22542" y="502919"/>
                </a:lnTo>
                <a:lnTo>
                  <a:pt x="21273" y="497839"/>
                </a:lnTo>
                <a:lnTo>
                  <a:pt x="19091" y="490219"/>
                </a:lnTo>
                <a:lnTo>
                  <a:pt x="5457" y="439419"/>
                </a:lnTo>
                <a:lnTo>
                  <a:pt x="996" y="401319"/>
                </a:lnTo>
                <a:lnTo>
                  <a:pt x="0" y="360679"/>
                </a:lnTo>
                <a:lnTo>
                  <a:pt x="2634" y="320039"/>
                </a:lnTo>
                <a:lnTo>
                  <a:pt x="11785" y="274319"/>
                </a:lnTo>
                <a:lnTo>
                  <a:pt x="28113" y="226059"/>
                </a:lnTo>
                <a:lnTo>
                  <a:pt x="49812" y="181609"/>
                </a:lnTo>
                <a:lnTo>
                  <a:pt x="75080" y="144779"/>
                </a:lnTo>
                <a:lnTo>
                  <a:pt x="84948" y="133349"/>
                </a:lnTo>
                <a:lnTo>
                  <a:pt x="89126" y="128269"/>
                </a:lnTo>
                <a:lnTo>
                  <a:pt x="92056" y="124459"/>
                </a:lnTo>
                <a:lnTo>
                  <a:pt x="98711" y="116839"/>
                </a:lnTo>
                <a:lnTo>
                  <a:pt x="107525" y="107949"/>
                </a:lnTo>
                <a:lnTo>
                  <a:pt x="116650" y="99059"/>
                </a:lnTo>
                <a:lnTo>
                  <a:pt x="124236" y="91439"/>
                </a:lnTo>
                <a:lnTo>
                  <a:pt x="127847" y="88899"/>
                </a:lnTo>
                <a:lnTo>
                  <a:pt x="138794" y="80009"/>
                </a:lnTo>
                <a:lnTo>
                  <a:pt x="144783" y="74929"/>
                </a:lnTo>
                <a:lnTo>
                  <a:pt x="150975" y="69849"/>
                </a:lnTo>
                <a:lnTo>
                  <a:pt x="157397" y="64769"/>
                </a:lnTo>
                <a:lnTo>
                  <a:pt x="163292" y="60959"/>
                </a:lnTo>
                <a:lnTo>
                  <a:pt x="167899" y="57149"/>
                </a:lnTo>
                <a:lnTo>
                  <a:pt x="188463" y="45719"/>
                </a:lnTo>
                <a:lnTo>
                  <a:pt x="208697" y="35559"/>
                </a:lnTo>
                <a:lnTo>
                  <a:pt x="225887" y="26669"/>
                </a:lnTo>
                <a:lnTo>
                  <a:pt x="237315" y="21589"/>
                </a:lnTo>
                <a:lnTo>
                  <a:pt x="279904" y="10159"/>
                </a:lnTo>
                <a:lnTo>
                  <a:pt x="310080" y="2539"/>
                </a:lnTo>
                <a:lnTo>
                  <a:pt x="336654" y="0"/>
                </a:lnTo>
                <a:lnTo>
                  <a:pt x="396126" y="0"/>
                </a:lnTo>
                <a:lnTo>
                  <a:pt x="421865" y="2539"/>
                </a:lnTo>
                <a:lnTo>
                  <a:pt x="443702" y="5079"/>
                </a:lnTo>
                <a:lnTo>
                  <a:pt x="459690" y="8889"/>
                </a:lnTo>
                <a:lnTo>
                  <a:pt x="465210" y="11429"/>
                </a:lnTo>
                <a:lnTo>
                  <a:pt x="472627" y="12699"/>
                </a:lnTo>
                <a:lnTo>
                  <a:pt x="489271" y="17779"/>
                </a:lnTo>
                <a:lnTo>
                  <a:pt x="504791" y="24129"/>
                </a:lnTo>
                <a:lnTo>
                  <a:pt x="522293" y="31749"/>
                </a:lnTo>
                <a:lnTo>
                  <a:pt x="340222" y="31749"/>
                </a:lnTo>
                <a:lnTo>
                  <a:pt x="332737" y="33019"/>
                </a:lnTo>
                <a:lnTo>
                  <a:pt x="322519" y="36829"/>
                </a:lnTo>
                <a:lnTo>
                  <a:pt x="307956" y="43179"/>
                </a:lnTo>
                <a:lnTo>
                  <a:pt x="289391" y="53339"/>
                </a:lnTo>
                <a:lnTo>
                  <a:pt x="278182" y="62229"/>
                </a:lnTo>
                <a:lnTo>
                  <a:pt x="227635" y="62229"/>
                </a:lnTo>
                <a:lnTo>
                  <a:pt x="180275" y="86359"/>
                </a:lnTo>
                <a:lnTo>
                  <a:pt x="138819" y="120649"/>
                </a:lnTo>
                <a:lnTo>
                  <a:pt x="101957" y="160019"/>
                </a:lnTo>
                <a:lnTo>
                  <a:pt x="96906" y="168909"/>
                </a:lnTo>
                <a:lnTo>
                  <a:pt x="106805" y="172719"/>
                </a:lnTo>
                <a:lnTo>
                  <a:pt x="127198" y="173989"/>
                </a:lnTo>
                <a:lnTo>
                  <a:pt x="684505" y="173989"/>
                </a:lnTo>
                <a:lnTo>
                  <a:pt x="689561" y="181609"/>
                </a:lnTo>
                <a:lnTo>
                  <a:pt x="698330" y="198119"/>
                </a:lnTo>
                <a:lnTo>
                  <a:pt x="699021" y="199389"/>
                </a:lnTo>
                <a:lnTo>
                  <a:pt x="623172" y="199389"/>
                </a:lnTo>
                <a:lnTo>
                  <a:pt x="597183" y="200659"/>
                </a:lnTo>
                <a:lnTo>
                  <a:pt x="590597" y="201929"/>
                </a:lnTo>
                <a:lnTo>
                  <a:pt x="82930" y="201929"/>
                </a:lnTo>
                <a:lnTo>
                  <a:pt x="54333" y="241299"/>
                </a:lnTo>
                <a:lnTo>
                  <a:pt x="37744" y="290829"/>
                </a:lnTo>
                <a:lnTo>
                  <a:pt x="32317" y="341629"/>
                </a:lnTo>
                <a:lnTo>
                  <a:pt x="34281" y="350519"/>
                </a:lnTo>
                <a:lnTo>
                  <a:pt x="37566" y="351789"/>
                </a:lnTo>
                <a:lnTo>
                  <a:pt x="44675" y="353059"/>
                </a:lnTo>
                <a:lnTo>
                  <a:pt x="737670" y="353059"/>
                </a:lnTo>
                <a:lnTo>
                  <a:pt x="738021" y="364489"/>
                </a:lnTo>
                <a:lnTo>
                  <a:pt x="737818" y="379729"/>
                </a:lnTo>
                <a:lnTo>
                  <a:pt x="659422" y="379729"/>
                </a:lnTo>
                <a:lnTo>
                  <a:pt x="628185" y="380999"/>
                </a:lnTo>
                <a:lnTo>
                  <a:pt x="611969" y="382269"/>
                </a:lnTo>
                <a:lnTo>
                  <a:pt x="63137" y="382269"/>
                </a:lnTo>
                <a:lnTo>
                  <a:pt x="49141" y="383539"/>
                </a:lnTo>
                <a:lnTo>
                  <a:pt x="39032" y="383539"/>
                </a:lnTo>
                <a:lnTo>
                  <a:pt x="34293" y="384809"/>
                </a:lnTo>
                <a:lnTo>
                  <a:pt x="30988" y="402589"/>
                </a:lnTo>
                <a:lnTo>
                  <a:pt x="36085" y="438149"/>
                </a:lnTo>
                <a:lnTo>
                  <a:pt x="47234" y="480059"/>
                </a:lnTo>
                <a:lnTo>
                  <a:pt x="62084" y="518159"/>
                </a:lnTo>
                <a:lnTo>
                  <a:pt x="91852" y="544829"/>
                </a:lnTo>
                <a:lnTo>
                  <a:pt x="696813" y="544829"/>
                </a:lnTo>
                <a:lnTo>
                  <a:pt x="688434" y="561339"/>
                </a:lnTo>
                <a:lnTo>
                  <a:pt x="680489" y="572769"/>
                </a:lnTo>
                <a:lnTo>
                  <a:pt x="342846" y="572769"/>
                </a:lnTo>
                <a:lnTo>
                  <a:pt x="329222" y="574039"/>
                </a:lnTo>
                <a:lnTo>
                  <a:pt x="318758" y="575309"/>
                </a:lnTo>
                <a:lnTo>
                  <a:pt x="115954" y="575309"/>
                </a:lnTo>
                <a:lnTo>
                  <a:pt x="106686" y="576579"/>
                </a:lnTo>
                <a:lnTo>
                  <a:pt x="102218" y="577849"/>
                </a:lnTo>
                <a:lnTo>
                  <a:pt x="101060" y="579119"/>
                </a:lnTo>
                <a:lnTo>
                  <a:pt x="108484" y="590549"/>
                </a:lnTo>
                <a:lnTo>
                  <a:pt x="147834" y="629919"/>
                </a:lnTo>
                <a:lnTo>
                  <a:pt x="191234" y="662939"/>
                </a:lnTo>
                <a:lnTo>
                  <a:pt x="226354" y="679449"/>
                </a:lnTo>
                <a:lnTo>
                  <a:pt x="279139" y="679449"/>
                </a:lnTo>
                <a:lnTo>
                  <a:pt x="306028" y="698499"/>
                </a:lnTo>
                <a:lnTo>
                  <a:pt x="335019" y="706119"/>
                </a:lnTo>
                <a:lnTo>
                  <a:pt x="380211" y="706119"/>
                </a:lnTo>
                <a:lnTo>
                  <a:pt x="380402" y="708659"/>
                </a:lnTo>
                <a:lnTo>
                  <a:pt x="387301" y="709929"/>
                </a:lnTo>
                <a:lnTo>
                  <a:pt x="523621" y="709929"/>
                </a:lnTo>
                <a:lnTo>
                  <a:pt x="515186" y="713739"/>
                </a:lnTo>
                <a:lnTo>
                  <a:pt x="493868" y="721359"/>
                </a:lnTo>
                <a:lnTo>
                  <a:pt x="470341" y="728979"/>
                </a:lnTo>
                <a:lnTo>
                  <a:pt x="446847" y="735329"/>
                </a:lnTo>
                <a:lnTo>
                  <a:pt x="418056" y="737869"/>
                </a:lnTo>
                <a:lnTo>
                  <a:pt x="374177" y="740409"/>
                </a:lnTo>
                <a:close/>
              </a:path>
              <a:path w="738505" h="740410">
                <a:moveTo>
                  <a:pt x="682819" y="171449"/>
                </a:moveTo>
                <a:lnTo>
                  <a:pt x="275428" y="171449"/>
                </a:lnTo>
                <a:lnTo>
                  <a:pt x="325323" y="170179"/>
                </a:lnTo>
                <a:lnTo>
                  <a:pt x="349554" y="167639"/>
                </a:lnTo>
                <a:lnTo>
                  <a:pt x="352887" y="125729"/>
                </a:lnTo>
                <a:lnTo>
                  <a:pt x="353013" y="34289"/>
                </a:lnTo>
                <a:lnTo>
                  <a:pt x="346585" y="31749"/>
                </a:lnTo>
                <a:lnTo>
                  <a:pt x="389594" y="31749"/>
                </a:lnTo>
                <a:lnTo>
                  <a:pt x="382893" y="100329"/>
                </a:lnTo>
                <a:lnTo>
                  <a:pt x="382232" y="149859"/>
                </a:lnTo>
                <a:lnTo>
                  <a:pt x="382841" y="161289"/>
                </a:lnTo>
                <a:lnTo>
                  <a:pt x="384113" y="167639"/>
                </a:lnTo>
                <a:lnTo>
                  <a:pt x="388686" y="168909"/>
                </a:lnTo>
                <a:lnTo>
                  <a:pt x="400835" y="170179"/>
                </a:lnTo>
                <a:lnTo>
                  <a:pt x="681976" y="170179"/>
                </a:lnTo>
                <a:lnTo>
                  <a:pt x="682819" y="171449"/>
                </a:lnTo>
                <a:close/>
              </a:path>
              <a:path w="738505" h="740410">
                <a:moveTo>
                  <a:pt x="587763" y="170179"/>
                </a:moveTo>
                <a:lnTo>
                  <a:pt x="511690" y="170179"/>
                </a:lnTo>
                <a:lnTo>
                  <a:pt x="527771" y="168909"/>
                </a:lnTo>
                <a:lnTo>
                  <a:pt x="534052" y="168909"/>
                </a:lnTo>
                <a:lnTo>
                  <a:pt x="531604" y="160019"/>
                </a:lnTo>
                <a:lnTo>
                  <a:pt x="511015" y="123189"/>
                </a:lnTo>
                <a:lnTo>
                  <a:pt x="482666" y="86359"/>
                </a:lnTo>
                <a:lnTo>
                  <a:pt x="446963" y="54609"/>
                </a:lnTo>
                <a:lnTo>
                  <a:pt x="413125" y="36829"/>
                </a:lnTo>
                <a:lnTo>
                  <a:pt x="395196" y="31749"/>
                </a:lnTo>
                <a:lnTo>
                  <a:pt x="522293" y="31749"/>
                </a:lnTo>
                <a:lnTo>
                  <a:pt x="541149" y="40639"/>
                </a:lnTo>
                <a:lnTo>
                  <a:pt x="560728" y="52069"/>
                </a:lnTo>
                <a:lnTo>
                  <a:pt x="565719" y="54609"/>
                </a:lnTo>
                <a:lnTo>
                  <a:pt x="501570" y="54609"/>
                </a:lnTo>
                <a:lnTo>
                  <a:pt x="501667" y="57149"/>
                </a:lnTo>
                <a:lnTo>
                  <a:pt x="505994" y="64769"/>
                </a:lnTo>
                <a:lnTo>
                  <a:pt x="513860" y="76199"/>
                </a:lnTo>
                <a:lnTo>
                  <a:pt x="524575" y="90169"/>
                </a:lnTo>
                <a:lnTo>
                  <a:pt x="531550" y="99059"/>
                </a:lnTo>
                <a:lnTo>
                  <a:pt x="539580" y="111759"/>
                </a:lnTo>
                <a:lnTo>
                  <a:pt x="547671" y="125729"/>
                </a:lnTo>
                <a:lnTo>
                  <a:pt x="554831" y="138429"/>
                </a:lnTo>
                <a:lnTo>
                  <a:pt x="561124" y="149859"/>
                </a:lnTo>
                <a:lnTo>
                  <a:pt x="566858" y="160019"/>
                </a:lnTo>
                <a:lnTo>
                  <a:pt x="571398" y="166369"/>
                </a:lnTo>
                <a:lnTo>
                  <a:pt x="574113" y="168909"/>
                </a:lnTo>
                <a:lnTo>
                  <a:pt x="587763" y="170179"/>
                </a:lnTo>
                <a:close/>
              </a:path>
              <a:path w="738505" h="740410">
                <a:moveTo>
                  <a:pt x="681976" y="170179"/>
                </a:moveTo>
                <a:lnTo>
                  <a:pt x="631931" y="170179"/>
                </a:lnTo>
                <a:lnTo>
                  <a:pt x="642039" y="168909"/>
                </a:lnTo>
                <a:lnTo>
                  <a:pt x="638178" y="161289"/>
                </a:lnTo>
                <a:lnTo>
                  <a:pt x="610391" y="129539"/>
                </a:lnTo>
                <a:lnTo>
                  <a:pt x="577783" y="99059"/>
                </a:lnTo>
                <a:lnTo>
                  <a:pt x="538624" y="73659"/>
                </a:lnTo>
                <a:lnTo>
                  <a:pt x="507110" y="57149"/>
                </a:lnTo>
                <a:lnTo>
                  <a:pt x="502583" y="54609"/>
                </a:lnTo>
                <a:lnTo>
                  <a:pt x="565719" y="54609"/>
                </a:lnTo>
                <a:lnTo>
                  <a:pt x="568214" y="55879"/>
                </a:lnTo>
                <a:lnTo>
                  <a:pt x="575027" y="59689"/>
                </a:lnTo>
                <a:lnTo>
                  <a:pt x="576712" y="59689"/>
                </a:lnTo>
                <a:lnTo>
                  <a:pt x="584470" y="66039"/>
                </a:lnTo>
                <a:lnTo>
                  <a:pt x="593111" y="73659"/>
                </a:lnTo>
                <a:lnTo>
                  <a:pt x="600180" y="78739"/>
                </a:lnTo>
                <a:lnTo>
                  <a:pt x="607814" y="85089"/>
                </a:lnTo>
                <a:lnTo>
                  <a:pt x="615096" y="91439"/>
                </a:lnTo>
                <a:lnTo>
                  <a:pt x="621105" y="96519"/>
                </a:lnTo>
                <a:lnTo>
                  <a:pt x="637035" y="113029"/>
                </a:lnTo>
                <a:lnTo>
                  <a:pt x="656964" y="135889"/>
                </a:lnTo>
                <a:lnTo>
                  <a:pt x="676077" y="161289"/>
                </a:lnTo>
                <a:lnTo>
                  <a:pt x="681976" y="170179"/>
                </a:lnTo>
                <a:close/>
              </a:path>
              <a:path w="738505" h="740410">
                <a:moveTo>
                  <a:pt x="684505" y="173989"/>
                </a:moveTo>
                <a:lnTo>
                  <a:pt x="127198" y="173989"/>
                </a:lnTo>
                <a:lnTo>
                  <a:pt x="148396" y="172719"/>
                </a:lnTo>
                <a:lnTo>
                  <a:pt x="160711" y="170179"/>
                </a:lnTo>
                <a:lnTo>
                  <a:pt x="163376" y="166369"/>
                </a:lnTo>
                <a:lnTo>
                  <a:pt x="167620" y="160019"/>
                </a:lnTo>
                <a:lnTo>
                  <a:pt x="172859" y="149859"/>
                </a:lnTo>
                <a:lnTo>
                  <a:pt x="178508" y="139699"/>
                </a:lnTo>
                <a:lnTo>
                  <a:pt x="185321" y="126999"/>
                </a:lnTo>
                <a:lnTo>
                  <a:pt x="193729" y="113029"/>
                </a:lnTo>
                <a:lnTo>
                  <a:pt x="202663" y="100329"/>
                </a:lnTo>
                <a:lnTo>
                  <a:pt x="211056" y="88899"/>
                </a:lnTo>
                <a:lnTo>
                  <a:pt x="218357" y="78739"/>
                </a:lnTo>
                <a:lnTo>
                  <a:pt x="223853" y="69849"/>
                </a:lnTo>
                <a:lnTo>
                  <a:pt x="227095" y="64769"/>
                </a:lnTo>
                <a:lnTo>
                  <a:pt x="227635" y="62229"/>
                </a:lnTo>
                <a:lnTo>
                  <a:pt x="278182" y="62229"/>
                </a:lnTo>
                <a:lnTo>
                  <a:pt x="270176" y="68579"/>
                </a:lnTo>
                <a:lnTo>
                  <a:pt x="251632" y="86359"/>
                </a:lnTo>
                <a:lnTo>
                  <a:pt x="221171" y="125729"/>
                </a:lnTo>
                <a:lnTo>
                  <a:pt x="201513" y="162559"/>
                </a:lnTo>
                <a:lnTo>
                  <a:pt x="200476" y="170179"/>
                </a:lnTo>
                <a:lnTo>
                  <a:pt x="225327" y="171449"/>
                </a:lnTo>
                <a:lnTo>
                  <a:pt x="682819" y="171449"/>
                </a:lnTo>
                <a:lnTo>
                  <a:pt x="684505" y="173989"/>
                </a:lnTo>
                <a:close/>
              </a:path>
              <a:path w="738505" h="740410">
                <a:moveTo>
                  <a:pt x="737631" y="351789"/>
                </a:moveTo>
                <a:lnTo>
                  <a:pt x="657105" y="351789"/>
                </a:lnTo>
                <a:lnTo>
                  <a:pt x="688803" y="350519"/>
                </a:lnTo>
                <a:lnTo>
                  <a:pt x="705856" y="347979"/>
                </a:lnTo>
                <a:lnTo>
                  <a:pt x="707992" y="345439"/>
                </a:lnTo>
                <a:lnTo>
                  <a:pt x="708818" y="341629"/>
                </a:lnTo>
                <a:lnTo>
                  <a:pt x="708393" y="334009"/>
                </a:lnTo>
                <a:lnTo>
                  <a:pt x="699473" y="285749"/>
                </a:lnTo>
                <a:lnTo>
                  <a:pt x="687799" y="248919"/>
                </a:lnTo>
                <a:lnTo>
                  <a:pt x="663026" y="200659"/>
                </a:lnTo>
                <a:lnTo>
                  <a:pt x="649334" y="199389"/>
                </a:lnTo>
                <a:lnTo>
                  <a:pt x="699021" y="199389"/>
                </a:lnTo>
                <a:lnTo>
                  <a:pt x="720811" y="251459"/>
                </a:lnTo>
                <a:lnTo>
                  <a:pt x="733949" y="297179"/>
                </a:lnTo>
                <a:lnTo>
                  <a:pt x="736813" y="325119"/>
                </a:lnTo>
                <a:lnTo>
                  <a:pt x="737631" y="351789"/>
                </a:lnTo>
                <a:close/>
              </a:path>
              <a:path w="738505" h="740410">
                <a:moveTo>
                  <a:pt x="737670" y="353059"/>
                </a:moveTo>
                <a:lnTo>
                  <a:pt x="101913" y="353059"/>
                </a:lnTo>
                <a:lnTo>
                  <a:pt x="115140" y="351789"/>
                </a:lnTo>
                <a:lnTo>
                  <a:pt x="122037" y="350519"/>
                </a:lnTo>
                <a:lnTo>
                  <a:pt x="125109" y="347979"/>
                </a:lnTo>
                <a:lnTo>
                  <a:pt x="126804" y="345439"/>
                </a:lnTo>
                <a:lnTo>
                  <a:pt x="128513" y="335279"/>
                </a:lnTo>
                <a:lnTo>
                  <a:pt x="128906" y="325119"/>
                </a:lnTo>
                <a:lnTo>
                  <a:pt x="131704" y="297179"/>
                </a:lnTo>
                <a:lnTo>
                  <a:pt x="137328" y="262889"/>
                </a:lnTo>
                <a:lnTo>
                  <a:pt x="143905" y="231139"/>
                </a:lnTo>
                <a:lnTo>
                  <a:pt x="149562" y="212089"/>
                </a:lnTo>
                <a:lnTo>
                  <a:pt x="151266" y="207009"/>
                </a:lnTo>
                <a:lnTo>
                  <a:pt x="147404" y="203199"/>
                </a:lnTo>
                <a:lnTo>
                  <a:pt x="135655" y="201929"/>
                </a:lnTo>
                <a:lnTo>
                  <a:pt x="212076" y="201929"/>
                </a:lnTo>
                <a:lnTo>
                  <a:pt x="194284" y="203199"/>
                </a:lnTo>
                <a:lnTo>
                  <a:pt x="187004" y="203199"/>
                </a:lnTo>
                <a:lnTo>
                  <a:pt x="183088" y="209549"/>
                </a:lnTo>
                <a:lnTo>
                  <a:pt x="169027" y="257809"/>
                </a:lnTo>
                <a:lnTo>
                  <a:pt x="160491" y="312419"/>
                </a:lnTo>
                <a:lnTo>
                  <a:pt x="158474" y="334009"/>
                </a:lnTo>
                <a:lnTo>
                  <a:pt x="158573" y="345439"/>
                </a:lnTo>
                <a:lnTo>
                  <a:pt x="158628" y="347979"/>
                </a:lnTo>
                <a:lnTo>
                  <a:pt x="162833" y="349249"/>
                </a:lnTo>
                <a:lnTo>
                  <a:pt x="176935" y="350519"/>
                </a:lnTo>
                <a:lnTo>
                  <a:pt x="412598" y="350519"/>
                </a:lnTo>
                <a:lnTo>
                  <a:pt x="477317" y="351789"/>
                </a:lnTo>
                <a:lnTo>
                  <a:pt x="737631" y="351789"/>
                </a:lnTo>
                <a:lnTo>
                  <a:pt x="737670" y="353059"/>
                </a:lnTo>
                <a:close/>
              </a:path>
              <a:path w="738505" h="740410">
                <a:moveTo>
                  <a:pt x="412598" y="350519"/>
                </a:moveTo>
                <a:lnTo>
                  <a:pt x="349151" y="350519"/>
                </a:lnTo>
                <a:lnTo>
                  <a:pt x="350438" y="279399"/>
                </a:lnTo>
                <a:lnTo>
                  <a:pt x="350525" y="271779"/>
                </a:lnTo>
                <a:lnTo>
                  <a:pt x="350650" y="226059"/>
                </a:lnTo>
                <a:lnTo>
                  <a:pt x="330890" y="201929"/>
                </a:lnTo>
                <a:lnTo>
                  <a:pt x="590597" y="201929"/>
                </a:lnTo>
                <a:lnTo>
                  <a:pt x="584012" y="203199"/>
                </a:lnTo>
                <a:lnTo>
                  <a:pt x="382573" y="203199"/>
                </a:lnTo>
                <a:lnTo>
                  <a:pt x="381311" y="271779"/>
                </a:lnTo>
                <a:lnTo>
                  <a:pt x="381058" y="292099"/>
                </a:lnTo>
                <a:lnTo>
                  <a:pt x="381100" y="328929"/>
                </a:lnTo>
                <a:lnTo>
                  <a:pt x="381361" y="340359"/>
                </a:lnTo>
                <a:lnTo>
                  <a:pt x="382058" y="347979"/>
                </a:lnTo>
                <a:lnTo>
                  <a:pt x="412598" y="350519"/>
                </a:lnTo>
                <a:close/>
              </a:path>
              <a:path w="738505" h="740410">
                <a:moveTo>
                  <a:pt x="657105" y="351789"/>
                </a:moveTo>
                <a:lnTo>
                  <a:pt x="477317" y="351789"/>
                </a:lnTo>
                <a:lnTo>
                  <a:pt x="542274" y="350519"/>
                </a:lnTo>
                <a:lnTo>
                  <a:pt x="573527" y="347979"/>
                </a:lnTo>
                <a:lnTo>
                  <a:pt x="571029" y="292099"/>
                </a:lnTo>
                <a:lnTo>
                  <a:pt x="563501" y="248919"/>
                </a:lnTo>
                <a:lnTo>
                  <a:pt x="549525" y="203199"/>
                </a:lnTo>
                <a:lnTo>
                  <a:pt x="584012" y="203199"/>
                </a:lnTo>
                <a:lnTo>
                  <a:pt x="581844" y="205739"/>
                </a:lnTo>
                <a:lnTo>
                  <a:pt x="582212" y="208279"/>
                </a:lnTo>
                <a:lnTo>
                  <a:pt x="585454" y="215899"/>
                </a:lnTo>
                <a:lnTo>
                  <a:pt x="587438" y="220979"/>
                </a:lnTo>
                <a:lnTo>
                  <a:pt x="589619" y="228599"/>
                </a:lnTo>
                <a:lnTo>
                  <a:pt x="591733" y="237489"/>
                </a:lnTo>
                <a:lnTo>
                  <a:pt x="593516" y="246379"/>
                </a:lnTo>
                <a:lnTo>
                  <a:pt x="595165" y="255269"/>
                </a:lnTo>
                <a:lnTo>
                  <a:pt x="596915" y="264159"/>
                </a:lnTo>
                <a:lnTo>
                  <a:pt x="598555" y="271779"/>
                </a:lnTo>
                <a:lnTo>
                  <a:pt x="599879" y="276859"/>
                </a:lnTo>
                <a:lnTo>
                  <a:pt x="601038" y="281939"/>
                </a:lnTo>
                <a:lnTo>
                  <a:pt x="602231" y="290829"/>
                </a:lnTo>
                <a:lnTo>
                  <a:pt x="603317" y="302259"/>
                </a:lnTo>
                <a:lnTo>
                  <a:pt x="605095" y="327659"/>
                </a:lnTo>
                <a:lnTo>
                  <a:pt x="606270" y="337819"/>
                </a:lnTo>
                <a:lnTo>
                  <a:pt x="607701" y="344169"/>
                </a:lnTo>
                <a:lnTo>
                  <a:pt x="609412" y="347979"/>
                </a:lnTo>
                <a:lnTo>
                  <a:pt x="625672" y="350519"/>
                </a:lnTo>
                <a:lnTo>
                  <a:pt x="657105" y="351789"/>
                </a:lnTo>
                <a:close/>
              </a:path>
              <a:path w="738505" h="740410">
                <a:moveTo>
                  <a:pt x="698102" y="542289"/>
                </a:moveTo>
                <a:lnTo>
                  <a:pt x="643901" y="542289"/>
                </a:lnTo>
                <a:lnTo>
                  <a:pt x="655925" y="541019"/>
                </a:lnTo>
                <a:lnTo>
                  <a:pt x="662068" y="539749"/>
                </a:lnTo>
                <a:lnTo>
                  <a:pt x="665801" y="535939"/>
                </a:lnTo>
                <a:lnTo>
                  <a:pt x="673328" y="525779"/>
                </a:lnTo>
                <a:lnTo>
                  <a:pt x="694650" y="473709"/>
                </a:lnTo>
                <a:lnTo>
                  <a:pt x="707629" y="414019"/>
                </a:lnTo>
                <a:lnTo>
                  <a:pt x="709547" y="392429"/>
                </a:lnTo>
                <a:lnTo>
                  <a:pt x="707460" y="382269"/>
                </a:lnTo>
                <a:lnTo>
                  <a:pt x="690806" y="379729"/>
                </a:lnTo>
                <a:lnTo>
                  <a:pt x="737818" y="379729"/>
                </a:lnTo>
                <a:lnTo>
                  <a:pt x="737479" y="405129"/>
                </a:lnTo>
                <a:lnTo>
                  <a:pt x="735092" y="434339"/>
                </a:lnTo>
                <a:lnTo>
                  <a:pt x="724635" y="478789"/>
                </a:lnTo>
                <a:lnTo>
                  <a:pt x="709058" y="520699"/>
                </a:lnTo>
                <a:lnTo>
                  <a:pt x="698102" y="542289"/>
                </a:lnTo>
                <a:close/>
              </a:path>
              <a:path w="738505" h="740410">
                <a:moveTo>
                  <a:pt x="190142" y="383539"/>
                </a:moveTo>
                <a:lnTo>
                  <a:pt x="112912" y="383539"/>
                </a:lnTo>
                <a:lnTo>
                  <a:pt x="99687" y="382269"/>
                </a:lnTo>
                <a:lnTo>
                  <a:pt x="220336" y="382269"/>
                </a:lnTo>
                <a:lnTo>
                  <a:pt x="190142" y="383539"/>
                </a:lnTo>
                <a:close/>
              </a:path>
              <a:path w="738505" h="740410">
                <a:moveTo>
                  <a:pt x="696813" y="544829"/>
                </a:moveTo>
                <a:lnTo>
                  <a:pt x="345429" y="544829"/>
                </a:lnTo>
                <a:lnTo>
                  <a:pt x="347976" y="538479"/>
                </a:lnTo>
                <a:lnTo>
                  <a:pt x="348969" y="529589"/>
                </a:lnTo>
                <a:lnTo>
                  <a:pt x="349635" y="513079"/>
                </a:lnTo>
                <a:lnTo>
                  <a:pt x="349801" y="499109"/>
                </a:lnTo>
                <a:lnTo>
                  <a:pt x="349917" y="481329"/>
                </a:lnTo>
                <a:lnTo>
                  <a:pt x="349805" y="453389"/>
                </a:lnTo>
                <a:lnTo>
                  <a:pt x="349159" y="383539"/>
                </a:lnTo>
                <a:lnTo>
                  <a:pt x="256604" y="382269"/>
                </a:lnTo>
                <a:lnTo>
                  <a:pt x="413620" y="382269"/>
                </a:lnTo>
                <a:lnTo>
                  <a:pt x="383395" y="384809"/>
                </a:lnTo>
                <a:lnTo>
                  <a:pt x="381502" y="407669"/>
                </a:lnTo>
                <a:lnTo>
                  <a:pt x="379839" y="457199"/>
                </a:lnTo>
                <a:lnTo>
                  <a:pt x="379108" y="502919"/>
                </a:lnTo>
                <a:lnTo>
                  <a:pt x="379147" y="513079"/>
                </a:lnTo>
                <a:lnTo>
                  <a:pt x="379685" y="535939"/>
                </a:lnTo>
                <a:lnTo>
                  <a:pt x="381393" y="542289"/>
                </a:lnTo>
                <a:lnTo>
                  <a:pt x="698102" y="542289"/>
                </a:lnTo>
                <a:lnTo>
                  <a:pt x="696813" y="544829"/>
                </a:lnTo>
                <a:close/>
              </a:path>
              <a:path w="738505" h="740410">
                <a:moveTo>
                  <a:pt x="584405" y="542289"/>
                </a:moveTo>
                <a:lnTo>
                  <a:pt x="545718" y="542289"/>
                </a:lnTo>
                <a:lnTo>
                  <a:pt x="549344" y="535939"/>
                </a:lnTo>
                <a:lnTo>
                  <a:pt x="560532" y="504189"/>
                </a:lnTo>
                <a:lnTo>
                  <a:pt x="570584" y="453389"/>
                </a:lnTo>
                <a:lnTo>
                  <a:pt x="576026" y="407669"/>
                </a:lnTo>
                <a:lnTo>
                  <a:pt x="576056" y="405129"/>
                </a:lnTo>
                <a:lnTo>
                  <a:pt x="573992" y="383539"/>
                </a:lnTo>
                <a:lnTo>
                  <a:pt x="542945" y="382269"/>
                </a:lnTo>
                <a:lnTo>
                  <a:pt x="611969" y="382269"/>
                </a:lnTo>
                <a:lnTo>
                  <a:pt x="609780" y="386079"/>
                </a:lnTo>
                <a:lnTo>
                  <a:pt x="608039" y="392429"/>
                </a:lnTo>
                <a:lnTo>
                  <a:pt x="606535" y="402589"/>
                </a:lnTo>
                <a:lnTo>
                  <a:pt x="605057" y="419099"/>
                </a:lnTo>
                <a:lnTo>
                  <a:pt x="601969" y="448309"/>
                </a:lnTo>
                <a:lnTo>
                  <a:pt x="597563" y="477519"/>
                </a:lnTo>
                <a:lnTo>
                  <a:pt x="592636" y="502919"/>
                </a:lnTo>
                <a:lnTo>
                  <a:pt x="587986" y="518159"/>
                </a:lnTo>
                <a:lnTo>
                  <a:pt x="586016" y="523239"/>
                </a:lnTo>
                <a:lnTo>
                  <a:pt x="584405" y="530859"/>
                </a:lnTo>
                <a:lnTo>
                  <a:pt x="584405" y="542289"/>
                </a:lnTo>
                <a:close/>
              </a:path>
              <a:path w="738505" h="740410">
                <a:moveTo>
                  <a:pt x="196355" y="543559"/>
                </a:moveTo>
                <a:lnTo>
                  <a:pt x="148273" y="543559"/>
                </a:lnTo>
                <a:lnTo>
                  <a:pt x="151317" y="542289"/>
                </a:lnTo>
                <a:lnTo>
                  <a:pt x="152257" y="541019"/>
                </a:lnTo>
                <a:lnTo>
                  <a:pt x="151224" y="534669"/>
                </a:lnTo>
                <a:lnTo>
                  <a:pt x="149020" y="528319"/>
                </a:lnTo>
                <a:lnTo>
                  <a:pt x="143274" y="506729"/>
                </a:lnTo>
                <a:lnTo>
                  <a:pt x="136874" y="474979"/>
                </a:lnTo>
                <a:lnTo>
                  <a:pt x="131388" y="441959"/>
                </a:lnTo>
                <a:lnTo>
                  <a:pt x="128389" y="415289"/>
                </a:lnTo>
                <a:lnTo>
                  <a:pt x="127566" y="405129"/>
                </a:lnTo>
                <a:lnTo>
                  <a:pt x="126451" y="396239"/>
                </a:lnTo>
                <a:lnTo>
                  <a:pt x="125191" y="388619"/>
                </a:lnTo>
                <a:lnTo>
                  <a:pt x="123932" y="386079"/>
                </a:lnTo>
                <a:lnTo>
                  <a:pt x="120548" y="383539"/>
                </a:lnTo>
                <a:lnTo>
                  <a:pt x="169142" y="383539"/>
                </a:lnTo>
                <a:lnTo>
                  <a:pt x="160458" y="384809"/>
                </a:lnTo>
                <a:lnTo>
                  <a:pt x="158734" y="387349"/>
                </a:lnTo>
                <a:lnTo>
                  <a:pt x="158063" y="392429"/>
                </a:lnTo>
                <a:lnTo>
                  <a:pt x="158410" y="402589"/>
                </a:lnTo>
                <a:lnTo>
                  <a:pt x="164917" y="461009"/>
                </a:lnTo>
                <a:lnTo>
                  <a:pt x="172526" y="499109"/>
                </a:lnTo>
                <a:lnTo>
                  <a:pt x="189036" y="542289"/>
                </a:lnTo>
                <a:lnTo>
                  <a:pt x="196355" y="543559"/>
                </a:lnTo>
                <a:close/>
              </a:path>
              <a:path w="738505" h="740410">
                <a:moveTo>
                  <a:pt x="238897" y="544829"/>
                </a:moveTo>
                <a:lnTo>
                  <a:pt x="129806" y="544829"/>
                </a:lnTo>
                <a:lnTo>
                  <a:pt x="140992" y="543559"/>
                </a:lnTo>
                <a:lnTo>
                  <a:pt x="213849" y="543559"/>
                </a:lnTo>
                <a:lnTo>
                  <a:pt x="238897" y="544829"/>
                </a:lnTo>
                <a:close/>
              </a:path>
              <a:path w="738505" h="740410">
                <a:moveTo>
                  <a:pt x="380211" y="706119"/>
                </a:moveTo>
                <a:lnTo>
                  <a:pt x="346588" y="706119"/>
                </a:lnTo>
                <a:lnTo>
                  <a:pt x="347873" y="643889"/>
                </a:lnTo>
                <a:lnTo>
                  <a:pt x="348004" y="633729"/>
                </a:lnTo>
                <a:lnTo>
                  <a:pt x="348094" y="598169"/>
                </a:lnTo>
                <a:lnTo>
                  <a:pt x="347706" y="584199"/>
                </a:lnTo>
                <a:lnTo>
                  <a:pt x="346953" y="577849"/>
                </a:lnTo>
                <a:lnTo>
                  <a:pt x="345024" y="572769"/>
                </a:lnTo>
                <a:lnTo>
                  <a:pt x="458000" y="572769"/>
                </a:lnTo>
                <a:lnTo>
                  <a:pt x="407053" y="574039"/>
                </a:lnTo>
                <a:lnTo>
                  <a:pt x="381798" y="576579"/>
                </a:lnTo>
                <a:lnTo>
                  <a:pt x="379718" y="598169"/>
                </a:lnTo>
                <a:lnTo>
                  <a:pt x="378724" y="638809"/>
                </a:lnTo>
                <a:lnTo>
                  <a:pt x="378778" y="687069"/>
                </a:lnTo>
                <a:lnTo>
                  <a:pt x="380211" y="706119"/>
                </a:lnTo>
                <a:close/>
              </a:path>
              <a:path w="738505" h="740410">
                <a:moveTo>
                  <a:pt x="523621" y="709929"/>
                </a:moveTo>
                <a:lnTo>
                  <a:pt x="387301" y="709929"/>
                </a:lnTo>
                <a:lnTo>
                  <a:pt x="399857" y="707389"/>
                </a:lnTo>
                <a:lnTo>
                  <a:pt x="414978" y="703579"/>
                </a:lnTo>
                <a:lnTo>
                  <a:pt x="455384" y="680719"/>
                </a:lnTo>
                <a:lnTo>
                  <a:pt x="504337" y="628649"/>
                </a:lnTo>
                <a:lnTo>
                  <a:pt x="529058" y="588009"/>
                </a:lnTo>
                <a:lnTo>
                  <a:pt x="532714" y="579119"/>
                </a:lnTo>
                <a:lnTo>
                  <a:pt x="531952" y="576579"/>
                </a:lnTo>
                <a:lnTo>
                  <a:pt x="508384" y="574039"/>
                </a:lnTo>
                <a:lnTo>
                  <a:pt x="458000" y="572769"/>
                </a:lnTo>
                <a:lnTo>
                  <a:pt x="604934" y="572769"/>
                </a:lnTo>
                <a:lnTo>
                  <a:pt x="581580" y="574039"/>
                </a:lnTo>
                <a:lnTo>
                  <a:pt x="569651" y="576579"/>
                </a:lnTo>
                <a:lnTo>
                  <a:pt x="567608" y="579119"/>
                </a:lnTo>
                <a:lnTo>
                  <a:pt x="563913" y="586739"/>
                </a:lnTo>
                <a:lnTo>
                  <a:pt x="559090" y="595629"/>
                </a:lnTo>
                <a:lnTo>
                  <a:pt x="538187" y="632459"/>
                </a:lnTo>
                <a:lnTo>
                  <a:pt x="519882" y="657859"/>
                </a:lnTo>
                <a:lnTo>
                  <a:pt x="511992" y="668019"/>
                </a:lnTo>
                <a:lnTo>
                  <a:pt x="505530" y="676909"/>
                </a:lnTo>
                <a:lnTo>
                  <a:pt x="501164" y="683259"/>
                </a:lnTo>
                <a:lnTo>
                  <a:pt x="499561" y="685799"/>
                </a:lnTo>
                <a:lnTo>
                  <a:pt x="501230" y="687069"/>
                </a:lnTo>
                <a:lnTo>
                  <a:pt x="565939" y="687069"/>
                </a:lnTo>
                <a:lnTo>
                  <a:pt x="555875" y="693419"/>
                </a:lnTo>
                <a:lnTo>
                  <a:pt x="532056" y="706119"/>
                </a:lnTo>
                <a:lnTo>
                  <a:pt x="523621" y="709929"/>
                </a:lnTo>
                <a:close/>
              </a:path>
              <a:path w="738505" h="740410">
                <a:moveTo>
                  <a:pt x="565939" y="687069"/>
                </a:moveTo>
                <a:lnTo>
                  <a:pt x="501230" y="687069"/>
                </a:lnTo>
                <a:lnTo>
                  <a:pt x="505790" y="685799"/>
                </a:lnTo>
                <a:lnTo>
                  <a:pt x="512568" y="683259"/>
                </a:lnTo>
                <a:lnTo>
                  <a:pt x="520895" y="678179"/>
                </a:lnTo>
                <a:lnTo>
                  <a:pt x="527066" y="674369"/>
                </a:lnTo>
                <a:lnTo>
                  <a:pt x="573924" y="645159"/>
                </a:lnTo>
                <a:lnTo>
                  <a:pt x="605671" y="617219"/>
                </a:lnTo>
                <a:lnTo>
                  <a:pt x="639688" y="575309"/>
                </a:lnTo>
                <a:lnTo>
                  <a:pt x="628155" y="574039"/>
                </a:lnTo>
                <a:lnTo>
                  <a:pt x="604934" y="572769"/>
                </a:lnTo>
                <a:lnTo>
                  <a:pt x="680489" y="572769"/>
                </a:lnTo>
                <a:lnTo>
                  <a:pt x="632329" y="633729"/>
                </a:lnTo>
                <a:lnTo>
                  <a:pt x="596991" y="665479"/>
                </a:lnTo>
                <a:lnTo>
                  <a:pt x="571978" y="683259"/>
                </a:lnTo>
                <a:lnTo>
                  <a:pt x="565939" y="687069"/>
                </a:lnTo>
                <a:close/>
              </a:path>
              <a:path w="738505" h="740410">
                <a:moveTo>
                  <a:pt x="279139" y="679449"/>
                </a:moveTo>
                <a:lnTo>
                  <a:pt x="226354" y="679449"/>
                </a:lnTo>
                <a:lnTo>
                  <a:pt x="226709" y="674369"/>
                </a:lnTo>
                <a:lnTo>
                  <a:pt x="213862" y="656589"/>
                </a:lnTo>
                <a:lnTo>
                  <a:pt x="186326" y="615949"/>
                </a:lnTo>
                <a:lnTo>
                  <a:pt x="171201" y="588009"/>
                </a:lnTo>
                <a:lnTo>
                  <a:pt x="163331" y="579119"/>
                </a:lnTo>
                <a:lnTo>
                  <a:pt x="151880" y="576579"/>
                </a:lnTo>
                <a:lnTo>
                  <a:pt x="131513" y="575309"/>
                </a:lnTo>
                <a:lnTo>
                  <a:pt x="225989" y="575309"/>
                </a:lnTo>
                <a:lnTo>
                  <a:pt x="209202" y="576579"/>
                </a:lnTo>
                <a:lnTo>
                  <a:pt x="202521" y="577849"/>
                </a:lnTo>
                <a:lnTo>
                  <a:pt x="201322" y="580389"/>
                </a:lnTo>
                <a:lnTo>
                  <a:pt x="201322" y="582929"/>
                </a:lnTo>
                <a:lnTo>
                  <a:pt x="202353" y="586739"/>
                </a:lnTo>
                <a:lnTo>
                  <a:pt x="204872" y="588009"/>
                </a:lnTo>
                <a:lnTo>
                  <a:pt x="209058" y="594359"/>
                </a:lnTo>
                <a:lnTo>
                  <a:pt x="212915" y="601979"/>
                </a:lnTo>
                <a:lnTo>
                  <a:pt x="238909" y="641349"/>
                </a:lnTo>
                <a:lnTo>
                  <a:pt x="271969" y="674369"/>
                </a:lnTo>
                <a:lnTo>
                  <a:pt x="279139" y="679449"/>
                </a:lnTo>
                <a:close/>
              </a:path>
            </a:pathLst>
          </a:custGeom>
          <a:solidFill>
            <a:srgbClr val="FFFFFF"/>
          </a:solidFill>
        </p:spPr>
        <p:txBody>
          <a:bodyPr wrap="square" lIns="0" tIns="0" rIns="0" bIns="0" rtlCol="0"/>
          <a:lstStyle/>
          <a:p>
            <a:endParaRPr/>
          </a:p>
        </p:txBody>
      </p:sp>
      <p:sp>
        <p:nvSpPr>
          <p:cNvPr id="95" name="object 95"/>
          <p:cNvSpPr/>
          <p:nvPr/>
        </p:nvSpPr>
        <p:spPr>
          <a:xfrm>
            <a:off x="8975583" y="1714498"/>
            <a:ext cx="0" cy="362585"/>
          </a:xfrm>
          <a:custGeom>
            <a:avLst/>
            <a:gdLst/>
            <a:ahLst/>
            <a:cxnLst/>
            <a:rect l="l" t="t" r="r" b="b"/>
            <a:pathLst>
              <a:path h="362585">
                <a:moveTo>
                  <a:pt x="0" y="362038"/>
                </a:moveTo>
                <a:lnTo>
                  <a:pt x="0" y="0"/>
                </a:lnTo>
              </a:path>
            </a:pathLst>
          </a:custGeom>
          <a:ln w="19192">
            <a:solidFill>
              <a:srgbClr val="737373"/>
            </a:solidFill>
          </a:ln>
        </p:spPr>
        <p:txBody>
          <a:bodyPr wrap="square" lIns="0" tIns="0" rIns="0" bIns="0" rtlCol="0"/>
          <a:lstStyle/>
          <a:p>
            <a:endParaRPr/>
          </a:p>
        </p:txBody>
      </p:sp>
      <p:pic>
        <p:nvPicPr>
          <p:cNvPr id="96" name="object 96"/>
          <p:cNvPicPr/>
          <p:nvPr/>
        </p:nvPicPr>
        <p:blipFill>
          <a:blip r:embed="rId22" cstate="print"/>
          <a:stretch>
            <a:fillRect/>
          </a:stretch>
        </p:blipFill>
        <p:spPr>
          <a:xfrm>
            <a:off x="17316450" y="237491"/>
            <a:ext cx="742949" cy="819149"/>
          </a:xfrm>
          <a:prstGeom prst="rect">
            <a:avLst/>
          </a:prstGeom>
        </p:spPr>
      </p:pic>
      <p:grpSp>
        <p:nvGrpSpPr>
          <p:cNvPr id="97" name="object 97"/>
          <p:cNvGrpSpPr/>
          <p:nvPr/>
        </p:nvGrpSpPr>
        <p:grpSpPr>
          <a:xfrm>
            <a:off x="1596198" y="5861134"/>
            <a:ext cx="809625" cy="857885"/>
            <a:chOff x="1596198" y="5861134"/>
            <a:chExt cx="809625" cy="857885"/>
          </a:xfrm>
        </p:grpSpPr>
        <p:sp>
          <p:nvSpPr>
            <p:cNvPr id="98" name="object 98"/>
            <p:cNvSpPr/>
            <p:nvPr/>
          </p:nvSpPr>
          <p:spPr>
            <a:xfrm>
              <a:off x="1828355" y="5861138"/>
              <a:ext cx="344170" cy="855980"/>
            </a:xfrm>
            <a:custGeom>
              <a:avLst/>
              <a:gdLst/>
              <a:ahLst/>
              <a:cxnLst/>
              <a:rect l="l" t="t" r="r" b="b"/>
              <a:pathLst>
                <a:path w="344169" h="855979">
                  <a:moveTo>
                    <a:pt x="26911" y="132080"/>
                  </a:moveTo>
                  <a:lnTo>
                    <a:pt x="23190" y="126238"/>
                  </a:lnTo>
                  <a:lnTo>
                    <a:pt x="11404" y="123621"/>
                  </a:lnTo>
                  <a:lnTo>
                    <a:pt x="5486" y="127292"/>
                  </a:lnTo>
                  <a:lnTo>
                    <a:pt x="0" y="170688"/>
                  </a:lnTo>
                  <a:lnTo>
                    <a:pt x="203" y="179222"/>
                  </a:lnTo>
                  <a:lnTo>
                    <a:pt x="8890" y="213080"/>
                  </a:lnTo>
                  <a:lnTo>
                    <a:pt x="14732" y="213080"/>
                  </a:lnTo>
                  <a:lnTo>
                    <a:pt x="15443" y="213017"/>
                  </a:lnTo>
                  <a:lnTo>
                    <a:pt x="22123" y="211709"/>
                  </a:lnTo>
                  <a:lnTo>
                    <a:pt x="25984" y="205955"/>
                  </a:lnTo>
                  <a:lnTo>
                    <a:pt x="24803" y="200050"/>
                  </a:lnTo>
                  <a:lnTo>
                    <a:pt x="23571" y="192862"/>
                  </a:lnTo>
                  <a:lnTo>
                    <a:pt x="22682" y="185559"/>
                  </a:lnTo>
                  <a:lnTo>
                    <a:pt x="22136" y="178155"/>
                  </a:lnTo>
                  <a:lnTo>
                    <a:pt x="21958" y="170688"/>
                  </a:lnTo>
                  <a:lnTo>
                    <a:pt x="22186" y="162407"/>
                  </a:lnTo>
                  <a:lnTo>
                    <a:pt x="22872" y="154178"/>
                  </a:lnTo>
                  <a:lnTo>
                    <a:pt x="24003" y="146011"/>
                  </a:lnTo>
                  <a:lnTo>
                    <a:pt x="25590" y="137960"/>
                  </a:lnTo>
                  <a:lnTo>
                    <a:pt x="26911" y="132080"/>
                  </a:lnTo>
                  <a:close/>
                </a:path>
                <a:path w="344169" h="855979">
                  <a:moveTo>
                    <a:pt x="96469" y="70967"/>
                  </a:moveTo>
                  <a:lnTo>
                    <a:pt x="69430" y="44094"/>
                  </a:lnTo>
                  <a:lnTo>
                    <a:pt x="62484" y="44094"/>
                  </a:lnTo>
                  <a:lnTo>
                    <a:pt x="53898" y="52616"/>
                  </a:lnTo>
                  <a:lnTo>
                    <a:pt x="53898" y="59537"/>
                  </a:lnTo>
                  <a:lnTo>
                    <a:pt x="76644" y="82143"/>
                  </a:lnTo>
                  <a:lnTo>
                    <a:pt x="78790" y="84277"/>
                  </a:lnTo>
                  <a:lnTo>
                    <a:pt x="81597" y="85344"/>
                  </a:lnTo>
                  <a:lnTo>
                    <a:pt x="87223" y="85344"/>
                  </a:lnTo>
                  <a:lnTo>
                    <a:pt x="90030" y="84277"/>
                  </a:lnTo>
                  <a:lnTo>
                    <a:pt x="96469" y="77889"/>
                  </a:lnTo>
                  <a:lnTo>
                    <a:pt x="96469" y="70967"/>
                  </a:lnTo>
                  <a:close/>
                </a:path>
                <a:path w="344169" h="855979">
                  <a:moveTo>
                    <a:pt x="183057" y="4889"/>
                  </a:moveTo>
                  <a:lnTo>
                    <a:pt x="176695" y="0"/>
                  </a:lnTo>
                  <a:lnTo>
                    <a:pt x="164566" y="0"/>
                  </a:lnTo>
                  <a:lnTo>
                    <a:pt x="158216" y="4889"/>
                  </a:lnTo>
                  <a:lnTo>
                    <a:pt x="158216" y="42887"/>
                  </a:lnTo>
                  <a:lnTo>
                    <a:pt x="164566" y="47777"/>
                  </a:lnTo>
                  <a:lnTo>
                    <a:pt x="170637" y="47777"/>
                  </a:lnTo>
                  <a:lnTo>
                    <a:pt x="176695" y="47777"/>
                  </a:lnTo>
                  <a:lnTo>
                    <a:pt x="183057" y="42887"/>
                  </a:lnTo>
                  <a:lnTo>
                    <a:pt x="183057" y="4889"/>
                  </a:lnTo>
                  <a:close/>
                </a:path>
                <a:path w="344169" h="855979">
                  <a:moveTo>
                    <a:pt x="289521" y="387032"/>
                  </a:moveTo>
                  <a:lnTo>
                    <a:pt x="284518" y="379298"/>
                  </a:lnTo>
                  <a:lnTo>
                    <a:pt x="277939" y="379298"/>
                  </a:lnTo>
                  <a:lnTo>
                    <a:pt x="57543" y="379298"/>
                  </a:lnTo>
                  <a:lnTo>
                    <a:pt x="49974" y="387032"/>
                  </a:lnTo>
                  <a:lnTo>
                    <a:pt x="49974" y="850569"/>
                  </a:lnTo>
                  <a:lnTo>
                    <a:pt x="57543" y="855548"/>
                  </a:lnTo>
                  <a:lnTo>
                    <a:pt x="284518" y="855548"/>
                  </a:lnTo>
                  <a:lnTo>
                    <a:pt x="289521" y="850569"/>
                  </a:lnTo>
                  <a:lnTo>
                    <a:pt x="289521" y="387032"/>
                  </a:lnTo>
                  <a:close/>
                </a:path>
                <a:path w="344169" h="855979">
                  <a:moveTo>
                    <a:pt x="289814" y="49504"/>
                  </a:moveTo>
                  <a:lnTo>
                    <a:pt x="281228" y="40982"/>
                  </a:lnTo>
                  <a:lnTo>
                    <a:pt x="274281" y="40982"/>
                  </a:lnTo>
                  <a:lnTo>
                    <a:pt x="247243" y="67856"/>
                  </a:lnTo>
                  <a:lnTo>
                    <a:pt x="247243" y="74764"/>
                  </a:lnTo>
                  <a:lnTo>
                    <a:pt x="253682" y="81165"/>
                  </a:lnTo>
                  <a:lnTo>
                    <a:pt x="256489" y="82232"/>
                  </a:lnTo>
                  <a:lnTo>
                    <a:pt x="259295" y="82232"/>
                  </a:lnTo>
                  <a:lnTo>
                    <a:pt x="262115" y="82232"/>
                  </a:lnTo>
                  <a:lnTo>
                    <a:pt x="264922" y="81165"/>
                  </a:lnTo>
                  <a:lnTo>
                    <a:pt x="289814" y="56413"/>
                  </a:lnTo>
                  <a:lnTo>
                    <a:pt x="289814" y="49504"/>
                  </a:lnTo>
                  <a:close/>
                </a:path>
                <a:path w="344169" h="855979">
                  <a:moveTo>
                    <a:pt x="328536" y="240703"/>
                  </a:moveTo>
                  <a:lnTo>
                    <a:pt x="326326" y="234696"/>
                  </a:lnTo>
                  <a:lnTo>
                    <a:pt x="320890" y="232016"/>
                  </a:lnTo>
                  <a:lnTo>
                    <a:pt x="315468" y="229336"/>
                  </a:lnTo>
                  <a:lnTo>
                    <a:pt x="308876" y="231533"/>
                  </a:lnTo>
                  <a:lnTo>
                    <a:pt x="306171" y="236931"/>
                  </a:lnTo>
                  <a:lnTo>
                    <a:pt x="282473" y="271411"/>
                  </a:lnTo>
                  <a:lnTo>
                    <a:pt x="250939" y="297484"/>
                  </a:lnTo>
                  <a:lnTo>
                    <a:pt x="213436" y="313982"/>
                  </a:lnTo>
                  <a:lnTo>
                    <a:pt x="171856" y="319747"/>
                  </a:lnTo>
                  <a:lnTo>
                    <a:pt x="130276" y="313982"/>
                  </a:lnTo>
                  <a:lnTo>
                    <a:pt x="92773" y="297484"/>
                  </a:lnTo>
                  <a:lnTo>
                    <a:pt x="61239" y="271411"/>
                  </a:lnTo>
                  <a:lnTo>
                    <a:pt x="37541" y="236931"/>
                  </a:lnTo>
                  <a:lnTo>
                    <a:pt x="34848" y="231533"/>
                  </a:lnTo>
                  <a:lnTo>
                    <a:pt x="28244" y="229323"/>
                  </a:lnTo>
                  <a:lnTo>
                    <a:pt x="17399" y="234696"/>
                  </a:lnTo>
                  <a:lnTo>
                    <a:pt x="15176" y="240703"/>
                  </a:lnTo>
                  <a:lnTo>
                    <a:pt x="17881" y="246100"/>
                  </a:lnTo>
                  <a:lnTo>
                    <a:pt x="45034" y="285546"/>
                  </a:lnTo>
                  <a:lnTo>
                    <a:pt x="81165" y="315239"/>
                  </a:lnTo>
                  <a:lnTo>
                    <a:pt x="124129" y="333971"/>
                  </a:lnTo>
                  <a:lnTo>
                    <a:pt x="171932" y="340499"/>
                  </a:lnTo>
                  <a:lnTo>
                    <a:pt x="219583" y="333971"/>
                  </a:lnTo>
                  <a:lnTo>
                    <a:pt x="262559" y="315239"/>
                  </a:lnTo>
                  <a:lnTo>
                    <a:pt x="298691" y="285546"/>
                  </a:lnTo>
                  <a:lnTo>
                    <a:pt x="325843" y="246100"/>
                  </a:lnTo>
                  <a:lnTo>
                    <a:pt x="328536" y="240703"/>
                  </a:lnTo>
                  <a:close/>
                </a:path>
                <a:path w="344169" h="855979">
                  <a:moveTo>
                    <a:pt x="343712" y="170688"/>
                  </a:moveTo>
                  <a:lnTo>
                    <a:pt x="338188" y="127165"/>
                  </a:lnTo>
                  <a:lnTo>
                    <a:pt x="332308" y="123456"/>
                  </a:lnTo>
                  <a:lnTo>
                    <a:pt x="320484" y="126111"/>
                  </a:lnTo>
                  <a:lnTo>
                    <a:pt x="316763" y="131953"/>
                  </a:lnTo>
                  <a:lnTo>
                    <a:pt x="318096" y="137833"/>
                  </a:lnTo>
                  <a:lnTo>
                    <a:pt x="319697" y="145935"/>
                  </a:lnTo>
                  <a:lnTo>
                    <a:pt x="320840" y="154127"/>
                  </a:lnTo>
                  <a:lnTo>
                    <a:pt x="321525" y="162394"/>
                  </a:lnTo>
                  <a:lnTo>
                    <a:pt x="321754" y="170688"/>
                  </a:lnTo>
                  <a:lnTo>
                    <a:pt x="321576" y="178092"/>
                  </a:lnTo>
                  <a:lnTo>
                    <a:pt x="321017" y="185458"/>
                  </a:lnTo>
                  <a:lnTo>
                    <a:pt x="320116" y="192786"/>
                  </a:lnTo>
                  <a:lnTo>
                    <a:pt x="318846" y="200025"/>
                  </a:lnTo>
                  <a:lnTo>
                    <a:pt x="317665" y="205943"/>
                  </a:lnTo>
                  <a:lnTo>
                    <a:pt x="321525" y="211683"/>
                  </a:lnTo>
                  <a:lnTo>
                    <a:pt x="328193" y="213017"/>
                  </a:lnTo>
                  <a:lnTo>
                    <a:pt x="328917" y="213080"/>
                  </a:lnTo>
                  <a:lnTo>
                    <a:pt x="334759" y="213080"/>
                  </a:lnTo>
                  <a:lnTo>
                    <a:pt x="343509" y="179171"/>
                  </a:lnTo>
                  <a:lnTo>
                    <a:pt x="343712" y="170688"/>
                  </a:lnTo>
                  <a:close/>
                </a:path>
              </a:pathLst>
            </a:custGeom>
            <a:solidFill>
              <a:srgbClr val="21408B"/>
            </a:solidFill>
          </p:spPr>
          <p:txBody>
            <a:bodyPr wrap="square" lIns="0" tIns="0" rIns="0" bIns="0" rtlCol="0"/>
            <a:lstStyle/>
            <a:p>
              <a:endParaRPr/>
            </a:p>
          </p:txBody>
        </p:sp>
        <p:pic>
          <p:nvPicPr>
            <p:cNvPr id="99" name="object 99"/>
            <p:cNvPicPr/>
            <p:nvPr/>
          </p:nvPicPr>
          <p:blipFill>
            <a:blip r:embed="rId23" cstate="print"/>
            <a:stretch>
              <a:fillRect/>
            </a:stretch>
          </p:blipFill>
          <p:spPr>
            <a:xfrm>
              <a:off x="1596198" y="6471501"/>
              <a:ext cx="239548" cy="246944"/>
            </a:xfrm>
            <a:prstGeom prst="rect">
              <a:avLst/>
            </a:prstGeom>
          </p:spPr>
        </p:pic>
        <p:pic>
          <p:nvPicPr>
            <p:cNvPr id="100" name="object 100"/>
            <p:cNvPicPr/>
            <p:nvPr/>
          </p:nvPicPr>
          <p:blipFill>
            <a:blip r:embed="rId24" cstate="print"/>
            <a:stretch>
              <a:fillRect/>
            </a:stretch>
          </p:blipFill>
          <p:spPr>
            <a:xfrm>
              <a:off x="1909712" y="5948841"/>
              <a:ext cx="181013" cy="168735"/>
            </a:xfrm>
            <a:prstGeom prst="rect">
              <a:avLst/>
            </a:prstGeom>
          </p:spPr>
        </p:pic>
        <p:pic>
          <p:nvPicPr>
            <p:cNvPr id="101" name="object 101"/>
            <p:cNvPicPr/>
            <p:nvPr/>
          </p:nvPicPr>
          <p:blipFill>
            <a:blip r:embed="rId25" cstate="print"/>
            <a:stretch>
              <a:fillRect/>
            </a:stretch>
          </p:blipFill>
          <p:spPr>
            <a:xfrm>
              <a:off x="1616795" y="6239938"/>
              <a:ext cx="193920" cy="192763"/>
            </a:xfrm>
            <a:prstGeom prst="rect">
              <a:avLst/>
            </a:prstGeom>
          </p:spPr>
        </p:pic>
        <p:pic>
          <p:nvPicPr>
            <p:cNvPr id="102" name="object 102"/>
            <p:cNvPicPr/>
            <p:nvPr/>
          </p:nvPicPr>
          <p:blipFill>
            <a:blip r:embed="rId23" cstate="print"/>
            <a:stretch>
              <a:fillRect/>
            </a:stretch>
          </p:blipFill>
          <p:spPr>
            <a:xfrm>
              <a:off x="2165791" y="6471501"/>
              <a:ext cx="239548" cy="246944"/>
            </a:xfrm>
            <a:prstGeom prst="rect">
              <a:avLst/>
            </a:prstGeom>
          </p:spPr>
        </p:pic>
        <p:pic>
          <p:nvPicPr>
            <p:cNvPr id="103" name="object 103"/>
            <p:cNvPicPr/>
            <p:nvPr/>
          </p:nvPicPr>
          <p:blipFill>
            <a:blip r:embed="rId26" cstate="print"/>
            <a:stretch>
              <a:fillRect/>
            </a:stretch>
          </p:blipFill>
          <p:spPr>
            <a:xfrm>
              <a:off x="2188071" y="6239936"/>
              <a:ext cx="193923" cy="192764"/>
            </a:xfrm>
            <a:prstGeom prst="rect">
              <a:avLst/>
            </a:prstGeom>
          </p:spPr>
        </p:pic>
      </p:grpSp>
      <p:sp>
        <p:nvSpPr>
          <p:cNvPr id="104" name="object 104"/>
          <p:cNvSpPr txBox="1"/>
          <p:nvPr/>
        </p:nvSpPr>
        <p:spPr>
          <a:xfrm>
            <a:off x="13128176" y="2154185"/>
            <a:ext cx="614045" cy="237490"/>
          </a:xfrm>
          <a:prstGeom prst="rect">
            <a:avLst/>
          </a:prstGeom>
        </p:spPr>
        <p:txBody>
          <a:bodyPr vert="horz" wrap="square" lIns="0" tIns="11430" rIns="0" bIns="0" rtlCol="0">
            <a:spAutoFit/>
          </a:bodyPr>
          <a:lstStyle/>
          <a:p>
            <a:pPr marL="12700">
              <a:lnSpc>
                <a:spcPct val="100000"/>
              </a:lnSpc>
              <a:spcBef>
                <a:spcPts val="90"/>
              </a:spcBef>
            </a:pPr>
            <a:r>
              <a:rPr sz="1400" b="1" spc="-10" dirty="0">
                <a:solidFill>
                  <a:srgbClr val="737373"/>
                </a:solidFill>
                <a:latin typeface="Roboto"/>
                <a:cs typeface="Roboto"/>
              </a:rPr>
              <a:t>Francia</a:t>
            </a:r>
            <a:endParaRPr sz="1400">
              <a:latin typeface="Roboto"/>
              <a:cs typeface="Roboto"/>
            </a:endParaRPr>
          </a:p>
        </p:txBody>
      </p:sp>
      <p:sp>
        <p:nvSpPr>
          <p:cNvPr id="131" name="object 131"/>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132" name="object 132"/>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37</a:t>
            </a:r>
          </a:p>
        </p:txBody>
      </p:sp>
      <p:sp>
        <p:nvSpPr>
          <p:cNvPr id="105" name="object 105"/>
          <p:cNvSpPr txBox="1"/>
          <p:nvPr/>
        </p:nvSpPr>
        <p:spPr>
          <a:xfrm>
            <a:off x="14346856" y="2145589"/>
            <a:ext cx="603250" cy="237490"/>
          </a:xfrm>
          <a:prstGeom prst="rect">
            <a:avLst/>
          </a:prstGeom>
        </p:spPr>
        <p:txBody>
          <a:bodyPr vert="horz" wrap="square" lIns="0" tIns="11430" rIns="0" bIns="0" rtlCol="0">
            <a:spAutoFit/>
          </a:bodyPr>
          <a:lstStyle/>
          <a:p>
            <a:pPr marL="12700">
              <a:lnSpc>
                <a:spcPct val="100000"/>
              </a:lnSpc>
              <a:spcBef>
                <a:spcPts val="90"/>
              </a:spcBef>
            </a:pPr>
            <a:r>
              <a:rPr sz="1400" b="1" spc="-10" dirty="0">
                <a:solidFill>
                  <a:srgbClr val="737373"/>
                </a:solidFill>
                <a:latin typeface="Roboto"/>
                <a:cs typeface="Roboto"/>
              </a:rPr>
              <a:t>España</a:t>
            </a:r>
            <a:endParaRPr sz="1400">
              <a:latin typeface="Roboto"/>
              <a:cs typeface="Roboto"/>
            </a:endParaRPr>
          </a:p>
        </p:txBody>
      </p:sp>
      <p:sp>
        <p:nvSpPr>
          <p:cNvPr id="106" name="object 106"/>
          <p:cNvSpPr txBox="1"/>
          <p:nvPr/>
        </p:nvSpPr>
        <p:spPr>
          <a:xfrm>
            <a:off x="15493271" y="2145589"/>
            <a:ext cx="774700" cy="237490"/>
          </a:xfrm>
          <a:prstGeom prst="rect">
            <a:avLst/>
          </a:prstGeom>
        </p:spPr>
        <p:txBody>
          <a:bodyPr vert="horz" wrap="square" lIns="0" tIns="11430" rIns="0" bIns="0" rtlCol="0">
            <a:spAutoFit/>
          </a:bodyPr>
          <a:lstStyle/>
          <a:p>
            <a:pPr marL="12700">
              <a:lnSpc>
                <a:spcPct val="100000"/>
              </a:lnSpc>
              <a:spcBef>
                <a:spcPts val="90"/>
              </a:spcBef>
            </a:pPr>
            <a:r>
              <a:rPr sz="1400" b="1" spc="-10" dirty="0">
                <a:solidFill>
                  <a:srgbClr val="737373"/>
                </a:solidFill>
                <a:latin typeface="Roboto"/>
                <a:cs typeface="Roboto"/>
              </a:rPr>
              <a:t>Alemania</a:t>
            </a:r>
            <a:endParaRPr sz="1400">
              <a:latin typeface="Roboto"/>
              <a:cs typeface="Roboto"/>
            </a:endParaRPr>
          </a:p>
        </p:txBody>
      </p:sp>
      <p:sp>
        <p:nvSpPr>
          <p:cNvPr id="107" name="object 107"/>
          <p:cNvSpPr txBox="1"/>
          <p:nvPr/>
        </p:nvSpPr>
        <p:spPr>
          <a:xfrm>
            <a:off x="16650861" y="2145589"/>
            <a:ext cx="984250" cy="237490"/>
          </a:xfrm>
          <a:prstGeom prst="rect">
            <a:avLst/>
          </a:prstGeom>
        </p:spPr>
        <p:txBody>
          <a:bodyPr vert="horz" wrap="square" lIns="0" tIns="11430" rIns="0" bIns="0" rtlCol="0">
            <a:spAutoFit/>
          </a:bodyPr>
          <a:lstStyle/>
          <a:p>
            <a:pPr marL="12700">
              <a:lnSpc>
                <a:spcPct val="100000"/>
              </a:lnSpc>
              <a:spcBef>
                <a:spcPts val="90"/>
              </a:spcBef>
            </a:pPr>
            <a:r>
              <a:rPr sz="1400" b="1" spc="-10" dirty="0">
                <a:solidFill>
                  <a:srgbClr val="737373"/>
                </a:solidFill>
                <a:latin typeface="Roboto"/>
                <a:cs typeface="Roboto"/>
              </a:rPr>
              <a:t>Reino</a:t>
            </a:r>
            <a:r>
              <a:rPr sz="1400" b="1" spc="-50" dirty="0">
                <a:solidFill>
                  <a:srgbClr val="737373"/>
                </a:solidFill>
                <a:latin typeface="Roboto"/>
                <a:cs typeface="Roboto"/>
              </a:rPr>
              <a:t> </a:t>
            </a:r>
            <a:r>
              <a:rPr sz="1400" b="1" spc="-10" dirty="0">
                <a:solidFill>
                  <a:srgbClr val="737373"/>
                </a:solidFill>
                <a:latin typeface="Roboto"/>
                <a:cs typeface="Roboto"/>
              </a:rPr>
              <a:t>Unido</a:t>
            </a:r>
            <a:endParaRPr sz="1400">
              <a:latin typeface="Roboto"/>
              <a:cs typeface="Roboto"/>
            </a:endParaRPr>
          </a:p>
        </p:txBody>
      </p:sp>
      <p:sp>
        <p:nvSpPr>
          <p:cNvPr id="108" name="object 108"/>
          <p:cNvSpPr txBox="1"/>
          <p:nvPr/>
        </p:nvSpPr>
        <p:spPr>
          <a:xfrm>
            <a:off x="637985" y="384150"/>
            <a:ext cx="6839584"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1.</a:t>
            </a:r>
            <a:r>
              <a:rPr sz="3000" spc="-85" dirty="0">
                <a:solidFill>
                  <a:srgbClr val="FFFFFF"/>
                </a:solidFill>
                <a:latin typeface="Roboto"/>
                <a:cs typeface="Roboto"/>
              </a:rPr>
              <a:t> </a:t>
            </a:r>
            <a:r>
              <a:rPr sz="3000" spc="-20" dirty="0">
                <a:solidFill>
                  <a:srgbClr val="FFFFFF"/>
                </a:solidFill>
                <a:latin typeface="Roboto"/>
                <a:cs typeface="Roboto"/>
              </a:rPr>
              <a:t>Propuesta</a:t>
            </a:r>
            <a:r>
              <a:rPr sz="3000" spc="-80" dirty="0">
                <a:solidFill>
                  <a:srgbClr val="FFFFFF"/>
                </a:solidFill>
                <a:latin typeface="Roboto"/>
                <a:cs typeface="Roboto"/>
              </a:rPr>
              <a:t> </a:t>
            </a:r>
            <a:r>
              <a:rPr sz="3000" dirty="0">
                <a:solidFill>
                  <a:srgbClr val="FFFFFF"/>
                </a:solidFill>
                <a:latin typeface="Roboto"/>
                <a:cs typeface="Roboto"/>
              </a:rPr>
              <a:t>de</a:t>
            </a:r>
            <a:r>
              <a:rPr sz="3000" spc="-85" dirty="0">
                <a:solidFill>
                  <a:srgbClr val="FFFFFF"/>
                </a:solidFill>
                <a:latin typeface="Roboto"/>
                <a:cs typeface="Roboto"/>
              </a:rPr>
              <a:t> </a:t>
            </a:r>
            <a:r>
              <a:rPr sz="3000" spc="-20" dirty="0">
                <a:solidFill>
                  <a:srgbClr val="FFFFFF"/>
                </a:solidFill>
                <a:latin typeface="Roboto"/>
                <a:cs typeface="Roboto"/>
              </a:rPr>
              <a:t>marketing</a:t>
            </a:r>
            <a:r>
              <a:rPr sz="3000" spc="-80" dirty="0">
                <a:solidFill>
                  <a:srgbClr val="FFFFFF"/>
                </a:solidFill>
                <a:latin typeface="Roboto"/>
                <a:cs typeface="Roboto"/>
              </a:rPr>
              <a:t> </a:t>
            </a:r>
            <a:r>
              <a:rPr sz="3000" dirty="0">
                <a:solidFill>
                  <a:srgbClr val="FFFFFF"/>
                </a:solidFill>
                <a:latin typeface="Roboto"/>
                <a:cs typeface="Roboto"/>
              </a:rPr>
              <a:t>para</a:t>
            </a:r>
            <a:r>
              <a:rPr sz="3000" spc="-85" dirty="0">
                <a:solidFill>
                  <a:srgbClr val="FFFFFF"/>
                </a:solidFill>
                <a:latin typeface="Roboto"/>
                <a:cs typeface="Roboto"/>
              </a:rPr>
              <a:t> </a:t>
            </a:r>
            <a:r>
              <a:rPr sz="3000" spc="-10" dirty="0">
                <a:solidFill>
                  <a:srgbClr val="FFFFFF"/>
                </a:solidFill>
                <a:latin typeface="Roboto"/>
                <a:cs typeface="Roboto"/>
              </a:rPr>
              <a:t>Europa</a:t>
            </a:r>
            <a:endParaRPr sz="3000">
              <a:latin typeface="Roboto"/>
              <a:cs typeface="Roboto"/>
            </a:endParaRPr>
          </a:p>
        </p:txBody>
      </p:sp>
      <p:sp>
        <p:nvSpPr>
          <p:cNvPr id="109" name="object 109"/>
          <p:cNvSpPr txBox="1"/>
          <p:nvPr/>
        </p:nvSpPr>
        <p:spPr>
          <a:xfrm>
            <a:off x="2438692" y="1604060"/>
            <a:ext cx="6356350" cy="482600"/>
          </a:xfrm>
          <a:prstGeom prst="rect">
            <a:avLst/>
          </a:prstGeom>
        </p:spPr>
        <p:txBody>
          <a:bodyPr vert="horz" wrap="square" lIns="0" tIns="12700" rIns="0" bIns="0" rtlCol="0">
            <a:spAutoFit/>
          </a:bodyPr>
          <a:lstStyle/>
          <a:p>
            <a:pPr marL="12700">
              <a:lnSpc>
                <a:spcPct val="100000"/>
              </a:lnSpc>
              <a:spcBef>
                <a:spcPts val="100"/>
              </a:spcBef>
            </a:pPr>
            <a:r>
              <a:rPr sz="3000" spc="-10" dirty="0">
                <a:solidFill>
                  <a:srgbClr val="737373"/>
                </a:solidFill>
                <a:latin typeface="Roboto"/>
                <a:cs typeface="Roboto"/>
              </a:rPr>
              <a:t>Paquete</a:t>
            </a:r>
            <a:r>
              <a:rPr sz="3000" spc="-160" dirty="0">
                <a:solidFill>
                  <a:srgbClr val="737373"/>
                </a:solidFill>
                <a:latin typeface="Roboto"/>
                <a:cs typeface="Roboto"/>
              </a:rPr>
              <a:t> </a:t>
            </a:r>
            <a:r>
              <a:rPr sz="3000" dirty="0">
                <a:solidFill>
                  <a:srgbClr val="737373"/>
                </a:solidFill>
                <a:latin typeface="Roboto"/>
                <a:cs typeface="Roboto"/>
              </a:rPr>
              <a:t>promocional</a:t>
            </a:r>
            <a:r>
              <a:rPr sz="3000" spc="-160" dirty="0">
                <a:solidFill>
                  <a:srgbClr val="737373"/>
                </a:solidFill>
                <a:latin typeface="Roboto"/>
                <a:cs typeface="Roboto"/>
              </a:rPr>
              <a:t> </a:t>
            </a:r>
            <a:r>
              <a:rPr sz="3000" dirty="0">
                <a:solidFill>
                  <a:srgbClr val="737373"/>
                </a:solidFill>
                <a:latin typeface="Roboto"/>
                <a:cs typeface="Roboto"/>
              </a:rPr>
              <a:t>mercados</a:t>
            </a:r>
            <a:r>
              <a:rPr sz="3000" spc="-155" dirty="0">
                <a:solidFill>
                  <a:srgbClr val="737373"/>
                </a:solidFill>
                <a:latin typeface="Roboto"/>
                <a:cs typeface="Roboto"/>
              </a:rPr>
              <a:t> </a:t>
            </a:r>
            <a:r>
              <a:rPr sz="3000" spc="-20" dirty="0">
                <a:solidFill>
                  <a:srgbClr val="737373"/>
                </a:solidFill>
                <a:latin typeface="Roboto"/>
                <a:cs typeface="Roboto"/>
              </a:rPr>
              <a:t>360º</a:t>
            </a:r>
            <a:endParaRPr sz="3000">
              <a:latin typeface="Roboto"/>
              <a:cs typeface="Roboto"/>
            </a:endParaRPr>
          </a:p>
        </p:txBody>
      </p:sp>
      <p:sp>
        <p:nvSpPr>
          <p:cNvPr id="110" name="object 110"/>
          <p:cNvSpPr txBox="1"/>
          <p:nvPr/>
        </p:nvSpPr>
        <p:spPr>
          <a:xfrm>
            <a:off x="9203949" y="1690462"/>
            <a:ext cx="2227580" cy="361315"/>
          </a:xfrm>
          <a:prstGeom prst="rect">
            <a:avLst/>
          </a:prstGeom>
        </p:spPr>
        <p:txBody>
          <a:bodyPr vert="horz" wrap="square" lIns="0" tIns="12700" rIns="0" bIns="0" rtlCol="0">
            <a:spAutoFit/>
          </a:bodyPr>
          <a:lstStyle/>
          <a:p>
            <a:pPr marL="12700">
              <a:lnSpc>
                <a:spcPct val="100000"/>
              </a:lnSpc>
              <a:spcBef>
                <a:spcPts val="100"/>
              </a:spcBef>
            </a:pPr>
            <a:r>
              <a:rPr sz="2200" b="1" dirty="0">
                <a:solidFill>
                  <a:srgbClr val="737373"/>
                </a:solidFill>
                <a:latin typeface="Roboto"/>
                <a:cs typeface="Roboto"/>
              </a:rPr>
              <a:t>B2B</a:t>
            </a:r>
            <a:r>
              <a:rPr sz="2200" b="1" spc="-20" dirty="0">
                <a:solidFill>
                  <a:srgbClr val="737373"/>
                </a:solidFill>
                <a:latin typeface="Roboto"/>
                <a:cs typeface="Roboto"/>
              </a:rPr>
              <a:t> </a:t>
            </a:r>
            <a:r>
              <a:rPr sz="2200" b="1" dirty="0">
                <a:solidFill>
                  <a:srgbClr val="737373"/>
                </a:solidFill>
                <a:latin typeface="Roboto"/>
                <a:cs typeface="Roboto"/>
              </a:rPr>
              <a:t>·</a:t>
            </a:r>
            <a:r>
              <a:rPr sz="2200" b="1" spc="-15" dirty="0">
                <a:solidFill>
                  <a:srgbClr val="737373"/>
                </a:solidFill>
                <a:latin typeface="Roboto"/>
                <a:cs typeface="Roboto"/>
              </a:rPr>
              <a:t> </a:t>
            </a:r>
            <a:r>
              <a:rPr sz="2200" b="1" dirty="0">
                <a:solidFill>
                  <a:srgbClr val="737373"/>
                </a:solidFill>
                <a:latin typeface="Roboto"/>
                <a:cs typeface="Roboto"/>
              </a:rPr>
              <a:t>B2C</a:t>
            </a:r>
            <a:r>
              <a:rPr sz="2200" b="1" spc="-20" dirty="0">
                <a:solidFill>
                  <a:srgbClr val="737373"/>
                </a:solidFill>
                <a:latin typeface="Roboto"/>
                <a:cs typeface="Roboto"/>
              </a:rPr>
              <a:t> </a:t>
            </a:r>
            <a:r>
              <a:rPr sz="2200" b="1" dirty="0">
                <a:solidFill>
                  <a:srgbClr val="737373"/>
                </a:solidFill>
                <a:latin typeface="Roboto"/>
                <a:cs typeface="Roboto"/>
              </a:rPr>
              <a:t>·</a:t>
            </a:r>
            <a:r>
              <a:rPr sz="2200" b="1" spc="-15" dirty="0">
                <a:solidFill>
                  <a:srgbClr val="737373"/>
                </a:solidFill>
                <a:latin typeface="Roboto"/>
                <a:cs typeface="Roboto"/>
              </a:rPr>
              <a:t> </a:t>
            </a:r>
            <a:r>
              <a:rPr sz="2200" b="1" spc="-20" dirty="0">
                <a:solidFill>
                  <a:srgbClr val="737373"/>
                </a:solidFill>
                <a:latin typeface="Roboto"/>
                <a:cs typeface="Roboto"/>
              </a:rPr>
              <a:t>RRPP</a:t>
            </a:r>
            <a:endParaRPr sz="2200">
              <a:latin typeface="Roboto"/>
              <a:cs typeface="Roboto"/>
            </a:endParaRPr>
          </a:p>
        </p:txBody>
      </p:sp>
      <p:sp>
        <p:nvSpPr>
          <p:cNvPr id="111" name="object 111"/>
          <p:cNvSpPr txBox="1"/>
          <p:nvPr/>
        </p:nvSpPr>
        <p:spPr>
          <a:xfrm>
            <a:off x="871520" y="8204959"/>
            <a:ext cx="2371725" cy="983615"/>
          </a:xfrm>
          <a:prstGeom prst="rect">
            <a:avLst/>
          </a:prstGeom>
        </p:spPr>
        <p:txBody>
          <a:bodyPr vert="horz" wrap="square" lIns="0" tIns="25400" rIns="0" bIns="0" rtlCol="0">
            <a:spAutoFit/>
          </a:bodyPr>
          <a:lstStyle/>
          <a:p>
            <a:pPr marL="12700" marR="5080" algn="ctr">
              <a:lnSpc>
                <a:spcPts val="1870"/>
              </a:lnSpc>
              <a:spcBef>
                <a:spcPts val="200"/>
              </a:spcBef>
            </a:pPr>
            <a:r>
              <a:rPr sz="1600" spc="-20" dirty="0">
                <a:solidFill>
                  <a:srgbClr val="737373"/>
                </a:solidFill>
                <a:latin typeface="Roboto"/>
                <a:cs typeface="Roboto"/>
              </a:rPr>
              <a:t>Incrementar</a:t>
            </a:r>
            <a:r>
              <a:rPr sz="1600" spc="15" dirty="0">
                <a:solidFill>
                  <a:srgbClr val="737373"/>
                </a:solidFill>
                <a:latin typeface="Roboto"/>
                <a:cs typeface="Roboto"/>
              </a:rPr>
              <a:t> </a:t>
            </a:r>
            <a:r>
              <a:rPr sz="1600" b="1" spc="-10" dirty="0">
                <a:solidFill>
                  <a:srgbClr val="E3112B"/>
                </a:solidFill>
                <a:latin typeface="Roboto"/>
                <a:cs typeface="Roboto"/>
              </a:rPr>
              <a:t>AWARENESS </a:t>
            </a:r>
            <a:r>
              <a:rPr sz="1600" dirty="0">
                <a:solidFill>
                  <a:srgbClr val="737373"/>
                </a:solidFill>
                <a:latin typeface="Roboto"/>
                <a:cs typeface="Roboto"/>
              </a:rPr>
              <a:t>a</a:t>
            </a:r>
            <a:r>
              <a:rPr sz="1600" spc="-50" dirty="0">
                <a:solidFill>
                  <a:srgbClr val="737373"/>
                </a:solidFill>
                <a:latin typeface="Roboto"/>
                <a:cs typeface="Roboto"/>
              </a:rPr>
              <a:t> </a:t>
            </a:r>
            <a:r>
              <a:rPr sz="1600" spc="-10" dirty="0">
                <a:solidFill>
                  <a:srgbClr val="737373"/>
                </a:solidFill>
                <a:latin typeface="Roboto"/>
                <a:cs typeface="Roboto"/>
              </a:rPr>
              <a:t>través</a:t>
            </a:r>
            <a:r>
              <a:rPr sz="1600" spc="-50" dirty="0">
                <a:solidFill>
                  <a:srgbClr val="737373"/>
                </a:solidFill>
                <a:latin typeface="Roboto"/>
                <a:cs typeface="Roboto"/>
              </a:rPr>
              <a:t> </a:t>
            </a:r>
            <a:r>
              <a:rPr sz="1600" dirty="0">
                <a:solidFill>
                  <a:srgbClr val="737373"/>
                </a:solidFill>
                <a:latin typeface="Roboto"/>
                <a:cs typeface="Roboto"/>
              </a:rPr>
              <a:t>de</a:t>
            </a:r>
            <a:r>
              <a:rPr sz="1600" spc="-50" dirty="0">
                <a:solidFill>
                  <a:srgbClr val="737373"/>
                </a:solidFill>
                <a:latin typeface="Roboto"/>
                <a:cs typeface="Roboto"/>
              </a:rPr>
              <a:t> </a:t>
            </a:r>
            <a:r>
              <a:rPr sz="1600" spc="-10" dirty="0">
                <a:solidFill>
                  <a:srgbClr val="737373"/>
                </a:solidFill>
                <a:latin typeface="Roboto"/>
                <a:cs typeface="Roboto"/>
              </a:rPr>
              <a:t>experiencias</a:t>
            </a:r>
            <a:r>
              <a:rPr sz="1600" spc="-45" dirty="0">
                <a:solidFill>
                  <a:srgbClr val="737373"/>
                </a:solidFill>
                <a:latin typeface="Roboto"/>
                <a:cs typeface="Roboto"/>
              </a:rPr>
              <a:t> </a:t>
            </a:r>
            <a:r>
              <a:rPr sz="1600" spc="-50" dirty="0">
                <a:solidFill>
                  <a:srgbClr val="737373"/>
                </a:solidFill>
                <a:latin typeface="Roboto"/>
                <a:cs typeface="Roboto"/>
              </a:rPr>
              <a:t>y </a:t>
            </a:r>
            <a:r>
              <a:rPr sz="1600" spc="-10" dirty="0">
                <a:solidFill>
                  <a:srgbClr val="737373"/>
                </a:solidFill>
                <a:latin typeface="Roboto"/>
                <a:cs typeface="Roboto"/>
              </a:rPr>
              <a:t>destinos</a:t>
            </a:r>
            <a:r>
              <a:rPr sz="1600" spc="-70" dirty="0">
                <a:solidFill>
                  <a:srgbClr val="737373"/>
                </a:solidFill>
                <a:latin typeface="Roboto"/>
                <a:cs typeface="Roboto"/>
              </a:rPr>
              <a:t> </a:t>
            </a:r>
            <a:r>
              <a:rPr sz="1600" spc="-10" dirty="0">
                <a:solidFill>
                  <a:srgbClr val="737373"/>
                </a:solidFill>
                <a:latin typeface="Roboto"/>
                <a:cs typeface="Roboto"/>
              </a:rPr>
              <a:t>posicionados internacionalmente</a:t>
            </a:r>
            <a:endParaRPr sz="1600">
              <a:latin typeface="Roboto"/>
              <a:cs typeface="Roboto"/>
            </a:endParaRPr>
          </a:p>
        </p:txBody>
      </p:sp>
      <p:sp>
        <p:nvSpPr>
          <p:cNvPr id="112" name="object 112"/>
          <p:cNvSpPr txBox="1"/>
          <p:nvPr/>
        </p:nvSpPr>
        <p:spPr>
          <a:xfrm>
            <a:off x="4022961" y="5025187"/>
            <a:ext cx="1118870" cy="507365"/>
          </a:xfrm>
          <a:prstGeom prst="rect">
            <a:avLst/>
          </a:prstGeom>
        </p:spPr>
        <p:txBody>
          <a:bodyPr vert="horz" wrap="square" lIns="0" tIns="12700" rIns="0" bIns="0" rtlCol="0">
            <a:spAutoFit/>
          </a:bodyPr>
          <a:lstStyle/>
          <a:p>
            <a:pPr algn="ctr">
              <a:lnSpc>
                <a:spcPts val="1900"/>
              </a:lnSpc>
              <a:spcBef>
                <a:spcPts val="100"/>
              </a:spcBef>
            </a:pPr>
            <a:r>
              <a:rPr sz="1600" spc="-10" dirty="0">
                <a:solidFill>
                  <a:srgbClr val="737373"/>
                </a:solidFill>
                <a:latin typeface="Roboto"/>
                <a:cs typeface="Roboto"/>
              </a:rPr>
              <a:t>Incrementar</a:t>
            </a:r>
            <a:endParaRPr sz="1600">
              <a:latin typeface="Roboto"/>
              <a:cs typeface="Roboto"/>
            </a:endParaRPr>
          </a:p>
          <a:p>
            <a:pPr marL="49530" algn="ctr">
              <a:lnSpc>
                <a:spcPts val="1895"/>
              </a:lnSpc>
            </a:pPr>
            <a:r>
              <a:rPr sz="1600" b="1" spc="-10" dirty="0">
                <a:solidFill>
                  <a:srgbClr val="E3112B"/>
                </a:solidFill>
                <a:latin typeface="Roboto"/>
                <a:cs typeface="Roboto"/>
              </a:rPr>
              <a:t>llegadas</a:t>
            </a:r>
            <a:endParaRPr sz="1600">
              <a:latin typeface="Roboto"/>
              <a:cs typeface="Roboto"/>
            </a:endParaRPr>
          </a:p>
        </p:txBody>
      </p:sp>
      <p:sp>
        <p:nvSpPr>
          <p:cNvPr id="113" name="object 113"/>
          <p:cNvSpPr txBox="1"/>
          <p:nvPr/>
        </p:nvSpPr>
        <p:spPr>
          <a:xfrm>
            <a:off x="1159857" y="5025187"/>
            <a:ext cx="1680845" cy="507365"/>
          </a:xfrm>
          <a:prstGeom prst="rect">
            <a:avLst/>
          </a:prstGeom>
        </p:spPr>
        <p:txBody>
          <a:bodyPr vert="horz" wrap="square" lIns="0" tIns="12700" rIns="0" bIns="0" rtlCol="0">
            <a:spAutoFit/>
          </a:bodyPr>
          <a:lstStyle/>
          <a:p>
            <a:pPr marR="42545" algn="ctr">
              <a:lnSpc>
                <a:spcPts val="1900"/>
              </a:lnSpc>
              <a:spcBef>
                <a:spcPts val="100"/>
              </a:spcBef>
            </a:pPr>
            <a:r>
              <a:rPr sz="1600" spc="-10" dirty="0">
                <a:solidFill>
                  <a:srgbClr val="737373"/>
                </a:solidFill>
                <a:latin typeface="Roboto"/>
                <a:cs typeface="Roboto"/>
              </a:rPr>
              <a:t>Incrementar</a:t>
            </a:r>
            <a:endParaRPr sz="1600">
              <a:latin typeface="Roboto"/>
              <a:cs typeface="Roboto"/>
            </a:endParaRPr>
          </a:p>
          <a:p>
            <a:pPr algn="ctr">
              <a:lnSpc>
                <a:spcPts val="1895"/>
              </a:lnSpc>
            </a:pPr>
            <a:r>
              <a:rPr sz="1600" b="1" dirty="0">
                <a:solidFill>
                  <a:srgbClr val="E3112B"/>
                </a:solidFill>
                <a:latin typeface="Roboto"/>
                <a:cs typeface="Roboto"/>
              </a:rPr>
              <a:t>ingreso</a:t>
            </a:r>
            <a:r>
              <a:rPr sz="1600" b="1" spc="-5" dirty="0">
                <a:solidFill>
                  <a:srgbClr val="E3112B"/>
                </a:solidFill>
                <a:latin typeface="Roboto"/>
                <a:cs typeface="Roboto"/>
              </a:rPr>
              <a:t> </a:t>
            </a:r>
            <a:r>
              <a:rPr sz="1600" b="1" dirty="0">
                <a:solidFill>
                  <a:srgbClr val="E3112B"/>
                </a:solidFill>
                <a:latin typeface="Roboto"/>
                <a:cs typeface="Roboto"/>
              </a:rPr>
              <a:t>de</a:t>
            </a:r>
            <a:r>
              <a:rPr sz="1600" b="1" spc="-5" dirty="0">
                <a:solidFill>
                  <a:srgbClr val="E3112B"/>
                </a:solidFill>
                <a:latin typeface="Roboto"/>
                <a:cs typeface="Roboto"/>
              </a:rPr>
              <a:t> </a:t>
            </a:r>
            <a:r>
              <a:rPr sz="1600" b="1" spc="-10" dirty="0">
                <a:solidFill>
                  <a:srgbClr val="E3112B"/>
                </a:solidFill>
                <a:latin typeface="Roboto"/>
                <a:cs typeface="Roboto"/>
              </a:rPr>
              <a:t>divisas</a:t>
            </a:r>
            <a:endParaRPr sz="1600">
              <a:latin typeface="Roboto"/>
              <a:cs typeface="Roboto"/>
            </a:endParaRPr>
          </a:p>
        </p:txBody>
      </p:sp>
      <p:sp>
        <p:nvSpPr>
          <p:cNvPr id="114" name="object 114"/>
          <p:cNvSpPr txBox="1"/>
          <p:nvPr/>
        </p:nvSpPr>
        <p:spPr>
          <a:xfrm>
            <a:off x="3558341" y="6801439"/>
            <a:ext cx="2047875" cy="745490"/>
          </a:xfrm>
          <a:prstGeom prst="rect">
            <a:avLst/>
          </a:prstGeom>
        </p:spPr>
        <p:txBody>
          <a:bodyPr vert="horz" wrap="square" lIns="0" tIns="24765" rIns="0" bIns="0" rtlCol="0">
            <a:spAutoFit/>
          </a:bodyPr>
          <a:lstStyle/>
          <a:p>
            <a:pPr marL="12065" marR="5080" algn="ctr">
              <a:lnSpc>
                <a:spcPts val="1880"/>
              </a:lnSpc>
              <a:spcBef>
                <a:spcPts val="195"/>
              </a:spcBef>
            </a:pPr>
            <a:r>
              <a:rPr sz="1600" dirty="0">
                <a:solidFill>
                  <a:srgbClr val="737373"/>
                </a:solidFill>
                <a:latin typeface="Roboto"/>
                <a:cs typeface="Roboto"/>
              </a:rPr>
              <a:t>Dar</a:t>
            </a:r>
            <a:r>
              <a:rPr sz="1600" spc="-40" dirty="0">
                <a:solidFill>
                  <a:srgbClr val="737373"/>
                </a:solidFill>
                <a:latin typeface="Roboto"/>
                <a:cs typeface="Roboto"/>
              </a:rPr>
              <a:t> </a:t>
            </a:r>
            <a:r>
              <a:rPr sz="1600" dirty="0">
                <a:solidFill>
                  <a:srgbClr val="737373"/>
                </a:solidFill>
                <a:latin typeface="Roboto"/>
                <a:cs typeface="Roboto"/>
              </a:rPr>
              <a:t>a</a:t>
            </a:r>
            <a:r>
              <a:rPr sz="1600" spc="-40" dirty="0">
                <a:solidFill>
                  <a:srgbClr val="737373"/>
                </a:solidFill>
                <a:latin typeface="Roboto"/>
                <a:cs typeface="Roboto"/>
              </a:rPr>
              <a:t> </a:t>
            </a:r>
            <a:r>
              <a:rPr sz="1600" spc="-10" dirty="0">
                <a:solidFill>
                  <a:srgbClr val="737373"/>
                </a:solidFill>
                <a:latin typeface="Roboto"/>
                <a:cs typeface="Roboto"/>
              </a:rPr>
              <a:t>conocer </a:t>
            </a:r>
            <a:r>
              <a:rPr sz="1600" b="1" spc="-10" dirty="0">
                <a:solidFill>
                  <a:srgbClr val="E3112B"/>
                </a:solidFill>
                <a:latin typeface="Roboto"/>
                <a:cs typeface="Roboto"/>
              </a:rPr>
              <a:t>experiencias/destinos complementarios</a:t>
            </a:r>
            <a:endParaRPr sz="1600">
              <a:latin typeface="Roboto"/>
              <a:cs typeface="Roboto"/>
            </a:endParaRPr>
          </a:p>
        </p:txBody>
      </p:sp>
      <p:sp>
        <p:nvSpPr>
          <p:cNvPr id="115" name="object 115"/>
          <p:cNvSpPr txBox="1"/>
          <p:nvPr/>
        </p:nvSpPr>
        <p:spPr>
          <a:xfrm>
            <a:off x="1403898" y="6801439"/>
            <a:ext cx="1192530" cy="745490"/>
          </a:xfrm>
          <a:prstGeom prst="rect">
            <a:avLst/>
          </a:prstGeom>
        </p:spPr>
        <p:txBody>
          <a:bodyPr vert="horz" wrap="square" lIns="0" tIns="24765" rIns="0" bIns="0" rtlCol="0">
            <a:spAutoFit/>
          </a:bodyPr>
          <a:lstStyle/>
          <a:p>
            <a:pPr marL="12065" marR="5080" indent="-635" algn="ctr">
              <a:lnSpc>
                <a:spcPts val="1880"/>
              </a:lnSpc>
              <a:spcBef>
                <a:spcPts val="195"/>
              </a:spcBef>
            </a:pPr>
            <a:r>
              <a:rPr sz="1600" b="1" spc="-10" dirty="0">
                <a:solidFill>
                  <a:srgbClr val="E3112B"/>
                </a:solidFill>
                <a:latin typeface="Roboto"/>
                <a:cs typeface="Roboto"/>
              </a:rPr>
              <a:t>Potenciar </a:t>
            </a:r>
            <a:r>
              <a:rPr sz="1600" spc="-10" dirty="0">
                <a:solidFill>
                  <a:srgbClr val="737373"/>
                </a:solidFill>
                <a:latin typeface="Roboto"/>
                <a:cs typeface="Roboto"/>
              </a:rPr>
              <a:t>fortalezas </a:t>
            </a:r>
            <a:r>
              <a:rPr sz="1600" spc="-25" dirty="0">
                <a:solidFill>
                  <a:srgbClr val="737373"/>
                </a:solidFill>
                <a:latin typeface="Roboto"/>
                <a:cs typeface="Roboto"/>
              </a:rPr>
              <a:t>competitivas</a:t>
            </a:r>
            <a:endParaRPr sz="1600">
              <a:latin typeface="Roboto"/>
              <a:cs typeface="Roboto"/>
            </a:endParaRPr>
          </a:p>
        </p:txBody>
      </p:sp>
      <p:sp>
        <p:nvSpPr>
          <p:cNvPr id="116" name="object 116"/>
          <p:cNvSpPr txBox="1"/>
          <p:nvPr/>
        </p:nvSpPr>
        <p:spPr>
          <a:xfrm>
            <a:off x="6826394" y="5639110"/>
            <a:ext cx="1675130" cy="980440"/>
          </a:xfrm>
          <a:prstGeom prst="rect">
            <a:avLst/>
          </a:prstGeom>
          <a:solidFill>
            <a:srgbClr val="21408B"/>
          </a:solidFill>
        </p:spPr>
        <p:txBody>
          <a:bodyPr vert="horz" wrap="square" lIns="0" tIns="194945" rIns="0" bIns="0" rtlCol="0">
            <a:spAutoFit/>
          </a:bodyPr>
          <a:lstStyle/>
          <a:p>
            <a:pPr marL="197485" marR="127000" indent="226060">
              <a:lnSpc>
                <a:spcPct val="116700"/>
              </a:lnSpc>
              <a:spcBef>
                <a:spcPts val="1535"/>
              </a:spcBef>
            </a:pPr>
            <a:r>
              <a:rPr sz="1800" b="1" dirty="0">
                <a:solidFill>
                  <a:srgbClr val="FFFFFF"/>
                </a:solidFill>
                <a:latin typeface="Arial"/>
                <a:cs typeface="Arial"/>
              </a:rPr>
              <a:t>FITUR </a:t>
            </a:r>
            <a:r>
              <a:rPr sz="1800" b="1" spc="100" dirty="0">
                <a:solidFill>
                  <a:srgbClr val="FFFFFF"/>
                </a:solidFill>
                <a:latin typeface="Arial"/>
                <a:cs typeface="Arial"/>
              </a:rPr>
              <a:t>y </a:t>
            </a:r>
            <a:r>
              <a:rPr sz="1800" b="1" dirty="0">
                <a:solidFill>
                  <a:srgbClr val="FFFFFF"/>
                </a:solidFill>
                <a:latin typeface="Arial"/>
                <a:cs typeface="Arial"/>
              </a:rPr>
              <a:t>FITUR </a:t>
            </a:r>
            <a:r>
              <a:rPr sz="1800" b="1" spc="-20" dirty="0">
                <a:solidFill>
                  <a:srgbClr val="FFFFFF"/>
                </a:solidFill>
                <a:latin typeface="Arial"/>
                <a:cs typeface="Arial"/>
              </a:rPr>
              <a:t>MICE</a:t>
            </a:r>
            <a:endParaRPr sz="1800">
              <a:latin typeface="Arial"/>
              <a:cs typeface="Arial"/>
            </a:endParaRPr>
          </a:p>
        </p:txBody>
      </p:sp>
      <p:sp>
        <p:nvSpPr>
          <p:cNvPr id="117" name="object 117"/>
          <p:cNvSpPr txBox="1"/>
          <p:nvPr/>
        </p:nvSpPr>
        <p:spPr>
          <a:xfrm>
            <a:off x="10436352" y="5639110"/>
            <a:ext cx="1656080" cy="980440"/>
          </a:xfrm>
          <a:prstGeom prst="rect">
            <a:avLst/>
          </a:prstGeom>
          <a:solidFill>
            <a:srgbClr val="21408B"/>
          </a:solidFill>
        </p:spPr>
        <p:txBody>
          <a:bodyPr vert="horz" wrap="square" lIns="0" tIns="172085" rIns="0" bIns="0" rtlCol="0">
            <a:spAutoFit/>
          </a:bodyPr>
          <a:lstStyle/>
          <a:p>
            <a:pPr marL="501650" marR="447675" indent="-129539">
              <a:lnSpc>
                <a:spcPct val="116700"/>
              </a:lnSpc>
              <a:spcBef>
                <a:spcPts val="1355"/>
              </a:spcBef>
            </a:pPr>
            <a:r>
              <a:rPr sz="1800" b="1" spc="175" dirty="0">
                <a:solidFill>
                  <a:srgbClr val="FFFFFF"/>
                </a:solidFill>
                <a:latin typeface="Arial"/>
                <a:cs typeface="Arial"/>
              </a:rPr>
              <a:t>WTM</a:t>
            </a:r>
            <a:r>
              <a:rPr sz="1800" b="1" dirty="0">
                <a:solidFill>
                  <a:srgbClr val="FFFFFF"/>
                </a:solidFill>
                <a:latin typeface="Arial"/>
                <a:cs typeface="Arial"/>
              </a:rPr>
              <a:t> </a:t>
            </a:r>
            <a:r>
              <a:rPr sz="1800" b="1" spc="100" dirty="0">
                <a:solidFill>
                  <a:srgbClr val="FFFFFF"/>
                </a:solidFill>
                <a:latin typeface="Arial"/>
                <a:cs typeface="Arial"/>
              </a:rPr>
              <a:t>y </a:t>
            </a:r>
            <a:r>
              <a:rPr sz="1800" b="1" spc="-20" dirty="0">
                <a:solidFill>
                  <a:srgbClr val="FFFFFF"/>
                </a:solidFill>
                <a:latin typeface="Arial"/>
                <a:cs typeface="Arial"/>
              </a:rPr>
              <a:t>LATA</a:t>
            </a:r>
            <a:endParaRPr sz="1800">
              <a:latin typeface="Arial"/>
              <a:cs typeface="Arial"/>
            </a:endParaRPr>
          </a:p>
        </p:txBody>
      </p:sp>
      <p:sp>
        <p:nvSpPr>
          <p:cNvPr id="118" name="object 118"/>
          <p:cNvSpPr txBox="1"/>
          <p:nvPr/>
        </p:nvSpPr>
        <p:spPr>
          <a:xfrm>
            <a:off x="12211077" y="5639110"/>
            <a:ext cx="1675130" cy="980440"/>
          </a:xfrm>
          <a:prstGeom prst="rect">
            <a:avLst/>
          </a:prstGeom>
          <a:solidFill>
            <a:srgbClr val="21408B"/>
          </a:solidFill>
        </p:spPr>
        <p:txBody>
          <a:bodyPr vert="horz" wrap="square" lIns="0" tIns="113030" rIns="0" bIns="0" rtlCol="0">
            <a:spAutoFit/>
          </a:bodyPr>
          <a:lstStyle/>
          <a:p>
            <a:pPr algn="ctr">
              <a:lnSpc>
                <a:spcPts val="1870"/>
              </a:lnSpc>
              <a:spcBef>
                <a:spcPts val="890"/>
              </a:spcBef>
            </a:pPr>
            <a:r>
              <a:rPr sz="1600" b="1" spc="-25" dirty="0">
                <a:solidFill>
                  <a:srgbClr val="FFFFFF"/>
                </a:solidFill>
                <a:latin typeface="Arial"/>
                <a:cs typeface="Arial"/>
              </a:rPr>
              <a:t>ITB</a:t>
            </a:r>
            <a:endParaRPr sz="1600">
              <a:latin typeface="Arial"/>
              <a:cs typeface="Arial"/>
            </a:endParaRPr>
          </a:p>
          <a:p>
            <a:pPr marL="82550" marR="74930" indent="297815">
              <a:lnSpc>
                <a:spcPts val="1800"/>
              </a:lnSpc>
              <a:spcBef>
                <a:spcPts val="110"/>
              </a:spcBef>
            </a:pPr>
            <a:r>
              <a:rPr sz="1600" b="1" spc="-10" dirty="0">
                <a:solidFill>
                  <a:srgbClr val="FFFFFF"/>
                </a:solidFill>
                <a:latin typeface="Roboto"/>
                <a:cs typeface="Roboto"/>
              </a:rPr>
              <a:t>BERLÍN</a:t>
            </a:r>
            <a:r>
              <a:rPr sz="1600" b="1" spc="-65" dirty="0">
                <a:solidFill>
                  <a:srgbClr val="FFFFFF"/>
                </a:solidFill>
                <a:latin typeface="Roboto"/>
                <a:cs typeface="Roboto"/>
              </a:rPr>
              <a:t> </a:t>
            </a:r>
            <a:r>
              <a:rPr sz="1600" b="1" spc="-50" dirty="0">
                <a:solidFill>
                  <a:srgbClr val="FFFFFF"/>
                </a:solidFill>
                <a:latin typeface="Roboto"/>
                <a:cs typeface="Roboto"/>
              </a:rPr>
              <a:t>Y </a:t>
            </a:r>
            <a:r>
              <a:rPr sz="1600" b="1" spc="-25" dirty="0">
                <a:solidFill>
                  <a:srgbClr val="FFFFFF"/>
                </a:solidFill>
                <a:latin typeface="Roboto"/>
                <a:cs typeface="Roboto"/>
              </a:rPr>
              <a:t>FREE</a:t>
            </a:r>
            <a:r>
              <a:rPr sz="1600" b="1" spc="-75" dirty="0">
                <a:solidFill>
                  <a:srgbClr val="FFFFFF"/>
                </a:solidFill>
                <a:latin typeface="Roboto"/>
                <a:cs typeface="Roboto"/>
              </a:rPr>
              <a:t> </a:t>
            </a:r>
            <a:r>
              <a:rPr sz="1600" b="1" spc="-10" dirty="0">
                <a:solidFill>
                  <a:srgbClr val="FFFFFF"/>
                </a:solidFill>
                <a:latin typeface="Roboto"/>
                <a:cs typeface="Roboto"/>
              </a:rPr>
              <a:t>MUNCHEN</a:t>
            </a:r>
            <a:endParaRPr sz="1600">
              <a:latin typeface="Roboto"/>
              <a:cs typeface="Roboto"/>
            </a:endParaRPr>
          </a:p>
        </p:txBody>
      </p:sp>
      <p:sp>
        <p:nvSpPr>
          <p:cNvPr id="119" name="object 119"/>
          <p:cNvSpPr txBox="1"/>
          <p:nvPr/>
        </p:nvSpPr>
        <p:spPr>
          <a:xfrm>
            <a:off x="8542243" y="8605519"/>
            <a:ext cx="2749550" cy="303530"/>
          </a:xfrm>
          <a:prstGeom prst="rect">
            <a:avLst/>
          </a:prstGeom>
        </p:spPr>
        <p:txBody>
          <a:bodyPr vert="horz" wrap="square" lIns="0" tIns="15875" rIns="0" bIns="0" rtlCol="0">
            <a:spAutoFit/>
          </a:bodyPr>
          <a:lstStyle/>
          <a:p>
            <a:pPr>
              <a:lnSpc>
                <a:spcPct val="100000"/>
              </a:lnSpc>
              <a:spcBef>
                <a:spcPts val="125"/>
              </a:spcBef>
            </a:pPr>
            <a:r>
              <a:rPr sz="1800" b="1" dirty="0">
                <a:solidFill>
                  <a:srgbClr val="FFFFFF"/>
                </a:solidFill>
                <a:latin typeface="Roboto"/>
                <a:cs typeface="Roboto"/>
              </a:rPr>
              <a:t>Reportajes</a:t>
            </a:r>
            <a:r>
              <a:rPr sz="1800" b="1" spc="45" dirty="0">
                <a:solidFill>
                  <a:srgbClr val="FFFFFF"/>
                </a:solidFill>
                <a:latin typeface="Roboto"/>
                <a:cs typeface="Roboto"/>
              </a:rPr>
              <a:t> </a:t>
            </a:r>
            <a:r>
              <a:rPr sz="1800" b="1" spc="-10" dirty="0">
                <a:solidFill>
                  <a:srgbClr val="FFFFFF"/>
                </a:solidFill>
                <a:latin typeface="Roboto"/>
                <a:cs typeface="Roboto"/>
              </a:rPr>
              <a:t>especializados</a:t>
            </a:r>
            <a:endParaRPr sz="1800">
              <a:latin typeface="Roboto"/>
              <a:cs typeface="Roboto"/>
            </a:endParaRPr>
          </a:p>
        </p:txBody>
      </p:sp>
      <p:sp>
        <p:nvSpPr>
          <p:cNvPr id="120" name="object 120"/>
          <p:cNvSpPr txBox="1"/>
          <p:nvPr/>
        </p:nvSpPr>
        <p:spPr>
          <a:xfrm>
            <a:off x="12198377" y="7423772"/>
            <a:ext cx="1219835" cy="303530"/>
          </a:xfrm>
          <a:prstGeom prst="rect">
            <a:avLst/>
          </a:prstGeom>
        </p:spPr>
        <p:txBody>
          <a:bodyPr vert="horz" wrap="square" lIns="0" tIns="15875" rIns="0" bIns="0" rtlCol="0">
            <a:spAutoFit/>
          </a:bodyPr>
          <a:lstStyle/>
          <a:p>
            <a:pPr marL="12700">
              <a:lnSpc>
                <a:spcPct val="100000"/>
              </a:lnSpc>
              <a:spcBef>
                <a:spcPts val="125"/>
              </a:spcBef>
            </a:pPr>
            <a:r>
              <a:rPr sz="1800" b="1" dirty="0">
                <a:solidFill>
                  <a:srgbClr val="FFFFFF"/>
                </a:solidFill>
                <a:latin typeface="Roboto"/>
                <a:cs typeface="Roboto"/>
              </a:rPr>
              <a:t>Press</a:t>
            </a:r>
            <a:r>
              <a:rPr sz="1800" b="1" spc="65" dirty="0">
                <a:solidFill>
                  <a:srgbClr val="FFFFFF"/>
                </a:solidFill>
                <a:latin typeface="Roboto"/>
                <a:cs typeface="Roboto"/>
              </a:rPr>
              <a:t> </a:t>
            </a:r>
            <a:r>
              <a:rPr sz="1800" b="1" spc="-20" dirty="0">
                <a:solidFill>
                  <a:srgbClr val="FFFFFF"/>
                </a:solidFill>
                <a:latin typeface="Roboto"/>
                <a:cs typeface="Roboto"/>
              </a:rPr>
              <a:t>Trips</a:t>
            </a:r>
            <a:endParaRPr sz="1800">
              <a:latin typeface="Roboto"/>
              <a:cs typeface="Roboto"/>
            </a:endParaRPr>
          </a:p>
        </p:txBody>
      </p:sp>
      <p:sp>
        <p:nvSpPr>
          <p:cNvPr id="121" name="object 121"/>
          <p:cNvSpPr txBox="1"/>
          <p:nvPr/>
        </p:nvSpPr>
        <p:spPr>
          <a:xfrm>
            <a:off x="16166349" y="4782054"/>
            <a:ext cx="948055" cy="284480"/>
          </a:xfrm>
          <a:prstGeom prst="rect">
            <a:avLst/>
          </a:prstGeom>
        </p:spPr>
        <p:txBody>
          <a:bodyPr vert="horz" wrap="square" lIns="0" tIns="12700" rIns="0" bIns="0" rtlCol="0">
            <a:spAutoFit/>
          </a:bodyPr>
          <a:lstStyle/>
          <a:p>
            <a:pPr marL="12700">
              <a:lnSpc>
                <a:spcPct val="100000"/>
              </a:lnSpc>
              <a:spcBef>
                <a:spcPts val="100"/>
              </a:spcBef>
            </a:pPr>
            <a:r>
              <a:rPr sz="1700" b="1" spc="-10" dirty="0">
                <a:solidFill>
                  <a:srgbClr val="21408B"/>
                </a:solidFill>
                <a:latin typeface="Roboto"/>
                <a:cs typeface="Roboto"/>
              </a:rPr>
              <a:t>FamTrips</a:t>
            </a:r>
            <a:endParaRPr sz="1700">
              <a:latin typeface="Roboto"/>
              <a:cs typeface="Roboto"/>
            </a:endParaRPr>
          </a:p>
        </p:txBody>
      </p:sp>
      <p:sp>
        <p:nvSpPr>
          <p:cNvPr id="122" name="object 122"/>
          <p:cNvSpPr txBox="1"/>
          <p:nvPr/>
        </p:nvSpPr>
        <p:spPr>
          <a:xfrm>
            <a:off x="16166200" y="5975936"/>
            <a:ext cx="1146175" cy="284480"/>
          </a:xfrm>
          <a:prstGeom prst="rect">
            <a:avLst/>
          </a:prstGeom>
        </p:spPr>
        <p:txBody>
          <a:bodyPr vert="horz" wrap="square" lIns="0" tIns="12700" rIns="0" bIns="0" rtlCol="0">
            <a:spAutoFit/>
          </a:bodyPr>
          <a:lstStyle/>
          <a:p>
            <a:pPr marL="12700">
              <a:lnSpc>
                <a:spcPct val="100000"/>
              </a:lnSpc>
              <a:spcBef>
                <a:spcPts val="100"/>
              </a:spcBef>
            </a:pPr>
            <a:r>
              <a:rPr sz="1700" b="1" spc="-10" dirty="0">
                <a:solidFill>
                  <a:srgbClr val="21408B"/>
                </a:solidFill>
                <a:latin typeface="Roboto"/>
                <a:cs typeface="Roboto"/>
              </a:rPr>
              <a:t>Roadshows</a:t>
            </a:r>
            <a:endParaRPr sz="1700">
              <a:latin typeface="Roboto"/>
              <a:cs typeface="Roboto"/>
            </a:endParaRPr>
          </a:p>
        </p:txBody>
      </p:sp>
      <p:sp>
        <p:nvSpPr>
          <p:cNvPr id="123" name="object 123"/>
          <p:cNvSpPr txBox="1"/>
          <p:nvPr/>
        </p:nvSpPr>
        <p:spPr>
          <a:xfrm>
            <a:off x="16166200" y="7162977"/>
            <a:ext cx="1506855" cy="541655"/>
          </a:xfrm>
          <a:prstGeom prst="rect">
            <a:avLst/>
          </a:prstGeom>
        </p:spPr>
        <p:txBody>
          <a:bodyPr vert="horz" wrap="square" lIns="0" tIns="22225" rIns="0" bIns="0" rtlCol="0">
            <a:spAutoFit/>
          </a:bodyPr>
          <a:lstStyle/>
          <a:p>
            <a:pPr marL="12700" marR="5080">
              <a:lnSpc>
                <a:spcPts val="2030"/>
              </a:lnSpc>
              <a:spcBef>
                <a:spcPts val="175"/>
              </a:spcBef>
            </a:pPr>
            <a:r>
              <a:rPr sz="1700" b="1" spc="-10" dirty="0">
                <a:solidFill>
                  <a:srgbClr val="21408B"/>
                </a:solidFill>
                <a:latin typeface="Roboto"/>
                <a:cs typeface="Roboto"/>
              </a:rPr>
              <a:t>Webinars personalizados</a:t>
            </a:r>
            <a:endParaRPr sz="1700">
              <a:latin typeface="Roboto"/>
              <a:cs typeface="Roboto"/>
            </a:endParaRPr>
          </a:p>
        </p:txBody>
      </p:sp>
      <p:sp>
        <p:nvSpPr>
          <p:cNvPr id="124" name="object 124"/>
          <p:cNvSpPr txBox="1"/>
          <p:nvPr/>
        </p:nvSpPr>
        <p:spPr>
          <a:xfrm>
            <a:off x="16166200" y="8270719"/>
            <a:ext cx="1071880" cy="798830"/>
          </a:xfrm>
          <a:prstGeom prst="rect">
            <a:avLst/>
          </a:prstGeom>
        </p:spPr>
        <p:txBody>
          <a:bodyPr vert="horz" wrap="square" lIns="0" tIns="22225" rIns="0" bIns="0" rtlCol="0">
            <a:spAutoFit/>
          </a:bodyPr>
          <a:lstStyle/>
          <a:p>
            <a:pPr marL="12700" marR="5080">
              <a:lnSpc>
                <a:spcPts val="2030"/>
              </a:lnSpc>
              <a:spcBef>
                <a:spcPts val="175"/>
              </a:spcBef>
            </a:pPr>
            <a:r>
              <a:rPr sz="1700" b="1" spc="-10" dirty="0">
                <a:solidFill>
                  <a:srgbClr val="21408B"/>
                </a:solidFill>
                <a:latin typeface="Roboto"/>
                <a:cs typeface="Roboto"/>
              </a:rPr>
              <a:t>Cápsulas formativas generales</a:t>
            </a:r>
            <a:endParaRPr sz="1700">
              <a:latin typeface="Roboto"/>
              <a:cs typeface="Roboto"/>
            </a:endParaRPr>
          </a:p>
        </p:txBody>
      </p:sp>
      <p:sp>
        <p:nvSpPr>
          <p:cNvPr id="125" name="object 125"/>
          <p:cNvSpPr txBox="1"/>
          <p:nvPr/>
        </p:nvSpPr>
        <p:spPr>
          <a:xfrm>
            <a:off x="8634676" y="5639110"/>
            <a:ext cx="1652270" cy="980440"/>
          </a:xfrm>
          <a:prstGeom prst="rect">
            <a:avLst/>
          </a:prstGeom>
          <a:solidFill>
            <a:srgbClr val="21408B"/>
          </a:solidFill>
        </p:spPr>
        <p:txBody>
          <a:bodyPr vert="horz" wrap="square" lIns="0" tIns="164465" rIns="0" bIns="0" rtlCol="0">
            <a:spAutoFit/>
          </a:bodyPr>
          <a:lstStyle/>
          <a:p>
            <a:pPr marL="492759" marR="513080" indent="78105">
              <a:lnSpc>
                <a:spcPct val="118100"/>
              </a:lnSpc>
              <a:spcBef>
                <a:spcPts val="1295"/>
              </a:spcBef>
            </a:pPr>
            <a:r>
              <a:rPr sz="1800" b="1" spc="30" dirty="0">
                <a:solidFill>
                  <a:srgbClr val="FFFFFF"/>
                </a:solidFill>
                <a:latin typeface="Arial"/>
                <a:cs typeface="Arial"/>
              </a:rPr>
              <a:t>TOP </a:t>
            </a:r>
            <a:r>
              <a:rPr sz="1800" b="1" spc="-20" dirty="0">
                <a:solidFill>
                  <a:srgbClr val="FFFFFF"/>
                </a:solidFill>
                <a:latin typeface="Arial"/>
                <a:cs typeface="Arial"/>
              </a:rPr>
              <a:t>RESA</a:t>
            </a:r>
            <a:endParaRPr sz="1800">
              <a:latin typeface="Arial"/>
              <a:cs typeface="Arial"/>
            </a:endParaRPr>
          </a:p>
        </p:txBody>
      </p:sp>
      <p:sp>
        <p:nvSpPr>
          <p:cNvPr id="126" name="object 126"/>
          <p:cNvSpPr txBox="1"/>
          <p:nvPr/>
        </p:nvSpPr>
        <p:spPr>
          <a:xfrm>
            <a:off x="8648548" y="7423772"/>
            <a:ext cx="1130300" cy="303530"/>
          </a:xfrm>
          <a:prstGeom prst="rect">
            <a:avLst/>
          </a:prstGeom>
        </p:spPr>
        <p:txBody>
          <a:bodyPr vert="horz" wrap="square" lIns="0" tIns="15875" rIns="0" bIns="0" rtlCol="0">
            <a:spAutoFit/>
          </a:bodyPr>
          <a:lstStyle/>
          <a:p>
            <a:pPr marL="12700">
              <a:lnSpc>
                <a:spcPct val="100000"/>
              </a:lnSpc>
              <a:spcBef>
                <a:spcPts val="125"/>
              </a:spcBef>
            </a:pPr>
            <a:r>
              <a:rPr sz="1800" b="1" spc="-10" dirty="0">
                <a:solidFill>
                  <a:srgbClr val="FFFFFF"/>
                </a:solidFill>
                <a:latin typeface="Roboto"/>
                <a:cs typeface="Roboto"/>
              </a:rPr>
              <a:t>Campañas</a:t>
            </a:r>
            <a:endParaRPr sz="1800">
              <a:latin typeface="Roboto"/>
              <a:cs typeface="Roboto"/>
            </a:endParaRPr>
          </a:p>
        </p:txBody>
      </p:sp>
      <p:sp>
        <p:nvSpPr>
          <p:cNvPr id="127" name="object 127"/>
          <p:cNvSpPr txBox="1"/>
          <p:nvPr/>
        </p:nvSpPr>
        <p:spPr>
          <a:xfrm>
            <a:off x="7817239" y="7211685"/>
            <a:ext cx="697230" cy="713740"/>
          </a:xfrm>
          <a:prstGeom prst="rect">
            <a:avLst/>
          </a:prstGeom>
        </p:spPr>
        <p:txBody>
          <a:bodyPr vert="horz" wrap="square" lIns="0" tIns="13970" rIns="0" bIns="0" rtlCol="0">
            <a:spAutoFit/>
          </a:bodyPr>
          <a:lstStyle/>
          <a:p>
            <a:pPr marL="12700">
              <a:lnSpc>
                <a:spcPct val="100000"/>
              </a:lnSpc>
              <a:spcBef>
                <a:spcPts val="110"/>
              </a:spcBef>
            </a:pPr>
            <a:r>
              <a:rPr sz="4500" b="1" spc="-25" dirty="0">
                <a:solidFill>
                  <a:srgbClr val="F5A316"/>
                </a:solidFill>
                <a:latin typeface="OpenSans-ExtraBold"/>
                <a:cs typeface="OpenSans-ExtraBold"/>
              </a:rPr>
              <a:t>16</a:t>
            </a:r>
            <a:endParaRPr sz="4500">
              <a:latin typeface="OpenSans-ExtraBold"/>
              <a:cs typeface="OpenSans-ExtraBold"/>
            </a:endParaRPr>
          </a:p>
        </p:txBody>
      </p:sp>
      <p:sp>
        <p:nvSpPr>
          <p:cNvPr id="128" name="object 128"/>
          <p:cNvSpPr txBox="1"/>
          <p:nvPr/>
        </p:nvSpPr>
        <p:spPr>
          <a:xfrm>
            <a:off x="7997902" y="8393432"/>
            <a:ext cx="348615" cy="713740"/>
          </a:xfrm>
          <a:prstGeom prst="rect">
            <a:avLst/>
          </a:prstGeom>
        </p:spPr>
        <p:txBody>
          <a:bodyPr vert="horz" wrap="square" lIns="0" tIns="13970" rIns="0" bIns="0" rtlCol="0">
            <a:spAutoFit/>
          </a:bodyPr>
          <a:lstStyle/>
          <a:p>
            <a:pPr>
              <a:lnSpc>
                <a:spcPct val="100000"/>
              </a:lnSpc>
              <a:spcBef>
                <a:spcPts val="110"/>
              </a:spcBef>
            </a:pPr>
            <a:r>
              <a:rPr sz="4500" b="1" spc="5" dirty="0">
                <a:solidFill>
                  <a:srgbClr val="F5A316"/>
                </a:solidFill>
                <a:latin typeface="OpenSans-ExtraBold"/>
                <a:cs typeface="OpenSans-ExtraBold"/>
              </a:rPr>
              <a:t>4</a:t>
            </a:r>
            <a:endParaRPr sz="4500">
              <a:latin typeface="OpenSans-ExtraBold"/>
              <a:cs typeface="OpenSans-ExtraBold"/>
            </a:endParaRPr>
          </a:p>
        </p:txBody>
      </p:sp>
      <p:sp>
        <p:nvSpPr>
          <p:cNvPr id="129" name="object 129"/>
          <p:cNvSpPr txBox="1"/>
          <p:nvPr/>
        </p:nvSpPr>
        <p:spPr>
          <a:xfrm>
            <a:off x="11302308" y="7211685"/>
            <a:ext cx="697230" cy="713740"/>
          </a:xfrm>
          <a:prstGeom prst="rect">
            <a:avLst/>
          </a:prstGeom>
        </p:spPr>
        <p:txBody>
          <a:bodyPr vert="horz" wrap="square" lIns="0" tIns="13970" rIns="0" bIns="0" rtlCol="0">
            <a:spAutoFit/>
          </a:bodyPr>
          <a:lstStyle/>
          <a:p>
            <a:pPr marL="12700">
              <a:lnSpc>
                <a:spcPct val="100000"/>
              </a:lnSpc>
              <a:spcBef>
                <a:spcPts val="110"/>
              </a:spcBef>
            </a:pPr>
            <a:r>
              <a:rPr sz="4500" b="1" spc="-25" dirty="0">
                <a:solidFill>
                  <a:srgbClr val="F5A316"/>
                </a:solidFill>
                <a:latin typeface="OpenSans-ExtraBold"/>
                <a:cs typeface="OpenSans-ExtraBold"/>
              </a:rPr>
              <a:t>12</a:t>
            </a:r>
            <a:endParaRPr sz="4500">
              <a:latin typeface="OpenSans-ExtraBold"/>
              <a:cs typeface="OpenSans-ExtraBold"/>
            </a:endParaRPr>
          </a:p>
        </p:txBody>
      </p:sp>
      <p:sp>
        <p:nvSpPr>
          <p:cNvPr id="130" name="object 130"/>
          <p:cNvSpPr txBox="1"/>
          <p:nvPr/>
        </p:nvSpPr>
        <p:spPr>
          <a:xfrm>
            <a:off x="14211103" y="4161657"/>
            <a:ext cx="865505" cy="3713479"/>
          </a:xfrm>
          <a:prstGeom prst="rect">
            <a:avLst/>
          </a:prstGeom>
        </p:spPr>
        <p:txBody>
          <a:bodyPr vert="horz" wrap="square" lIns="0" tIns="270510" rIns="0" bIns="0" rtlCol="0">
            <a:spAutoFit/>
          </a:bodyPr>
          <a:lstStyle/>
          <a:p>
            <a:pPr marR="5715" algn="r">
              <a:lnSpc>
                <a:spcPct val="100000"/>
              </a:lnSpc>
              <a:spcBef>
                <a:spcPts val="2130"/>
              </a:spcBef>
            </a:pPr>
            <a:r>
              <a:rPr sz="5600" b="1" spc="-25" dirty="0">
                <a:solidFill>
                  <a:srgbClr val="F5A316"/>
                </a:solidFill>
                <a:latin typeface="OpenSans-ExtraBold"/>
                <a:cs typeface="OpenSans-ExtraBold"/>
              </a:rPr>
              <a:t>12</a:t>
            </a:r>
            <a:endParaRPr sz="5600">
              <a:latin typeface="OpenSans-ExtraBold"/>
              <a:cs typeface="OpenSans-ExtraBold"/>
            </a:endParaRPr>
          </a:p>
          <a:p>
            <a:pPr marR="5080" algn="r">
              <a:lnSpc>
                <a:spcPct val="100000"/>
              </a:lnSpc>
              <a:spcBef>
                <a:spcPts val="2330"/>
              </a:spcBef>
            </a:pPr>
            <a:r>
              <a:rPr sz="6500" b="1" spc="5" dirty="0">
                <a:solidFill>
                  <a:srgbClr val="F5A316"/>
                </a:solidFill>
                <a:latin typeface="OpenSans-ExtraBold"/>
                <a:cs typeface="OpenSans-ExtraBold"/>
              </a:rPr>
              <a:t>8</a:t>
            </a:r>
            <a:endParaRPr sz="6500">
              <a:latin typeface="OpenSans-ExtraBold"/>
              <a:cs typeface="OpenSans-ExtraBold"/>
            </a:endParaRPr>
          </a:p>
          <a:p>
            <a:pPr marR="5080" algn="r">
              <a:lnSpc>
                <a:spcPct val="100000"/>
              </a:lnSpc>
              <a:spcBef>
                <a:spcPts val="2355"/>
              </a:spcBef>
            </a:pPr>
            <a:r>
              <a:rPr sz="6500" b="1" dirty="0">
                <a:solidFill>
                  <a:srgbClr val="F5A316"/>
                </a:solidFill>
                <a:latin typeface="OpenSans-ExtraBold"/>
                <a:cs typeface="OpenSans-ExtraBold"/>
              </a:rPr>
              <a:t>4</a:t>
            </a:r>
            <a:endParaRPr sz="6500">
              <a:latin typeface="OpenSans-ExtraBold"/>
              <a:cs typeface="OpenSans-ExtraBold"/>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6367" y="3591119"/>
            <a:ext cx="5971540" cy="6187440"/>
          </a:xfrm>
          <a:custGeom>
            <a:avLst/>
            <a:gdLst/>
            <a:ahLst/>
            <a:cxnLst/>
            <a:rect l="l" t="t" r="r" b="b"/>
            <a:pathLst>
              <a:path w="5971540" h="6187440">
                <a:moveTo>
                  <a:pt x="0" y="6186861"/>
                </a:moveTo>
                <a:lnTo>
                  <a:pt x="5971282" y="6186861"/>
                </a:lnTo>
                <a:lnTo>
                  <a:pt x="5971282" y="0"/>
                </a:lnTo>
                <a:lnTo>
                  <a:pt x="0" y="0"/>
                </a:lnTo>
                <a:lnTo>
                  <a:pt x="0" y="6186861"/>
                </a:lnTo>
                <a:close/>
              </a:path>
            </a:pathLst>
          </a:custGeom>
          <a:solidFill>
            <a:srgbClr val="FFFFFF"/>
          </a:solidFill>
        </p:spPr>
        <p:txBody>
          <a:bodyPr wrap="square" lIns="0" tIns="0" rIns="0" bIns="0" rtlCol="0"/>
          <a:lstStyle/>
          <a:p>
            <a:endParaRPr/>
          </a:p>
        </p:txBody>
      </p:sp>
      <p:sp>
        <p:nvSpPr>
          <p:cNvPr id="3" name="object 3"/>
          <p:cNvSpPr/>
          <p:nvPr/>
        </p:nvSpPr>
        <p:spPr>
          <a:xfrm>
            <a:off x="7763212" y="4587387"/>
            <a:ext cx="1652270" cy="980440"/>
          </a:xfrm>
          <a:custGeom>
            <a:avLst/>
            <a:gdLst/>
            <a:ahLst/>
            <a:cxnLst/>
            <a:rect l="l" t="t" r="r" b="b"/>
            <a:pathLst>
              <a:path w="1652270" h="980439">
                <a:moveTo>
                  <a:pt x="1651908" y="980338"/>
                </a:moveTo>
                <a:lnTo>
                  <a:pt x="0" y="980338"/>
                </a:lnTo>
                <a:lnTo>
                  <a:pt x="0" y="0"/>
                </a:lnTo>
                <a:lnTo>
                  <a:pt x="1651908" y="0"/>
                </a:lnTo>
                <a:lnTo>
                  <a:pt x="1651908" y="980338"/>
                </a:lnTo>
                <a:close/>
              </a:path>
            </a:pathLst>
          </a:custGeom>
          <a:solidFill>
            <a:srgbClr val="ECE4D5"/>
          </a:solidFill>
        </p:spPr>
        <p:txBody>
          <a:bodyPr wrap="square" lIns="0" tIns="0" rIns="0" bIns="0" rtlCol="0"/>
          <a:lstStyle/>
          <a:p>
            <a:endParaRPr/>
          </a:p>
        </p:txBody>
      </p:sp>
      <p:sp>
        <p:nvSpPr>
          <p:cNvPr id="4" name="object 4"/>
          <p:cNvSpPr/>
          <p:nvPr/>
        </p:nvSpPr>
        <p:spPr>
          <a:xfrm>
            <a:off x="15254850" y="4660266"/>
            <a:ext cx="607695" cy="598805"/>
          </a:xfrm>
          <a:custGeom>
            <a:avLst/>
            <a:gdLst/>
            <a:ahLst/>
            <a:cxnLst/>
            <a:rect l="l" t="t" r="r" b="b"/>
            <a:pathLst>
              <a:path w="607694" h="598804">
                <a:moveTo>
                  <a:pt x="484154" y="494145"/>
                </a:moveTo>
                <a:lnTo>
                  <a:pt x="439749" y="487873"/>
                </a:lnTo>
                <a:lnTo>
                  <a:pt x="392850" y="464143"/>
                </a:lnTo>
                <a:lnTo>
                  <a:pt x="360639" y="436512"/>
                </a:lnTo>
                <a:lnTo>
                  <a:pt x="65847" y="144767"/>
                </a:lnTo>
                <a:lnTo>
                  <a:pt x="34879" y="110970"/>
                </a:lnTo>
                <a:lnTo>
                  <a:pt x="12816" y="76437"/>
                </a:lnTo>
                <a:lnTo>
                  <a:pt x="0" y="24319"/>
                </a:lnTo>
                <a:lnTo>
                  <a:pt x="226" y="3803"/>
                </a:lnTo>
                <a:lnTo>
                  <a:pt x="348" y="1885"/>
                </a:lnTo>
                <a:lnTo>
                  <a:pt x="1904" y="359"/>
                </a:lnTo>
                <a:lnTo>
                  <a:pt x="3842" y="223"/>
                </a:lnTo>
                <a:lnTo>
                  <a:pt x="24580" y="0"/>
                </a:lnTo>
                <a:lnTo>
                  <a:pt x="43536" y="2092"/>
                </a:lnTo>
                <a:lnTo>
                  <a:pt x="94965" y="22389"/>
                </a:lnTo>
                <a:lnTo>
                  <a:pt x="129095" y="48855"/>
                </a:lnTo>
                <a:lnTo>
                  <a:pt x="441048" y="356930"/>
                </a:lnTo>
                <a:lnTo>
                  <a:pt x="468979" y="388811"/>
                </a:lnTo>
                <a:lnTo>
                  <a:pt x="488325" y="422481"/>
                </a:lnTo>
                <a:lnTo>
                  <a:pt x="499041" y="470738"/>
                </a:lnTo>
                <a:lnTo>
                  <a:pt x="498916" y="490191"/>
                </a:lnTo>
                <a:lnTo>
                  <a:pt x="498794" y="492109"/>
                </a:lnTo>
                <a:lnTo>
                  <a:pt x="497222" y="493665"/>
                </a:lnTo>
                <a:lnTo>
                  <a:pt x="495284" y="493786"/>
                </a:lnTo>
                <a:lnTo>
                  <a:pt x="484154" y="494145"/>
                </a:lnTo>
                <a:close/>
              </a:path>
              <a:path w="607694" h="598804">
                <a:moveTo>
                  <a:pt x="440590" y="93897"/>
                </a:moveTo>
                <a:lnTo>
                  <a:pt x="439461" y="93474"/>
                </a:lnTo>
                <a:lnTo>
                  <a:pt x="436561" y="90589"/>
                </a:lnTo>
                <a:lnTo>
                  <a:pt x="433631" y="87659"/>
                </a:lnTo>
                <a:lnTo>
                  <a:pt x="432151" y="83793"/>
                </a:lnTo>
                <a:lnTo>
                  <a:pt x="432168" y="75999"/>
                </a:lnTo>
                <a:lnTo>
                  <a:pt x="433616" y="72178"/>
                </a:lnTo>
                <a:lnTo>
                  <a:pt x="439537" y="66318"/>
                </a:lnTo>
                <a:lnTo>
                  <a:pt x="443459" y="64852"/>
                </a:lnTo>
                <a:lnTo>
                  <a:pt x="451272" y="64852"/>
                </a:lnTo>
                <a:lnTo>
                  <a:pt x="455194" y="66333"/>
                </a:lnTo>
                <a:lnTo>
                  <a:pt x="476041" y="86980"/>
                </a:lnTo>
                <a:lnTo>
                  <a:pt x="474591" y="90952"/>
                </a:lnTo>
                <a:lnTo>
                  <a:pt x="440590" y="93897"/>
                </a:lnTo>
                <a:close/>
              </a:path>
              <a:path w="607694" h="598804">
                <a:moveTo>
                  <a:pt x="311881" y="105029"/>
                </a:moveTo>
                <a:lnTo>
                  <a:pt x="310736" y="104621"/>
                </a:lnTo>
                <a:lnTo>
                  <a:pt x="304922" y="98851"/>
                </a:lnTo>
                <a:lnTo>
                  <a:pt x="303441" y="94970"/>
                </a:lnTo>
                <a:lnTo>
                  <a:pt x="303441" y="87357"/>
                </a:lnTo>
                <a:lnTo>
                  <a:pt x="304769" y="83672"/>
                </a:lnTo>
                <a:lnTo>
                  <a:pt x="307424" y="80802"/>
                </a:lnTo>
                <a:lnTo>
                  <a:pt x="310797" y="77464"/>
                </a:lnTo>
                <a:lnTo>
                  <a:pt x="314719" y="75999"/>
                </a:lnTo>
                <a:lnTo>
                  <a:pt x="322563" y="75999"/>
                </a:lnTo>
                <a:lnTo>
                  <a:pt x="326485" y="77479"/>
                </a:lnTo>
                <a:lnTo>
                  <a:pt x="347331" y="98126"/>
                </a:lnTo>
                <a:lnTo>
                  <a:pt x="345882" y="102099"/>
                </a:lnTo>
                <a:lnTo>
                  <a:pt x="311881" y="105029"/>
                </a:lnTo>
                <a:close/>
              </a:path>
              <a:path w="607694" h="598804">
                <a:moveTo>
                  <a:pt x="382828" y="262758"/>
                </a:moveTo>
                <a:lnTo>
                  <a:pt x="375930" y="261837"/>
                </a:lnTo>
                <a:lnTo>
                  <a:pt x="358884" y="246280"/>
                </a:lnTo>
                <a:lnTo>
                  <a:pt x="249281" y="136233"/>
                </a:lnTo>
                <a:lnTo>
                  <a:pt x="250731" y="132261"/>
                </a:lnTo>
                <a:lnTo>
                  <a:pt x="552589" y="106131"/>
                </a:lnTo>
                <a:lnTo>
                  <a:pt x="553718" y="106524"/>
                </a:lnTo>
                <a:lnTo>
                  <a:pt x="598233" y="149857"/>
                </a:lnTo>
                <a:lnTo>
                  <a:pt x="597760" y="152998"/>
                </a:lnTo>
                <a:lnTo>
                  <a:pt x="382828" y="262758"/>
                </a:lnTo>
                <a:close/>
              </a:path>
              <a:path w="607694" h="598804">
                <a:moveTo>
                  <a:pt x="150346" y="593109"/>
                </a:moveTo>
                <a:lnTo>
                  <a:pt x="106578" y="549036"/>
                </a:lnTo>
                <a:lnTo>
                  <a:pt x="106166" y="547933"/>
                </a:lnTo>
                <a:lnTo>
                  <a:pt x="132750" y="247292"/>
                </a:lnTo>
                <a:lnTo>
                  <a:pt x="136763" y="245842"/>
                </a:lnTo>
                <a:lnTo>
                  <a:pt x="233166" y="341917"/>
                </a:lnTo>
                <a:lnTo>
                  <a:pt x="263947" y="371792"/>
                </a:lnTo>
                <a:lnTo>
                  <a:pt x="265076" y="378665"/>
                </a:lnTo>
                <a:lnTo>
                  <a:pt x="153520" y="592641"/>
                </a:lnTo>
                <a:lnTo>
                  <a:pt x="150346" y="593109"/>
                </a:lnTo>
                <a:close/>
              </a:path>
              <a:path w="607694" h="598804">
                <a:moveTo>
                  <a:pt x="98077" y="344817"/>
                </a:moveTo>
                <a:lnTo>
                  <a:pt x="79719" y="326662"/>
                </a:lnTo>
                <a:lnTo>
                  <a:pt x="77079" y="323792"/>
                </a:lnTo>
                <a:lnTo>
                  <a:pt x="75736" y="320107"/>
                </a:lnTo>
                <a:lnTo>
                  <a:pt x="75736" y="312510"/>
                </a:lnTo>
                <a:lnTo>
                  <a:pt x="77201" y="308628"/>
                </a:lnTo>
                <a:lnTo>
                  <a:pt x="83122" y="302813"/>
                </a:lnTo>
                <a:lnTo>
                  <a:pt x="87029" y="301348"/>
                </a:lnTo>
                <a:lnTo>
                  <a:pt x="94873" y="301348"/>
                </a:lnTo>
                <a:lnTo>
                  <a:pt x="98795" y="302813"/>
                </a:lnTo>
                <a:lnTo>
                  <a:pt x="104624" y="308583"/>
                </a:lnTo>
                <a:lnTo>
                  <a:pt x="105052" y="309716"/>
                </a:lnTo>
                <a:lnTo>
                  <a:pt x="102076" y="343352"/>
                </a:lnTo>
                <a:lnTo>
                  <a:pt x="98077" y="344817"/>
                </a:lnTo>
                <a:close/>
              </a:path>
              <a:path w="607694" h="598804">
                <a:moveTo>
                  <a:pt x="516375" y="431347"/>
                </a:moveTo>
                <a:lnTo>
                  <a:pt x="514437" y="430169"/>
                </a:lnTo>
                <a:lnTo>
                  <a:pt x="512331" y="423463"/>
                </a:lnTo>
                <a:lnTo>
                  <a:pt x="510606" y="418750"/>
                </a:lnTo>
                <a:lnTo>
                  <a:pt x="493499" y="385612"/>
                </a:lnTo>
                <a:lnTo>
                  <a:pt x="495422" y="382229"/>
                </a:lnTo>
                <a:lnTo>
                  <a:pt x="581065" y="384344"/>
                </a:lnTo>
                <a:lnTo>
                  <a:pt x="582026" y="384752"/>
                </a:lnTo>
                <a:lnTo>
                  <a:pt x="607283" y="409733"/>
                </a:lnTo>
                <a:lnTo>
                  <a:pt x="606138" y="413464"/>
                </a:lnTo>
                <a:lnTo>
                  <a:pt x="516375" y="431347"/>
                </a:lnTo>
                <a:close/>
              </a:path>
              <a:path w="607694" h="598804">
                <a:moveTo>
                  <a:pt x="86830" y="472188"/>
                </a:moveTo>
                <a:lnTo>
                  <a:pt x="65969" y="451526"/>
                </a:lnTo>
                <a:lnTo>
                  <a:pt x="64489" y="447659"/>
                </a:lnTo>
                <a:lnTo>
                  <a:pt x="64489" y="439911"/>
                </a:lnTo>
                <a:lnTo>
                  <a:pt x="65954" y="436044"/>
                </a:lnTo>
                <a:lnTo>
                  <a:pt x="71860" y="430199"/>
                </a:lnTo>
                <a:lnTo>
                  <a:pt x="75797" y="428719"/>
                </a:lnTo>
                <a:lnTo>
                  <a:pt x="83610" y="428719"/>
                </a:lnTo>
                <a:lnTo>
                  <a:pt x="87532" y="430199"/>
                </a:lnTo>
                <a:lnTo>
                  <a:pt x="93408" y="435999"/>
                </a:lnTo>
                <a:lnTo>
                  <a:pt x="93820" y="437132"/>
                </a:lnTo>
                <a:lnTo>
                  <a:pt x="90844" y="470738"/>
                </a:lnTo>
                <a:lnTo>
                  <a:pt x="86830" y="472188"/>
                </a:lnTo>
                <a:close/>
              </a:path>
              <a:path w="607694" h="598804">
                <a:moveTo>
                  <a:pt x="416676" y="598365"/>
                </a:moveTo>
                <a:lnTo>
                  <a:pt x="391420" y="573368"/>
                </a:lnTo>
                <a:lnTo>
                  <a:pt x="391023" y="572432"/>
                </a:lnTo>
                <a:lnTo>
                  <a:pt x="388993" y="492049"/>
                </a:lnTo>
                <a:lnTo>
                  <a:pt x="392351" y="490131"/>
                </a:lnTo>
                <a:lnTo>
                  <a:pt x="395706" y="492109"/>
                </a:lnTo>
                <a:lnTo>
                  <a:pt x="400709" y="494960"/>
                </a:lnTo>
                <a:lnTo>
                  <a:pt x="436653" y="509721"/>
                </a:lnTo>
                <a:lnTo>
                  <a:pt x="437858" y="511654"/>
                </a:lnTo>
                <a:lnTo>
                  <a:pt x="420461" y="597247"/>
                </a:lnTo>
                <a:lnTo>
                  <a:pt x="416676" y="598365"/>
                </a:lnTo>
                <a:close/>
              </a:path>
            </a:pathLst>
          </a:custGeom>
          <a:solidFill>
            <a:srgbClr val="21408B"/>
          </a:solidFill>
        </p:spPr>
        <p:txBody>
          <a:bodyPr wrap="square" lIns="0" tIns="0" rIns="0" bIns="0" rtlCol="0"/>
          <a:lstStyle/>
          <a:p>
            <a:endParaRPr/>
          </a:p>
        </p:txBody>
      </p:sp>
      <p:grpSp>
        <p:nvGrpSpPr>
          <p:cNvPr id="5" name="object 5"/>
          <p:cNvGrpSpPr/>
          <p:nvPr/>
        </p:nvGrpSpPr>
        <p:grpSpPr>
          <a:xfrm>
            <a:off x="16784547" y="1565822"/>
            <a:ext cx="723900" cy="523875"/>
            <a:chOff x="16784547" y="1565822"/>
            <a:chExt cx="723900" cy="523875"/>
          </a:xfrm>
        </p:grpSpPr>
        <p:sp>
          <p:nvSpPr>
            <p:cNvPr id="6" name="object 6"/>
            <p:cNvSpPr/>
            <p:nvPr/>
          </p:nvSpPr>
          <p:spPr>
            <a:xfrm>
              <a:off x="16784547" y="1565822"/>
              <a:ext cx="723900" cy="523875"/>
            </a:xfrm>
            <a:custGeom>
              <a:avLst/>
              <a:gdLst/>
              <a:ahLst/>
              <a:cxnLst/>
              <a:rect l="l" t="t" r="r" b="b"/>
              <a:pathLst>
                <a:path w="723900" h="523875">
                  <a:moveTo>
                    <a:pt x="712739" y="40280"/>
                  </a:moveTo>
                  <a:lnTo>
                    <a:pt x="361949" y="40280"/>
                  </a:lnTo>
                  <a:lnTo>
                    <a:pt x="361949" y="0"/>
                  </a:lnTo>
                  <a:lnTo>
                    <a:pt x="643466" y="0"/>
                  </a:lnTo>
                  <a:lnTo>
                    <a:pt x="664860" y="2920"/>
                  </a:lnTo>
                  <a:lnTo>
                    <a:pt x="684015" y="11145"/>
                  </a:lnTo>
                  <a:lnTo>
                    <a:pt x="700213" y="23866"/>
                  </a:lnTo>
                  <a:lnTo>
                    <a:pt x="712739" y="40280"/>
                  </a:lnTo>
                  <a:close/>
                </a:path>
                <a:path w="723900" h="523875">
                  <a:moveTo>
                    <a:pt x="723899" y="443081"/>
                  </a:moveTo>
                  <a:lnTo>
                    <a:pt x="0" y="443081"/>
                  </a:lnTo>
                  <a:lnTo>
                    <a:pt x="0" y="402801"/>
                  </a:lnTo>
                  <a:lnTo>
                    <a:pt x="723899" y="402801"/>
                  </a:lnTo>
                  <a:lnTo>
                    <a:pt x="723899" y="443081"/>
                  </a:lnTo>
                  <a:close/>
                </a:path>
                <a:path w="723900" h="523875">
                  <a:moveTo>
                    <a:pt x="723899" y="281961"/>
                  </a:moveTo>
                  <a:lnTo>
                    <a:pt x="361949" y="281961"/>
                  </a:lnTo>
                  <a:lnTo>
                    <a:pt x="361949" y="241680"/>
                  </a:lnTo>
                  <a:lnTo>
                    <a:pt x="723899" y="241680"/>
                  </a:lnTo>
                  <a:lnTo>
                    <a:pt x="723899" y="281961"/>
                  </a:lnTo>
                  <a:close/>
                </a:path>
                <a:path w="723900" h="523875">
                  <a:moveTo>
                    <a:pt x="723899" y="201400"/>
                  </a:moveTo>
                  <a:lnTo>
                    <a:pt x="361949" y="201400"/>
                  </a:lnTo>
                  <a:lnTo>
                    <a:pt x="361949" y="161120"/>
                  </a:lnTo>
                  <a:lnTo>
                    <a:pt x="723899" y="161120"/>
                  </a:lnTo>
                  <a:lnTo>
                    <a:pt x="723899" y="201400"/>
                  </a:lnTo>
                  <a:close/>
                </a:path>
                <a:path w="723900" h="523875">
                  <a:moveTo>
                    <a:pt x="723899" y="362521"/>
                  </a:moveTo>
                  <a:lnTo>
                    <a:pt x="0" y="362521"/>
                  </a:lnTo>
                  <a:lnTo>
                    <a:pt x="0" y="322241"/>
                  </a:lnTo>
                  <a:lnTo>
                    <a:pt x="723899" y="322241"/>
                  </a:lnTo>
                  <a:lnTo>
                    <a:pt x="723899" y="362521"/>
                  </a:lnTo>
                  <a:close/>
                </a:path>
                <a:path w="723900" h="523875">
                  <a:moveTo>
                    <a:pt x="643466" y="523642"/>
                  </a:moveTo>
                  <a:lnTo>
                    <a:pt x="80433" y="523642"/>
                  </a:lnTo>
                  <a:lnTo>
                    <a:pt x="59039" y="520721"/>
                  </a:lnTo>
                  <a:lnTo>
                    <a:pt x="39884" y="512497"/>
                  </a:lnTo>
                  <a:lnTo>
                    <a:pt x="23686" y="499775"/>
                  </a:lnTo>
                  <a:lnTo>
                    <a:pt x="11160" y="483361"/>
                  </a:lnTo>
                  <a:lnTo>
                    <a:pt x="712739" y="483361"/>
                  </a:lnTo>
                  <a:lnTo>
                    <a:pt x="700213" y="499775"/>
                  </a:lnTo>
                  <a:lnTo>
                    <a:pt x="684015" y="512497"/>
                  </a:lnTo>
                  <a:lnTo>
                    <a:pt x="664860" y="520721"/>
                  </a:lnTo>
                  <a:lnTo>
                    <a:pt x="643466" y="523642"/>
                  </a:lnTo>
                  <a:close/>
                </a:path>
                <a:path w="723900" h="523875">
                  <a:moveTo>
                    <a:pt x="723899" y="120840"/>
                  </a:moveTo>
                  <a:lnTo>
                    <a:pt x="361949" y="120840"/>
                  </a:lnTo>
                  <a:lnTo>
                    <a:pt x="361949" y="80560"/>
                  </a:lnTo>
                  <a:lnTo>
                    <a:pt x="723899" y="80560"/>
                  </a:lnTo>
                  <a:lnTo>
                    <a:pt x="723899" y="120840"/>
                  </a:lnTo>
                  <a:close/>
                </a:path>
              </a:pathLst>
            </a:custGeom>
            <a:solidFill>
              <a:srgbClr val="B12333"/>
            </a:solidFill>
          </p:spPr>
          <p:txBody>
            <a:bodyPr wrap="square" lIns="0" tIns="0" rIns="0" bIns="0" rtlCol="0"/>
            <a:lstStyle/>
            <a:p>
              <a:endParaRPr/>
            </a:p>
          </p:txBody>
        </p:sp>
        <p:sp>
          <p:nvSpPr>
            <p:cNvPr id="7" name="object 7"/>
            <p:cNvSpPr/>
            <p:nvPr/>
          </p:nvSpPr>
          <p:spPr>
            <a:xfrm>
              <a:off x="16784547" y="1606102"/>
              <a:ext cx="723900" cy="443230"/>
            </a:xfrm>
            <a:custGeom>
              <a:avLst/>
              <a:gdLst/>
              <a:ahLst/>
              <a:cxnLst/>
              <a:rect l="l" t="t" r="r" b="b"/>
              <a:pathLst>
                <a:path w="723900" h="443230">
                  <a:moveTo>
                    <a:pt x="712739" y="443081"/>
                  </a:moveTo>
                  <a:lnTo>
                    <a:pt x="11160" y="443081"/>
                  </a:lnTo>
                  <a:lnTo>
                    <a:pt x="8365" y="438268"/>
                  </a:lnTo>
                  <a:lnTo>
                    <a:pt x="0" y="402801"/>
                  </a:lnTo>
                  <a:lnTo>
                    <a:pt x="723899" y="402801"/>
                  </a:lnTo>
                  <a:lnTo>
                    <a:pt x="723899" y="407494"/>
                  </a:lnTo>
                  <a:lnTo>
                    <a:pt x="723336" y="412045"/>
                  </a:lnTo>
                  <a:lnTo>
                    <a:pt x="712739" y="443081"/>
                  </a:lnTo>
                  <a:close/>
                </a:path>
                <a:path w="723900" h="443230">
                  <a:moveTo>
                    <a:pt x="723899" y="362521"/>
                  </a:moveTo>
                  <a:lnTo>
                    <a:pt x="0" y="362521"/>
                  </a:lnTo>
                  <a:lnTo>
                    <a:pt x="0" y="322241"/>
                  </a:lnTo>
                  <a:lnTo>
                    <a:pt x="723899" y="322241"/>
                  </a:lnTo>
                  <a:lnTo>
                    <a:pt x="723899" y="362521"/>
                  </a:lnTo>
                  <a:close/>
                </a:path>
                <a:path w="723900" h="443230">
                  <a:moveTo>
                    <a:pt x="723899" y="281961"/>
                  </a:moveTo>
                  <a:lnTo>
                    <a:pt x="0" y="281961"/>
                  </a:lnTo>
                  <a:lnTo>
                    <a:pt x="0" y="241680"/>
                  </a:lnTo>
                  <a:lnTo>
                    <a:pt x="723899" y="241680"/>
                  </a:lnTo>
                  <a:lnTo>
                    <a:pt x="723899" y="281961"/>
                  </a:lnTo>
                  <a:close/>
                </a:path>
                <a:path w="723900" h="443230">
                  <a:moveTo>
                    <a:pt x="723899" y="201400"/>
                  </a:moveTo>
                  <a:lnTo>
                    <a:pt x="361949" y="201400"/>
                  </a:lnTo>
                  <a:lnTo>
                    <a:pt x="361949" y="161120"/>
                  </a:lnTo>
                  <a:lnTo>
                    <a:pt x="723899" y="161120"/>
                  </a:lnTo>
                  <a:lnTo>
                    <a:pt x="723899" y="201400"/>
                  </a:lnTo>
                  <a:close/>
                </a:path>
                <a:path w="723900" h="443230">
                  <a:moveTo>
                    <a:pt x="723899" y="120840"/>
                  </a:moveTo>
                  <a:lnTo>
                    <a:pt x="361949" y="120840"/>
                  </a:lnTo>
                  <a:lnTo>
                    <a:pt x="361949" y="80560"/>
                  </a:lnTo>
                  <a:lnTo>
                    <a:pt x="723899" y="80560"/>
                  </a:lnTo>
                  <a:lnTo>
                    <a:pt x="723899" y="120840"/>
                  </a:lnTo>
                  <a:close/>
                </a:path>
                <a:path w="723900" h="443230">
                  <a:moveTo>
                    <a:pt x="0" y="35587"/>
                  </a:moveTo>
                  <a:lnTo>
                    <a:pt x="563" y="31056"/>
                  </a:lnTo>
                  <a:lnTo>
                    <a:pt x="1367" y="26605"/>
                  </a:lnTo>
                  <a:lnTo>
                    <a:pt x="603" y="31076"/>
                  </a:lnTo>
                  <a:lnTo>
                    <a:pt x="0" y="35587"/>
                  </a:lnTo>
                  <a:close/>
                </a:path>
                <a:path w="723900" h="443230">
                  <a:moveTo>
                    <a:pt x="3357" y="18192"/>
                  </a:moveTo>
                  <a:lnTo>
                    <a:pt x="3740" y="17018"/>
                  </a:lnTo>
                  <a:lnTo>
                    <a:pt x="4423" y="15044"/>
                  </a:lnTo>
                  <a:lnTo>
                    <a:pt x="3780" y="17018"/>
                  </a:lnTo>
                  <a:lnTo>
                    <a:pt x="3357" y="18192"/>
                  </a:lnTo>
                  <a:close/>
                </a:path>
                <a:path w="723900" h="443230">
                  <a:moveTo>
                    <a:pt x="2573" y="21026"/>
                  </a:moveTo>
                  <a:lnTo>
                    <a:pt x="3076" y="18971"/>
                  </a:lnTo>
                  <a:lnTo>
                    <a:pt x="3357" y="18192"/>
                  </a:lnTo>
                  <a:lnTo>
                    <a:pt x="3096" y="18992"/>
                  </a:lnTo>
                  <a:lnTo>
                    <a:pt x="2573" y="21026"/>
                  </a:lnTo>
                  <a:close/>
                </a:path>
                <a:path w="723900" h="443230">
                  <a:moveTo>
                    <a:pt x="2573" y="21026"/>
                  </a:moveTo>
                  <a:close/>
                </a:path>
                <a:path w="723900" h="443230">
                  <a:moveTo>
                    <a:pt x="723899" y="40280"/>
                  </a:moveTo>
                  <a:lnTo>
                    <a:pt x="361949" y="40280"/>
                  </a:lnTo>
                  <a:lnTo>
                    <a:pt x="361949" y="0"/>
                  </a:lnTo>
                  <a:lnTo>
                    <a:pt x="712739" y="0"/>
                  </a:lnTo>
                  <a:lnTo>
                    <a:pt x="715474" y="4773"/>
                  </a:lnTo>
                  <a:lnTo>
                    <a:pt x="723899" y="35587"/>
                  </a:lnTo>
                  <a:lnTo>
                    <a:pt x="723899" y="40280"/>
                  </a:lnTo>
                  <a:close/>
                </a:path>
              </a:pathLst>
            </a:custGeom>
            <a:solidFill>
              <a:srgbClr val="EDEDED"/>
            </a:solidFill>
          </p:spPr>
          <p:txBody>
            <a:bodyPr wrap="square" lIns="0" tIns="0" rIns="0" bIns="0" rtlCol="0"/>
            <a:lstStyle/>
            <a:p>
              <a:endParaRPr/>
            </a:p>
          </p:txBody>
        </p:sp>
        <p:sp>
          <p:nvSpPr>
            <p:cNvPr id="8" name="object 8"/>
            <p:cNvSpPr/>
            <p:nvPr/>
          </p:nvSpPr>
          <p:spPr>
            <a:xfrm>
              <a:off x="16784547" y="1565822"/>
              <a:ext cx="361950" cy="282575"/>
            </a:xfrm>
            <a:custGeom>
              <a:avLst/>
              <a:gdLst/>
              <a:ahLst/>
              <a:cxnLst/>
              <a:rect l="l" t="t" r="r" b="b"/>
              <a:pathLst>
                <a:path w="361950" h="282575">
                  <a:moveTo>
                    <a:pt x="361949" y="281961"/>
                  </a:moveTo>
                  <a:lnTo>
                    <a:pt x="0" y="281961"/>
                  </a:lnTo>
                  <a:lnTo>
                    <a:pt x="0" y="80560"/>
                  </a:lnTo>
                  <a:lnTo>
                    <a:pt x="6321" y="49203"/>
                  </a:lnTo>
                  <a:lnTo>
                    <a:pt x="23559" y="23596"/>
                  </a:lnTo>
                  <a:lnTo>
                    <a:pt x="49126" y="6331"/>
                  </a:lnTo>
                  <a:lnTo>
                    <a:pt x="80433" y="0"/>
                  </a:lnTo>
                  <a:lnTo>
                    <a:pt x="361949" y="0"/>
                  </a:lnTo>
                  <a:lnTo>
                    <a:pt x="361949" y="281961"/>
                  </a:lnTo>
                  <a:close/>
                </a:path>
              </a:pathLst>
            </a:custGeom>
            <a:solidFill>
              <a:srgbClr val="3C3B6E"/>
            </a:solidFill>
          </p:spPr>
          <p:txBody>
            <a:bodyPr wrap="square" lIns="0" tIns="0" rIns="0" bIns="0" rtlCol="0"/>
            <a:lstStyle/>
            <a:p>
              <a:endParaRPr/>
            </a:p>
          </p:txBody>
        </p:sp>
        <p:sp>
          <p:nvSpPr>
            <p:cNvPr id="9" name="object 9"/>
            <p:cNvSpPr/>
            <p:nvPr/>
          </p:nvSpPr>
          <p:spPr>
            <a:xfrm>
              <a:off x="16824784" y="1606102"/>
              <a:ext cx="281940" cy="199390"/>
            </a:xfrm>
            <a:custGeom>
              <a:avLst/>
              <a:gdLst/>
              <a:ahLst/>
              <a:cxnLst/>
              <a:rect l="l" t="t" r="r" b="b"/>
              <a:pathLst>
                <a:path w="281940" h="199389">
                  <a:moveTo>
                    <a:pt x="24833" y="14621"/>
                  </a:moveTo>
                  <a:lnTo>
                    <a:pt x="15362" y="14621"/>
                  </a:lnTo>
                  <a:lnTo>
                    <a:pt x="20088" y="0"/>
                  </a:lnTo>
                  <a:lnTo>
                    <a:pt x="24833" y="14621"/>
                  </a:lnTo>
                  <a:close/>
                </a:path>
                <a:path w="281940" h="199389">
                  <a:moveTo>
                    <a:pt x="7681" y="38266"/>
                  </a:moveTo>
                  <a:lnTo>
                    <a:pt x="12426" y="23664"/>
                  </a:lnTo>
                  <a:lnTo>
                    <a:pt x="0" y="14621"/>
                  </a:lnTo>
                  <a:lnTo>
                    <a:pt x="40196" y="14621"/>
                  </a:lnTo>
                  <a:lnTo>
                    <a:pt x="27769" y="23664"/>
                  </a:lnTo>
                  <a:lnTo>
                    <a:pt x="29582" y="29243"/>
                  </a:lnTo>
                  <a:lnTo>
                    <a:pt x="20088" y="29243"/>
                  </a:lnTo>
                  <a:lnTo>
                    <a:pt x="7681" y="38266"/>
                  </a:lnTo>
                  <a:close/>
                </a:path>
                <a:path w="281940" h="199389">
                  <a:moveTo>
                    <a:pt x="32515" y="38266"/>
                  </a:moveTo>
                  <a:lnTo>
                    <a:pt x="20088" y="29243"/>
                  </a:lnTo>
                  <a:lnTo>
                    <a:pt x="29582" y="29243"/>
                  </a:lnTo>
                  <a:lnTo>
                    <a:pt x="32515" y="38266"/>
                  </a:lnTo>
                  <a:close/>
                </a:path>
                <a:path w="281940" h="199389">
                  <a:moveTo>
                    <a:pt x="65050" y="54901"/>
                  </a:moveTo>
                  <a:lnTo>
                    <a:pt x="55579" y="54901"/>
                  </a:lnTo>
                  <a:lnTo>
                    <a:pt x="60304" y="40280"/>
                  </a:lnTo>
                  <a:lnTo>
                    <a:pt x="65050" y="54901"/>
                  </a:lnTo>
                  <a:close/>
                </a:path>
                <a:path w="281940" h="199389">
                  <a:moveTo>
                    <a:pt x="47898" y="78546"/>
                  </a:moveTo>
                  <a:lnTo>
                    <a:pt x="52643" y="63944"/>
                  </a:lnTo>
                  <a:lnTo>
                    <a:pt x="40216" y="54901"/>
                  </a:lnTo>
                  <a:lnTo>
                    <a:pt x="80413" y="54901"/>
                  </a:lnTo>
                  <a:lnTo>
                    <a:pt x="67986" y="63944"/>
                  </a:lnTo>
                  <a:lnTo>
                    <a:pt x="69799" y="69523"/>
                  </a:lnTo>
                  <a:lnTo>
                    <a:pt x="60304" y="69523"/>
                  </a:lnTo>
                  <a:lnTo>
                    <a:pt x="47898" y="78546"/>
                  </a:lnTo>
                  <a:close/>
                </a:path>
                <a:path w="281940" h="199389">
                  <a:moveTo>
                    <a:pt x="72731" y="78546"/>
                  </a:moveTo>
                  <a:lnTo>
                    <a:pt x="60304" y="69523"/>
                  </a:lnTo>
                  <a:lnTo>
                    <a:pt x="69799" y="69523"/>
                  </a:lnTo>
                  <a:lnTo>
                    <a:pt x="72731" y="78546"/>
                  </a:lnTo>
                  <a:close/>
                </a:path>
                <a:path w="281940" h="199389">
                  <a:moveTo>
                    <a:pt x="145483" y="54901"/>
                  </a:moveTo>
                  <a:lnTo>
                    <a:pt x="136012" y="54901"/>
                  </a:lnTo>
                  <a:lnTo>
                    <a:pt x="140738" y="40280"/>
                  </a:lnTo>
                  <a:lnTo>
                    <a:pt x="145483" y="54901"/>
                  </a:lnTo>
                  <a:close/>
                </a:path>
                <a:path w="281940" h="199389">
                  <a:moveTo>
                    <a:pt x="128331" y="78546"/>
                  </a:moveTo>
                  <a:lnTo>
                    <a:pt x="133076" y="63944"/>
                  </a:lnTo>
                  <a:lnTo>
                    <a:pt x="120649" y="54901"/>
                  </a:lnTo>
                  <a:lnTo>
                    <a:pt x="160846" y="54901"/>
                  </a:lnTo>
                  <a:lnTo>
                    <a:pt x="148419" y="63944"/>
                  </a:lnTo>
                  <a:lnTo>
                    <a:pt x="150232" y="69523"/>
                  </a:lnTo>
                  <a:lnTo>
                    <a:pt x="140738" y="69523"/>
                  </a:lnTo>
                  <a:lnTo>
                    <a:pt x="128331" y="78546"/>
                  </a:lnTo>
                  <a:close/>
                </a:path>
                <a:path w="281940" h="199389">
                  <a:moveTo>
                    <a:pt x="153165" y="78546"/>
                  </a:moveTo>
                  <a:lnTo>
                    <a:pt x="140738" y="69523"/>
                  </a:lnTo>
                  <a:lnTo>
                    <a:pt x="150232" y="69523"/>
                  </a:lnTo>
                  <a:lnTo>
                    <a:pt x="153165" y="78546"/>
                  </a:lnTo>
                  <a:close/>
                </a:path>
                <a:path w="281940" h="199389">
                  <a:moveTo>
                    <a:pt x="225917" y="54901"/>
                  </a:moveTo>
                  <a:lnTo>
                    <a:pt x="216446" y="54901"/>
                  </a:lnTo>
                  <a:lnTo>
                    <a:pt x="221171" y="40280"/>
                  </a:lnTo>
                  <a:lnTo>
                    <a:pt x="225917" y="54901"/>
                  </a:lnTo>
                  <a:close/>
                </a:path>
                <a:path w="281940" h="199389">
                  <a:moveTo>
                    <a:pt x="208764" y="78546"/>
                  </a:moveTo>
                  <a:lnTo>
                    <a:pt x="213510" y="63944"/>
                  </a:lnTo>
                  <a:lnTo>
                    <a:pt x="201083" y="54901"/>
                  </a:lnTo>
                  <a:lnTo>
                    <a:pt x="241279" y="54901"/>
                  </a:lnTo>
                  <a:lnTo>
                    <a:pt x="228852" y="63944"/>
                  </a:lnTo>
                  <a:lnTo>
                    <a:pt x="230666" y="69523"/>
                  </a:lnTo>
                  <a:lnTo>
                    <a:pt x="221171" y="69523"/>
                  </a:lnTo>
                  <a:lnTo>
                    <a:pt x="208764" y="78546"/>
                  </a:lnTo>
                  <a:close/>
                </a:path>
                <a:path w="281940" h="199389">
                  <a:moveTo>
                    <a:pt x="233598" y="78546"/>
                  </a:moveTo>
                  <a:lnTo>
                    <a:pt x="221171" y="69523"/>
                  </a:lnTo>
                  <a:lnTo>
                    <a:pt x="230666" y="69523"/>
                  </a:lnTo>
                  <a:lnTo>
                    <a:pt x="233598" y="78546"/>
                  </a:lnTo>
                  <a:close/>
                </a:path>
                <a:path w="281940" h="199389">
                  <a:moveTo>
                    <a:pt x="65050" y="135462"/>
                  </a:moveTo>
                  <a:lnTo>
                    <a:pt x="55579" y="135462"/>
                  </a:lnTo>
                  <a:lnTo>
                    <a:pt x="60304" y="120840"/>
                  </a:lnTo>
                  <a:lnTo>
                    <a:pt x="65050" y="135462"/>
                  </a:lnTo>
                  <a:close/>
                </a:path>
                <a:path w="281940" h="199389">
                  <a:moveTo>
                    <a:pt x="47898" y="159106"/>
                  </a:moveTo>
                  <a:lnTo>
                    <a:pt x="52643" y="144505"/>
                  </a:lnTo>
                  <a:lnTo>
                    <a:pt x="40216" y="135462"/>
                  </a:lnTo>
                  <a:lnTo>
                    <a:pt x="80413" y="135462"/>
                  </a:lnTo>
                  <a:lnTo>
                    <a:pt x="67986" y="144505"/>
                  </a:lnTo>
                  <a:lnTo>
                    <a:pt x="69799" y="150083"/>
                  </a:lnTo>
                  <a:lnTo>
                    <a:pt x="60304" y="150083"/>
                  </a:lnTo>
                  <a:lnTo>
                    <a:pt x="47898" y="159106"/>
                  </a:lnTo>
                  <a:close/>
                </a:path>
                <a:path w="281940" h="199389">
                  <a:moveTo>
                    <a:pt x="72731" y="159106"/>
                  </a:moveTo>
                  <a:lnTo>
                    <a:pt x="60304" y="150083"/>
                  </a:lnTo>
                  <a:lnTo>
                    <a:pt x="69799" y="150083"/>
                  </a:lnTo>
                  <a:lnTo>
                    <a:pt x="72731" y="159106"/>
                  </a:lnTo>
                  <a:close/>
                </a:path>
                <a:path w="281940" h="199389">
                  <a:moveTo>
                    <a:pt x="145483" y="135462"/>
                  </a:moveTo>
                  <a:lnTo>
                    <a:pt x="136012" y="135462"/>
                  </a:lnTo>
                  <a:lnTo>
                    <a:pt x="140738" y="120840"/>
                  </a:lnTo>
                  <a:lnTo>
                    <a:pt x="145483" y="135462"/>
                  </a:lnTo>
                  <a:close/>
                </a:path>
                <a:path w="281940" h="199389">
                  <a:moveTo>
                    <a:pt x="128331" y="159106"/>
                  </a:moveTo>
                  <a:lnTo>
                    <a:pt x="133076" y="144505"/>
                  </a:lnTo>
                  <a:lnTo>
                    <a:pt x="120649" y="135462"/>
                  </a:lnTo>
                  <a:lnTo>
                    <a:pt x="160846" y="135462"/>
                  </a:lnTo>
                  <a:lnTo>
                    <a:pt x="148419" y="144505"/>
                  </a:lnTo>
                  <a:lnTo>
                    <a:pt x="150232" y="150083"/>
                  </a:lnTo>
                  <a:lnTo>
                    <a:pt x="140738" y="150083"/>
                  </a:lnTo>
                  <a:lnTo>
                    <a:pt x="128331" y="159106"/>
                  </a:lnTo>
                  <a:close/>
                </a:path>
                <a:path w="281940" h="199389">
                  <a:moveTo>
                    <a:pt x="153165" y="159106"/>
                  </a:moveTo>
                  <a:lnTo>
                    <a:pt x="140738" y="150083"/>
                  </a:lnTo>
                  <a:lnTo>
                    <a:pt x="150232" y="150083"/>
                  </a:lnTo>
                  <a:lnTo>
                    <a:pt x="153165" y="159106"/>
                  </a:lnTo>
                  <a:close/>
                </a:path>
                <a:path w="281940" h="199389">
                  <a:moveTo>
                    <a:pt x="225917" y="135462"/>
                  </a:moveTo>
                  <a:lnTo>
                    <a:pt x="216446" y="135462"/>
                  </a:lnTo>
                  <a:lnTo>
                    <a:pt x="221171" y="120840"/>
                  </a:lnTo>
                  <a:lnTo>
                    <a:pt x="225917" y="135462"/>
                  </a:lnTo>
                  <a:close/>
                </a:path>
                <a:path w="281940" h="199389">
                  <a:moveTo>
                    <a:pt x="208764" y="159106"/>
                  </a:moveTo>
                  <a:lnTo>
                    <a:pt x="213510" y="144505"/>
                  </a:lnTo>
                  <a:lnTo>
                    <a:pt x="201083" y="135462"/>
                  </a:lnTo>
                  <a:lnTo>
                    <a:pt x="241279" y="135462"/>
                  </a:lnTo>
                  <a:lnTo>
                    <a:pt x="228852" y="144505"/>
                  </a:lnTo>
                  <a:lnTo>
                    <a:pt x="230666" y="150083"/>
                  </a:lnTo>
                  <a:lnTo>
                    <a:pt x="221171" y="150083"/>
                  </a:lnTo>
                  <a:lnTo>
                    <a:pt x="208764" y="159106"/>
                  </a:lnTo>
                  <a:close/>
                </a:path>
                <a:path w="281940" h="199389">
                  <a:moveTo>
                    <a:pt x="233598" y="159106"/>
                  </a:moveTo>
                  <a:lnTo>
                    <a:pt x="221171" y="150083"/>
                  </a:lnTo>
                  <a:lnTo>
                    <a:pt x="230666" y="150083"/>
                  </a:lnTo>
                  <a:lnTo>
                    <a:pt x="233598" y="159106"/>
                  </a:lnTo>
                  <a:close/>
                </a:path>
                <a:path w="281940" h="199389">
                  <a:moveTo>
                    <a:pt x="105267" y="14621"/>
                  </a:moveTo>
                  <a:lnTo>
                    <a:pt x="95796" y="14621"/>
                  </a:lnTo>
                  <a:lnTo>
                    <a:pt x="100521" y="0"/>
                  </a:lnTo>
                  <a:lnTo>
                    <a:pt x="105267" y="14621"/>
                  </a:lnTo>
                  <a:close/>
                </a:path>
                <a:path w="281940" h="199389">
                  <a:moveTo>
                    <a:pt x="88114" y="38266"/>
                  </a:moveTo>
                  <a:lnTo>
                    <a:pt x="92860" y="23664"/>
                  </a:lnTo>
                  <a:lnTo>
                    <a:pt x="80433" y="14621"/>
                  </a:lnTo>
                  <a:lnTo>
                    <a:pt x="120629" y="14621"/>
                  </a:lnTo>
                  <a:lnTo>
                    <a:pt x="108202" y="23664"/>
                  </a:lnTo>
                  <a:lnTo>
                    <a:pt x="110016" y="29243"/>
                  </a:lnTo>
                  <a:lnTo>
                    <a:pt x="100521" y="29243"/>
                  </a:lnTo>
                  <a:lnTo>
                    <a:pt x="88114" y="38266"/>
                  </a:lnTo>
                  <a:close/>
                </a:path>
                <a:path w="281940" h="199389">
                  <a:moveTo>
                    <a:pt x="112948" y="38266"/>
                  </a:moveTo>
                  <a:lnTo>
                    <a:pt x="100521" y="29243"/>
                  </a:lnTo>
                  <a:lnTo>
                    <a:pt x="110016" y="29243"/>
                  </a:lnTo>
                  <a:lnTo>
                    <a:pt x="112948" y="38266"/>
                  </a:lnTo>
                  <a:close/>
                </a:path>
                <a:path w="281940" h="199389">
                  <a:moveTo>
                    <a:pt x="168548" y="38266"/>
                  </a:moveTo>
                  <a:lnTo>
                    <a:pt x="173293" y="23664"/>
                  </a:lnTo>
                  <a:lnTo>
                    <a:pt x="160866" y="14621"/>
                  </a:lnTo>
                  <a:lnTo>
                    <a:pt x="176229" y="14621"/>
                  </a:lnTo>
                  <a:lnTo>
                    <a:pt x="180954" y="0"/>
                  </a:lnTo>
                  <a:lnTo>
                    <a:pt x="185700" y="14621"/>
                  </a:lnTo>
                  <a:lnTo>
                    <a:pt x="201063" y="14621"/>
                  </a:lnTo>
                  <a:lnTo>
                    <a:pt x="188636" y="23664"/>
                  </a:lnTo>
                  <a:lnTo>
                    <a:pt x="190449" y="29243"/>
                  </a:lnTo>
                  <a:lnTo>
                    <a:pt x="180954" y="29243"/>
                  </a:lnTo>
                  <a:lnTo>
                    <a:pt x="168548" y="38266"/>
                  </a:lnTo>
                  <a:close/>
                </a:path>
                <a:path w="281940" h="199389">
                  <a:moveTo>
                    <a:pt x="193381" y="38266"/>
                  </a:moveTo>
                  <a:lnTo>
                    <a:pt x="180954" y="29243"/>
                  </a:lnTo>
                  <a:lnTo>
                    <a:pt x="190449" y="29243"/>
                  </a:lnTo>
                  <a:lnTo>
                    <a:pt x="193381" y="38266"/>
                  </a:lnTo>
                  <a:close/>
                </a:path>
                <a:path w="281940" h="199389">
                  <a:moveTo>
                    <a:pt x="248981" y="38266"/>
                  </a:moveTo>
                  <a:lnTo>
                    <a:pt x="253726" y="23664"/>
                  </a:lnTo>
                  <a:lnTo>
                    <a:pt x="241299" y="14621"/>
                  </a:lnTo>
                  <a:lnTo>
                    <a:pt x="256662" y="14621"/>
                  </a:lnTo>
                  <a:lnTo>
                    <a:pt x="261388" y="0"/>
                  </a:lnTo>
                  <a:lnTo>
                    <a:pt x="266133" y="14621"/>
                  </a:lnTo>
                  <a:lnTo>
                    <a:pt x="281496" y="14621"/>
                  </a:lnTo>
                  <a:lnTo>
                    <a:pt x="269069" y="23664"/>
                  </a:lnTo>
                  <a:lnTo>
                    <a:pt x="270882" y="29243"/>
                  </a:lnTo>
                  <a:lnTo>
                    <a:pt x="261388" y="29243"/>
                  </a:lnTo>
                  <a:lnTo>
                    <a:pt x="248981" y="38266"/>
                  </a:lnTo>
                  <a:close/>
                </a:path>
                <a:path w="281940" h="199389">
                  <a:moveTo>
                    <a:pt x="273815" y="38266"/>
                  </a:moveTo>
                  <a:lnTo>
                    <a:pt x="261388" y="29243"/>
                  </a:lnTo>
                  <a:lnTo>
                    <a:pt x="270882" y="29243"/>
                  </a:lnTo>
                  <a:lnTo>
                    <a:pt x="273815" y="38266"/>
                  </a:lnTo>
                  <a:close/>
                </a:path>
                <a:path w="281940" h="199389">
                  <a:moveTo>
                    <a:pt x="24833" y="95182"/>
                  </a:moveTo>
                  <a:lnTo>
                    <a:pt x="15362" y="95182"/>
                  </a:lnTo>
                  <a:lnTo>
                    <a:pt x="20088" y="80560"/>
                  </a:lnTo>
                  <a:lnTo>
                    <a:pt x="24833" y="95182"/>
                  </a:lnTo>
                  <a:close/>
                </a:path>
                <a:path w="281940" h="199389">
                  <a:moveTo>
                    <a:pt x="7681" y="118826"/>
                  </a:moveTo>
                  <a:lnTo>
                    <a:pt x="12426" y="104224"/>
                  </a:lnTo>
                  <a:lnTo>
                    <a:pt x="0" y="95182"/>
                  </a:lnTo>
                  <a:lnTo>
                    <a:pt x="40196" y="95182"/>
                  </a:lnTo>
                  <a:lnTo>
                    <a:pt x="27769" y="104224"/>
                  </a:lnTo>
                  <a:lnTo>
                    <a:pt x="29582" y="109803"/>
                  </a:lnTo>
                  <a:lnTo>
                    <a:pt x="20088" y="109803"/>
                  </a:lnTo>
                  <a:lnTo>
                    <a:pt x="7681" y="118826"/>
                  </a:lnTo>
                  <a:close/>
                </a:path>
                <a:path w="281940" h="199389">
                  <a:moveTo>
                    <a:pt x="32515" y="118826"/>
                  </a:moveTo>
                  <a:lnTo>
                    <a:pt x="20088" y="109803"/>
                  </a:lnTo>
                  <a:lnTo>
                    <a:pt x="29582" y="109803"/>
                  </a:lnTo>
                  <a:lnTo>
                    <a:pt x="32515" y="118826"/>
                  </a:lnTo>
                  <a:close/>
                </a:path>
                <a:path w="281940" h="199389">
                  <a:moveTo>
                    <a:pt x="88114" y="118826"/>
                  </a:moveTo>
                  <a:lnTo>
                    <a:pt x="92860" y="104224"/>
                  </a:lnTo>
                  <a:lnTo>
                    <a:pt x="80433" y="95182"/>
                  </a:lnTo>
                  <a:lnTo>
                    <a:pt x="95796" y="95182"/>
                  </a:lnTo>
                  <a:lnTo>
                    <a:pt x="100521" y="80560"/>
                  </a:lnTo>
                  <a:lnTo>
                    <a:pt x="105267" y="95182"/>
                  </a:lnTo>
                  <a:lnTo>
                    <a:pt x="120629" y="95182"/>
                  </a:lnTo>
                  <a:lnTo>
                    <a:pt x="108202" y="104224"/>
                  </a:lnTo>
                  <a:lnTo>
                    <a:pt x="110016" y="109803"/>
                  </a:lnTo>
                  <a:lnTo>
                    <a:pt x="100521" y="109803"/>
                  </a:lnTo>
                  <a:lnTo>
                    <a:pt x="88114" y="118826"/>
                  </a:lnTo>
                  <a:close/>
                </a:path>
                <a:path w="281940" h="199389">
                  <a:moveTo>
                    <a:pt x="112948" y="118826"/>
                  </a:moveTo>
                  <a:lnTo>
                    <a:pt x="100521" y="109803"/>
                  </a:lnTo>
                  <a:lnTo>
                    <a:pt x="110016" y="109803"/>
                  </a:lnTo>
                  <a:lnTo>
                    <a:pt x="112948" y="118826"/>
                  </a:lnTo>
                  <a:close/>
                </a:path>
                <a:path w="281940" h="199389">
                  <a:moveTo>
                    <a:pt x="185700" y="95182"/>
                  </a:moveTo>
                  <a:lnTo>
                    <a:pt x="176229" y="95182"/>
                  </a:lnTo>
                  <a:lnTo>
                    <a:pt x="180954" y="80560"/>
                  </a:lnTo>
                  <a:lnTo>
                    <a:pt x="185700" y="95182"/>
                  </a:lnTo>
                  <a:close/>
                </a:path>
                <a:path w="281940" h="199389">
                  <a:moveTo>
                    <a:pt x="168548" y="118826"/>
                  </a:moveTo>
                  <a:lnTo>
                    <a:pt x="173293" y="104224"/>
                  </a:lnTo>
                  <a:lnTo>
                    <a:pt x="160866" y="95182"/>
                  </a:lnTo>
                  <a:lnTo>
                    <a:pt x="201063" y="95182"/>
                  </a:lnTo>
                  <a:lnTo>
                    <a:pt x="188636" y="104224"/>
                  </a:lnTo>
                  <a:lnTo>
                    <a:pt x="190449" y="109803"/>
                  </a:lnTo>
                  <a:lnTo>
                    <a:pt x="180954" y="109803"/>
                  </a:lnTo>
                  <a:lnTo>
                    <a:pt x="168548" y="118826"/>
                  </a:lnTo>
                  <a:close/>
                </a:path>
                <a:path w="281940" h="199389">
                  <a:moveTo>
                    <a:pt x="193381" y="118826"/>
                  </a:moveTo>
                  <a:lnTo>
                    <a:pt x="180954" y="109803"/>
                  </a:lnTo>
                  <a:lnTo>
                    <a:pt x="190449" y="109803"/>
                  </a:lnTo>
                  <a:lnTo>
                    <a:pt x="193381" y="118826"/>
                  </a:lnTo>
                  <a:close/>
                </a:path>
                <a:path w="281940" h="199389">
                  <a:moveTo>
                    <a:pt x="266133" y="95182"/>
                  </a:moveTo>
                  <a:lnTo>
                    <a:pt x="256662" y="95182"/>
                  </a:lnTo>
                  <a:lnTo>
                    <a:pt x="261388" y="80560"/>
                  </a:lnTo>
                  <a:lnTo>
                    <a:pt x="266133" y="95182"/>
                  </a:lnTo>
                  <a:close/>
                </a:path>
                <a:path w="281940" h="199389">
                  <a:moveTo>
                    <a:pt x="248981" y="118826"/>
                  </a:moveTo>
                  <a:lnTo>
                    <a:pt x="253726" y="104224"/>
                  </a:lnTo>
                  <a:lnTo>
                    <a:pt x="241299" y="95182"/>
                  </a:lnTo>
                  <a:lnTo>
                    <a:pt x="281496" y="95182"/>
                  </a:lnTo>
                  <a:lnTo>
                    <a:pt x="269069" y="104224"/>
                  </a:lnTo>
                  <a:lnTo>
                    <a:pt x="270882" y="109803"/>
                  </a:lnTo>
                  <a:lnTo>
                    <a:pt x="261388" y="109803"/>
                  </a:lnTo>
                  <a:lnTo>
                    <a:pt x="248981" y="118826"/>
                  </a:lnTo>
                  <a:close/>
                </a:path>
                <a:path w="281940" h="199389">
                  <a:moveTo>
                    <a:pt x="273815" y="118826"/>
                  </a:moveTo>
                  <a:lnTo>
                    <a:pt x="261388" y="109803"/>
                  </a:lnTo>
                  <a:lnTo>
                    <a:pt x="270882" y="109803"/>
                  </a:lnTo>
                  <a:lnTo>
                    <a:pt x="273815" y="118826"/>
                  </a:lnTo>
                  <a:close/>
                </a:path>
                <a:path w="281940" h="199389">
                  <a:moveTo>
                    <a:pt x="7681" y="199386"/>
                  </a:moveTo>
                  <a:lnTo>
                    <a:pt x="12426" y="184785"/>
                  </a:lnTo>
                  <a:lnTo>
                    <a:pt x="0" y="175742"/>
                  </a:lnTo>
                  <a:lnTo>
                    <a:pt x="15362" y="175742"/>
                  </a:lnTo>
                  <a:lnTo>
                    <a:pt x="20088" y="161120"/>
                  </a:lnTo>
                  <a:lnTo>
                    <a:pt x="24833" y="175742"/>
                  </a:lnTo>
                  <a:lnTo>
                    <a:pt x="40196" y="175742"/>
                  </a:lnTo>
                  <a:lnTo>
                    <a:pt x="27769" y="184785"/>
                  </a:lnTo>
                  <a:lnTo>
                    <a:pt x="29582" y="190364"/>
                  </a:lnTo>
                  <a:lnTo>
                    <a:pt x="20088" y="190364"/>
                  </a:lnTo>
                  <a:lnTo>
                    <a:pt x="7681" y="199386"/>
                  </a:lnTo>
                  <a:close/>
                </a:path>
                <a:path w="281940" h="199389">
                  <a:moveTo>
                    <a:pt x="32515" y="199386"/>
                  </a:moveTo>
                  <a:lnTo>
                    <a:pt x="20088" y="190364"/>
                  </a:lnTo>
                  <a:lnTo>
                    <a:pt x="29582" y="190364"/>
                  </a:lnTo>
                  <a:lnTo>
                    <a:pt x="32515" y="199386"/>
                  </a:lnTo>
                  <a:close/>
                </a:path>
                <a:path w="281940" h="199389">
                  <a:moveTo>
                    <a:pt x="88114" y="199386"/>
                  </a:moveTo>
                  <a:lnTo>
                    <a:pt x="92860" y="184785"/>
                  </a:lnTo>
                  <a:lnTo>
                    <a:pt x="80433" y="175742"/>
                  </a:lnTo>
                  <a:lnTo>
                    <a:pt x="95796" y="175742"/>
                  </a:lnTo>
                  <a:lnTo>
                    <a:pt x="100521" y="161120"/>
                  </a:lnTo>
                  <a:lnTo>
                    <a:pt x="105267" y="175742"/>
                  </a:lnTo>
                  <a:lnTo>
                    <a:pt x="120629" y="175742"/>
                  </a:lnTo>
                  <a:lnTo>
                    <a:pt x="108202" y="184785"/>
                  </a:lnTo>
                  <a:lnTo>
                    <a:pt x="110016" y="190364"/>
                  </a:lnTo>
                  <a:lnTo>
                    <a:pt x="100521" y="190364"/>
                  </a:lnTo>
                  <a:lnTo>
                    <a:pt x="88114" y="199386"/>
                  </a:lnTo>
                  <a:close/>
                </a:path>
                <a:path w="281940" h="199389">
                  <a:moveTo>
                    <a:pt x="112948" y="199386"/>
                  </a:moveTo>
                  <a:lnTo>
                    <a:pt x="100521" y="190364"/>
                  </a:lnTo>
                  <a:lnTo>
                    <a:pt x="110016" y="190364"/>
                  </a:lnTo>
                  <a:lnTo>
                    <a:pt x="112948" y="199386"/>
                  </a:lnTo>
                  <a:close/>
                </a:path>
                <a:path w="281940" h="199389">
                  <a:moveTo>
                    <a:pt x="168548" y="199386"/>
                  </a:moveTo>
                  <a:lnTo>
                    <a:pt x="173293" y="184785"/>
                  </a:lnTo>
                  <a:lnTo>
                    <a:pt x="160866" y="175742"/>
                  </a:lnTo>
                  <a:lnTo>
                    <a:pt x="176229" y="175742"/>
                  </a:lnTo>
                  <a:lnTo>
                    <a:pt x="180954" y="161120"/>
                  </a:lnTo>
                  <a:lnTo>
                    <a:pt x="185700" y="175742"/>
                  </a:lnTo>
                  <a:lnTo>
                    <a:pt x="201063" y="175742"/>
                  </a:lnTo>
                  <a:lnTo>
                    <a:pt x="188636" y="184785"/>
                  </a:lnTo>
                  <a:lnTo>
                    <a:pt x="190449" y="190364"/>
                  </a:lnTo>
                  <a:lnTo>
                    <a:pt x="180954" y="190364"/>
                  </a:lnTo>
                  <a:lnTo>
                    <a:pt x="168548" y="199386"/>
                  </a:lnTo>
                  <a:close/>
                </a:path>
                <a:path w="281940" h="199389">
                  <a:moveTo>
                    <a:pt x="193381" y="199386"/>
                  </a:moveTo>
                  <a:lnTo>
                    <a:pt x="180954" y="190364"/>
                  </a:lnTo>
                  <a:lnTo>
                    <a:pt x="190449" y="190364"/>
                  </a:lnTo>
                  <a:lnTo>
                    <a:pt x="193381" y="199386"/>
                  </a:lnTo>
                  <a:close/>
                </a:path>
                <a:path w="281940" h="199389">
                  <a:moveTo>
                    <a:pt x="248981" y="199386"/>
                  </a:moveTo>
                  <a:lnTo>
                    <a:pt x="253726" y="184785"/>
                  </a:lnTo>
                  <a:lnTo>
                    <a:pt x="241299" y="175742"/>
                  </a:lnTo>
                  <a:lnTo>
                    <a:pt x="256662" y="175742"/>
                  </a:lnTo>
                  <a:lnTo>
                    <a:pt x="261388" y="161120"/>
                  </a:lnTo>
                  <a:lnTo>
                    <a:pt x="266133" y="175742"/>
                  </a:lnTo>
                  <a:lnTo>
                    <a:pt x="281496" y="175742"/>
                  </a:lnTo>
                  <a:lnTo>
                    <a:pt x="269069" y="184785"/>
                  </a:lnTo>
                  <a:lnTo>
                    <a:pt x="270882" y="190364"/>
                  </a:lnTo>
                  <a:lnTo>
                    <a:pt x="261388" y="190364"/>
                  </a:lnTo>
                  <a:lnTo>
                    <a:pt x="248981" y="199386"/>
                  </a:lnTo>
                  <a:close/>
                </a:path>
                <a:path w="281940" h="199389">
                  <a:moveTo>
                    <a:pt x="273815" y="199386"/>
                  </a:moveTo>
                  <a:lnTo>
                    <a:pt x="261388" y="190364"/>
                  </a:lnTo>
                  <a:lnTo>
                    <a:pt x="270882" y="190364"/>
                  </a:lnTo>
                  <a:lnTo>
                    <a:pt x="273815" y="199386"/>
                  </a:lnTo>
                  <a:close/>
                </a:path>
              </a:pathLst>
            </a:custGeom>
            <a:solidFill>
              <a:srgbClr val="FFFFFF"/>
            </a:solidFill>
          </p:spPr>
          <p:txBody>
            <a:bodyPr wrap="square" lIns="0" tIns="0" rIns="0" bIns="0" rtlCol="0"/>
            <a:lstStyle/>
            <a:p>
              <a:endParaRPr/>
            </a:p>
          </p:txBody>
        </p:sp>
      </p:grpSp>
      <p:sp>
        <p:nvSpPr>
          <p:cNvPr id="10" name="object 10"/>
          <p:cNvSpPr/>
          <p:nvPr/>
        </p:nvSpPr>
        <p:spPr>
          <a:xfrm>
            <a:off x="3648214" y="6444449"/>
            <a:ext cx="701040" cy="699135"/>
          </a:xfrm>
          <a:custGeom>
            <a:avLst/>
            <a:gdLst/>
            <a:ahLst/>
            <a:cxnLst/>
            <a:rect l="l" t="t" r="r" b="b"/>
            <a:pathLst>
              <a:path w="701039" h="699134">
                <a:moveTo>
                  <a:pt x="378650" y="231787"/>
                </a:moveTo>
                <a:lnTo>
                  <a:pt x="366128" y="186512"/>
                </a:lnTo>
                <a:lnTo>
                  <a:pt x="328574" y="157556"/>
                </a:lnTo>
                <a:lnTo>
                  <a:pt x="308851" y="149834"/>
                </a:lnTo>
                <a:lnTo>
                  <a:pt x="308851" y="227241"/>
                </a:lnTo>
                <a:lnTo>
                  <a:pt x="308851" y="233133"/>
                </a:lnTo>
                <a:lnTo>
                  <a:pt x="307467" y="242290"/>
                </a:lnTo>
                <a:lnTo>
                  <a:pt x="303288" y="249809"/>
                </a:lnTo>
                <a:lnTo>
                  <a:pt x="296329" y="255689"/>
                </a:lnTo>
                <a:lnTo>
                  <a:pt x="286600" y="259918"/>
                </a:lnTo>
                <a:lnTo>
                  <a:pt x="286600" y="256882"/>
                </a:lnTo>
                <a:lnTo>
                  <a:pt x="286600" y="208038"/>
                </a:lnTo>
                <a:lnTo>
                  <a:pt x="288112" y="208038"/>
                </a:lnTo>
                <a:lnTo>
                  <a:pt x="288112" y="207860"/>
                </a:lnTo>
                <a:lnTo>
                  <a:pt x="295529" y="210896"/>
                </a:lnTo>
                <a:lnTo>
                  <a:pt x="301434" y="215277"/>
                </a:lnTo>
                <a:lnTo>
                  <a:pt x="304469" y="218313"/>
                </a:lnTo>
                <a:lnTo>
                  <a:pt x="307505" y="222694"/>
                </a:lnTo>
                <a:lnTo>
                  <a:pt x="308851" y="227241"/>
                </a:lnTo>
                <a:lnTo>
                  <a:pt x="308851" y="149834"/>
                </a:lnTo>
                <a:lnTo>
                  <a:pt x="289636" y="144195"/>
                </a:lnTo>
                <a:lnTo>
                  <a:pt x="289636" y="127850"/>
                </a:lnTo>
                <a:lnTo>
                  <a:pt x="289636" y="81864"/>
                </a:lnTo>
                <a:lnTo>
                  <a:pt x="301040" y="85979"/>
                </a:lnTo>
                <a:lnTo>
                  <a:pt x="313029" y="91655"/>
                </a:lnTo>
                <a:lnTo>
                  <a:pt x="325577" y="98755"/>
                </a:lnTo>
                <a:lnTo>
                  <a:pt x="338696" y="107137"/>
                </a:lnTo>
                <a:lnTo>
                  <a:pt x="355866" y="81864"/>
                </a:lnTo>
                <a:lnTo>
                  <a:pt x="357924" y="78828"/>
                </a:lnTo>
                <a:lnTo>
                  <a:pt x="372910" y="56769"/>
                </a:lnTo>
                <a:lnTo>
                  <a:pt x="351777" y="43675"/>
                </a:lnTo>
                <a:lnTo>
                  <a:pt x="330606" y="33540"/>
                </a:lnTo>
                <a:lnTo>
                  <a:pt x="309422" y="26466"/>
                </a:lnTo>
                <a:lnTo>
                  <a:pt x="288290" y="22567"/>
                </a:lnTo>
                <a:lnTo>
                  <a:pt x="288290" y="330"/>
                </a:lnTo>
                <a:lnTo>
                  <a:pt x="243776" y="330"/>
                </a:lnTo>
                <a:lnTo>
                  <a:pt x="243776" y="21056"/>
                </a:lnTo>
                <a:lnTo>
                  <a:pt x="243611" y="21094"/>
                </a:lnTo>
                <a:lnTo>
                  <a:pt x="243611" y="78828"/>
                </a:lnTo>
                <a:lnTo>
                  <a:pt x="243611" y="127850"/>
                </a:lnTo>
                <a:lnTo>
                  <a:pt x="235839" y="123736"/>
                </a:lnTo>
                <a:lnTo>
                  <a:pt x="230251" y="118059"/>
                </a:lnTo>
                <a:lnTo>
                  <a:pt x="226872" y="110959"/>
                </a:lnTo>
                <a:lnTo>
                  <a:pt x="225742" y="102577"/>
                </a:lnTo>
                <a:lnTo>
                  <a:pt x="226847" y="94513"/>
                </a:lnTo>
                <a:lnTo>
                  <a:pt x="230187" y="87922"/>
                </a:lnTo>
                <a:lnTo>
                  <a:pt x="235762" y="82727"/>
                </a:lnTo>
                <a:lnTo>
                  <a:pt x="243611" y="78828"/>
                </a:lnTo>
                <a:lnTo>
                  <a:pt x="243611" y="21094"/>
                </a:lnTo>
                <a:lnTo>
                  <a:pt x="194487" y="38315"/>
                </a:lnTo>
                <a:lnTo>
                  <a:pt x="163385" y="76047"/>
                </a:lnTo>
                <a:lnTo>
                  <a:pt x="157746" y="107137"/>
                </a:lnTo>
                <a:lnTo>
                  <a:pt x="157835" y="110959"/>
                </a:lnTo>
                <a:lnTo>
                  <a:pt x="169506" y="153111"/>
                </a:lnTo>
                <a:lnTo>
                  <a:pt x="204876" y="181190"/>
                </a:lnTo>
                <a:lnTo>
                  <a:pt x="243776" y="194551"/>
                </a:lnTo>
                <a:lnTo>
                  <a:pt x="243776" y="256882"/>
                </a:lnTo>
                <a:lnTo>
                  <a:pt x="230098" y="252183"/>
                </a:lnTo>
                <a:lnTo>
                  <a:pt x="215747" y="244678"/>
                </a:lnTo>
                <a:lnTo>
                  <a:pt x="200583" y="234378"/>
                </a:lnTo>
                <a:lnTo>
                  <a:pt x="184442" y="221335"/>
                </a:lnTo>
                <a:lnTo>
                  <a:pt x="184099" y="221170"/>
                </a:lnTo>
                <a:lnTo>
                  <a:pt x="145491" y="268681"/>
                </a:lnTo>
                <a:lnTo>
                  <a:pt x="168554" y="286778"/>
                </a:lnTo>
                <a:lnTo>
                  <a:pt x="193014" y="300951"/>
                </a:lnTo>
                <a:lnTo>
                  <a:pt x="218579" y="311238"/>
                </a:lnTo>
                <a:lnTo>
                  <a:pt x="244957" y="317690"/>
                </a:lnTo>
                <a:lnTo>
                  <a:pt x="244957" y="348856"/>
                </a:lnTo>
                <a:lnTo>
                  <a:pt x="289471" y="348856"/>
                </a:lnTo>
                <a:lnTo>
                  <a:pt x="289471" y="319214"/>
                </a:lnTo>
                <a:lnTo>
                  <a:pt x="308698" y="315836"/>
                </a:lnTo>
                <a:lnTo>
                  <a:pt x="354876" y="291084"/>
                </a:lnTo>
                <a:lnTo>
                  <a:pt x="377228" y="248767"/>
                </a:lnTo>
                <a:lnTo>
                  <a:pt x="378650" y="231787"/>
                </a:lnTo>
                <a:close/>
              </a:path>
              <a:path w="701039" h="699134">
                <a:moveTo>
                  <a:pt x="699300" y="669086"/>
                </a:moveTo>
                <a:lnTo>
                  <a:pt x="696963" y="657555"/>
                </a:lnTo>
                <a:lnTo>
                  <a:pt x="690600" y="648131"/>
                </a:lnTo>
                <a:lnTo>
                  <a:pt x="681164" y="641769"/>
                </a:lnTo>
                <a:lnTo>
                  <a:pt x="669632" y="639432"/>
                </a:lnTo>
                <a:lnTo>
                  <a:pt x="59347" y="639610"/>
                </a:lnTo>
                <a:lnTo>
                  <a:pt x="59347" y="29641"/>
                </a:lnTo>
                <a:lnTo>
                  <a:pt x="57010" y="18122"/>
                </a:lnTo>
                <a:lnTo>
                  <a:pt x="50647" y="8686"/>
                </a:lnTo>
                <a:lnTo>
                  <a:pt x="41211" y="2336"/>
                </a:lnTo>
                <a:lnTo>
                  <a:pt x="29679" y="0"/>
                </a:lnTo>
                <a:lnTo>
                  <a:pt x="18135" y="2336"/>
                </a:lnTo>
                <a:lnTo>
                  <a:pt x="8712" y="8686"/>
                </a:lnTo>
                <a:lnTo>
                  <a:pt x="2336" y="18122"/>
                </a:lnTo>
                <a:lnTo>
                  <a:pt x="0" y="29641"/>
                </a:lnTo>
                <a:lnTo>
                  <a:pt x="0" y="669086"/>
                </a:lnTo>
                <a:lnTo>
                  <a:pt x="2336" y="680605"/>
                </a:lnTo>
                <a:lnTo>
                  <a:pt x="8712" y="690041"/>
                </a:lnTo>
                <a:lnTo>
                  <a:pt x="18135" y="696404"/>
                </a:lnTo>
                <a:lnTo>
                  <a:pt x="29679" y="698728"/>
                </a:lnTo>
                <a:lnTo>
                  <a:pt x="669632" y="698728"/>
                </a:lnTo>
                <a:lnTo>
                  <a:pt x="681164" y="696404"/>
                </a:lnTo>
                <a:lnTo>
                  <a:pt x="690600" y="690041"/>
                </a:lnTo>
                <a:lnTo>
                  <a:pt x="696963" y="680605"/>
                </a:lnTo>
                <a:lnTo>
                  <a:pt x="699300" y="669086"/>
                </a:lnTo>
                <a:close/>
              </a:path>
              <a:path w="701039" h="699134">
                <a:moveTo>
                  <a:pt x="700989" y="301015"/>
                </a:moveTo>
                <a:lnTo>
                  <a:pt x="698652" y="289496"/>
                </a:lnTo>
                <a:lnTo>
                  <a:pt x="692277" y="280073"/>
                </a:lnTo>
                <a:lnTo>
                  <a:pt x="682853" y="273710"/>
                </a:lnTo>
                <a:lnTo>
                  <a:pt x="671309" y="271373"/>
                </a:lnTo>
                <a:lnTo>
                  <a:pt x="504913" y="271373"/>
                </a:lnTo>
                <a:lnTo>
                  <a:pt x="493382" y="273710"/>
                </a:lnTo>
                <a:lnTo>
                  <a:pt x="483946" y="280073"/>
                </a:lnTo>
                <a:lnTo>
                  <a:pt x="477583" y="289496"/>
                </a:lnTo>
                <a:lnTo>
                  <a:pt x="475246" y="301015"/>
                </a:lnTo>
                <a:lnTo>
                  <a:pt x="477583" y="312547"/>
                </a:lnTo>
                <a:lnTo>
                  <a:pt x="483946" y="321970"/>
                </a:lnTo>
                <a:lnTo>
                  <a:pt x="493382" y="328333"/>
                </a:lnTo>
                <a:lnTo>
                  <a:pt x="504913" y="330669"/>
                </a:lnTo>
                <a:lnTo>
                  <a:pt x="604380" y="330669"/>
                </a:lnTo>
                <a:lnTo>
                  <a:pt x="454342" y="465759"/>
                </a:lnTo>
                <a:lnTo>
                  <a:pt x="341553" y="366382"/>
                </a:lnTo>
                <a:lnTo>
                  <a:pt x="331774" y="360743"/>
                </a:lnTo>
                <a:lnTo>
                  <a:pt x="320992" y="359308"/>
                </a:lnTo>
                <a:lnTo>
                  <a:pt x="310451" y="361784"/>
                </a:lnTo>
                <a:lnTo>
                  <a:pt x="301434" y="367893"/>
                </a:lnTo>
                <a:lnTo>
                  <a:pt x="135039" y="537019"/>
                </a:lnTo>
                <a:lnTo>
                  <a:pt x="128397" y="546811"/>
                </a:lnTo>
                <a:lnTo>
                  <a:pt x="126187" y="557758"/>
                </a:lnTo>
                <a:lnTo>
                  <a:pt x="128397" y="568744"/>
                </a:lnTo>
                <a:lnTo>
                  <a:pt x="135039" y="578624"/>
                </a:lnTo>
                <a:lnTo>
                  <a:pt x="140944" y="584517"/>
                </a:lnTo>
                <a:lnTo>
                  <a:pt x="148361" y="587552"/>
                </a:lnTo>
                <a:lnTo>
                  <a:pt x="155943" y="587552"/>
                </a:lnTo>
                <a:lnTo>
                  <a:pt x="163360" y="587552"/>
                </a:lnTo>
                <a:lnTo>
                  <a:pt x="170776" y="584517"/>
                </a:lnTo>
                <a:lnTo>
                  <a:pt x="325208" y="428701"/>
                </a:lnTo>
                <a:lnTo>
                  <a:pt x="436638" y="526580"/>
                </a:lnTo>
                <a:lnTo>
                  <a:pt x="445617" y="532447"/>
                </a:lnTo>
                <a:lnTo>
                  <a:pt x="455942" y="534403"/>
                </a:lnTo>
                <a:lnTo>
                  <a:pt x="466280" y="532447"/>
                </a:lnTo>
                <a:lnTo>
                  <a:pt x="475246" y="526580"/>
                </a:lnTo>
                <a:lnTo>
                  <a:pt x="641642" y="375310"/>
                </a:lnTo>
                <a:lnTo>
                  <a:pt x="641642" y="465759"/>
                </a:lnTo>
                <a:lnTo>
                  <a:pt x="643978" y="477291"/>
                </a:lnTo>
                <a:lnTo>
                  <a:pt x="650341" y="486714"/>
                </a:lnTo>
                <a:lnTo>
                  <a:pt x="659777" y="493077"/>
                </a:lnTo>
                <a:lnTo>
                  <a:pt x="671309" y="495414"/>
                </a:lnTo>
                <a:lnTo>
                  <a:pt x="682853" y="493077"/>
                </a:lnTo>
                <a:lnTo>
                  <a:pt x="692277" y="486714"/>
                </a:lnTo>
                <a:lnTo>
                  <a:pt x="698652" y="477291"/>
                </a:lnTo>
                <a:lnTo>
                  <a:pt x="700989" y="465759"/>
                </a:lnTo>
                <a:lnTo>
                  <a:pt x="700989" y="301015"/>
                </a:lnTo>
                <a:close/>
              </a:path>
            </a:pathLst>
          </a:custGeom>
          <a:solidFill>
            <a:srgbClr val="21408B"/>
          </a:solidFill>
        </p:spPr>
        <p:txBody>
          <a:bodyPr wrap="square" lIns="0" tIns="0" rIns="0" bIns="0" rtlCol="0"/>
          <a:lstStyle/>
          <a:p>
            <a:endParaRPr/>
          </a:p>
        </p:txBody>
      </p:sp>
      <p:sp>
        <p:nvSpPr>
          <p:cNvPr id="11" name="object 11"/>
          <p:cNvSpPr/>
          <p:nvPr/>
        </p:nvSpPr>
        <p:spPr>
          <a:xfrm>
            <a:off x="4089163" y="4762292"/>
            <a:ext cx="798830" cy="1074420"/>
          </a:xfrm>
          <a:custGeom>
            <a:avLst/>
            <a:gdLst/>
            <a:ahLst/>
            <a:cxnLst/>
            <a:rect l="l" t="t" r="r" b="b"/>
            <a:pathLst>
              <a:path w="798829" h="1074420">
                <a:moveTo>
                  <a:pt x="621916" y="904239"/>
                </a:moveTo>
                <a:lnTo>
                  <a:pt x="175984" y="904239"/>
                </a:lnTo>
                <a:lnTo>
                  <a:pt x="176075" y="902969"/>
                </a:lnTo>
                <a:lnTo>
                  <a:pt x="176166" y="786129"/>
                </a:lnTo>
                <a:lnTo>
                  <a:pt x="177701" y="773429"/>
                </a:lnTo>
                <a:lnTo>
                  <a:pt x="182559" y="764539"/>
                </a:lnTo>
                <a:lnTo>
                  <a:pt x="191153" y="760729"/>
                </a:lnTo>
                <a:lnTo>
                  <a:pt x="203896" y="758189"/>
                </a:lnTo>
                <a:lnTo>
                  <a:pt x="250947" y="758189"/>
                </a:lnTo>
                <a:lnTo>
                  <a:pt x="252408" y="756919"/>
                </a:lnTo>
                <a:lnTo>
                  <a:pt x="284646" y="721359"/>
                </a:lnTo>
                <a:lnTo>
                  <a:pt x="335371" y="698499"/>
                </a:lnTo>
                <a:lnTo>
                  <a:pt x="340166" y="697229"/>
                </a:lnTo>
                <a:lnTo>
                  <a:pt x="340166" y="693419"/>
                </a:lnTo>
                <a:lnTo>
                  <a:pt x="334440" y="641349"/>
                </a:lnTo>
                <a:lnTo>
                  <a:pt x="316311" y="588009"/>
                </a:lnTo>
                <a:lnTo>
                  <a:pt x="294404" y="572769"/>
                </a:lnTo>
                <a:lnTo>
                  <a:pt x="277761" y="561339"/>
                </a:lnTo>
                <a:lnTo>
                  <a:pt x="246916" y="535939"/>
                </a:lnTo>
                <a:lnTo>
                  <a:pt x="219850" y="505459"/>
                </a:lnTo>
                <a:lnTo>
                  <a:pt x="197090" y="472439"/>
                </a:lnTo>
                <a:lnTo>
                  <a:pt x="194750" y="467359"/>
                </a:lnTo>
                <a:lnTo>
                  <a:pt x="191159" y="466089"/>
                </a:lnTo>
                <a:lnTo>
                  <a:pt x="139755" y="449579"/>
                </a:lnTo>
                <a:lnTo>
                  <a:pt x="105390" y="431799"/>
                </a:lnTo>
                <a:lnTo>
                  <a:pt x="97333" y="425449"/>
                </a:lnTo>
                <a:lnTo>
                  <a:pt x="89517" y="420369"/>
                </a:lnTo>
                <a:lnTo>
                  <a:pt x="81940" y="414019"/>
                </a:lnTo>
                <a:lnTo>
                  <a:pt x="74629" y="407669"/>
                </a:lnTo>
                <a:lnTo>
                  <a:pt x="67611" y="400049"/>
                </a:lnTo>
                <a:lnTo>
                  <a:pt x="60884" y="393699"/>
                </a:lnTo>
                <a:lnTo>
                  <a:pt x="54450" y="386079"/>
                </a:lnTo>
                <a:lnTo>
                  <a:pt x="48330" y="378459"/>
                </a:lnTo>
                <a:lnTo>
                  <a:pt x="42546" y="370839"/>
                </a:lnTo>
                <a:lnTo>
                  <a:pt x="37098" y="361949"/>
                </a:lnTo>
                <a:lnTo>
                  <a:pt x="31986" y="354329"/>
                </a:lnTo>
                <a:lnTo>
                  <a:pt x="15174" y="318769"/>
                </a:lnTo>
                <a:lnTo>
                  <a:pt x="4484" y="280669"/>
                </a:lnTo>
                <a:lnTo>
                  <a:pt x="215" y="242569"/>
                </a:lnTo>
                <a:lnTo>
                  <a:pt x="0" y="176529"/>
                </a:lnTo>
                <a:lnTo>
                  <a:pt x="220" y="125729"/>
                </a:lnTo>
                <a:lnTo>
                  <a:pt x="17352" y="80009"/>
                </a:lnTo>
                <a:lnTo>
                  <a:pt x="47814" y="55879"/>
                </a:lnTo>
                <a:lnTo>
                  <a:pt x="58339" y="52069"/>
                </a:lnTo>
                <a:lnTo>
                  <a:pt x="63758" y="49529"/>
                </a:lnTo>
                <a:lnTo>
                  <a:pt x="74909" y="48259"/>
                </a:lnTo>
                <a:lnTo>
                  <a:pt x="124265" y="48259"/>
                </a:lnTo>
                <a:lnTo>
                  <a:pt x="128399" y="27939"/>
                </a:lnTo>
                <a:lnTo>
                  <a:pt x="129805" y="20319"/>
                </a:lnTo>
                <a:lnTo>
                  <a:pt x="130084" y="17779"/>
                </a:lnTo>
                <a:lnTo>
                  <a:pt x="130931" y="13969"/>
                </a:lnTo>
                <a:lnTo>
                  <a:pt x="148760" y="0"/>
                </a:lnTo>
                <a:lnTo>
                  <a:pt x="649263" y="0"/>
                </a:lnTo>
                <a:lnTo>
                  <a:pt x="668235" y="20319"/>
                </a:lnTo>
                <a:lnTo>
                  <a:pt x="669528" y="27939"/>
                </a:lnTo>
                <a:lnTo>
                  <a:pt x="672640" y="43179"/>
                </a:lnTo>
                <a:lnTo>
                  <a:pt x="173740" y="43179"/>
                </a:lnTo>
                <a:lnTo>
                  <a:pt x="170359" y="45719"/>
                </a:lnTo>
                <a:lnTo>
                  <a:pt x="167758" y="46989"/>
                </a:lnTo>
                <a:lnTo>
                  <a:pt x="166794" y="64769"/>
                </a:lnTo>
                <a:lnTo>
                  <a:pt x="166408" y="71119"/>
                </a:lnTo>
                <a:lnTo>
                  <a:pt x="165901" y="74929"/>
                </a:lnTo>
                <a:lnTo>
                  <a:pt x="164048" y="92709"/>
                </a:lnTo>
                <a:lnTo>
                  <a:pt x="74306" y="92709"/>
                </a:lnTo>
                <a:lnTo>
                  <a:pt x="45547" y="121919"/>
                </a:lnTo>
                <a:lnTo>
                  <a:pt x="44678" y="126999"/>
                </a:lnTo>
                <a:lnTo>
                  <a:pt x="44804" y="130809"/>
                </a:lnTo>
                <a:lnTo>
                  <a:pt x="44680" y="160019"/>
                </a:lnTo>
                <a:lnTo>
                  <a:pt x="44793" y="227329"/>
                </a:lnTo>
                <a:lnTo>
                  <a:pt x="47679" y="269239"/>
                </a:lnTo>
                <a:lnTo>
                  <a:pt x="56690" y="302259"/>
                </a:lnTo>
                <a:lnTo>
                  <a:pt x="59218" y="309879"/>
                </a:lnTo>
                <a:lnTo>
                  <a:pt x="61983" y="316229"/>
                </a:lnTo>
                <a:lnTo>
                  <a:pt x="64982" y="321309"/>
                </a:lnTo>
                <a:lnTo>
                  <a:pt x="68210" y="327659"/>
                </a:lnTo>
                <a:lnTo>
                  <a:pt x="71656" y="334009"/>
                </a:lnTo>
                <a:lnTo>
                  <a:pt x="75321" y="340359"/>
                </a:lnTo>
                <a:lnTo>
                  <a:pt x="79206" y="345439"/>
                </a:lnTo>
                <a:lnTo>
                  <a:pt x="83298" y="351789"/>
                </a:lnTo>
                <a:lnTo>
                  <a:pt x="111885" y="380999"/>
                </a:lnTo>
                <a:lnTo>
                  <a:pt x="117269" y="386079"/>
                </a:lnTo>
                <a:lnTo>
                  <a:pt x="146384" y="403859"/>
                </a:lnTo>
                <a:lnTo>
                  <a:pt x="152588" y="407669"/>
                </a:lnTo>
                <a:lnTo>
                  <a:pt x="165325" y="412749"/>
                </a:lnTo>
                <a:lnTo>
                  <a:pt x="213625" y="412749"/>
                </a:lnTo>
                <a:lnTo>
                  <a:pt x="216865" y="419099"/>
                </a:lnTo>
                <a:lnTo>
                  <a:pt x="242943" y="462279"/>
                </a:lnTo>
                <a:lnTo>
                  <a:pt x="274175" y="500379"/>
                </a:lnTo>
                <a:lnTo>
                  <a:pt x="308576" y="530859"/>
                </a:lnTo>
                <a:lnTo>
                  <a:pt x="349734" y="551179"/>
                </a:lnTo>
                <a:lnTo>
                  <a:pt x="379482" y="558799"/>
                </a:lnTo>
                <a:lnTo>
                  <a:pt x="523542" y="558799"/>
                </a:lnTo>
                <a:lnTo>
                  <a:pt x="520287" y="561339"/>
                </a:lnTo>
                <a:lnTo>
                  <a:pt x="503170" y="572769"/>
                </a:lnTo>
                <a:lnTo>
                  <a:pt x="485210" y="584199"/>
                </a:lnTo>
                <a:lnTo>
                  <a:pt x="483509" y="585469"/>
                </a:lnTo>
                <a:lnTo>
                  <a:pt x="482243" y="586739"/>
                </a:lnTo>
                <a:lnTo>
                  <a:pt x="481414" y="588009"/>
                </a:lnTo>
                <a:lnTo>
                  <a:pt x="475180" y="603249"/>
                </a:lnTo>
                <a:lnTo>
                  <a:pt x="371790" y="603249"/>
                </a:lnTo>
                <a:lnTo>
                  <a:pt x="386766" y="689609"/>
                </a:lnTo>
                <a:lnTo>
                  <a:pt x="458087" y="689609"/>
                </a:lnTo>
                <a:lnTo>
                  <a:pt x="457896" y="693419"/>
                </a:lnTo>
                <a:lnTo>
                  <a:pt x="457783" y="694689"/>
                </a:lnTo>
                <a:lnTo>
                  <a:pt x="457858" y="695959"/>
                </a:lnTo>
                <a:lnTo>
                  <a:pt x="458057" y="695959"/>
                </a:lnTo>
                <a:lnTo>
                  <a:pt x="459143" y="697229"/>
                </a:lnTo>
                <a:lnTo>
                  <a:pt x="461545" y="697229"/>
                </a:lnTo>
                <a:lnTo>
                  <a:pt x="481970" y="704849"/>
                </a:lnTo>
                <a:lnTo>
                  <a:pt x="502033" y="713739"/>
                </a:lnTo>
                <a:lnTo>
                  <a:pt x="520279" y="726439"/>
                </a:lnTo>
                <a:lnTo>
                  <a:pt x="527191" y="734059"/>
                </a:lnTo>
                <a:lnTo>
                  <a:pt x="400715" y="734059"/>
                </a:lnTo>
                <a:lnTo>
                  <a:pt x="377146" y="735329"/>
                </a:lnTo>
                <a:lnTo>
                  <a:pt x="354454" y="739139"/>
                </a:lnTo>
                <a:lnTo>
                  <a:pt x="332641" y="746759"/>
                </a:lnTo>
                <a:lnTo>
                  <a:pt x="311705" y="756919"/>
                </a:lnTo>
                <a:lnTo>
                  <a:pt x="549617" y="756919"/>
                </a:lnTo>
                <a:lnTo>
                  <a:pt x="552679" y="758189"/>
                </a:lnTo>
                <a:lnTo>
                  <a:pt x="555883" y="759459"/>
                </a:lnTo>
                <a:lnTo>
                  <a:pt x="601234" y="759459"/>
                </a:lnTo>
                <a:lnTo>
                  <a:pt x="607270" y="760729"/>
                </a:lnTo>
                <a:lnTo>
                  <a:pt x="615576" y="764539"/>
                </a:lnTo>
                <a:lnTo>
                  <a:pt x="620374" y="773429"/>
                </a:lnTo>
                <a:lnTo>
                  <a:pt x="621916" y="784859"/>
                </a:lnTo>
                <a:lnTo>
                  <a:pt x="621916" y="803909"/>
                </a:lnTo>
                <a:lnTo>
                  <a:pt x="221444" y="803909"/>
                </a:lnTo>
                <a:lnTo>
                  <a:pt x="221444" y="902969"/>
                </a:lnTo>
                <a:lnTo>
                  <a:pt x="621916" y="902969"/>
                </a:lnTo>
                <a:lnTo>
                  <a:pt x="621916" y="904239"/>
                </a:lnTo>
                <a:close/>
              </a:path>
              <a:path w="798829" h="1074420">
                <a:moveTo>
                  <a:pt x="536617" y="44449"/>
                </a:moveTo>
                <a:lnTo>
                  <a:pt x="201843" y="44449"/>
                </a:lnTo>
                <a:lnTo>
                  <a:pt x="194798" y="43179"/>
                </a:lnTo>
                <a:lnTo>
                  <a:pt x="579307" y="43179"/>
                </a:lnTo>
                <a:lnTo>
                  <a:pt x="536617" y="44449"/>
                </a:lnTo>
                <a:close/>
              </a:path>
              <a:path w="798829" h="1074420">
                <a:moveTo>
                  <a:pt x="523542" y="558799"/>
                </a:moveTo>
                <a:lnTo>
                  <a:pt x="414325" y="558799"/>
                </a:lnTo>
                <a:lnTo>
                  <a:pt x="448035" y="551179"/>
                </a:lnTo>
                <a:lnTo>
                  <a:pt x="480843" y="535939"/>
                </a:lnTo>
                <a:lnTo>
                  <a:pt x="512982" y="511809"/>
                </a:lnTo>
                <a:lnTo>
                  <a:pt x="553792" y="464819"/>
                </a:lnTo>
                <a:lnTo>
                  <a:pt x="584358" y="411479"/>
                </a:lnTo>
                <a:lnTo>
                  <a:pt x="604170" y="364489"/>
                </a:lnTo>
                <a:lnTo>
                  <a:pt x="619469" y="316229"/>
                </a:lnTo>
                <a:lnTo>
                  <a:pt x="630270" y="265429"/>
                </a:lnTo>
                <a:lnTo>
                  <a:pt x="636591" y="214629"/>
                </a:lnTo>
                <a:lnTo>
                  <a:pt x="638359" y="163829"/>
                </a:lnTo>
                <a:lnTo>
                  <a:pt x="638387" y="160019"/>
                </a:lnTo>
                <a:lnTo>
                  <a:pt x="635857" y="106679"/>
                </a:lnTo>
                <a:lnTo>
                  <a:pt x="628834" y="49529"/>
                </a:lnTo>
                <a:lnTo>
                  <a:pt x="627934" y="43179"/>
                </a:lnTo>
                <a:lnTo>
                  <a:pt x="672640" y="43179"/>
                </a:lnTo>
                <a:lnTo>
                  <a:pt x="673677" y="48259"/>
                </a:lnTo>
                <a:lnTo>
                  <a:pt x="720414" y="48259"/>
                </a:lnTo>
                <a:lnTo>
                  <a:pt x="732281" y="49529"/>
                </a:lnTo>
                <a:lnTo>
                  <a:pt x="769307" y="68579"/>
                </a:lnTo>
                <a:lnTo>
                  <a:pt x="788655" y="92709"/>
                </a:lnTo>
                <a:lnTo>
                  <a:pt x="679653" y="92709"/>
                </a:lnTo>
                <a:lnTo>
                  <a:pt x="682694" y="133349"/>
                </a:lnTo>
                <a:lnTo>
                  <a:pt x="683172" y="173989"/>
                </a:lnTo>
                <a:lnTo>
                  <a:pt x="681085" y="214629"/>
                </a:lnTo>
                <a:lnTo>
                  <a:pt x="676434" y="255269"/>
                </a:lnTo>
                <a:lnTo>
                  <a:pt x="669265" y="295909"/>
                </a:lnTo>
                <a:lnTo>
                  <a:pt x="659624" y="335279"/>
                </a:lnTo>
                <a:lnTo>
                  <a:pt x="647511" y="374649"/>
                </a:lnTo>
                <a:lnTo>
                  <a:pt x="632926" y="412749"/>
                </a:lnTo>
                <a:lnTo>
                  <a:pt x="717537" y="412749"/>
                </a:lnTo>
                <a:lnTo>
                  <a:pt x="709753" y="419099"/>
                </a:lnTo>
                <a:lnTo>
                  <a:pt x="701711" y="425449"/>
                </a:lnTo>
                <a:lnTo>
                  <a:pt x="693411" y="430529"/>
                </a:lnTo>
                <a:lnTo>
                  <a:pt x="684853" y="436879"/>
                </a:lnTo>
                <a:lnTo>
                  <a:pt x="676070" y="441959"/>
                </a:lnTo>
                <a:lnTo>
                  <a:pt x="667094" y="445769"/>
                </a:lnTo>
                <a:lnTo>
                  <a:pt x="657925" y="450849"/>
                </a:lnTo>
                <a:lnTo>
                  <a:pt x="648563" y="454659"/>
                </a:lnTo>
                <a:lnTo>
                  <a:pt x="639043" y="457199"/>
                </a:lnTo>
                <a:lnTo>
                  <a:pt x="629402" y="461009"/>
                </a:lnTo>
                <a:lnTo>
                  <a:pt x="619638" y="463549"/>
                </a:lnTo>
                <a:lnTo>
                  <a:pt x="609753" y="464819"/>
                </a:lnTo>
                <a:lnTo>
                  <a:pt x="607055" y="466089"/>
                </a:lnTo>
                <a:lnTo>
                  <a:pt x="604838" y="467359"/>
                </a:lnTo>
                <a:lnTo>
                  <a:pt x="603102" y="469899"/>
                </a:lnTo>
                <a:lnTo>
                  <a:pt x="592002" y="487679"/>
                </a:lnTo>
                <a:lnTo>
                  <a:pt x="579784" y="504189"/>
                </a:lnTo>
                <a:lnTo>
                  <a:pt x="566449" y="519429"/>
                </a:lnTo>
                <a:lnTo>
                  <a:pt x="551996" y="534669"/>
                </a:lnTo>
                <a:lnTo>
                  <a:pt x="536562" y="548639"/>
                </a:lnTo>
                <a:lnTo>
                  <a:pt x="523542" y="558799"/>
                </a:lnTo>
                <a:close/>
              </a:path>
              <a:path w="798829" h="1074420">
                <a:moveTo>
                  <a:pt x="720414" y="48259"/>
                </a:moveTo>
                <a:lnTo>
                  <a:pt x="708465" y="48259"/>
                </a:lnTo>
                <a:lnTo>
                  <a:pt x="714453" y="46989"/>
                </a:lnTo>
                <a:lnTo>
                  <a:pt x="720414" y="48259"/>
                </a:lnTo>
                <a:close/>
              </a:path>
              <a:path w="798829" h="1074420">
                <a:moveTo>
                  <a:pt x="213625" y="412749"/>
                </a:moveTo>
                <a:lnTo>
                  <a:pt x="165325" y="412749"/>
                </a:lnTo>
                <a:lnTo>
                  <a:pt x="150710" y="374649"/>
                </a:lnTo>
                <a:lnTo>
                  <a:pt x="138574" y="335279"/>
                </a:lnTo>
                <a:lnTo>
                  <a:pt x="128919" y="295909"/>
                </a:lnTo>
                <a:lnTo>
                  <a:pt x="121743" y="255269"/>
                </a:lnTo>
                <a:lnTo>
                  <a:pt x="117092" y="214629"/>
                </a:lnTo>
                <a:lnTo>
                  <a:pt x="115143" y="176529"/>
                </a:lnTo>
                <a:lnTo>
                  <a:pt x="115136" y="163829"/>
                </a:lnTo>
                <a:lnTo>
                  <a:pt x="115506" y="133349"/>
                </a:lnTo>
                <a:lnTo>
                  <a:pt x="118570" y="92709"/>
                </a:lnTo>
                <a:lnTo>
                  <a:pt x="164048" y="92709"/>
                </a:lnTo>
                <a:lnTo>
                  <a:pt x="160605" y="125729"/>
                </a:lnTo>
                <a:lnTo>
                  <a:pt x="159531" y="176529"/>
                </a:lnTo>
                <a:lnTo>
                  <a:pt x="162681" y="227329"/>
                </a:lnTo>
                <a:lnTo>
                  <a:pt x="170054" y="276859"/>
                </a:lnTo>
                <a:lnTo>
                  <a:pt x="181650" y="326389"/>
                </a:lnTo>
                <a:lnTo>
                  <a:pt x="196310" y="374649"/>
                </a:lnTo>
                <a:lnTo>
                  <a:pt x="205851" y="397509"/>
                </a:lnTo>
                <a:lnTo>
                  <a:pt x="213625" y="412749"/>
                </a:lnTo>
                <a:close/>
              </a:path>
              <a:path w="798829" h="1074420">
                <a:moveTo>
                  <a:pt x="717537" y="412749"/>
                </a:moveTo>
                <a:lnTo>
                  <a:pt x="632926" y="412749"/>
                </a:lnTo>
                <a:lnTo>
                  <a:pt x="678375" y="387349"/>
                </a:lnTo>
                <a:lnTo>
                  <a:pt x="713049" y="355599"/>
                </a:lnTo>
                <a:lnTo>
                  <a:pt x="736839" y="316229"/>
                </a:lnTo>
                <a:lnTo>
                  <a:pt x="749637" y="269239"/>
                </a:lnTo>
                <a:lnTo>
                  <a:pt x="753519" y="215899"/>
                </a:lnTo>
                <a:lnTo>
                  <a:pt x="753832" y="184149"/>
                </a:lnTo>
                <a:lnTo>
                  <a:pt x="753124" y="160019"/>
                </a:lnTo>
                <a:lnTo>
                  <a:pt x="752670" y="135889"/>
                </a:lnTo>
                <a:lnTo>
                  <a:pt x="737425" y="99059"/>
                </a:lnTo>
                <a:lnTo>
                  <a:pt x="726704" y="93979"/>
                </a:lnTo>
                <a:lnTo>
                  <a:pt x="722779" y="93979"/>
                </a:lnTo>
                <a:lnTo>
                  <a:pt x="714176" y="92709"/>
                </a:lnTo>
                <a:lnTo>
                  <a:pt x="788655" y="92709"/>
                </a:lnTo>
                <a:lnTo>
                  <a:pt x="790657" y="96519"/>
                </a:lnTo>
                <a:lnTo>
                  <a:pt x="794855" y="107949"/>
                </a:lnTo>
                <a:lnTo>
                  <a:pt x="796336" y="113029"/>
                </a:lnTo>
                <a:lnTo>
                  <a:pt x="798065" y="125729"/>
                </a:lnTo>
                <a:lnTo>
                  <a:pt x="798292" y="130809"/>
                </a:lnTo>
                <a:lnTo>
                  <a:pt x="797964" y="135889"/>
                </a:lnTo>
                <a:lnTo>
                  <a:pt x="797841" y="238759"/>
                </a:lnTo>
                <a:lnTo>
                  <a:pt x="792973" y="284479"/>
                </a:lnTo>
                <a:lnTo>
                  <a:pt x="784866" y="313689"/>
                </a:lnTo>
                <a:lnTo>
                  <a:pt x="781326" y="323849"/>
                </a:lnTo>
                <a:lnTo>
                  <a:pt x="763181" y="359409"/>
                </a:lnTo>
                <a:lnTo>
                  <a:pt x="739083" y="391159"/>
                </a:lnTo>
                <a:lnTo>
                  <a:pt x="725034" y="406399"/>
                </a:lnTo>
                <a:lnTo>
                  <a:pt x="717537" y="412749"/>
                </a:lnTo>
                <a:close/>
              </a:path>
              <a:path w="798829" h="1074420">
                <a:moveTo>
                  <a:pt x="326273" y="411479"/>
                </a:moveTo>
                <a:lnTo>
                  <a:pt x="318305" y="411479"/>
                </a:lnTo>
                <a:lnTo>
                  <a:pt x="310158" y="408939"/>
                </a:lnTo>
                <a:lnTo>
                  <a:pt x="304112" y="403859"/>
                </a:lnTo>
                <a:lnTo>
                  <a:pt x="303128" y="392429"/>
                </a:lnTo>
                <a:lnTo>
                  <a:pt x="303971" y="386079"/>
                </a:lnTo>
                <a:lnTo>
                  <a:pt x="305749" y="372109"/>
                </a:lnTo>
                <a:lnTo>
                  <a:pt x="307961" y="358139"/>
                </a:lnTo>
                <a:lnTo>
                  <a:pt x="310675" y="342899"/>
                </a:lnTo>
                <a:lnTo>
                  <a:pt x="313955" y="325119"/>
                </a:lnTo>
                <a:lnTo>
                  <a:pt x="315183" y="321309"/>
                </a:lnTo>
                <a:lnTo>
                  <a:pt x="315166" y="317499"/>
                </a:lnTo>
                <a:lnTo>
                  <a:pt x="312640" y="309879"/>
                </a:lnTo>
                <a:lnTo>
                  <a:pt x="310361" y="307339"/>
                </a:lnTo>
                <a:lnTo>
                  <a:pt x="307065" y="304799"/>
                </a:lnTo>
                <a:lnTo>
                  <a:pt x="295783" y="294639"/>
                </a:lnTo>
                <a:lnTo>
                  <a:pt x="262068" y="260349"/>
                </a:lnTo>
                <a:lnTo>
                  <a:pt x="256262" y="255269"/>
                </a:lnTo>
                <a:lnTo>
                  <a:pt x="253825" y="247649"/>
                </a:lnTo>
                <a:lnTo>
                  <a:pt x="254756" y="240029"/>
                </a:lnTo>
                <a:lnTo>
                  <a:pt x="258656" y="232409"/>
                </a:lnTo>
                <a:lnTo>
                  <a:pt x="264703" y="227329"/>
                </a:lnTo>
                <a:lnTo>
                  <a:pt x="312742" y="219709"/>
                </a:lnTo>
                <a:lnTo>
                  <a:pt x="321056" y="219709"/>
                </a:lnTo>
                <a:lnTo>
                  <a:pt x="329370" y="217169"/>
                </a:lnTo>
                <a:lnTo>
                  <a:pt x="337578" y="215899"/>
                </a:lnTo>
                <a:lnTo>
                  <a:pt x="343586" y="214629"/>
                </a:lnTo>
                <a:lnTo>
                  <a:pt x="348274" y="212089"/>
                </a:lnTo>
                <a:lnTo>
                  <a:pt x="351640" y="205739"/>
                </a:lnTo>
                <a:lnTo>
                  <a:pt x="355676" y="199389"/>
                </a:lnTo>
                <a:lnTo>
                  <a:pt x="359567" y="191769"/>
                </a:lnTo>
                <a:lnTo>
                  <a:pt x="363326" y="184149"/>
                </a:lnTo>
                <a:lnTo>
                  <a:pt x="366967" y="176529"/>
                </a:lnTo>
                <a:lnTo>
                  <a:pt x="370454" y="168909"/>
                </a:lnTo>
                <a:lnTo>
                  <a:pt x="373980" y="162559"/>
                </a:lnTo>
                <a:lnTo>
                  <a:pt x="377585" y="154939"/>
                </a:lnTo>
                <a:lnTo>
                  <a:pt x="381310" y="148589"/>
                </a:lnTo>
                <a:lnTo>
                  <a:pt x="385262" y="140969"/>
                </a:lnTo>
                <a:lnTo>
                  <a:pt x="391308" y="137159"/>
                </a:lnTo>
                <a:lnTo>
                  <a:pt x="399449" y="135889"/>
                </a:lnTo>
                <a:lnTo>
                  <a:pt x="407594" y="137159"/>
                </a:lnTo>
                <a:lnTo>
                  <a:pt x="430419" y="173989"/>
                </a:lnTo>
                <a:lnTo>
                  <a:pt x="438817" y="191769"/>
                </a:lnTo>
                <a:lnTo>
                  <a:pt x="399449" y="191769"/>
                </a:lnTo>
                <a:lnTo>
                  <a:pt x="395231" y="200659"/>
                </a:lnTo>
                <a:lnTo>
                  <a:pt x="391089" y="208279"/>
                </a:lnTo>
                <a:lnTo>
                  <a:pt x="387092" y="215899"/>
                </a:lnTo>
                <a:lnTo>
                  <a:pt x="383228" y="224789"/>
                </a:lnTo>
                <a:lnTo>
                  <a:pt x="379482" y="232409"/>
                </a:lnTo>
                <a:lnTo>
                  <a:pt x="377534" y="237489"/>
                </a:lnTo>
                <a:lnTo>
                  <a:pt x="374389" y="241299"/>
                </a:lnTo>
                <a:lnTo>
                  <a:pt x="365701" y="247649"/>
                </a:lnTo>
                <a:lnTo>
                  <a:pt x="360832" y="250189"/>
                </a:lnTo>
                <a:lnTo>
                  <a:pt x="355436" y="250189"/>
                </a:lnTo>
                <a:lnTo>
                  <a:pt x="329018" y="253999"/>
                </a:lnTo>
                <a:lnTo>
                  <a:pt x="319439" y="255269"/>
                </a:lnTo>
                <a:lnTo>
                  <a:pt x="315502" y="256539"/>
                </a:lnTo>
                <a:lnTo>
                  <a:pt x="311565" y="256539"/>
                </a:lnTo>
                <a:lnTo>
                  <a:pt x="307346" y="257809"/>
                </a:lnTo>
                <a:lnTo>
                  <a:pt x="310299" y="260349"/>
                </a:lnTo>
                <a:lnTo>
                  <a:pt x="315924" y="265429"/>
                </a:lnTo>
                <a:lnTo>
                  <a:pt x="323794" y="273049"/>
                </a:lnTo>
                <a:lnTo>
                  <a:pt x="331216" y="279399"/>
                </a:lnTo>
                <a:lnTo>
                  <a:pt x="338268" y="285749"/>
                </a:lnTo>
                <a:lnTo>
                  <a:pt x="345031" y="293369"/>
                </a:lnTo>
                <a:lnTo>
                  <a:pt x="349921" y="299719"/>
                </a:lnTo>
                <a:lnTo>
                  <a:pt x="351984" y="306069"/>
                </a:lnTo>
                <a:lnTo>
                  <a:pt x="350181" y="323849"/>
                </a:lnTo>
                <a:lnTo>
                  <a:pt x="347263" y="342899"/>
                </a:lnTo>
                <a:lnTo>
                  <a:pt x="344047" y="361949"/>
                </a:lnTo>
                <a:lnTo>
                  <a:pt x="491537" y="361949"/>
                </a:lnTo>
                <a:lnTo>
                  <a:pt x="493797" y="374649"/>
                </a:lnTo>
                <a:lnTo>
                  <a:pt x="395933" y="374649"/>
                </a:lnTo>
                <a:lnTo>
                  <a:pt x="392621" y="375919"/>
                </a:lnTo>
                <a:lnTo>
                  <a:pt x="389606" y="378459"/>
                </a:lnTo>
                <a:lnTo>
                  <a:pt x="374540" y="386079"/>
                </a:lnTo>
                <a:lnTo>
                  <a:pt x="360411" y="393699"/>
                </a:lnTo>
                <a:lnTo>
                  <a:pt x="346993" y="401319"/>
                </a:lnTo>
                <a:lnTo>
                  <a:pt x="326273" y="411479"/>
                </a:lnTo>
                <a:close/>
              </a:path>
              <a:path w="798829" h="1074420">
                <a:moveTo>
                  <a:pt x="491537" y="361949"/>
                </a:moveTo>
                <a:lnTo>
                  <a:pt x="455273" y="361949"/>
                </a:lnTo>
                <a:lnTo>
                  <a:pt x="454711" y="359409"/>
                </a:lnTo>
                <a:lnTo>
                  <a:pt x="454289" y="355599"/>
                </a:lnTo>
                <a:lnTo>
                  <a:pt x="453726" y="353059"/>
                </a:lnTo>
                <a:lnTo>
                  <a:pt x="447031" y="320039"/>
                </a:lnTo>
                <a:lnTo>
                  <a:pt x="446397" y="316229"/>
                </a:lnTo>
                <a:lnTo>
                  <a:pt x="466527" y="279399"/>
                </a:lnTo>
                <a:lnTo>
                  <a:pt x="472434" y="274319"/>
                </a:lnTo>
                <a:lnTo>
                  <a:pt x="478198" y="269239"/>
                </a:lnTo>
                <a:lnTo>
                  <a:pt x="483818" y="264159"/>
                </a:lnTo>
                <a:lnTo>
                  <a:pt x="488318" y="259079"/>
                </a:lnTo>
                <a:lnTo>
                  <a:pt x="490708" y="256539"/>
                </a:lnTo>
                <a:lnTo>
                  <a:pt x="486630" y="256539"/>
                </a:lnTo>
                <a:lnTo>
                  <a:pt x="482693" y="255269"/>
                </a:lnTo>
                <a:lnTo>
                  <a:pt x="478897" y="255269"/>
                </a:lnTo>
                <a:lnTo>
                  <a:pt x="469504" y="253999"/>
                </a:lnTo>
                <a:lnTo>
                  <a:pt x="443462" y="250189"/>
                </a:lnTo>
                <a:lnTo>
                  <a:pt x="438073" y="250189"/>
                </a:lnTo>
                <a:lnTo>
                  <a:pt x="433225" y="247649"/>
                </a:lnTo>
                <a:lnTo>
                  <a:pt x="424611" y="241299"/>
                </a:lnTo>
                <a:lnTo>
                  <a:pt x="421538" y="237489"/>
                </a:lnTo>
                <a:lnTo>
                  <a:pt x="419698" y="232409"/>
                </a:lnTo>
                <a:lnTo>
                  <a:pt x="416092" y="224789"/>
                </a:lnTo>
                <a:lnTo>
                  <a:pt x="412263" y="215899"/>
                </a:lnTo>
                <a:lnTo>
                  <a:pt x="408248" y="208279"/>
                </a:lnTo>
                <a:lnTo>
                  <a:pt x="404089" y="200659"/>
                </a:lnTo>
                <a:lnTo>
                  <a:pt x="400996" y="194309"/>
                </a:lnTo>
                <a:lnTo>
                  <a:pt x="399449" y="191769"/>
                </a:lnTo>
                <a:lnTo>
                  <a:pt x="438817" y="191769"/>
                </a:lnTo>
                <a:lnTo>
                  <a:pt x="442337" y="199389"/>
                </a:lnTo>
                <a:lnTo>
                  <a:pt x="442899" y="200659"/>
                </a:lnTo>
                <a:lnTo>
                  <a:pt x="444427" y="205739"/>
                </a:lnTo>
                <a:lnTo>
                  <a:pt x="447227" y="209549"/>
                </a:lnTo>
                <a:lnTo>
                  <a:pt x="455371" y="215899"/>
                </a:lnTo>
                <a:lnTo>
                  <a:pt x="459977" y="217169"/>
                </a:lnTo>
                <a:lnTo>
                  <a:pt x="465116" y="217169"/>
                </a:lnTo>
                <a:lnTo>
                  <a:pt x="480397" y="219709"/>
                </a:lnTo>
                <a:lnTo>
                  <a:pt x="495615" y="220979"/>
                </a:lnTo>
                <a:lnTo>
                  <a:pt x="525862" y="226059"/>
                </a:lnTo>
                <a:lnTo>
                  <a:pt x="534078" y="227329"/>
                </a:lnTo>
                <a:lnTo>
                  <a:pt x="540218" y="232409"/>
                </a:lnTo>
                <a:lnTo>
                  <a:pt x="544283" y="238759"/>
                </a:lnTo>
                <a:lnTo>
                  <a:pt x="545363" y="247649"/>
                </a:lnTo>
                <a:lnTo>
                  <a:pt x="542972" y="253999"/>
                </a:lnTo>
                <a:lnTo>
                  <a:pt x="537111" y="260349"/>
                </a:lnTo>
                <a:lnTo>
                  <a:pt x="531638" y="265429"/>
                </a:lnTo>
                <a:lnTo>
                  <a:pt x="526020" y="271779"/>
                </a:lnTo>
                <a:lnTo>
                  <a:pt x="514613" y="281939"/>
                </a:lnTo>
                <a:lnTo>
                  <a:pt x="502625" y="294639"/>
                </a:lnTo>
                <a:lnTo>
                  <a:pt x="496658" y="299719"/>
                </a:lnTo>
                <a:lnTo>
                  <a:pt x="490849" y="306069"/>
                </a:lnTo>
                <a:lnTo>
                  <a:pt x="486806" y="311149"/>
                </a:lnTo>
                <a:lnTo>
                  <a:pt x="484978" y="316229"/>
                </a:lnTo>
                <a:lnTo>
                  <a:pt x="485365" y="322579"/>
                </a:lnTo>
                <a:lnTo>
                  <a:pt x="486800" y="334009"/>
                </a:lnTo>
                <a:lnTo>
                  <a:pt x="488511" y="345439"/>
                </a:lnTo>
                <a:lnTo>
                  <a:pt x="490407" y="355599"/>
                </a:lnTo>
                <a:lnTo>
                  <a:pt x="491537" y="361949"/>
                </a:lnTo>
                <a:close/>
              </a:path>
              <a:path w="798829" h="1074420">
                <a:moveTo>
                  <a:pt x="455273" y="361949"/>
                </a:moveTo>
                <a:lnTo>
                  <a:pt x="344047" y="361949"/>
                </a:lnTo>
                <a:lnTo>
                  <a:pt x="347140" y="360679"/>
                </a:lnTo>
                <a:lnTo>
                  <a:pt x="350093" y="359409"/>
                </a:lnTo>
                <a:lnTo>
                  <a:pt x="353187" y="358139"/>
                </a:lnTo>
                <a:lnTo>
                  <a:pt x="361309" y="353059"/>
                </a:lnTo>
                <a:lnTo>
                  <a:pt x="369234" y="349249"/>
                </a:lnTo>
                <a:lnTo>
                  <a:pt x="376975" y="345439"/>
                </a:lnTo>
                <a:lnTo>
                  <a:pt x="384544" y="340359"/>
                </a:lnTo>
                <a:lnTo>
                  <a:pt x="389067" y="337819"/>
                </a:lnTo>
                <a:lnTo>
                  <a:pt x="393989" y="336549"/>
                </a:lnTo>
                <a:lnTo>
                  <a:pt x="404790" y="336549"/>
                </a:lnTo>
                <a:lnTo>
                  <a:pt x="409852" y="337819"/>
                </a:lnTo>
                <a:lnTo>
                  <a:pt x="414495" y="341629"/>
                </a:lnTo>
                <a:lnTo>
                  <a:pt x="421980" y="345439"/>
                </a:lnTo>
                <a:lnTo>
                  <a:pt x="429664" y="349249"/>
                </a:lnTo>
                <a:lnTo>
                  <a:pt x="445571" y="356869"/>
                </a:lnTo>
                <a:lnTo>
                  <a:pt x="448805" y="359409"/>
                </a:lnTo>
                <a:lnTo>
                  <a:pt x="455273" y="361949"/>
                </a:lnTo>
                <a:close/>
              </a:path>
              <a:path w="798829" h="1074420">
                <a:moveTo>
                  <a:pt x="483852" y="412749"/>
                </a:moveTo>
                <a:lnTo>
                  <a:pt x="476787" y="412749"/>
                </a:lnTo>
                <a:lnTo>
                  <a:pt x="476084" y="411479"/>
                </a:lnTo>
                <a:lnTo>
                  <a:pt x="472991" y="411479"/>
                </a:lnTo>
                <a:lnTo>
                  <a:pt x="469755" y="410209"/>
                </a:lnTo>
                <a:lnTo>
                  <a:pt x="466615" y="408939"/>
                </a:lnTo>
                <a:lnTo>
                  <a:pt x="463569" y="406399"/>
                </a:lnTo>
                <a:lnTo>
                  <a:pt x="456398" y="402589"/>
                </a:lnTo>
                <a:lnTo>
                  <a:pt x="444729" y="397509"/>
                </a:lnTo>
                <a:lnTo>
                  <a:pt x="409433" y="378459"/>
                </a:lnTo>
                <a:lnTo>
                  <a:pt x="406446" y="375919"/>
                </a:lnTo>
                <a:lnTo>
                  <a:pt x="403149" y="374649"/>
                </a:lnTo>
                <a:lnTo>
                  <a:pt x="493797" y="374649"/>
                </a:lnTo>
                <a:lnTo>
                  <a:pt x="494927" y="380999"/>
                </a:lnTo>
                <a:lnTo>
                  <a:pt x="496052" y="388619"/>
                </a:lnTo>
                <a:lnTo>
                  <a:pt x="497704" y="394969"/>
                </a:lnTo>
                <a:lnTo>
                  <a:pt x="496720" y="400049"/>
                </a:lnTo>
                <a:lnTo>
                  <a:pt x="493099" y="405129"/>
                </a:lnTo>
                <a:lnTo>
                  <a:pt x="489008" y="410209"/>
                </a:lnTo>
                <a:lnTo>
                  <a:pt x="483852" y="412749"/>
                </a:lnTo>
                <a:close/>
              </a:path>
              <a:path w="798829" h="1074420">
                <a:moveTo>
                  <a:pt x="458087" y="689609"/>
                </a:moveTo>
                <a:lnTo>
                  <a:pt x="412779" y="689609"/>
                </a:lnTo>
                <a:lnTo>
                  <a:pt x="413117" y="685799"/>
                </a:lnTo>
                <a:lnTo>
                  <a:pt x="417940" y="642619"/>
                </a:lnTo>
                <a:lnTo>
                  <a:pt x="421613" y="626109"/>
                </a:lnTo>
                <a:lnTo>
                  <a:pt x="423746" y="617219"/>
                </a:lnTo>
                <a:lnTo>
                  <a:pt x="427347" y="603249"/>
                </a:lnTo>
                <a:lnTo>
                  <a:pt x="475180" y="603249"/>
                </a:lnTo>
                <a:lnTo>
                  <a:pt x="471025" y="613409"/>
                </a:lnTo>
                <a:lnTo>
                  <a:pt x="463632" y="640079"/>
                </a:lnTo>
                <a:lnTo>
                  <a:pt x="459234" y="666749"/>
                </a:lnTo>
                <a:lnTo>
                  <a:pt x="458087" y="689609"/>
                </a:lnTo>
                <a:close/>
              </a:path>
              <a:path w="798829" h="1074420">
                <a:moveTo>
                  <a:pt x="549617" y="756919"/>
                </a:moveTo>
                <a:lnTo>
                  <a:pt x="486490" y="756919"/>
                </a:lnTo>
                <a:lnTo>
                  <a:pt x="466378" y="746759"/>
                </a:lnTo>
                <a:lnTo>
                  <a:pt x="445378" y="739139"/>
                </a:lnTo>
                <a:lnTo>
                  <a:pt x="423490" y="735329"/>
                </a:lnTo>
                <a:lnTo>
                  <a:pt x="400715" y="734059"/>
                </a:lnTo>
                <a:lnTo>
                  <a:pt x="527191" y="734059"/>
                </a:lnTo>
                <a:lnTo>
                  <a:pt x="535255" y="742949"/>
                </a:lnTo>
                <a:lnTo>
                  <a:pt x="536850" y="746759"/>
                </a:lnTo>
                <a:lnTo>
                  <a:pt x="538877" y="749299"/>
                </a:lnTo>
                <a:lnTo>
                  <a:pt x="543793" y="753109"/>
                </a:lnTo>
                <a:lnTo>
                  <a:pt x="546554" y="755649"/>
                </a:lnTo>
                <a:lnTo>
                  <a:pt x="549617" y="756919"/>
                </a:lnTo>
                <a:close/>
              </a:path>
              <a:path w="798829" h="1074420">
                <a:moveTo>
                  <a:pt x="601234" y="759459"/>
                </a:moveTo>
                <a:lnTo>
                  <a:pt x="565883" y="759459"/>
                </a:lnTo>
                <a:lnTo>
                  <a:pt x="569157" y="758189"/>
                </a:lnTo>
                <a:lnTo>
                  <a:pt x="595199" y="758189"/>
                </a:lnTo>
                <a:lnTo>
                  <a:pt x="601234" y="759459"/>
                </a:lnTo>
                <a:close/>
              </a:path>
              <a:path w="798829" h="1074420">
                <a:moveTo>
                  <a:pt x="621916" y="902969"/>
                </a:moveTo>
                <a:lnTo>
                  <a:pt x="576582" y="902969"/>
                </a:lnTo>
                <a:lnTo>
                  <a:pt x="576582" y="803909"/>
                </a:lnTo>
                <a:lnTo>
                  <a:pt x="621916" y="803909"/>
                </a:lnTo>
                <a:lnTo>
                  <a:pt x="621916" y="902969"/>
                </a:lnTo>
                <a:close/>
              </a:path>
              <a:path w="798829" h="1074420">
                <a:moveTo>
                  <a:pt x="663088" y="1074419"/>
                </a:moveTo>
                <a:lnTo>
                  <a:pt x="135008" y="1074419"/>
                </a:lnTo>
                <a:lnTo>
                  <a:pt x="123086" y="1073149"/>
                </a:lnTo>
                <a:lnTo>
                  <a:pt x="114784" y="1068069"/>
                </a:lnTo>
                <a:lnTo>
                  <a:pt x="109915" y="1059179"/>
                </a:lnTo>
                <a:lnTo>
                  <a:pt x="108291" y="1047749"/>
                </a:lnTo>
                <a:lnTo>
                  <a:pt x="108291" y="930909"/>
                </a:lnTo>
                <a:lnTo>
                  <a:pt x="109902" y="919479"/>
                </a:lnTo>
                <a:lnTo>
                  <a:pt x="114667" y="911859"/>
                </a:lnTo>
                <a:lnTo>
                  <a:pt x="122772" y="906779"/>
                </a:lnTo>
                <a:lnTo>
                  <a:pt x="134404" y="904239"/>
                </a:lnTo>
                <a:lnTo>
                  <a:pt x="662371" y="904239"/>
                </a:lnTo>
                <a:lnTo>
                  <a:pt x="689721" y="932179"/>
                </a:lnTo>
                <a:lnTo>
                  <a:pt x="689758" y="949959"/>
                </a:lnTo>
                <a:lnTo>
                  <a:pt x="153682" y="949959"/>
                </a:lnTo>
                <a:lnTo>
                  <a:pt x="153682" y="1028699"/>
                </a:lnTo>
                <a:lnTo>
                  <a:pt x="689758" y="1028699"/>
                </a:lnTo>
                <a:lnTo>
                  <a:pt x="689721" y="1047749"/>
                </a:lnTo>
                <a:lnTo>
                  <a:pt x="688089" y="1059179"/>
                </a:lnTo>
                <a:lnTo>
                  <a:pt x="683223" y="1068069"/>
                </a:lnTo>
                <a:lnTo>
                  <a:pt x="674948" y="1073149"/>
                </a:lnTo>
                <a:lnTo>
                  <a:pt x="663088" y="1074419"/>
                </a:lnTo>
                <a:close/>
              </a:path>
              <a:path w="798829" h="1074420">
                <a:moveTo>
                  <a:pt x="689758" y="1028699"/>
                </a:moveTo>
                <a:lnTo>
                  <a:pt x="644682" y="1028699"/>
                </a:lnTo>
                <a:lnTo>
                  <a:pt x="644682" y="949959"/>
                </a:lnTo>
                <a:lnTo>
                  <a:pt x="689758" y="949959"/>
                </a:lnTo>
                <a:lnTo>
                  <a:pt x="689758" y="1028699"/>
                </a:lnTo>
                <a:close/>
              </a:path>
            </a:pathLst>
          </a:custGeom>
          <a:solidFill>
            <a:srgbClr val="21408B"/>
          </a:solidFill>
        </p:spPr>
        <p:txBody>
          <a:bodyPr wrap="square" lIns="0" tIns="0" rIns="0" bIns="0" rtlCol="0"/>
          <a:lstStyle/>
          <a:p>
            <a:endParaRPr/>
          </a:p>
        </p:txBody>
      </p:sp>
      <p:pic>
        <p:nvPicPr>
          <p:cNvPr id="12" name="object 12"/>
          <p:cNvPicPr/>
          <p:nvPr/>
        </p:nvPicPr>
        <p:blipFill>
          <a:blip r:embed="rId2" cstate="print"/>
          <a:stretch>
            <a:fillRect/>
          </a:stretch>
        </p:blipFill>
        <p:spPr>
          <a:xfrm>
            <a:off x="3831396" y="7752326"/>
            <a:ext cx="1131034" cy="1116329"/>
          </a:xfrm>
          <a:prstGeom prst="rect">
            <a:avLst/>
          </a:prstGeom>
        </p:spPr>
      </p:pic>
      <p:grpSp>
        <p:nvGrpSpPr>
          <p:cNvPr id="13" name="object 13"/>
          <p:cNvGrpSpPr/>
          <p:nvPr/>
        </p:nvGrpSpPr>
        <p:grpSpPr>
          <a:xfrm>
            <a:off x="4596585" y="6378213"/>
            <a:ext cx="757555" cy="549275"/>
            <a:chOff x="4596585" y="6378213"/>
            <a:chExt cx="757555" cy="549275"/>
          </a:xfrm>
        </p:grpSpPr>
        <p:sp>
          <p:nvSpPr>
            <p:cNvPr id="14" name="object 14"/>
            <p:cNvSpPr/>
            <p:nvPr/>
          </p:nvSpPr>
          <p:spPr>
            <a:xfrm>
              <a:off x="4596585" y="6378213"/>
              <a:ext cx="757555" cy="549275"/>
            </a:xfrm>
            <a:custGeom>
              <a:avLst/>
              <a:gdLst/>
              <a:ahLst/>
              <a:cxnLst/>
              <a:rect l="l" t="t" r="r" b="b"/>
              <a:pathLst>
                <a:path w="757554" h="549275">
                  <a:moveTo>
                    <a:pt x="163516" y="548901"/>
                  </a:moveTo>
                  <a:lnTo>
                    <a:pt x="84970" y="530350"/>
                  </a:lnTo>
                  <a:lnTo>
                    <a:pt x="76285" y="515539"/>
                  </a:lnTo>
                  <a:lnTo>
                    <a:pt x="78324" y="510453"/>
                  </a:lnTo>
                  <a:lnTo>
                    <a:pt x="282393" y="362867"/>
                  </a:lnTo>
                  <a:lnTo>
                    <a:pt x="93051" y="291281"/>
                  </a:lnTo>
                  <a:lnTo>
                    <a:pt x="47963" y="258966"/>
                  </a:lnTo>
                  <a:lnTo>
                    <a:pt x="20004" y="227035"/>
                  </a:lnTo>
                  <a:lnTo>
                    <a:pt x="0" y="160087"/>
                  </a:lnTo>
                  <a:lnTo>
                    <a:pt x="8236" y="125967"/>
                  </a:lnTo>
                  <a:lnTo>
                    <a:pt x="55364" y="3515"/>
                  </a:lnTo>
                  <a:lnTo>
                    <a:pt x="61633" y="0"/>
                  </a:lnTo>
                  <a:lnTo>
                    <a:pt x="107779" y="8751"/>
                  </a:lnTo>
                  <a:lnTo>
                    <a:pt x="111932" y="12641"/>
                  </a:lnTo>
                  <a:lnTo>
                    <a:pt x="141765" y="140554"/>
                  </a:lnTo>
                  <a:lnTo>
                    <a:pt x="673159" y="329356"/>
                  </a:lnTo>
                  <a:lnTo>
                    <a:pt x="715907" y="357481"/>
                  </a:lnTo>
                  <a:lnTo>
                    <a:pt x="748778" y="401609"/>
                  </a:lnTo>
                  <a:lnTo>
                    <a:pt x="757294" y="436314"/>
                  </a:lnTo>
                  <a:lnTo>
                    <a:pt x="754779" y="450771"/>
                  </a:lnTo>
                  <a:lnTo>
                    <a:pt x="746343" y="465122"/>
                  </a:lnTo>
                  <a:lnTo>
                    <a:pt x="735870" y="473226"/>
                  </a:lnTo>
                  <a:lnTo>
                    <a:pt x="722487" y="477998"/>
                  </a:lnTo>
                  <a:lnTo>
                    <a:pt x="706229" y="479418"/>
                  </a:lnTo>
                  <a:lnTo>
                    <a:pt x="687132" y="477465"/>
                  </a:lnTo>
                  <a:lnTo>
                    <a:pt x="485480" y="425552"/>
                  </a:lnTo>
                  <a:lnTo>
                    <a:pt x="163516" y="548901"/>
                  </a:lnTo>
                  <a:close/>
                </a:path>
              </a:pathLst>
            </a:custGeom>
            <a:solidFill>
              <a:srgbClr val="21408B"/>
            </a:solidFill>
          </p:spPr>
          <p:txBody>
            <a:bodyPr wrap="square" lIns="0" tIns="0" rIns="0" bIns="0" rtlCol="0"/>
            <a:lstStyle/>
            <a:p>
              <a:endParaRPr/>
            </a:p>
          </p:txBody>
        </p:sp>
        <p:pic>
          <p:nvPicPr>
            <p:cNvPr id="15" name="object 15"/>
            <p:cNvPicPr/>
            <p:nvPr/>
          </p:nvPicPr>
          <p:blipFill>
            <a:blip r:embed="rId3" cstate="print"/>
            <a:stretch>
              <a:fillRect/>
            </a:stretch>
          </p:blipFill>
          <p:spPr>
            <a:xfrm>
              <a:off x="4842141" y="6413437"/>
              <a:ext cx="207146" cy="186117"/>
            </a:xfrm>
            <a:prstGeom prst="rect">
              <a:avLst/>
            </a:prstGeom>
          </p:spPr>
        </p:pic>
      </p:grpSp>
      <p:sp>
        <p:nvSpPr>
          <p:cNvPr id="16" name="object 16"/>
          <p:cNvSpPr/>
          <p:nvPr/>
        </p:nvSpPr>
        <p:spPr>
          <a:xfrm>
            <a:off x="4539569" y="7050988"/>
            <a:ext cx="850900" cy="60960"/>
          </a:xfrm>
          <a:custGeom>
            <a:avLst/>
            <a:gdLst/>
            <a:ahLst/>
            <a:cxnLst/>
            <a:rect l="l" t="t" r="r" b="b"/>
            <a:pathLst>
              <a:path w="850900" h="60959">
                <a:moveTo>
                  <a:pt x="820731" y="60664"/>
                </a:moveTo>
                <a:lnTo>
                  <a:pt x="29983" y="60664"/>
                </a:lnTo>
                <a:lnTo>
                  <a:pt x="18320" y="58245"/>
                </a:lnTo>
                <a:lnTo>
                  <a:pt x="8789" y="51688"/>
                </a:lnTo>
                <a:lnTo>
                  <a:pt x="2358" y="42046"/>
                </a:lnTo>
                <a:lnTo>
                  <a:pt x="0" y="30369"/>
                </a:lnTo>
                <a:lnTo>
                  <a:pt x="2358" y="18713"/>
                </a:lnTo>
                <a:lnTo>
                  <a:pt x="8789" y="9041"/>
                </a:lnTo>
                <a:lnTo>
                  <a:pt x="18320" y="2441"/>
                </a:lnTo>
                <a:lnTo>
                  <a:pt x="29983" y="0"/>
                </a:lnTo>
                <a:lnTo>
                  <a:pt x="820731" y="0"/>
                </a:lnTo>
                <a:lnTo>
                  <a:pt x="832394" y="2441"/>
                </a:lnTo>
                <a:lnTo>
                  <a:pt x="841925" y="9041"/>
                </a:lnTo>
                <a:lnTo>
                  <a:pt x="848355" y="18713"/>
                </a:lnTo>
                <a:lnTo>
                  <a:pt x="850714" y="30369"/>
                </a:lnTo>
                <a:lnTo>
                  <a:pt x="848355" y="42046"/>
                </a:lnTo>
                <a:lnTo>
                  <a:pt x="841925" y="51688"/>
                </a:lnTo>
                <a:lnTo>
                  <a:pt x="832394" y="58245"/>
                </a:lnTo>
                <a:lnTo>
                  <a:pt x="820731" y="60664"/>
                </a:lnTo>
                <a:close/>
              </a:path>
            </a:pathLst>
          </a:custGeom>
          <a:solidFill>
            <a:srgbClr val="21408B"/>
          </a:solidFill>
        </p:spPr>
        <p:txBody>
          <a:bodyPr wrap="square" lIns="0" tIns="0" rIns="0" bIns="0" rtlCol="0"/>
          <a:lstStyle/>
          <a:p>
            <a:endParaRPr/>
          </a:p>
        </p:txBody>
      </p:sp>
      <p:sp>
        <p:nvSpPr>
          <p:cNvPr id="17" name="object 17"/>
          <p:cNvSpPr/>
          <p:nvPr/>
        </p:nvSpPr>
        <p:spPr>
          <a:xfrm>
            <a:off x="15201868" y="6123895"/>
            <a:ext cx="271145" cy="360680"/>
          </a:xfrm>
          <a:custGeom>
            <a:avLst/>
            <a:gdLst/>
            <a:ahLst/>
            <a:cxnLst/>
            <a:rect l="l" t="t" r="r" b="b"/>
            <a:pathLst>
              <a:path w="271144" h="360679">
                <a:moveTo>
                  <a:pt x="255377" y="360263"/>
                </a:moveTo>
                <a:lnTo>
                  <a:pt x="246685" y="360263"/>
                </a:lnTo>
                <a:lnTo>
                  <a:pt x="239994" y="354647"/>
                </a:lnTo>
                <a:lnTo>
                  <a:pt x="228641" y="275630"/>
                </a:lnTo>
                <a:lnTo>
                  <a:pt x="151244" y="282365"/>
                </a:lnTo>
                <a:lnTo>
                  <a:pt x="140854" y="354647"/>
                </a:lnTo>
                <a:lnTo>
                  <a:pt x="134163" y="360263"/>
                </a:lnTo>
                <a:lnTo>
                  <a:pt x="126510" y="360263"/>
                </a:lnTo>
                <a:lnTo>
                  <a:pt x="124457" y="360162"/>
                </a:lnTo>
                <a:lnTo>
                  <a:pt x="115182" y="358357"/>
                </a:lnTo>
                <a:lnTo>
                  <a:pt x="109860" y="350250"/>
                </a:lnTo>
                <a:lnTo>
                  <a:pt x="119515" y="283178"/>
                </a:lnTo>
                <a:lnTo>
                  <a:pt x="88555" y="274450"/>
                </a:lnTo>
                <a:lnTo>
                  <a:pt x="62206" y="256638"/>
                </a:lnTo>
                <a:lnTo>
                  <a:pt x="42591" y="231383"/>
                </a:lnTo>
                <a:lnTo>
                  <a:pt x="31830" y="200324"/>
                </a:lnTo>
                <a:lnTo>
                  <a:pt x="0" y="10979"/>
                </a:lnTo>
                <a:lnTo>
                  <a:pt x="5752" y="2871"/>
                </a:lnTo>
                <a:lnTo>
                  <a:pt x="22783" y="0"/>
                </a:lnTo>
                <a:lnTo>
                  <a:pt x="30867" y="5769"/>
                </a:lnTo>
                <a:lnTo>
                  <a:pt x="62697" y="195088"/>
                </a:lnTo>
                <a:lnTo>
                  <a:pt x="71689" y="219219"/>
                </a:lnTo>
                <a:lnTo>
                  <a:pt x="88388" y="237907"/>
                </a:lnTo>
                <a:lnTo>
                  <a:pt x="110609" y="249457"/>
                </a:lnTo>
                <a:lnTo>
                  <a:pt x="136165" y="252172"/>
                </a:lnTo>
                <a:lnTo>
                  <a:pt x="257531" y="241624"/>
                </a:lnTo>
                <a:lnTo>
                  <a:pt x="260243" y="272885"/>
                </a:lnTo>
                <a:lnTo>
                  <a:pt x="259863" y="272936"/>
                </a:lnTo>
                <a:lnTo>
                  <a:pt x="270988" y="350250"/>
                </a:lnTo>
                <a:lnTo>
                  <a:pt x="265666" y="358357"/>
                </a:lnTo>
                <a:lnTo>
                  <a:pt x="257430" y="359958"/>
                </a:lnTo>
                <a:lnTo>
                  <a:pt x="255377" y="360263"/>
                </a:lnTo>
                <a:close/>
              </a:path>
            </a:pathLst>
          </a:custGeom>
          <a:solidFill>
            <a:srgbClr val="21408B"/>
          </a:solidFill>
        </p:spPr>
        <p:txBody>
          <a:bodyPr wrap="square" lIns="0" tIns="0" rIns="0" bIns="0" rtlCol="0"/>
          <a:lstStyle/>
          <a:p>
            <a:endParaRPr/>
          </a:p>
        </p:txBody>
      </p:sp>
      <p:grpSp>
        <p:nvGrpSpPr>
          <p:cNvPr id="18" name="object 18"/>
          <p:cNvGrpSpPr/>
          <p:nvPr/>
        </p:nvGrpSpPr>
        <p:grpSpPr>
          <a:xfrm>
            <a:off x="15272954" y="5933838"/>
            <a:ext cx="285115" cy="520065"/>
            <a:chOff x="15272954" y="5933838"/>
            <a:chExt cx="285115" cy="520065"/>
          </a:xfrm>
        </p:grpSpPr>
        <p:pic>
          <p:nvPicPr>
            <p:cNvPr id="19" name="object 19"/>
            <p:cNvPicPr/>
            <p:nvPr/>
          </p:nvPicPr>
          <p:blipFill>
            <a:blip r:embed="rId4" cstate="print"/>
            <a:stretch>
              <a:fillRect/>
            </a:stretch>
          </p:blipFill>
          <p:spPr>
            <a:xfrm>
              <a:off x="15309221" y="5933838"/>
              <a:ext cx="109682" cy="109998"/>
            </a:xfrm>
            <a:prstGeom prst="rect">
              <a:avLst/>
            </a:prstGeom>
          </p:spPr>
        </p:pic>
        <p:sp>
          <p:nvSpPr>
            <p:cNvPr id="20" name="object 20"/>
            <p:cNvSpPr/>
            <p:nvPr/>
          </p:nvSpPr>
          <p:spPr>
            <a:xfrm>
              <a:off x="15272954" y="6068947"/>
              <a:ext cx="285115" cy="384810"/>
            </a:xfrm>
            <a:custGeom>
              <a:avLst/>
              <a:gdLst/>
              <a:ahLst/>
              <a:cxnLst/>
              <a:rect l="l" t="t" r="r" b="b"/>
              <a:pathLst>
                <a:path w="285115" h="384810">
                  <a:moveTo>
                    <a:pt x="257085" y="384701"/>
                  </a:moveTo>
                  <a:lnTo>
                    <a:pt x="248162" y="381959"/>
                  </a:lnTo>
                  <a:lnTo>
                    <a:pt x="240826" y="376191"/>
                  </a:lnTo>
                  <a:lnTo>
                    <a:pt x="235966" y="367914"/>
                  </a:lnTo>
                  <a:lnTo>
                    <a:pt x="201069" y="268565"/>
                  </a:lnTo>
                  <a:lnTo>
                    <a:pt x="58365" y="278832"/>
                  </a:lnTo>
                  <a:lnTo>
                    <a:pt x="21277" y="251822"/>
                  </a:lnTo>
                  <a:lnTo>
                    <a:pt x="9057" y="206474"/>
                  </a:lnTo>
                  <a:lnTo>
                    <a:pt x="0" y="132755"/>
                  </a:lnTo>
                  <a:lnTo>
                    <a:pt x="1420" y="95714"/>
                  </a:lnTo>
                  <a:lnTo>
                    <a:pt x="7286" y="62402"/>
                  </a:lnTo>
                  <a:lnTo>
                    <a:pt x="20253" y="28185"/>
                  </a:lnTo>
                  <a:lnTo>
                    <a:pt x="42557" y="3804"/>
                  </a:lnTo>
                  <a:lnTo>
                    <a:pt x="76434" y="0"/>
                  </a:lnTo>
                  <a:lnTo>
                    <a:pt x="93031" y="8419"/>
                  </a:lnTo>
                  <a:lnTo>
                    <a:pt x="103231" y="22086"/>
                  </a:lnTo>
                  <a:lnTo>
                    <a:pt x="109339" y="38935"/>
                  </a:lnTo>
                  <a:lnTo>
                    <a:pt x="121468" y="90097"/>
                  </a:lnTo>
                  <a:lnTo>
                    <a:pt x="181150" y="97417"/>
                  </a:lnTo>
                  <a:lnTo>
                    <a:pt x="190451" y="97417"/>
                  </a:lnTo>
                  <a:lnTo>
                    <a:pt x="198003" y="104965"/>
                  </a:lnTo>
                  <a:lnTo>
                    <a:pt x="198003" y="123646"/>
                  </a:lnTo>
                  <a:lnTo>
                    <a:pt x="190451" y="131219"/>
                  </a:lnTo>
                  <a:lnTo>
                    <a:pt x="100814" y="131219"/>
                  </a:lnTo>
                  <a:lnTo>
                    <a:pt x="100891" y="144684"/>
                  </a:lnTo>
                  <a:lnTo>
                    <a:pt x="101416" y="158840"/>
                  </a:lnTo>
                  <a:lnTo>
                    <a:pt x="102425" y="173672"/>
                  </a:lnTo>
                  <a:lnTo>
                    <a:pt x="103956" y="189167"/>
                  </a:lnTo>
                  <a:lnTo>
                    <a:pt x="217947" y="197350"/>
                  </a:lnTo>
                  <a:lnTo>
                    <a:pt x="228619" y="199838"/>
                  </a:lnTo>
                  <a:lnTo>
                    <a:pt x="284168" y="352588"/>
                  </a:lnTo>
                  <a:lnTo>
                    <a:pt x="284932" y="362627"/>
                  </a:lnTo>
                  <a:lnTo>
                    <a:pt x="281899" y="371866"/>
                  </a:lnTo>
                  <a:lnTo>
                    <a:pt x="275636" y="379293"/>
                  </a:lnTo>
                  <a:lnTo>
                    <a:pt x="266707" y="383900"/>
                  </a:lnTo>
                  <a:lnTo>
                    <a:pt x="257085" y="384701"/>
                  </a:lnTo>
                  <a:close/>
                </a:path>
              </a:pathLst>
            </a:custGeom>
            <a:solidFill>
              <a:srgbClr val="21408B"/>
            </a:solidFill>
          </p:spPr>
          <p:txBody>
            <a:bodyPr wrap="square" lIns="0" tIns="0" rIns="0" bIns="0" rtlCol="0"/>
            <a:lstStyle/>
            <a:p>
              <a:endParaRPr/>
            </a:p>
          </p:txBody>
        </p:sp>
      </p:grpSp>
      <p:sp>
        <p:nvSpPr>
          <p:cNvPr id="21" name="object 21"/>
          <p:cNvSpPr/>
          <p:nvPr/>
        </p:nvSpPr>
        <p:spPr>
          <a:xfrm>
            <a:off x="15682948" y="6123895"/>
            <a:ext cx="271145" cy="360680"/>
          </a:xfrm>
          <a:custGeom>
            <a:avLst/>
            <a:gdLst/>
            <a:ahLst/>
            <a:cxnLst/>
            <a:rect l="l" t="t" r="r" b="b"/>
            <a:pathLst>
              <a:path w="271144" h="360679">
                <a:moveTo>
                  <a:pt x="145492" y="360263"/>
                </a:moveTo>
                <a:lnTo>
                  <a:pt x="136824" y="360263"/>
                </a:lnTo>
                <a:lnTo>
                  <a:pt x="130134" y="354647"/>
                </a:lnTo>
                <a:lnTo>
                  <a:pt x="119718" y="282365"/>
                </a:lnTo>
                <a:lnTo>
                  <a:pt x="42347" y="275630"/>
                </a:lnTo>
                <a:lnTo>
                  <a:pt x="30994" y="354647"/>
                </a:lnTo>
                <a:lnTo>
                  <a:pt x="24303" y="360263"/>
                </a:lnTo>
                <a:lnTo>
                  <a:pt x="16650" y="360263"/>
                </a:lnTo>
                <a:lnTo>
                  <a:pt x="14572" y="360162"/>
                </a:lnTo>
                <a:lnTo>
                  <a:pt x="5321" y="358357"/>
                </a:lnTo>
                <a:lnTo>
                  <a:pt x="0" y="350250"/>
                </a:lnTo>
                <a:lnTo>
                  <a:pt x="11100" y="272936"/>
                </a:lnTo>
                <a:lnTo>
                  <a:pt x="10770" y="272885"/>
                </a:lnTo>
                <a:lnTo>
                  <a:pt x="13456" y="241624"/>
                </a:lnTo>
                <a:lnTo>
                  <a:pt x="134822" y="252172"/>
                </a:lnTo>
                <a:lnTo>
                  <a:pt x="160379" y="249457"/>
                </a:lnTo>
                <a:lnTo>
                  <a:pt x="182599" y="237907"/>
                </a:lnTo>
                <a:lnTo>
                  <a:pt x="199299" y="219219"/>
                </a:lnTo>
                <a:lnTo>
                  <a:pt x="208291" y="195088"/>
                </a:lnTo>
                <a:lnTo>
                  <a:pt x="240121" y="5769"/>
                </a:lnTo>
                <a:lnTo>
                  <a:pt x="248180" y="0"/>
                </a:lnTo>
                <a:lnTo>
                  <a:pt x="256720" y="1448"/>
                </a:lnTo>
                <a:lnTo>
                  <a:pt x="265235" y="2871"/>
                </a:lnTo>
                <a:lnTo>
                  <a:pt x="270988" y="10979"/>
                </a:lnTo>
                <a:lnTo>
                  <a:pt x="239158" y="200324"/>
                </a:lnTo>
                <a:lnTo>
                  <a:pt x="208782" y="256638"/>
                </a:lnTo>
                <a:lnTo>
                  <a:pt x="151472" y="283178"/>
                </a:lnTo>
                <a:lnTo>
                  <a:pt x="161103" y="350250"/>
                </a:lnTo>
                <a:lnTo>
                  <a:pt x="155781" y="358357"/>
                </a:lnTo>
                <a:lnTo>
                  <a:pt x="147570" y="359958"/>
                </a:lnTo>
                <a:lnTo>
                  <a:pt x="145492" y="360263"/>
                </a:lnTo>
                <a:close/>
              </a:path>
            </a:pathLst>
          </a:custGeom>
          <a:solidFill>
            <a:srgbClr val="21408B"/>
          </a:solidFill>
        </p:spPr>
        <p:txBody>
          <a:bodyPr wrap="square" lIns="0" tIns="0" rIns="0" bIns="0" rtlCol="0"/>
          <a:lstStyle/>
          <a:p>
            <a:endParaRPr/>
          </a:p>
        </p:txBody>
      </p:sp>
      <p:grpSp>
        <p:nvGrpSpPr>
          <p:cNvPr id="22" name="object 22"/>
          <p:cNvGrpSpPr/>
          <p:nvPr/>
        </p:nvGrpSpPr>
        <p:grpSpPr>
          <a:xfrm>
            <a:off x="15416141" y="5669032"/>
            <a:ext cx="466725" cy="784860"/>
            <a:chOff x="15416141" y="5669032"/>
            <a:chExt cx="466725" cy="784860"/>
          </a:xfrm>
        </p:grpSpPr>
        <p:pic>
          <p:nvPicPr>
            <p:cNvPr id="23" name="object 23"/>
            <p:cNvPicPr/>
            <p:nvPr/>
          </p:nvPicPr>
          <p:blipFill>
            <a:blip r:embed="rId4" cstate="print"/>
            <a:stretch>
              <a:fillRect/>
            </a:stretch>
          </p:blipFill>
          <p:spPr>
            <a:xfrm>
              <a:off x="15736902" y="5933838"/>
              <a:ext cx="109682" cy="109998"/>
            </a:xfrm>
            <a:prstGeom prst="rect">
              <a:avLst/>
            </a:prstGeom>
          </p:spPr>
        </p:pic>
        <p:sp>
          <p:nvSpPr>
            <p:cNvPr id="24" name="object 24"/>
            <p:cNvSpPr/>
            <p:nvPr/>
          </p:nvSpPr>
          <p:spPr>
            <a:xfrm>
              <a:off x="15597916" y="6068947"/>
              <a:ext cx="285115" cy="384810"/>
            </a:xfrm>
            <a:custGeom>
              <a:avLst/>
              <a:gdLst/>
              <a:ahLst/>
              <a:cxnLst/>
              <a:rect l="l" t="t" r="r" b="b"/>
              <a:pathLst>
                <a:path w="285115" h="384810">
                  <a:moveTo>
                    <a:pt x="27850" y="384701"/>
                  </a:moveTo>
                  <a:lnTo>
                    <a:pt x="18228" y="383900"/>
                  </a:lnTo>
                  <a:lnTo>
                    <a:pt x="9288" y="379293"/>
                  </a:lnTo>
                  <a:lnTo>
                    <a:pt x="3026" y="371866"/>
                  </a:lnTo>
                  <a:lnTo>
                    <a:pt x="0" y="362627"/>
                  </a:lnTo>
                  <a:lnTo>
                    <a:pt x="767" y="352588"/>
                  </a:lnTo>
                  <a:lnTo>
                    <a:pt x="35867" y="222715"/>
                  </a:lnTo>
                  <a:lnTo>
                    <a:pt x="66988" y="197350"/>
                  </a:lnTo>
                  <a:lnTo>
                    <a:pt x="180979" y="189167"/>
                  </a:lnTo>
                  <a:lnTo>
                    <a:pt x="182510" y="173672"/>
                  </a:lnTo>
                  <a:lnTo>
                    <a:pt x="183519" y="158840"/>
                  </a:lnTo>
                  <a:lnTo>
                    <a:pt x="184044" y="144684"/>
                  </a:lnTo>
                  <a:lnTo>
                    <a:pt x="184121" y="131219"/>
                  </a:lnTo>
                  <a:lnTo>
                    <a:pt x="94459" y="131219"/>
                  </a:lnTo>
                  <a:lnTo>
                    <a:pt x="86932" y="123646"/>
                  </a:lnTo>
                  <a:lnTo>
                    <a:pt x="86932" y="104965"/>
                  </a:lnTo>
                  <a:lnTo>
                    <a:pt x="94459" y="97417"/>
                  </a:lnTo>
                  <a:lnTo>
                    <a:pt x="103785" y="97417"/>
                  </a:lnTo>
                  <a:lnTo>
                    <a:pt x="163467" y="90097"/>
                  </a:lnTo>
                  <a:lnTo>
                    <a:pt x="175596" y="38935"/>
                  </a:lnTo>
                  <a:lnTo>
                    <a:pt x="181704" y="22086"/>
                  </a:lnTo>
                  <a:lnTo>
                    <a:pt x="191903" y="8419"/>
                  </a:lnTo>
                  <a:lnTo>
                    <a:pt x="208501" y="0"/>
                  </a:lnTo>
                  <a:lnTo>
                    <a:pt x="242378" y="3804"/>
                  </a:lnTo>
                  <a:lnTo>
                    <a:pt x="264682" y="28185"/>
                  </a:lnTo>
                  <a:lnTo>
                    <a:pt x="277649" y="62402"/>
                  </a:lnTo>
                  <a:lnTo>
                    <a:pt x="283515" y="95714"/>
                  </a:lnTo>
                  <a:lnTo>
                    <a:pt x="284935" y="132755"/>
                  </a:lnTo>
                  <a:lnTo>
                    <a:pt x="282086" y="169781"/>
                  </a:lnTo>
                  <a:lnTo>
                    <a:pt x="267220" y="242514"/>
                  </a:lnTo>
                  <a:lnTo>
                    <a:pt x="242054" y="273190"/>
                  </a:lnTo>
                  <a:lnTo>
                    <a:pt x="226570" y="278832"/>
                  </a:lnTo>
                  <a:lnTo>
                    <a:pt x="83866" y="268565"/>
                  </a:lnTo>
                  <a:lnTo>
                    <a:pt x="48969" y="367914"/>
                  </a:lnTo>
                  <a:lnTo>
                    <a:pt x="44109" y="376191"/>
                  </a:lnTo>
                  <a:lnTo>
                    <a:pt x="36773" y="381959"/>
                  </a:lnTo>
                  <a:lnTo>
                    <a:pt x="27850" y="384701"/>
                  </a:lnTo>
                  <a:close/>
                </a:path>
              </a:pathLst>
            </a:custGeom>
            <a:solidFill>
              <a:srgbClr val="21408B"/>
            </a:solidFill>
          </p:spPr>
          <p:txBody>
            <a:bodyPr wrap="square" lIns="0" tIns="0" rIns="0" bIns="0" rtlCol="0"/>
            <a:lstStyle/>
            <a:p>
              <a:endParaRPr/>
            </a:p>
          </p:txBody>
        </p:sp>
        <p:pic>
          <p:nvPicPr>
            <p:cNvPr id="25" name="object 25"/>
            <p:cNvPicPr/>
            <p:nvPr/>
          </p:nvPicPr>
          <p:blipFill>
            <a:blip r:embed="rId5" cstate="print"/>
            <a:stretch>
              <a:fillRect/>
            </a:stretch>
          </p:blipFill>
          <p:spPr>
            <a:xfrm>
              <a:off x="15416141" y="5669032"/>
              <a:ext cx="368744" cy="252021"/>
            </a:xfrm>
            <a:prstGeom prst="rect">
              <a:avLst/>
            </a:prstGeom>
          </p:spPr>
        </p:pic>
      </p:grpSp>
      <p:sp>
        <p:nvSpPr>
          <p:cNvPr id="26" name="object 26"/>
          <p:cNvSpPr/>
          <p:nvPr/>
        </p:nvSpPr>
        <p:spPr>
          <a:xfrm>
            <a:off x="8108084" y="4693068"/>
            <a:ext cx="937894" cy="78105"/>
          </a:xfrm>
          <a:custGeom>
            <a:avLst/>
            <a:gdLst/>
            <a:ahLst/>
            <a:cxnLst/>
            <a:rect l="l" t="t" r="r" b="b"/>
            <a:pathLst>
              <a:path w="937895" h="78104">
                <a:moveTo>
                  <a:pt x="937782" y="78036"/>
                </a:moveTo>
                <a:lnTo>
                  <a:pt x="0" y="78036"/>
                </a:lnTo>
                <a:lnTo>
                  <a:pt x="5002" y="57993"/>
                </a:lnTo>
                <a:lnTo>
                  <a:pt x="10843" y="38293"/>
                </a:lnTo>
                <a:lnTo>
                  <a:pt x="17500" y="18955"/>
                </a:lnTo>
                <a:lnTo>
                  <a:pt x="24954" y="0"/>
                </a:lnTo>
                <a:lnTo>
                  <a:pt x="912824" y="0"/>
                </a:lnTo>
                <a:lnTo>
                  <a:pt x="920278" y="18955"/>
                </a:lnTo>
                <a:lnTo>
                  <a:pt x="926935" y="38293"/>
                </a:lnTo>
                <a:lnTo>
                  <a:pt x="932776" y="57993"/>
                </a:lnTo>
                <a:lnTo>
                  <a:pt x="937782" y="78036"/>
                </a:lnTo>
                <a:close/>
              </a:path>
            </a:pathLst>
          </a:custGeom>
          <a:solidFill>
            <a:srgbClr val="AB2037"/>
          </a:solidFill>
        </p:spPr>
        <p:txBody>
          <a:bodyPr wrap="square" lIns="0" tIns="0" rIns="0" bIns="0" rtlCol="0"/>
          <a:lstStyle/>
          <a:p>
            <a:endParaRPr/>
          </a:p>
        </p:txBody>
      </p:sp>
      <p:sp>
        <p:nvSpPr>
          <p:cNvPr id="27" name="object 27"/>
          <p:cNvSpPr/>
          <p:nvPr/>
        </p:nvSpPr>
        <p:spPr>
          <a:xfrm>
            <a:off x="8096352" y="4837543"/>
            <a:ext cx="961390" cy="78740"/>
          </a:xfrm>
          <a:custGeom>
            <a:avLst/>
            <a:gdLst/>
            <a:ahLst/>
            <a:cxnLst/>
            <a:rect l="l" t="t" r="r" b="b"/>
            <a:pathLst>
              <a:path w="961390" h="78739">
                <a:moveTo>
                  <a:pt x="961237" y="29146"/>
                </a:moveTo>
                <a:lnTo>
                  <a:pt x="961021" y="29146"/>
                </a:lnTo>
                <a:lnTo>
                  <a:pt x="961021" y="19011"/>
                </a:lnTo>
                <a:lnTo>
                  <a:pt x="960628" y="19011"/>
                </a:lnTo>
                <a:lnTo>
                  <a:pt x="960628" y="10134"/>
                </a:lnTo>
                <a:lnTo>
                  <a:pt x="960043" y="10134"/>
                </a:lnTo>
                <a:lnTo>
                  <a:pt x="960043" y="0"/>
                </a:lnTo>
                <a:lnTo>
                  <a:pt x="1193" y="0"/>
                </a:lnTo>
                <a:lnTo>
                  <a:pt x="1193" y="10134"/>
                </a:lnTo>
                <a:lnTo>
                  <a:pt x="609" y="10134"/>
                </a:lnTo>
                <a:lnTo>
                  <a:pt x="609" y="19011"/>
                </a:lnTo>
                <a:lnTo>
                  <a:pt x="215" y="19011"/>
                </a:lnTo>
                <a:lnTo>
                  <a:pt x="215" y="29146"/>
                </a:lnTo>
                <a:lnTo>
                  <a:pt x="0" y="29146"/>
                </a:lnTo>
                <a:lnTo>
                  <a:pt x="0" y="39281"/>
                </a:lnTo>
                <a:lnTo>
                  <a:pt x="0" y="49415"/>
                </a:lnTo>
                <a:lnTo>
                  <a:pt x="190" y="49415"/>
                </a:lnTo>
                <a:lnTo>
                  <a:pt x="190" y="58280"/>
                </a:lnTo>
                <a:lnTo>
                  <a:pt x="584" y="58280"/>
                </a:lnTo>
                <a:lnTo>
                  <a:pt x="584" y="68414"/>
                </a:lnTo>
                <a:lnTo>
                  <a:pt x="1206" y="68414"/>
                </a:lnTo>
                <a:lnTo>
                  <a:pt x="1206" y="78549"/>
                </a:lnTo>
                <a:lnTo>
                  <a:pt x="960031" y="78549"/>
                </a:lnTo>
                <a:lnTo>
                  <a:pt x="960031" y="68414"/>
                </a:lnTo>
                <a:lnTo>
                  <a:pt x="960653" y="68414"/>
                </a:lnTo>
                <a:lnTo>
                  <a:pt x="960653" y="58280"/>
                </a:lnTo>
                <a:lnTo>
                  <a:pt x="961034" y="58280"/>
                </a:lnTo>
                <a:lnTo>
                  <a:pt x="961034" y="49415"/>
                </a:lnTo>
                <a:lnTo>
                  <a:pt x="961237" y="49415"/>
                </a:lnTo>
                <a:lnTo>
                  <a:pt x="961237" y="39281"/>
                </a:lnTo>
                <a:lnTo>
                  <a:pt x="961237" y="29146"/>
                </a:lnTo>
                <a:close/>
              </a:path>
            </a:pathLst>
          </a:custGeom>
          <a:solidFill>
            <a:srgbClr val="AB2037"/>
          </a:solidFill>
        </p:spPr>
        <p:txBody>
          <a:bodyPr wrap="square" lIns="0" tIns="0" rIns="0" bIns="0" rtlCol="0"/>
          <a:lstStyle/>
          <a:p>
            <a:endParaRPr/>
          </a:p>
        </p:txBody>
      </p:sp>
      <p:sp>
        <p:nvSpPr>
          <p:cNvPr id="28" name="object 28"/>
          <p:cNvSpPr/>
          <p:nvPr/>
        </p:nvSpPr>
        <p:spPr>
          <a:xfrm>
            <a:off x="8108084" y="4982359"/>
            <a:ext cx="937894" cy="78105"/>
          </a:xfrm>
          <a:custGeom>
            <a:avLst/>
            <a:gdLst/>
            <a:ahLst/>
            <a:cxnLst/>
            <a:rect l="l" t="t" r="r" b="b"/>
            <a:pathLst>
              <a:path w="937895" h="78104">
                <a:moveTo>
                  <a:pt x="912824" y="78036"/>
                </a:moveTo>
                <a:lnTo>
                  <a:pt x="24956" y="78036"/>
                </a:lnTo>
                <a:lnTo>
                  <a:pt x="17501" y="59080"/>
                </a:lnTo>
                <a:lnTo>
                  <a:pt x="10843" y="39743"/>
                </a:lnTo>
                <a:lnTo>
                  <a:pt x="5002" y="20043"/>
                </a:lnTo>
                <a:lnTo>
                  <a:pt x="0" y="0"/>
                </a:lnTo>
                <a:lnTo>
                  <a:pt x="937782" y="0"/>
                </a:lnTo>
                <a:lnTo>
                  <a:pt x="932776" y="20043"/>
                </a:lnTo>
                <a:lnTo>
                  <a:pt x="926935" y="39743"/>
                </a:lnTo>
                <a:lnTo>
                  <a:pt x="920278" y="59080"/>
                </a:lnTo>
                <a:lnTo>
                  <a:pt x="912824" y="78036"/>
                </a:lnTo>
                <a:close/>
              </a:path>
            </a:pathLst>
          </a:custGeom>
          <a:solidFill>
            <a:srgbClr val="AB2037"/>
          </a:solidFill>
        </p:spPr>
        <p:txBody>
          <a:bodyPr wrap="square" lIns="0" tIns="0" rIns="0" bIns="0" rtlCol="0"/>
          <a:lstStyle/>
          <a:p>
            <a:endParaRPr/>
          </a:p>
        </p:txBody>
      </p:sp>
      <p:sp>
        <p:nvSpPr>
          <p:cNvPr id="29" name="object 29"/>
          <p:cNvSpPr/>
          <p:nvPr/>
        </p:nvSpPr>
        <p:spPr>
          <a:xfrm>
            <a:off x="8167303" y="5127006"/>
            <a:ext cx="819785" cy="78105"/>
          </a:xfrm>
          <a:custGeom>
            <a:avLst/>
            <a:gdLst/>
            <a:ahLst/>
            <a:cxnLst/>
            <a:rect l="l" t="t" r="r" b="b"/>
            <a:pathLst>
              <a:path w="819784" h="78104">
                <a:moveTo>
                  <a:pt x="759193" y="78036"/>
                </a:moveTo>
                <a:lnTo>
                  <a:pt x="60146" y="78036"/>
                </a:lnTo>
                <a:lnTo>
                  <a:pt x="43647" y="59734"/>
                </a:lnTo>
                <a:lnTo>
                  <a:pt x="28099" y="40603"/>
                </a:lnTo>
                <a:lnTo>
                  <a:pt x="13538" y="20679"/>
                </a:lnTo>
                <a:lnTo>
                  <a:pt x="0" y="0"/>
                </a:lnTo>
                <a:lnTo>
                  <a:pt x="819340" y="0"/>
                </a:lnTo>
                <a:lnTo>
                  <a:pt x="805799" y="20679"/>
                </a:lnTo>
                <a:lnTo>
                  <a:pt x="791238" y="40603"/>
                </a:lnTo>
                <a:lnTo>
                  <a:pt x="775691" y="59734"/>
                </a:lnTo>
                <a:lnTo>
                  <a:pt x="759193" y="78036"/>
                </a:lnTo>
                <a:close/>
              </a:path>
            </a:pathLst>
          </a:custGeom>
          <a:solidFill>
            <a:srgbClr val="AB2037"/>
          </a:solidFill>
        </p:spPr>
        <p:txBody>
          <a:bodyPr wrap="square" lIns="0" tIns="0" rIns="0" bIns="0" rtlCol="0"/>
          <a:lstStyle/>
          <a:p>
            <a:endParaRPr/>
          </a:p>
        </p:txBody>
      </p:sp>
      <p:sp>
        <p:nvSpPr>
          <p:cNvPr id="30" name="object 30"/>
          <p:cNvSpPr/>
          <p:nvPr/>
        </p:nvSpPr>
        <p:spPr>
          <a:xfrm>
            <a:off x="8167303" y="4548432"/>
            <a:ext cx="819785" cy="78105"/>
          </a:xfrm>
          <a:custGeom>
            <a:avLst/>
            <a:gdLst/>
            <a:ahLst/>
            <a:cxnLst/>
            <a:rect l="l" t="t" r="r" b="b"/>
            <a:pathLst>
              <a:path w="819784" h="78104">
                <a:moveTo>
                  <a:pt x="819340" y="78033"/>
                </a:moveTo>
                <a:lnTo>
                  <a:pt x="0" y="78033"/>
                </a:lnTo>
                <a:lnTo>
                  <a:pt x="13536" y="57354"/>
                </a:lnTo>
                <a:lnTo>
                  <a:pt x="28097" y="37430"/>
                </a:lnTo>
                <a:lnTo>
                  <a:pt x="43644" y="18300"/>
                </a:lnTo>
                <a:lnTo>
                  <a:pt x="60142" y="0"/>
                </a:lnTo>
                <a:lnTo>
                  <a:pt x="759193" y="0"/>
                </a:lnTo>
                <a:lnTo>
                  <a:pt x="775692" y="18300"/>
                </a:lnTo>
                <a:lnTo>
                  <a:pt x="791240" y="37430"/>
                </a:lnTo>
                <a:lnTo>
                  <a:pt x="805802" y="57354"/>
                </a:lnTo>
                <a:lnTo>
                  <a:pt x="819340" y="78033"/>
                </a:lnTo>
                <a:close/>
              </a:path>
            </a:pathLst>
          </a:custGeom>
          <a:solidFill>
            <a:srgbClr val="AB2037"/>
          </a:solidFill>
        </p:spPr>
        <p:txBody>
          <a:bodyPr wrap="square" lIns="0" tIns="0" rIns="0" bIns="0" rtlCol="0"/>
          <a:lstStyle/>
          <a:p>
            <a:endParaRPr/>
          </a:p>
        </p:txBody>
      </p:sp>
      <p:sp>
        <p:nvSpPr>
          <p:cNvPr id="31" name="object 31"/>
          <p:cNvSpPr/>
          <p:nvPr/>
        </p:nvSpPr>
        <p:spPr>
          <a:xfrm>
            <a:off x="8305764" y="5271646"/>
            <a:ext cx="542925" cy="81915"/>
          </a:xfrm>
          <a:custGeom>
            <a:avLst/>
            <a:gdLst/>
            <a:ahLst/>
            <a:cxnLst/>
            <a:rect l="l" t="t" r="r" b="b"/>
            <a:pathLst>
              <a:path w="542925" h="81914">
                <a:moveTo>
                  <a:pt x="315580" y="81332"/>
                </a:moveTo>
                <a:lnTo>
                  <a:pt x="226835" y="81332"/>
                </a:lnTo>
                <a:lnTo>
                  <a:pt x="177427" y="74245"/>
                </a:lnTo>
                <a:lnTo>
                  <a:pt x="129774" y="62305"/>
                </a:lnTo>
                <a:lnTo>
                  <a:pt x="84142" y="45776"/>
                </a:lnTo>
                <a:lnTo>
                  <a:pt x="40795" y="24919"/>
                </a:lnTo>
                <a:lnTo>
                  <a:pt x="0" y="0"/>
                </a:lnTo>
                <a:lnTo>
                  <a:pt x="542413" y="0"/>
                </a:lnTo>
                <a:lnTo>
                  <a:pt x="501618" y="24919"/>
                </a:lnTo>
                <a:lnTo>
                  <a:pt x="458272" y="45776"/>
                </a:lnTo>
                <a:lnTo>
                  <a:pt x="412640" y="62305"/>
                </a:lnTo>
                <a:lnTo>
                  <a:pt x="364988" y="74245"/>
                </a:lnTo>
                <a:lnTo>
                  <a:pt x="315580" y="81332"/>
                </a:lnTo>
                <a:close/>
              </a:path>
            </a:pathLst>
          </a:custGeom>
          <a:solidFill>
            <a:srgbClr val="AB2037"/>
          </a:solidFill>
        </p:spPr>
        <p:txBody>
          <a:bodyPr wrap="square" lIns="0" tIns="0" rIns="0" bIns="0" rtlCol="0"/>
          <a:lstStyle/>
          <a:p>
            <a:endParaRPr/>
          </a:p>
        </p:txBody>
      </p:sp>
      <p:grpSp>
        <p:nvGrpSpPr>
          <p:cNvPr id="32" name="object 32"/>
          <p:cNvGrpSpPr/>
          <p:nvPr/>
        </p:nvGrpSpPr>
        <p:grpSpPr>
          <a:xfrm>
            <a:off x="8227447" y="4400487"/>
            <a:ext cx="699135" cy="147955"/>
            <a:chOff x="8227447" y="4400487"/>
            <a:chExt cx="699135" cy="147955"/>
          </a:xfrm>
        </p:grpSpPr>
        <p:sp>
          <p:nvSpPr>
            <p:cNvPr id="33" name="object 33"/>
            <p:cNvSpPr/>
            <p:nvPr/>
          </p:nvSpPr>
          <p:spPr>
            <a:xfrm>
              <a:off x="8305766" y="4400487"/>
              <a:ext cx="542925" cy="81915"/>
            </a:xfrm>
            <a:custGeom>
              <a:avLst/>
              <a:gdLst/>
              <a:ahLst/>
              <a:cxnLst/>
              <a:rect l="l" t="t" r="r" b="b"/>
              <a:pathLst>
                <a:path w="542925" h="81914">
                  <a:moveTo>
                    <a:pt x="542418" y="81332"/>
                  </a:moveTo>
                  <a:lnTo>
                    <a:pt x="0" y="81332"/>
                  </a:lnTo>
                  <a:lnTo>
                    <a:pt x="40797" y="56411"/>
                  </a:lnTo>
                  <a:lnTo>
                    <a:pt x="84146" y="35554"/>
                  </a:lnTo>
                  <a:lnTo>
                    <a:pt x="129783" y="19024"/>
                  </a:lnTo>
                  <a:lnTo>
                    <a:pt x="177440" y="7085"/>
                  </a:lnTo>
                  <a:lnTo>
                    <a:pt x="226852" y="0"/>
                  </a:lnTo>
                  <a:lnTo>
                    <a:pt x="315558" y="0"/>
                  </a:lnTo>
                  <a:lnTo>
                    <a:pt x="364971" y="7085"/>
                  </a:lnTo>
                  <a:lnTo>
                    <a:pt x="412629" y="19024"/>
                  </a:lnTo>
                  <a:lnTo>
                    <a:pt x="458266" y="35554"/>
                  </a:lnTo>
                  <a:lnTo>
                    <a:pt x="501618" y="56411"/>
                  </a:lnTo>
                  <a:lnTo>
                    <a:pt x="542418" y="81332"/>
                  </a:lnTo>
                  <a:close/>
                </a:path>
              </a:pathLst>
            </a:custGeom>
            <a:solidFill>
              <a:srgbClr val="AB2037"/>
            </a:solidFill>
          </p:spPr>
          <p:txBody>
            <a:bodyPr wrap="square" lIns="0" tIns="0" rIns="0" bIns="0" rtlCol="0"/>
            <a:lstStyle/>
            <a:p>
              <a:endParaRPr/>
            </a:p>
          </p:txBody>
        </p:sp>
        <p:sp>
          <p:nvSpPr>
            <p:cNvPr id="34" name="object 34"/>
            <p:cNvSpPr/>
            <p:nvPr/>
          </p:nvSpPr>
          <p:spPr>
            <a:xfrm>
              <a:off x="8227447" y="4481817"/>
              <a:ext cx="699135" cy="66675"/>
            </a:xfrm>
            <a:custGeom>
              <a:avLst/>
              <a:gdLst/>
              <a:ahLst/>
              <a:cxnLst/>
              <a:rect l="l" t="t" r="r" b="b"/>
              <a:pathLst>
                <a:path w="699134" h="66675">
                  <a:moveTo>
                    <a:pt x="699051" y="66610"/>
                  </a:moveTo>
                  <a:lnTo>
                    <a:pt x="0" y="66610"/>
                  </a:lnTo>
                  <a:lnTo>
                    <a:pt x="18193" y="48436"/>
                  </a:lnTo>
                  <a:lnTo>
                    <a:pt x="37339" y="31249"/>
                  </a:lnTo>
                  <a:lnTo>
                    <a:pt x="57395" y="15090"/>
                  </a:lnTo>
                  <a:lnTo>
                    <a:pt x="78318" y="0"/>
                  </a:lnTo>
                  <a:lnTo>
                    <a:pt x="620739" y="0"/>
                  </a:lnTo>
                  <a:lnTo>
                    <a:pt x="641661" y="15090"/>
                  </a:lnTo>
                  <a:lnTo>
                    <a:pt x="661715" y="31249"/>
                  </a:lnTo>
                  <a:lnTo>
                    <a:pt x="680860" y="48436"/>
                  </a:lnTo>
                  <a:lnTo>
                    <a:pt x="699051" y="66610"/>
                  </a:lnTo>
                  <a:close/>
                </a:path>
              </a:pathLst>
            </a:custGeom>
            <a:solidFill>
              <a:srgbClr val="FFFFFF"/>
            </a:solidFill>
          </p:spPr>
          <p:txBody>
            <a:bodyPr wrap="square" lIns="0" tIns="0" rIns="0" bIns="0" rtlCol="0"/>
            <a:lstStyle/>
            <a:p>
              <a:endParaRPr/>
            </a:p>
          </p:txBody>
        </p:sp>
      </p:grpSp>
      <p:sp>
        <p:nvSpPr>
          <p:cNvPr id="35" name="object 35"/>
          <p:cNvSpPr/>
          <p:nvPr/>
        </p:nvSpPr>
        <p:spPr>
          <a:xfrm>
            <a:off x="8133039" y="4626466"/>
            <a:ext cx="888365" cy="66675"/>
          </a:xfrm>
          <a:custGeom>
            <a:avLst/>
            <a:gdLst/>
            <a:ahLst/>
            <a:cxnLst/>
            <a:rect l="l" t="t" r="r" b="b"/>
            <a:pathLst>
              <a:path w="888365" h="66675">
                <a:moveTo>
                  <a:pt x="887861" y="66610"/>
                </a:moveTo>
                <a:lnTo>
                  <a:pt x="0" y="66610"/>
                </a:lnTo>
                <a:lnTo>
                  <a:pt x="7604" y="49399"/>
                </a:lnTo>
                <a:lnTo>
                  <a:pt x="15859" y="32549"/>
                </a:lnTo>
                <a:lnTo>
                  <a:pt x="24750" y="16078"/>
                </a:lnTo>
                <a:lnTo>
                  <a:pt x="34263" y="0"/>
                </a:lnTo>
                <a:lnTo>
                  <a:pt x="853602" y="0"/>
                </a:lnTo>
                <a:lnTo>
                  <a:pt x="863113" y="16078"/>
                </a:lnTo>
                <a:lnTo>
                  <a:pt x="872002" y="32549"/>
                </a:lnTo>
                <a:lnTo>
                  <a:pt x="880257" y="49399"/>
                </a:lnTo>
                <a:lnTo>
                  <a:pt x="887861" y="66610"/>
                </a:lnTo>
                <a:close/>
              </a:path>
            </a:pathLst>
          </a:custGeom>
          <a:solidFill>
            <a:srgbClr val="FFFFFF"/>
          </a:solidFill>
        </p:spPr>
        <p:txBody>
          <a:bodyPr wrap="square" lIns="0" tIns="0" rIns="0" bIns="0" rtlCol="0"/>
          <a:lstStyle/>
          <a:p>
            <a:endParaRPr/>
          </a:p>
        </p:txBody>
      </p:sp>
      <p:sp>
        <p:nvSpPr>
          <p:cNvPr id="36" name="object 36"/>
          <p:cNvSpPr/>
          <p:nvPr/>
        </p:nvSpPr>
        <p:spPr>
          <a:xfrm>
            <a:off x="8097899" y="4771106"/>
            <a:ext cx="958215" cy="66675"/>
          </a:xfrm>
          <a:custGeom>
            <a:avLst/>
            <a:gdLst/>
            <a:ahLst/>
            <a:cxnLst/>
            <a:rect l="l" t="t" r="r" b="b"/>
            <a:pathLst>
              <a:path w="958215" h="66675">
                <a:moveTo>
                  <a:pt x="958153" y="66608"/>
                </a:moveTo>
                <a:lnTo>
                  <a:pt x="0" y="66608"/>
                </a:lnTo>
                <a:lnTo>
                  <a:pt x="1675" y="49678"/>
                </a:lnTo>
                <a:lnTo>
                  <a:pt x="3938" y="32927"/>
                </a:lnTo>
                <a:lnTo>
                  <a:pt x="6778" y="16364"/>
                </a:lnTo>
                <a:lnTo>
                  <a:pt x="10183" y="0"/>
                </a:lnTo>
                <a:lnTo>
                  <a:pt x="947970" y="0"/>
                </a:lnTo>
                <a:lnTo>
                  <a:pt x="951373" y="16364"/>
                </a:lnTo>
                <a:lnTo>
                  <a:pt x="954212" y="32927"/>
                </a:lnTo>
                <a:lnTo>
                  <a:pt x="956475" y="49678"/>
                </a:lnTo>
                <a:lnTo>
                  <a:pt x="958153" y="66608"/>
                </a:lnTo>
                <a:close/>
              </a:path>
            </a:pathLst>
          </a:custGeom>
          <a:solidFill>
            <a:srgbClr val="FFFFFF"/>
          </a:solidFill>
        </p:spPr>
        <p:txBody>
          <a:bodyPr wrap="square" lIns="0" tIns="0" rIns="0" bIns="0" rtlCol="0"/>
          <a:lstStyle/>
          <a:p>
            <a:endParaRPr/>
          </a:p>
        </p:txBody>
      </p:sp>
      <p:sp>
        <p:nvSpPr>
          <p:cNvPr id="37" name="object 37"/>
          <p:cNvSpPr/>
          <p:nvPr/>
        </p:nvSpPr>
        <p:spPr>
          <a:xfrm>
            <a:off x="8097899" y="4915749"/>
            <a:ext cx="958215" cy="66675"/>
          </a:xfrm>
          <a:custGeom>
            <a:avLst/>
            <a:gdLst/>
            <a:ahLst/>
            <a:cxnLst/>
            <a:rect l="l" t="t" r="r" b="b"/>
            <a:pathLst>
              <a:path w="958215" h="66675">
                <a:moveTo>
                  <a:pt x="947970" y="66610"/>
                </a:moveTo>
                <a:lnTo>
                  <a:pt x="10183" y="66610"/>
                </a:lnTo>
                <a:lnTo>
                  <a:pt x="6779" y="50245"/>
                </a:lnTo>
                <a:lnTo>
                  <a:pt x="3940" y="33681"/>
                </a:lnTo>
                <a:lnTo>
                  <a:pt x="1677" y="16930"/>
                </a:lnTo>
                <a:lnTo>
                  <a:pt x="0" y="0"/>
                </a:lnTo>
                <a:lnTo>
                  <a:pt x="958153" y="0"/>
                </a:lnTo>
                <a:lnTo>
                  <a:pt x="956475" y="16930"/>
                </a:lnTo>
                <a:lnTo>
                  <a:pt x="954212" y="33681"/>
                </a:lnTo>
                <a:lnTo>
                  <a:pt x="951373" y="50245"/>
                </a:lnTo>
                <a:lnTo>
                  <a:pt x="947970" y="66610"/>
                </a:lnTo>
                <a:close/>
              </a:path>
            </a:pathLst>
          </a:custGeom>
          <a:solidFill>
            <a:srgbClr val="FFFFFF"/>
          </a:solidFill>
        </p:spPr>
        <p:txBody>
          <a:bodyPr wrap="square" lIns="0" tIns="0" rIns="0" bIns="0" rtlCol="0"/>
          <a:lstStyle/>
          <a:p>
            <a:endParaRPr/>
          </a:p>
        </p:txBody>
      </p:sp>
      <p:sp>
        <p:nvSpPr>
          <p:cNvPr id="38" name="object 38"/>
          <p:cNvSpPr/>
          <p:nvPr/>
        </p:nvSpPr>
        <p:spPr>
          <a:xfrm>
            <a:off x="8133041" y="5060398"/>
            <a:ext cx="888365" cy="66675"/>
          </a:xfrm>
          <a:custGeom>
            <a:avLst/>
            <a:gdLst/>
            <a:ahLst/>
            <a:cxnLst/>
            <a:rect l="l" t="t" r="r" b="b"/>
            <a:pathLst>
              <a:path w="888365" h="66675">
                <a:moveTo>
                  <a:pt x="853599" y="66610"/>
                </a:moveTo>
                <a:lnTo>
                  <a:pt x="34261" y="66610"/>
                </a:lnTo>
                <a:lnTo>
                  <a:pt x="24750" y="50530"/>
                </a:lnTo>
                <a:lnTo>
                  <a:pt x="15859" y="34060"/>
                </a:lnTo>
                <a:lnTo>
                  <a:pt x="7603" y="17211"/>
                </a:lnTo>
                <a:lnTo>
                  <a:pt x="0" y="0"/>
                </a:lnTo>
                <a:lnTo>
                  <a:pt x="887858" y="0"/>
                </a:lnTo>
                <a:lnTo>
                  <a:pt x="880254" y="17211"/>
                </a:lnTo>
                <a:lnTo>
                  <a:pt x="872000" y="34060"/>
                </a:lnTo>
                <a:lnTo>
                  <a:pt x="863110" y="50530"/>
                </a:lnTo>
                <a:lnTo>
                  <a:pt x="853599" y="66610"/>
                </a:lnTo>
                <a:close/>
              </a:path>
            </a:pathLst>
          </a:custGeom>
          <a:solidFill>
            <a:srgbClr val="FFFFFF"/>
          </a:solidFill>
        </p:spPr>
        <p:txBody>
          <a:bodyPr wrap="square" lIns="0" tIns="0" rIns="0" bIns="0" rtlCol="0"/>
          <a:lstStyle/>
          <a:p>
            <a:endParaRPr/>
          </a:p>
        </p:txBody>
      </p:sp>
      <p:sp>
        <p:nvSpPr>
          <p:cNvPr id="39" name="object 39"/>
          <p:cNvSpPr/>
          <p:nvPr/>
        </p:nvSpPr>
        <p:spPr>
          <a:xfrm>
            <a:off x="8227449" y="5205042"/>
            <a:ext cx="699135" cy="66675"/>
          </a:xfrm>
          <a:custGeom>
            <a:avLst/>
            <a:gdLst/>
            <a:ahLst/>
            <a:cxnLst/>
            <a:rect l="l" t="t" r="r" b="b"/>
            <a:pathLst>
              <a:path w="699134" h="66675">
                <a:moveTo>
                  <a:pt x="620730" y="66601"/>
                </a:moveTo>
                <a:lnTo>
                  <a:pt x="78316" y="66601"/>
                </a:lnTo>
                <a:lnTo>
                  <a:pt x="57392" y="51515"/>
                </a:lnTo>
                <a:lnTo>
                  <a:pt x="37337" y="35357"/>
                </a:lnTo>
                <a:lnTo>
                  <a:pt x="18192" y="18171"/>
                </a:lnTo>
                <a:lnTo>
                  <a:pt x="0" y="0"/>
                </a:lnTo>
                <a:lnTo>
                  <a:pt x="699044" y="0"/>
                </a:lnTo>
                <a:lnTo>
                  <a:pt x="680851" y="18171"/>
                </a:lnTo>
                <a:lnTo>
                  <a:pt x="661707" y="35357"/>
                </a:lnTo>
                <a:lnTo>
                  <a:pt x="641653" y="51515"/>
                </a:lnTo>
                <a:lnTo>
                  <a:pt x="620730" y="66601"/>
                </a:lnTo>
                <a:close/>
              </a:path>
            </a:pathLst>
          </a:custGeom>
          <a:solidFill>
            <a:srgbClr val="FFFFFF"/>
          </a:solidFill>
        </p:spPr>
        <p:txBody>
          <a:bodyPr wrap="square" lIns="0" tIns="0" rIns="0" bIns="0" rtlCol="0"/>
          <a:lstStyle/>
          <a:p>
            <a:endParaRPr/>
          </a:p>
        </p:txBody>
      </p:sp>
      <p:grpSp>
        <p:nvGrpSpPr>
          <p:cNvPr id="40" name="object 40"/>
          <p:cNvGrpSpPr/>
          <p:nvPr/>
        </p:nvGrpSpPr>
        <p:grpSpPr>
          <a:xfrm>
            <a:off x="8096299" y="4400487"/>
            <a:ext cx="523875" cy="515620"/>
            <a:chOff x="8096299" y="4400487"/>
            <a:chExt cx="523875" cy="515620"/>
          </a:xfrm>
        </p:grpSpPr>
        <p:sp>
          <p:nvSpPr>
            <p:cNvPr id="41" name="object 41"/>
            <p:cNvSpPr/>
            <p:nvPr/>
          </p:nvSpPr>
          <p:spPr>
            <a:xfrm>
              <a:off x="8096299" y="4400487"/>
              <a:ext cx="523875" cy="515620"/>
            </a:xfrm>
            <a:custGeom>
              <a:avLst/>
              <a:gdLst/>
              <a:ahLst/>
              <a:cxnLst/>
              <a:rect l="l" t="t" r="r" b="b"/>
              <a:pathLst>
                <a:path w="523875" h="515620">
                  <a:moveTo>
                    <a:pt x="523500" y="515263"/>
                  </a:moveTo>
                  <a:lnTo>
                    <a:pt x="1597" y="515263"/>
                  </a:lnTo>
                  <a:lnTo>
                    <a:pt x="908" y="505585"/>
                  </a:lnTo>
                  <a:lnTo>
                    <a:pt x="407" y="495856"/>
                  </a:lnTo>
                  <a:lnTo>
                    <a:pt x="103" y="486076"/>
                  </a:lnTo>
                  <a:lnTo>
                    <a:pt x="0" y="476246"/>
                  </a:lnTo>
                  <a:lnTo>
                    <a:pt x="2514" y="427028"/>
                  </a:lnTo>
                  <a:lnTo>
                    <a:pt x="9892" y="379242"/>
                  </a:lnTo>
                  <a:lnTo>
                    <a:pt x="21888" y="333136"/>
                  </a:lnTo>
                  <a:lnTo>
                    <a:pt x="38255" y="288953"/>
                  </a:lnTo>
                  <a:lnTo>
                    <a:pt x="58748" y="246939"/>
                  </a:lnTo>
                  <a:lnTo>
                    <a:pt x="83118" y="207340"/>
                  </a:lnTo>
                  <a:lnTo>
                    <a:pt x="111121" y="170399"/>
                  </a:lnTo>
                  <a:lnTo>
                    <a:pt x="142509" y="136362"/>
                  </a:lnTo>
                  <a:lnTo>
                    <a:pt x="177036" y="105474"/>
                  </a:lnTo>
                  <a:lnTo>
                    <a:pt x="214456" y="77980"/>
                  </a:lnTo>
                  <a:lnTo>
                    <a:pt x="254522" y="54125"/>
                  </a:lnTo>
                  <a:lnTo>
                    <a:pt x="296987" y="34155"/>
                  </a:lnTo>
                  <a:lnTo>
                    <a:pt x="341607" y="18314"/>
                  </a:lnTo>
                  <a:lnTo>
                    <a:pt x="388133" y="6847"/>
                  </a:lnTo>
                  <a:lnTo>
                    <a:pt x="436319" y="0"/>
                  </a:lnTo>
                  <a:lnTo>
                    <a:pt x="523500" y="0"/>
                  </a:lnTo>
                  <a:lnTo>
                    <a:pt x="523500" y="515263"/>
                  </a:lnTo>
                  <a:close/>
                </a:path>
              </a:pathLst>
            </a:custGeom>
            <a:solidFill>
              <a:srgbClr val="21325D"/>
            </a:solidFill>
          </p:spPr>
          <p:txBody>
            <a:bodyPr wrap="square" lIns="0" tIns="0" rIns="0" bIns="0" rtlCol="0"/>
            <a:lstStyle/>
            <a:p>
              <a:endParaRPr/>
            </a:p>
          </p:txBody>
        </p:sp>
        <p:pic>
          <p:nvPicPr>
            <p:cNvPr id="42" name="object 42"/>
            <p:cNvPicPr/>
            <p:nvPr/>
          </p:nvPicPr>
          <p:blipFill>
            <a:blip r:embed="rId6" cstate="print"/>
            <a:stretch>
              <a:fillRect/>
            </a:stretch>
          </p:blipFill>
          <p:spPr>
            <a:xfrm>
              <a:off x="8143855" y="4427479"/>
              <a:ext cx="444962" cy="461276"/>
            </a:xfrm>
            <a:prstGeom prst="rect">
              <a:avLst/>
            </a:prstGeom>
          </p:spPr>
        </p:pic>
      </p:grpSp>
      <p:sp>
        <p:nvSpPr>
          <p:cNvPr id="43" name="object 43"/>
          <p:cNvSpPr txBox="1"/>
          <p:nvPr/>
        </p:nvSpPr>
        <p:spPr>
          <a:xfrm>
            <a:off x="16920956" y="2145588"/>
            <a:ext cx="456565" cy="237490"/>
          </a:xfrm>
          <a:prstGeom prst="rect">
            <a:avLst/>
          </a:prstGeom>
        </p:spPr>
        <p:txBody>
          <a:bodyPr vert="horz" wrap="square" lIns="0" tIns="11430" rIns="0" bIns="0" rtlCol="0">
            <a:spAutoFit/>
          </a:bodyPr>
          <a:lstStyle/>
          <a:p>
            <a:pPr marL="12700">
              <a:lnSpc>
                <a:spcPct val="100000"/>
              </a:lnSpc>
              <a:spcBef>
                <a:spcPts val="90"/>
              </a:spcBef>
            </a:pPr>
            <a:r>
              <a:rPr sz="1400" b="1" spc="-30" dirty="0">
                <a:solidFill>
                  <a:srgbClr val="737373"/>
                </a:solidFill>
                <a:latin typeface="Roboto"/>
                <a:cs typeface="Roboto"/>
              </a:rPr>
              <a:t>EEUU</a:t>
            </a:r>
            <a:endParaRPr sz="1400">
              <a:latin typeface="Roboto"/>
              <a:cs typeface="Roboto"/>
            </a:endParaRPr>
          </a:p>
        </p:txBody>
      </p:sp>
      <p:sp>
        <p:nvSpPr>
          <p:cNvPr id="44" name="object 44"/>
          <p:cNvSpPr txBox="1"/>
          <p:nvPr/>
        </p:nvSpPr>
        <p:spPr>
          <a:xfrm>
            <a:off x="9314218" y="3718797"/>
            <a:ext cx="2414905"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737373"/>
                </a:solidFill>
                <a:latin typeface="Roboto"/>
                <a:cs typeface="Roboto"/>
              </a:rPr>
              <a:t>Asistencia </a:t>
            </a:r>
            <a:r>
              <a:rPr sz="2400" b="1" spc="-10" dirty="0">
                <a:solidFill>
                  <a:srgbClr val="737373"/>
                </a:solidFill>
                <a:latin typeface="Roboto"/>
                <a:cs typeface="Roboto"/>
              </a:rPr>
              <a:t>ferias:</a:t>
            </a:r>
            <a:endParaRPr sz="2400">
              <a:latin typeface="Roboto"/>
              <a:cs typeface="Roboto"/>
            </a:endParaRPr>
          </a:p>
        </p:txBody>
      </p:sp>
      <p:sp>
        <p:nvSpPr>
          <p:cNvPr id="45" name="object 45"/>
          <p:cNvSpPr txBox="1"/>
          <p:nvPr/>
        </p:nvSpPr>
        <p:spPr>
          <a:xfrm>
            <a:off x="637985" y="384148"/>
            <a:ext cx="8291830"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2.</a:t>
            </a:r>
            <a:r>
              <a:rPr sz="3000" spc="-95" dirty="0">
                <a:solidFill>
                  <a:srgbClr val="FFFFFF"/>
                </a:solidFill>
                <a:latin typeface="Roboto"/>
                <a:cs typeface="Roboto"/>
              </a:rPr>
              <a:t> </a:t>
            </a:r>
            <a:r>
              <a:rPr sz="3000" spc="-20" dirty="0">
                <a:solidFill>
                  <a:srgbClr val="FFFFFF"/>
                </a:solidFill>
                <a:latin typeface="Roboto"/>
                <a:cs typeface="Roboto"/>
              </a:rPr>
              <a:t>Propuesta</a:t>
            </a:r>
            <a:r>
              <a:rPr sz="3000" spc="-95" dirty="0">
                <a:solidFill>
                  <a:srgbClr val="FFFFFF"/>
                </a:solidFill>
                <a:latin typeface="Roboto"/>
                <a:cs typeface="Roboto"/>
              </a:rPr>
              <a:t> </a:t>
            </a:r>
            <a:r>
              <a:rPr sz="3000" dirty="0">
                <a:solidFill>
                  <a:srgbClr val="FFFFFF"/>
                </a:solidFill>
                <a:latin typeface="Roboto"/>
                <a:cs typeface="Roboto"/>
              </a:rPr>
              <a:t>de</a:t>
            </a:r>
            <a:r>
              <a:rPr sz="3000" spc="-95" dirty="0">
                <a:solidFill>
                  <a:srgbClr val="FFFFFF"/>
                </a:solidFill>
                <a:latin typeface="Roboto"/>
                <a:cs typeface="Roboto"/>
              </a:rPr>
              <a:t> </a:t>
            </a:r>
            <a:r>
              <a:rPr sz="3000" spc="-20" dirty="0">
                <a:solidFill>
                  <a:srgbClr val="FFFFFF"/>
                </a:solidFill>
                <a:latin typeface="Roboto"/>
                <a:cs typeface="Roboto"/>
              </a:rPr>
              <a:t>marketing</a:t>
            </a:r>
            <a:r>
              <a:rPr sz="3000" spc="-95" dirty="0">
                <a:solidFill>
                  <a:srgbClr val="FFFFFF"/>
                </a:solidFill>
                <a:latin typeface="Roboto"/>
                <a:cs typeface="Roboto"/>
              </a:rPr>
              <a:t> </a:t>
            </a:r>
            <a:r>
              <a:rPr sz="3000" dirty="0">
                <a:solidFill>
                  <a:srgbClr val="FFFFFF"/>
                </a:solidFill>
                <a:latin typeface="Roboto"/>
                <a:cs typeface="Roboto"/>
              </a:rPr>
              <a:t>para</a:t>
            </a:r>
            <a:r>
              <a:rPr sz="3000" spc="-95" dirty="0">
                <a:solidFill>
                  <a:srgbClr val="FFFFFF"/>
                </a:solidFill>
                <a:latin typeface="Roboto"/>
                <a:cs typeface="Roboto"/>
              </a:rPr>
              <a:t> </a:t>
            </a:r>
            <a:r>
              <a:rPr sz="3000" spc="-10" dirty="0">
                <a:solidFill>
                  <a:srgbClr val="FFFFFF"/>
                </a:solidFill>
                <a:latin typeface="Roboto"/>
                <a:cs typeface="Roboto"/>
              </a:rPr>
              <a:t>Estados</a:t>
            </a:r>
            <a:r>
              <a:rPr sz="3000" spc="-95" dirty="0">
                <a:solidFill>
                  <a:srgbClr val="FFFFFF"/>
                </a:solidFill>
                <a:latin typeface="Roboto"/>
                <a:cs typeface="Roboto"/>
              </a:rPr>
              <a:t> </a:t>
            </a:r>
            <a:r>
              <a:rPr sz="3000" spc="-10" dirty="0">
                <a:solidFill>
                  <a:srgbClr val="FFFFFF"/>
                </a:solidFill>
                <a:latin typeface="Roboto"/>
                <a:cs typeface="Roboto"/>
              </a:rPr>
              <a:t>Unidos</a:t>
            </a:r>
            <a:endParaRPr sz="3000">
              <a:latin typeface="Roboto"/>
              <a:cs typeface="Roboto"/>
            </a:endParaRPr>
          </a:p>
        </p:txBody>
      </p:sp>
      <p:sp>
        <p:nvSpPr>
          <p:cNvPr id="46" name="object 46"/>
          <p:cNvSpPr txBox="1"/>
          <p:nvPr/>
        </p:nvSpPr>
        <p:spPr>
          <a:xfrm>
            <a:off x="2438692" y="1604058"/>
            <a:ext cx="6356350" cy="482600"/>
          </a:xfrm>
          <a:prstGeom prst="rect">
            <a:avLst/>
          </a:prstGeom>
        </p:spPr>
        <p:txBody>
          <a:bodyPr vert="horz" wrap="square" lIns="0" tIns="12700" rIns="0" bIns="0" rtlCol="0">
            <a:spAutoFit/>
          </a:bodyPr>
          <a:lstStyle/>
          <a:p>
            <a:pPr marL="12700">
              <a:lnSpc>
                <a:spcPct val="100000"/>
              </a:lnSpc>
              <a:spcBef>
                <a:spcPts val="100"/>
              </a:spcBef>
            </a:pPr>
            <a:r>
              <a:rPr sz="3000" spc="-10" dirty="0">
                <a:solidFill>
                  <a:srgbClr val="737373"/>
                </a:solidFill>
                <a:latin typeface="Roboto"/>
                <a:cs typeface="Roboto"/>
              </a:rPr>
              <a:t>Paquete</a:t>
            </a:r>
            <a:r>
              <a:rPr sz="3000" spc="-160" dirty="0">
                <a:solidFill>
                  <a:srgbClr val="737373"/>
                </a:solidFill>
                <a:latin typeface="Roboto"/>
                <a:cs typeface="Roboto"/>
              </a:rPr>
              <a:t> </a:t>
            </a:r>
            <a:r>
              <a:rPr sz="3000" dirty="0">
                <a:solidFill>
                  <a:srgbClr val="737373"/>
                </a:solidFill>
                <a:latin typeface="Roboto"/>
                <a:cs typeface="Roboto"/>
              </a:rPr>
              <a:t>promocional</a:t>
            </a:r>
            <a:r>
              <a:rPr sz="3000" spc="-160" dirty="0">
                <a:solidFill>
                  <a:srgbClr val="737373"/>
                </a:solidFill>
                <a:latin typeface="Roboto"/>
                <a:cs typeface="Roboto"/>
              </a:rPr>
              <a:t> </a:t>
            </a:r>
            <a:r>
              <a:rPr sz="3000" dirty="0">
                <a:solidFill>
                  <a:srgbClr val="737373"/>
                </a:solidFill>
                <a:latin typeface="Roboto"/>
                <a:cs typeface="Roboto"/>
              </a:rPr>
              <a:t>mercados</a:t>
            </a:r>
            <a:r>
              <a:rPr sz="3000" spc="-155" dirty="0">
                <a:solidFill>
                  <a:srgbClr val="737373"/>
                </a:solidFill>
                <a:latin typeface="Roboto"/>
                <a:cs typeface="Roboto"/>
              </a:rPr>
              <a:t> </a:t>
            </a:r>
            <a:r>
              <a:rPr sz="3000" spc="-20" dirty="0">
                <a:solidFill>
                  <a:srgbClr val="737373"/>
                </a:solidFill>
                <a:latin typeface="Roboto"/>
                <a:cs typeface="Roboto"/>
              </a:rPr>
              <a:t>360º</a:t>
            </a:r>
            <a:endParaRPr sz="3000">
              <a:latin typeface="Roboto"/>
              <a:cs typeface="Roboto"/>
            </a:endParaRPr>
          </a:p>
        </p:txBody>
      </p:sp>
      <p:sp>
        <p:nvSpPr>
          <p:cNvPr id="47" name="object 47"/>
          <p:cNvSpPr/>
          <p:nvPr/>
        </p:nvSpPr>
        <p:spPr>
          <a:xfrm>
            <a:off x="6437706" y="2807029"/>
            <a:ext cx="11651615" cy="1224280"/>
          </a:xfrm>
          <a:custGeom>
            <a:avLst/>
            <a:gdLst/>
            <a:ahLst/>
            <a:cxnLst/>
            <a:rect l="l" t="t" r="r" b="b"/>
            <a:pathLst>
              <a:path w="11651615" h="1224279">
                <a:moveTo>
                  <a:pt x="11651526" y="0"/>
                </a:moveTo>
                <a:lnTo>
                  <a:pt x="0" y="0"/>
                </a:lnTo>
                <a:lnTo>
                  <a:pt x="0" y="784098"/>
                </a:lnTo>
                <a:lnTo>
                  <a:pt x="255663" y="784098"/>
                </a:lnTo>
                <a:lnTo>
                  <a:pt x="507047" y="1224000"/>
                </a:lnTo>
                <a:lnTo>
                  <a:pt x="758405" y="784098"/>
                </a:lnTo>
                <a:lnTo>
                  <a:pt x="11651526" y="784098"/>
                </a:lnTo>
                <a:lnTo>
                  <a:pt x="11651526" y="0"/>
                </a:lnTo>
                <a:close/>
              </a:path>
            </a:pathLst>
          </a:custGeom>
          <a:solidFill>
            <a:srgbClr val="E3112B"/>
          </a:solidFill>
        </p:spPr>
        <p:txBody>
          <a:bodyPr wrap="square" lIns="0" tIns="0" rIns="0" bIns="0" rtlCol="0"/>
          <a:lstStyle/>
          <a:p>
            <a:endParaRPr/>
          </a:p>
        </p:txBody>
      </p:sp>
      <p:sp>
        <p:nvSpPr>
          <p:cNvPr id="48" name="object 48"/>
          <p:cNvSpPr txBox="1"/>
          <p:nvPr/>
        </p:nvSpPr>
        <p:spPr>
          <a:xfrm>
            <a:off x="6932053" y="2957770"/>
            <a:ext cx="387096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Acciones</a:t>
            </a:r>
            <a:r>
              <a:rPr sz="2400" b="1" spc="10" dirty="0">
                <a:solidFill>
                  <a:srgbClr val="FFFFFF"/>
                </a:solidFill>
                <a:latin typeface="Arial"/>
                <a:cs typeface="Arial"/>
              </a:rPr>
              <a:t> </a:t>
            </a:r>
            <a:r>
              <a:rPr sz="2400" b="1" spc="90" dirty="0">
                <a:solidFill>
                  <a:srgbClr val="FFFFFF"/>
                </a:solidFill>
                <a:latin typeface="Arial"/>
                <a:cs typeface="Arial"/>
              </a:rPr>
              <a:t>clave</a:t>
            </a:r>
            <a:r>
              <a:rPr sz="2400" b="1" spc="15" dirty="0">
                <a:solidFill>
                  <a:srgbClr val="FFFFFF"/>
                </a:solidFill>
                <a:latin typeface="Arial"/>
                <a:cs typeface="Arial"/>
              </a:rPr>
              <a:t> </a:t>
            </a:r>
            <a:r>
              <a:rPr sz="2400" b="1" spc="114" dirty="0">
                <a:solidFill>
                  <a:srgbClr val="FFFFFF"/>
                </a:solidFill>
                <a:latin typeface="Arial"/>
                <a:cs typeface="Arial"/>
              </a:rPr>
              <a:t>(anuales)</a:t>
            </a:r>
            <a:endParaRPr sz="2400">
              <a:latin typeface="Arial"/>
              <a:cs typeface="Arial"/>
            </a:endParaRPr>
          </a:p>
        </p:txBody>
      </p:sp>
      <p:sp>
        <p:nvSpPr>
          <p:cNvPr id="49" name="object 49"/>
          <p:cNvSpPr/>
          <p:nvPr/>
        </p:nvSpPr>
        <p:spPr>
          <a:xfrm>
            <a:off x="196380" y="2807029"/>
            <a:ext cx="6019800" cy="1224280"/>
          </a:xfrm>
          <a:custGeom>
            <a:avLst/>
            <a:gdLst/>
            <a:ahLst/>
            <a:cxnLst/>
            <a:rect l="l" t="t" r="r" b="b"/>
            <a:pathLst>
              <a:path w="6019800" h="1224279">
                <a:moveTo>
                  <a:pt x="6019508" y="0"/>
                </a:moveTo>
                <a:lnTo>
                  <a:pt x="0" y="0"/>
                </a:lnTo>
                <a:lnTo>
                  <a:pt x="0" y="784098"/>
                </a:lnTo>
                <a:lnTo>
                  <a:pt x="255663" y="784098"/>
                </a:lnTo>
                <a:lnTo>
                  <a:pt x="507034" y="1224000"/>
                </a:lnTo>
                <a:lnTo>
                  <a:pt x="758405" y="784098"/>
                </a:lnTo>
                <a:lnTo>
                  <a:pt x="6019508" y="784098"/>
                </a:lnTo>
                <a:lnTo>
                  <a:pt x="6019508" y="0"/>
                </a:lnTo>
                <a:close/>
              </a:path>
            </a:pathLst>
          </a:custGeom>
          <a:solidFill>
            <a:srgbClr val="E3112B"/>
          </a:solidFill>
        </p:spPr>
        <p:txBody>
          <a:bodyPr wrap="square" lIns="0" tIns="0" rIns="0" bIns="0" rtlCol="0"/>
          <a:lstStyle/>
          <a:p>
            <a:endParaRPr/>
          </a:p>
        </p:txBody>
      </p:sp>
      <p:sp>
        <p:nvSpPr>
          <p:cNvPr id="50" name="object 50"/>
          <p:cNvSpPr txBox="1"/>
          <p:nvPr/>
        </p:nvSpPr>
        <p:spPr>
          <a:xfrm>
            <a:off x="1896142" y="2957770"/>
            <a:ext cx="249809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Foco</a:t>
            </a:r>
            <a:r>
              <a:rPr sz="2400" b="1" spc="-35" dirty="0">
                <a:solidFill>
                  <a:srgbClr val="FFFFFF"/>
                </a:solidFill>
                <a:latin typeface="Arial"/>
                <a:cs typeface="Arial"/>
              </a:rPr>
              <a:t> </a:t>
            </a:r>
            <a:r>
              <a:rPr sz="2400" b="1" spc="130" dirty="0">
                <a:solidFill>
                  <a:srgbClr val="FFFFFF"/>
                </a:solidFill>
                <a:latin typeface="Arial"/>
                <a:cs typeface="Arial"/>
              </a:rPr>
              <a:t>de</a:t>
            </a:r>
            <a:r>
              <a:rPr sz="2400" b="1" spc="-30" dirty="0">
                <a:solidFill>
                  <a:srgbClr val="FFFFFF"/>
                </a:solidFill>
                <a:latin typeface="Arial"/>
                <a:cs typeface="Arial"/>
              </a:rPr>
              <a:t> </a:t>
            </a:r>
            <a:r>
              <a:rPr sz="2400" b="1" spc="175" dirty="0">
                <a:solidFill>
                  <a:srgbClr val="FFFFFF"/>
                </a:solidFill>
                <a:latin typeface="Arial"/>
                <a:cs typeface="Arial"/>
              </a:rPr>
              <a:t>trabajo</a:t>
            </a:r>
            <a:endParaRPr sz="2400">
              <a:latin typeface="Arial"/>
              <a:cs typeface="Arial"/>
            </a:endParaRPr>
          </a:p>
        </p:txBody>
      </p:sp>
      <p:sp>
        <p:nvSpPr>
          <p:cNvPr id="51" name="object 51"/>
          <p:cNvSpPr txBox="1"/>
          <p:nvPr/>
        </p:nvSpPr>
        <p:spPr>
          <a:xfrm>
            <a:off x="1024274" y="8015257"/>
            <a:ext cx="2084705" cy="745490"/>
          </a:xfrm>
          <a:prstGeom prst="rect">
            <a:avLst/>
          </a:prstGeom>
        </p:spPr>
        <p:txBody>
          <a:bodyPr vert="horz" wrap="square" lIns="0" tIns="24765" rIns="0" bIns="0" rtlCol="0">
            <a:spAutoFit/>
          </a:bodyPr>
          <a:lstStyle/>
          <a:p>
            <a:pPr marL="12065" marR="5080" algn="ctr">
              <a:lnSpc>
                <a:spcPts val="1880"/>
              </a:lnSpc>
              <a:spcBef>
                <a:spcPts val="195"/>
              </a:spcBef>
            </a:pPr>
            <a:r>
              <a:rPr sz="1600" b="1" dirty="0">
                <a:solidFill>
                  <a:srgbClr val="E3112B"/>
                </a:solidFill>
                <a:latin typeface="Roboto"/>
                <a:cs typeface="Roboto"/>
              </a:rPr>
              <a:t>Optimizar</a:t>
            </a:r>
            <a:r>
              <a:rPr sz="1600" b="1" spc="-55" dirty="0">
                <a:solidFill>
                  <a:srgbClr val="E3112B"/>
                </a:solidFill>
                <a:latin typeface="Roboto"/>
                <a:cs typeface="Roboto"/>
              </a:rPr>
              <a:t> </a:t>
            </a:r>
            <a:r>
              <a:rPr sz="1600" b="1" dirty="0">
                <a:solidFill>
                  <a:srgbClr val="E3112B"/>
                </a:solidFill>
                <a:latin typeface="Roboto"/>
                <a:cs typeface="Roboto"/>
              </a:rPr>
              <a:t>inversión</a:t>
            </a:r>
            <a:r>
              <a:rPr sz="1600" b="1" spc="-50" dirty="0">
                <a:solidFill>
                  <a:srgbClr val="E3112B"/>
                </a:solidFill>
                <a:latin typeface="Roboto"/>
                <a:cs typeface="Roboto"/>
              </a:rPr>
              <a:t> </a:t>
            </a:r>
            <a:r>
              <a:rPr sz="1600" b="1" spc="-25" dirty="0">
                <a:solidFill>
                  <a:srgbClr val="E3112B"/>
                </a:solidFill>
                <a:latin typeface="Roboto"/>
                <a:cs typeface="Roboto"/>
              </a:rPr>
              <a:t>en </a:t>
            </a:r>
            <a:r>
              <a:rPr sz="1600" b="1" dirty="0">
                <a:solidFill>
                  <a:srgbClr val="E3112B"/>
                </a:solidFill>
                <a:latin typeface="Roboto"/>
                <a:cs typeface="Roboto"/>
              </a:rPr>
              <a:t>promoción</a:t>
            </a:r>
            <a:r>
              <a:rPr sz="1600" b="1" spc="-40" dirty="0">
                <a:solidFill>
                  <a:srgbClr val="E3112B"/>
                </a:solidFill>
                <a:latin typeface="Roboto"/>
                <a:cs typeface="Roboto"/>
              </a:rPr>
              <a:t> </a:t>
            </a:r>
            <a:r>
              <a:rPr sz="1600" spc="-10" dirty="0">
                <a:solidFill>
                  <a:srgbClr val="737373"/>
                </a:solidFill>
                <a:latin typeface="Roboto"/>
                <a:cs typeface="Roboto"/>
              </a:rPr>
              <a:t>(mercado grande</a:t>
            </a:r>
            <a:r>
              <a:rPr sz="1600" spc="-55" dirty="0">
                <a:solidFill>
                  <a:srgbClr val="737373"/>
                </a:solidFill>
                <a:latin typeface="Roboto"/>
                <a:cs typeface="Roboto"/>
              </a:rPr>
              <a:t> </a:t>
            </a:r>
            <a:r>
              <a:rPr sz="1600" dirty="0">
                <a:solidFill>
                  <a:srgbClr val="737373"/>
                </a:solidFill>
                <a:latin typeface="Roboto"/>
                <a:cs typeface="Roboto"/>
              </a:rPr>
              <a:t>y</a:t>
            </a:r>
            <a:r>
              <a:rPr sz="1600" spc="-50" dirty="0">
                <a:solidFill>
                  <a:srgbClr val="737373"/>
                </a:solidFill>
                <a:latin typeface="Roboto"/>
                <a:cs typeface="Roboto"/>
              </a:rPr>
              <a:t> </a:t>
            </a:r>
            <a:r>
              <a:rPr sz="1600" spc="-20" dirty="0">
                <a:solidFill>
                  <a:srgbClr val="737373"/>
                </a:solidFill>
                <a:latin typeface="Roboto"/>
                <a:cs typeface="Roboto"/>
              </a:rPr>
              <a:t>caro)</a:t>
            </a:r>
            <a:endParaRPr sz="1600">
              <a:latin typeface="Roboto"/>
              <a:cs typeface="Roboto"/>
            </a:endParaRPr>
          </a:p>
        </p:txBody>
      </p:sp>
      <p:sp>
        <p:nvSpPr>
          <p:cNvPr id="52" name="object 52"/>
          <p:cNvSpPr txBox="1"/>
          <p:nvPr/>
        </p:nvSpPr>
        <p:spPr>
          <a:xfrm>
            <a:off x="1016535" y="6636810"/>
            <a:ext cx="2099945" cy="507365"/>
          </a:xfrm>
          <a:prstGeom prst="rect">
            <a:avLst/>
          </a:prstGeom>
        </p:spPr>
        <p:txBody>
          <a:bodyPr vert="horz" wrap="square" lIns="0" tIns="24765" rIns="0" bIns="0" rtlCol="0">
            <a:spAutoFit/>
          </a:bodyPr>
          <a:lstStyle/>
          <a:p>
            <a:pPr marL="222250" marR="5080" indent="-210185">
              <a:lnSpc>
                <a:spcPts val="1880"/>
              </a:lnSpc>
              <a:spcBef>
                <a:spcPts val="195"/>
              </a:spcBef>
            </a:pPr>
            <a:r>
              <a:rPr sz="1600" spc="-20" dirty="0">
                <a:solidFill>
                  <a:srgbClr val="737373"/>
                </a:solidFill>
                <a:latin typeface="Roboto"/>
                <a:cs typeface="Roboto"/>
              </a:rPr>
              <a:t>Incrementar</a:t>
            </a:r>
            <a:r>
              <a:rPr sz="1600" spc="-15" dirty="0">
                <a:solidFill>
                  <a:srgbClr val="737373"/>
                </a:solidFill>
                <a:latin typeface="Roboto"/>
                <a:cs typeface="Roboto"/>
              </a:rPr>
              <a:t> </a:t>
            </a:r>
            <a:r>
              <a:rPr sz="1600" b="1" dirty="0">
                <a:solidFill>
                  <a:srgbClr val="D52A1D"/>
                </a:solidFill>
                <a:latin typeface="Roboto"/>
                <a:cs typeface="Roboto"/>
              </a:rPr>
              <a:t>llegadas</a:t>
            </a:r>
            <a:r>
              <a:rPr sz="1600" b="1" spc="-15" dirty="0">
                <a:solidFill>
                  <a:srgbClr val="D52A1D"/>
                </a:solidFill>
                <a:latin typeface="Roboto"/>
                <a:cs typeface="Roboto"/>
              </a:rPr>
              <a:t> </a:t>
            </a:r>
            <a:r>
              <a:rPr sz="1600" b="1" spc="-50" dirty="0">
                <a:solidFill>
                  <a:srgbClr val="D52A1D"/>
                </a:solidFill>
                <a:latin typeface="Roboto"/>
                <a:cs typeface="Roboto"/>
              </a:rPr>
              <a:t>e </a:t>
            </a:r>
            <a:r>
              <a:rPr sz="1600" b="1" dirty="0">
                <a:solidFill>
                  <a:srgbClr val="D52A1D"/>
                </a:solidFill>
                <a:latin typeface="Roboto"/>
                <a:cs typeface="Roboto"/>
              </a:rPr>
              <a:t>ingreso</a:t>
            </a:r>
            <a:r>
              <a:rPr sz="1600" b="1" spc="-5" dirty="0">
                <a:solidFill>
                  <a:srgbClr val="D52A1D"/>
                </a:solidFill>
                <a:latin typeface="Roboto"/>
                <a:cs typeface="Roboto"/>
              </a:rPr>
              <a:t> </a:t>
            </a:r>
            <a:r>
              <a:rPr sz="1600" b="1" dirty="0">
                <a:solidFill>
                  <a:srgbClr val="D52A1D"/>
                </a:solidFill>
                <a:latin typeface="Roboto"/>
                <a:cs typeface="Roboto"/>
              </a:rPr>
              <a:t>de</a:t>
            </a:r>
            <a:r>
              <a:rPr sz="1600" b="1" spc="-5" dirty="0">
                <a:solidFill>
                  <a:srgbClr val="D52A1D"/>
                </a:solidFill>
                <a:latin typeface="Roboto"/>
                <a:cs typeface="Roboto"/>
              </a:rPr>
              <a:t> </a:t>
            </a:r>
            <a:r>
              <a:rPr sz="1600" b="1" spc="-10" dirty="0">
                <a:solidFill>
                  <a:srgbClr val="D52A1D"/>
                </a:solidFill>
                <a:latin typeface="Roboto"/>
                <a:cs typeface="Roboto"/>
              </a:rPr>
              <a:t>divisas</a:t>
            </a:r>
            <a:endParaRPr sz="1600">
              <a:latin typeface="Roboto"/>
              <a:cs typeface="Roboto"/>
            </a:endParaRPr>
          </a:p>
        </p:txBody>
      </p:sp>
      <p:sp>
        <p:nvSpPr>
          <p:cNvPr id="53" name="object 53"/>
          <p:cNvSpPr txBox="1"/>
          <p:nvPr/>
        </p:nvSpPr>
        <p:spPr>
          <a:xfrm>
            <a:off x="973375" y="4709495"/>
            <a:ext cx="2186305" cy="983615"/>
          </a:xfrm>
          <a:prstGeom prst="rect">
            <a:avLst/>
          </a:prstGeom>
        </p:spPr>
        <p:txBody>
          <a:bodyPr vert="horz" wrap="square" lIns="0" tIns="24765" rIns="0" bIns="0" rtlCol="0">
            <a:spAutoFit/>
          </a:bodyPr>
          <a:lstStyle/>
          <a:p>
            <a:pPr marL="12700" marR="5080" algn="ctr">
              <a:lnSpc>
                <a:spcPts val="1880"/>
              </a:lnSpc>
              <a:spcBef>
                <a:spcPts val="195"/>
              </a:spcBef>
            </a:pPr>
            <a:r>
              <a:rPr sz="1600" b="1" dirty="0">
                <a:solidFill>
                  <a:srgbClr val="E3112B"/>
                </a:solidFill>
                <a:latin typeface="Roboto"/>
                <a:cs typeface="Roboto"/>
              </a:rPr>
              <a:t>Mejorar</a:t>
            </a:r>
            <a:r>
              <a:rPr sz="1600" b="1" spc="10" dirty="0">
                <a:solidFill>
                  <a:srgbClr val="E3112B"/>
                </a:solidFill>
                <a:latin typeface="Roboto"/>
                <a:cs typeface="Roboto"/>
              </a:rPr>
              <a:t> </a:t>
            </a:r>
            <a:r>
              <a:rPr sz="1600" b="1" spc="-25" dirty="0">
                <a:solidFill>
                  <a:srgbClr val="E3112B"/>
                </a:solidFill>
                <a:latin typeface="Roboto"/>
                <a:cs typeface="Roboto"/>
              </a:rPr>
              <a:t>el </a:t>
            </a:r>
            <a:r>
              <a:rPr sz="1600" b="1" spc="-10" dirty="0">
                <a:solidFill>
                  <a:srgbClr val="E3112B"/>
                </a:solidFill>
                <a:latin typeface="Roboto"/>
                <a:cs typeface="Roboto"/>
              </a:rPr>
              <a:t>posicionamiento</a:t>
            </a:r>
            <a:r>
              <a:rPr sz="1600" b="1" spc="30" dirty="0">
                <a:solidFill>
                  <a:srgbClr val="E3112B"/>
                </a:solidFill>
                <a:latin typeface="Roboto"/>
                <a:cs typeface="Roboto"/>
              </a:rPr>
              <a:t> </a:t>
            </a:r>
            <a:r>
              <a:rPr sz="1600" spc="-50" dirty="0">
                <a:solidFill>
                  <a:srgbClr val="737373"/>
                </a:solidFill>
                <a:latin typeface="Roboto"/>
                <a:cs typeface="Roboto"/>
              </a:rPr>
              <a:t>e </a:t>
            </a:r>
            <a:r>
              <a:rPr sz="1600" spc="-20" dirty="0">
                <a:solidFill>
                  <a:srgbClr val="737373"/>
                </a:solidFill>
                <a:latin typeface="Roboto"/>
                <a:cs typeface="Roboto"/>
              </a:rPr>
              <a:t>incrementar</a:t>
            </a:r>
            <a:r>
              <a:rPr sz="1600" spc="15" dirty="0">
                <a:solidFill>
                  <a:srgbClr val="737373"/>
                </a:solidFill>
                <a:latin typeface="Roboto"/>
                <a:cs typeface="Roboto"/>
              </a:rPr>
              <a:t> </a:t>
            </a:r>
            <a:r>
              <a:rPr sz="1600" spc="-10" dirty="0">
                <a:solidFill>
                  <a:srgbClr val="737373"/>
                </a:solidFill>
                <a:latin typeface="Roboto"/>
                <a:cs typeface="Roboto"/>
              </a:rPr>
              <a:t>preferencia </a:t>
            </a:r>
            <a:r>
              <a:rPr sz="1600" dirty="0">
                <a:solidFill>
                  <a:srgbClr val="737373"/>
                </a:solidFill>
                <a:latin typeface="Roboto"/>
                <a:cs typeface="Roboto"/>
              </a:rPr>
              <a:t>frente</a:t>
            </a:r>
            <a:r>
              <a:rPr sz="1600" spc="-55" dirty="0">
                <a:solidFill>
                  <a:srgbClr val="737373"/>
                </a:solidFill>
                <a:latin typeface="Roboto"/>
                <a:cs typeface="Roboto"/>
              </a:rPr>
              <a:t> </a:t>
            </a:r>
            <a:r>
              <a:rPr sz="1600" dirty="0">
                <a:solidFill>
                  <a:srgbClr val="737373"/>
                </a:solidFill>
                <a:latin typeface="Roboto"/>
                <a:cs typeface="Roboto"/>
              </a:rPr>
              <a:t>a</a:t>
            </a:r>
            <a:r>
              <a:rPr sz="1600" spc="-55" dirty="0">
                <a:solidFill>
                  <a:srgbClr val="737373"/>
                </a:solidFill>
                <a:latin typeface="Roboto"/>
                <a:cs typeface="Roboto"/>
              </a:rPr>
              <a:t> </a:t>
            </a:r>
            <a:r>
              <a:rPr sz="1600" spc="-10" dirty="0">
                <a:solidFill>
                  <a:srgbClr val="737373"/>
                </a:solidFill>
                <a:latin typeface="Roboto"/>
                <a:cs typeface="Roboto"/>
              </a:rPr>
              <a:t>competidores</a:t>
            </a:r>
            <a:endParaRPr sz="1600">
              <a:latin typeface="Roboto"/>
              <a:cs typeface="Roboto"/>
            </a:endParaRPr>
          </a:p>
        </p:txBody>
      </p:sp>
      <p:sp>
        <p:nvSpPr>
          <p:cNvPr id="54" name="object 54"/>
          <p:cNvSpPr txBox="1"/>
          <p:nvPr/>
        </p:nvSpPr>
        <p:spPr>
          <a:xfrm>
            <a:off x="9548811" y="4575823"/>
            <a:ext cx="1652270" cy="980440"/>
          </a:xfrm>
          <a:prstGeom prst="rect">
            <a:avLst/>
          </a:prstGeom>
          <a:solidFill>
            <a:srgbClr val="21408B"/>
          </a:solidFill>
        </p:spPr>
        <p:txBody>
          <a:bodyPr vert="horz" wrap="square" lIns="0" tIns="0" rIns="0" bIns="0" rtlCol="0">
            <a:spAutoFit/>
          </a:bodyPr>
          <a:lstStyle/>
          <a:p>
            <a:pPr>
              <a:lnSpc>
                <a:spcPct val="100000"/>
              </a:lnSpc>
            </a:pPr>
            <a:endParaRPr sz="2400">
              <a:latin typeface="Times New Roman"/>
              <a:cs typeface="Times New Roman"/>
            </a:endParaRPr>
          </a:p>
          <a:p>
            <a:pPr marL="412750">
              <a:lnSpc>
                <a:spcPct val="100000"/>
              </a:lnSpc>
            </a:pPr>
            <a:r>
              <a:rPr sz="1800" b="1" spc="60" dirty="0">
                <a:solidFill>
                  <a:srgbClr val="FFFFFF"/>
                </a:solidFill>
                <a:latin typeface="Arial"/>
                <a:cs typeface="Arial"/>
              </a:rPr>
              <a:t>USTOA</a:t>
            </a:r>
            <a:endParaRPr sz="1800">
              <a:latin typeface="Arial"/>
              <a:cs typeface="Arial"/>
            </a:endParaRPr>
          </a:p>
        </p:txBody>
      </p:sp>
      <p:sp>
        <p:nvSpPr>
          <p:cNvPr id="55" name="object 55"/>
          <p:cNvSpPr txBox="1"/>
          <p:nvPr/>
        </p:nvSpPr>
        <p:spPr>
          <a:xfrm>
            <a:off x="11339613" y="4575823"/>
            <a:ext cx="1675130" cy="980440"/>
          </a:xfrm>
          <a:prstGeom prst="rect">
            <a:avLst/>
          </a:prstGeom>
          <a:solidFill>
            <a:srgbClr val="21408B"/>
          </a:solidFill>
        </p:spPr>
        <p:txBody>
          <a:bodyPr vert="horz" wrap="square" lIns="0" tIns="90170" rIns="0" bIns="0" rtlCol="0">
            <a:spAutoFit/>
          </a:bodyPr>
          <a:lstStyle/>
          <a:p>
            <a:pPr marL="459105" marR="505459" algn="ctr">
              <a:lnSpc>
                <a:spcPct val="117200"/>
              </a:lnSpc>
              <a:spcBef>
                <a:spcPts val="710"/>
              </a:spcBef>
            </a:pPr>
            <a:r>
              <a:rPr sz="1350" b="1" spc="-10" dirty="0">
                <a:solidFill>
                  <a:srgbClr val="FFFFFF"/>
                </a:solidFill>
                <a:latin typeface="Arial"/>
                <a:cs typeface="Arial"/>
              </a:rPr>
              <a:t>TRAVEL </a:t>
            </a:r>
            <a:r>
              <a:rPr sz="1350" b="1" spc="40" dirty="0">
                <a:solidFill>
                  <a:srgbClr val="FFFFFF"/>
                </a:solidFill>
                <a:latin typeface="Arial"/>
                <a:cs typeface="Arial"/>
              </a:rPr>
              <a:t>MART</a:t>
            </a:r>
            <a:endParaRPr sz="1350">
              <a:latin typeface="Arial"/>
              <a:cs typeface="Arial"/>
            </a:endParaRPr>
          </a:p>
          <a:p>
            <a:pPr algn="ctr">
              <a:lnSpc>
                <a:spcPct val="100000"/>
              </a:lnSpc>
              <a:spcBef>
                <a:spcPts val="280"/>
              </a:spcBef>
            </a:pPr>
            <a:r>
              <a:rPr sz="1350" b="1" dirty="0">
                <a:solidFill>
                  <a:srgbClr val="FFFFFF"/>
                </a:solidFill>
                <a:latin typeface="Arial"/>
                <a:cs typeface="Arial"/>
              </a:rPr>
              <a:t>LATIN</a:t>
            </a:r>
            <a:r>
              <a:rPr sz="1350" b="1" spc="220" dirty="0">
                <a:solidFill>
                  <a:srgbClr val="FFFFFF"/>
                </a:solidFill>
                <a:latin typeface="Arial"/>
                <a:cs typeface="Arial"/>
              </a:rPr>
              <a:t> </a:t>
            </a:r>
            <a:r>
              <a:rPr sz="1350" b="1" spc="35" dirty="0">
                <a:solidFill>
                  <a:srgbClr val="FFFFFF"/>
                </a:solidFill>
                <a:latin typeface="Arial"/>
                <a:cs typeface="Arial"/>
              </a:rPr>
              <a:t>AMERICA</a:t>
            </a:r>
            <a:endParaRPr sz="1350">
              <a:latin typeface="Arial"/>
              <a:cs typeface="Arial"/>
            </a:endParaRPr>
          </a:p>
        </p:txBody>
      </p:sp>
      <p:sp>
        <p:nvSpPr>
          <p:cNvPr id="56" name="object 56"/>
          <p:cNvSpPr txBox="1"/>
          <p:nvPr/>
        </p:nvSpPr>
        <p:spPr>
          <a:xfrm>
            <a:off x="9564887" y="5618373"/>
            <a:ext cx="1652270" cy="1001394"/>
          </a:xfrm>
          <a:prstGeom prst="rect">
            <a:avLst/>
          </a:prstGeom>
          <a:solidFill>
            <a:srgbClr val="21408B"/>
          </a:solidFill>
        </p:spPr>
        <p:txBody>
          <a:bodyPr vert="horz" wrap="square" lIns="0" tIns="134620" rIns="0" bIns="0" rtlCol="0">
            <a:spAutoFit/>
          </a:bodyPr>
          <a:lstStyle/>
          <a:p>
            <a:pPr marL="299720" marR="307975" indent="198120">
              <a:lnSpc>
                <a:spcPct val="116700"/>
              </a:lnSpc>
              <a:spcBef>
                <a:spcPts val="1060"/>
              </a:spcBef>
            </a:pPr>
            <a:r>
              <a:rPr sz="1800" b="1" spc="30" dirty="0">
                <a:solidFill>
                  <a:srgbClr val="FFFFFF"/>
                </a:solidFill>
                <a:latin typeface="Arial"/>
                <a:cs typeface="Arial"/>
              </a:rPr>
              <a:t>ATTA </a:t>
            </a:r>
            <a:r>
              <a:rPr sz="1800" b="1" spc="-35" dirty="0">
                <a:solidFill>
                  <a:srgbClr val="FFFFFF"/>
                </a:solidFill>
                <a:latin typeface="Arial"/>
                <a:cs typeface="Arial"/>
              </a:rPr>
              <a:t>ELEVATE</a:t>
            </a:r>
            <a:endParaRPr sz="1800">
              <a:latin typeface="Arial"/>
              <a:cs typeface="Arial"/>
            </a:endParaRPr>
          </a:p>
        </p:txBody>
      </p:sp>
      <p:sp>
        <p:nvSpPr>
          <p:cNvPr id="57" name="object 57"/>
          <p:cNvSpPr txBox="1"/>
          <p:nvPr/>
        </p:nvSpPr>
        <p:spPr>
          <a:xfrm>
            <a:off x="11339613" y="5639110"/>
            <a:ext cx="1675130" cy="980440"/>
          </a:xfrm>
          <a:prstGeom prst="rect">
            <a:avLst/>
          </a:prstGeom>
          <a:solidFill>
            <a:srgbClr val="21408B"/>
          </a:solidFill>
        </p:spPr>
        <p:txBody>
          <a:bodyPr vert="horz" wrap="square" lIns="0" tIns="2540" rIns="0" bIns="0" rtlCol="0">
            <a:spAutoFit/>
          </a:bodyPr>
          <a:lstStyle/>
          <a:p>
            <a:pPr>
              <a:lnSpc>
                <a:spcPct val="100000"/>
              </a:lnSpc>
              <a:spcBef>
                <a:spcPts val="20"/>
              </a:spcBef>
            </a:pPr>
            <a:endParaRPr sz="2300">
              <a:latin typeface="Times New Roman"/>
              <a:cs typeface="Times New Roman"/>
            </a:endParaRPr>
          </a:p>
          <a:p>
            <a:pPr marL="205104">
              <a:lnSpc>
                <a:spcPct val="100000"/>
              </a:lnSpc>
            </a:pPr>
            <a:r>
              <a:rPr sz="1800" b="1" spc="-10" dirty="0">
                <a:solidFill>
                  <a:srgbClr val="FFFFFF"/>
                </a:solidFill>
                <a:latin typeface="Arial"/>
                <a:cs typeface="Arial"/>
              </a:rPr>
              <a:t>SEATRADE</a:t>
            </a:r>
            <a:endParaRPr sz="1800">
              <a:latin typeface="Arial"/>
              <a:cs typeface="Arial"/>
            </a:endParaRPr>
          </a:p>
        </p:txBody>
      </p:sp>
      <p:sp>
        <p:nvSpPr>
          <p:cNvPr id="58" name="object 58"/>
          <p:cNvSpPr txBox="1"/>
          <p:nvPr/>
        </p:nvSpPr>
        <p:spPr>
          <a:xfrm>
            <a:off x="16166349" y="4782055"/>
            <a:ext cx="948055" cy="284480"/>
          </a:xfrm>
          <a:prstGeom prst="rect">
            <a:avLst/>
          </a:prstGeom>
        </p:spPr>
        <p:txBody>
          <a:bodyPr vert="horz" wrap="square" lIns="0" tIns="12700" rIns="0" bIns="0" rtlCol="0">
            <a:spAutoFit/>
          </a:bodyPr>
          <a:lstStyle/>
          <a:p>
            <a:pPr marL="12700">
              <a:lnSpc>
                <a:spcPct val="100000"/>
              </a:lnSpc>
              <a:spcBef>
                <a:spcPts val="100"/>
              </a:spcBef>
            </a:pPr>
            <a:r>
              <a:rPr sz="1700" b="1" spc="-10" dirty="0">
                <a:solidFill>
                  <a:srgbClr val="21408B"/>
                </a:solidFill>
                <a:latin typeface="Roboto"/>
                <a:cs typeface="Roboto"/>
              </a:rPr>
              <a:t>FamTrips</a:t>
            </a:r>
            <a:endParaRPr sz="1700">
              <a:latin typeface="Roboto"/>
              <a:cs typeface="Roboto"/>
            </a:endParaRPr>
          </a:p>
        </p:txBody>
      </p:sp>
      <p:sp>
        <p:nvSpPr>
          <p:cNvPr id="59" name="object 59"/>
          <p:cNvSpPr txBox="1"/>
          <p:nvPr/>
        </p:nvSpPr>
        <p:spPr>
          <a:xfrm>
            <a:off x="7763212" y="5639110"/>
            <a:ext cx="1652270" cy="980440"/>
          </a:xfrm>
          <a:prstGeom prst="rect">
            <a:avLst/>
          </a:prstGeom>
          <a:solidFill>
            <a:srgbClr val="21408B"/>
          </a:solidFill>
        </p:spPr>
        <p:txBody>
          <a:bodyPr vert="horz" wrap="square" lIns="0" tIns="134620" rIns="0" bIns="0" rtlCol="0">
            <a:spAutoFit/>
          </a:bodyPr>
          <a:lstStyle/>
          <a:p>
            <a:pPr marL="443865" marR="464184" indent="47625">
              <a:lnSpc>
                <a:spcPct val="116700"/>
              </a:lnSpc>
              <a:spcBef>
                <a:spcPts val="1060"/>
              </a:spcBef>
            </a:pPr>
            <a:r>
              <a:rPr sz="1800" b="1" spc="30" dirty="0">
                <a:solidFill>
                  <a:srgbClr val="FFFFFF"/>
                </a:solidFill>
                <a:latin typeface="Arial"/>
                <a:cs typeface="Arial"/>
              </a:rPr>
              <a:t>ATTA </a:t>
            </a:r>
            <a:r>
              <a:rPr sz="1800" b="1" spc="90" dirty="0">
                <a:solidFill>
                  <a:srgbClr val="FFFFFF"/>
                </a:solidFill>
                <a:latin typeface="Arial"/>
                <a:cs typeface="Arial"/>
              </a:rPr>
              <a:t>ATWS</a:t>
            </a:r>
            <a:endParaRPr sz="1800">
              <a:latin typeface="Arial"/>
              <a:cs typeface="Arial"/>
            </a:endParaRPr>
          </a:p>
        </p:txBody>
      </p:sp>
      <p:sp>
        <p:nvSpPr>
          <p:cNvPr id="60" name="object 60"/>
          <p:cNvSpPr txBox="1"/>
          <p:nvPr/>
        </p:nvSpPr>
        <p:spPr>
          <a:xfrm>
            <a:off x="16166200" y="5975933"/>
            <a:ext cx="1146175" cy="284480"/>
          </a:xfrm>
          <a:prstGeom prst="rect">
            <a:avLst/>
          </a:prstGeom>
        </p:spPr>
        <p:txBody>
          <a:bodyPr vert="horz" wrap="square" lIns="0" tIns="12700" rIns="0" bIns="0" rtlCol="0">
            <a:spAutoFit/>
          </a:bodyPr>
          <a:lstStyle/>
          <a:p>
            <a:pPr marL="12700">
              <a:lnSpc>
                <a:spcPct val="100000"/>
              </a:lnSpc>
              <a:spcBef>
                <a:spcPts val="100"/>
              </a:spcBef>
            </a:pPr>
            <a:r>
              <a:rPr sz="1700" b="1" spc="-10" dirty="0">
                <a:solidFill>
                  <a:srgbClr val="21408B"/>
                </a:solidFill>
                <a:latin typeface="Roboto"/>
                <a:cs typeface="Roboto"/>
              </a:rPr>
              <a:t>Roadshows</a:t>
            </a:r>
            <a:endParaRPr sz="1700">
              <a:latin typeface="Roboto"/>
              <a:cs typeface="Roboto"/>
            </a:endParaRPr>
          </a:p>
        </p:txBody>
      </p:sp>
      <p:grpSp>
        <p:nvGrpSpPr>
          <p:cNvPr id="61" name="object 61"/>
          <p:cNvGrpSpPr/>
          <p:nvPr/>
        </p:nvGrpSpPr>
        <p:grpSpPr>
          <a:xfrm>
            <a:off x="6682491" y="8259084"/>
            <a:ext cx="7162165" cy="1044575"/>
            <a:chOff x="6682491" y="8259084"/>
            <a:chExt cx="7162165" cy="1044575"/>
          </a:xfrm>
        </p:grpSpPr>
        <p:sp>
          <p:nvSpPr>
            <p:cNvPr id="62" name="object 62"/>
            <p:cNvSpPr/>
            <p:nvPr/>
          </p:nvSpPr>
          <p:spPr>
            <a:xfrm>
              <a:off x="6682486" y="8259089"/>
              <a:ext cx="7162165" cy="1044575"/>
            </a:xfrm>
            <a:custGeom>
              <a:avLst/>
              <a:gdLst/>
              <a:ahLst/>
              <a:cxnLst/>
              <a:rect l="l" t="t" r="r" b="b"/>
              <a:pathLst>
                <a:path w="7162165" h="1044575">
                  <a:moveTo>
                    <a:pt x="7161581" y="144348"/>
                  </a:moveTo>
                  <a:lnTo>
                    <a:pt x="882154" y="144348"/>
                  </a:lnTo>
                  <a:lnTo>
                    <a:pt x="858748" y="122834"/>
                  </a:lnTo>
                  <a:lnTo>
                    <a:pt x="823442" y="95542"/>
                  </a:lnTo>
                  <a:lnTo>
                    <a:pt x="785850" y="71310"/>
                  </a:lnTo>
                  <a:lnTo>
                    <a:pt x="746137" y="50292"/>
                  </a:lnTo>
                  <a:lnTo>
                    <a:pt x="704494" y="32677"/>
                  </a:lnTo>
                  <a:lnTo>
                    <a:pt x="661098" y="18656"/>
                  </a:lnTo>
                  <a:lnTo>
                    <a:pt x="616140" y="8420"/>
                  </a:lnTo>
                  <a:lnTo>
                    <a:pt x="569798" y="2133"/>
                  </a:lnTo>
                  <a:lnTo>
                    <a:pt x="522262" y="0"/>
                  </a:lnTo>
                  <a:lnTo>
                    <a:pt x="474726" y="2133"/>
                  </a:lnTo>
                  <a:lnTo>
                    <a:pt x="428383" y="8420"/>
                  </a:lnTo>
                  <a:lnTo>
                    <a:pt x="383425" y="18656"/>
                  </a:lnTo>
                  <a:lnTo>
                    <a:pt x="340029" y="32677"/>
                  </a:lnTo>
                  <a:lnTo>
                    <a:pt x="298373" y="50292"/>
                  </a:lnTo>
                  <a:lnTo>
                    <a:pt x="258660" y="71310"/>
                  </a:lnTo>
                  <a:lnTo>
                    <a:pt x="221068" y="95542"/>
                  </a:lnTo>
                  <a:lnTo>
                    <a:pt x="185775" y="122834"/>
                  </a:lnTo>
                  <a:lnTo>
                    <a:pt x="152958" y="152971"/>
                  </a:lnTo>
                  <a:lnTo>
                    <a:pt x="122821" y="185775"/>
                  </a:lnTo>
                  <a:lnTo>
                    <a:pt x="95542" y="221068"/>
                  </a:lnTo>
                  <a:lnTo>
                    <a:pt x="71297" y="258660"/>
                  </a:lnTo>
                  <a:lnTo>
                    <a:pt x="50279" y="298373"/>
                  </a:lnTo>
                  <a:lnTo>
                    <a:pt x="32677" y="340029"/>
                  </a:lnTo>
                  <a:lnTo>
                    <a:pt x="18656" y="383425"/>
                  </a:lnTo>
                  <a:lnTo>
                    <a:pt x="8407" y="428383"/>
                  </a:lnTo>
                  <a:lnTo>
                    <a:pt x="2133" y="474726"/>
                  </a:lnTo>
                  <a:lnTo>
                    <a:pt x="0" y="522262"/>
                  </a:lnTo>
                  <a:lnTo>
                    <a:pt x="2133" y="569798"/>
                  </a:lnTo>
                  <a:lnTo>
                    <a:pt x="8407" y="616140"/>
                  </a:lnTo>
                  <a:lnTo>
                    <a:pt x="18656" y="661098"/>
                  </a:lnTo>
                  <a:lnTo>
                    <a:pt x="32677" y="704494"/>
                  </a:lnTo>
                  <a:lnTo>
                    <a:pt x="50279" y="746137"/>
                  </a:lnTo>
                  <a:lnTo>
                    <a:pt x="71297" y="785850"/>
                  </a:lnTo>
                  <a:lnTo>
                    <a:pt x="95542" y="823455"/>
                  </a:lnTo>
                  <a:lnTo>
                    <a:pt x="122821" y="858748"/>
                  </a:lnTo>
                  <a:lnTo>
                    <a:pt x="152958" y="891552"/>
                  </a:lnTo>
                  <a:lnTo>
                    <a:pt x="185775" y="921689"/>
                  </a:lnTo>
                  <a:lnTo>
                    <a:pt x="221068" y="948969"/>
                  </a:lnTo>
                  <a:lnTo>
                    <a:pt x="258660" y="973213"/>
                  </a:lnTo>
                  <a:lnTo>
                    <a:pt x="298373" y="994232"/>
                  </a:lnTo>
                  <a:lnTo>
                    <a:pt x="340029" y="1011847"/>
                  </a:lnTo>
                  <a:lnTo>
                    <a:pt x="383425" y="1025867"/>
                  </a:lnTo>
                  <a:lnTo>
                    <a:pt x="428383" y="1036104"/>
                  </a:lnTo>
                  <a:lnTo>
                    <a:pt x="474726" y="1042390"/>
                  </a:lnTo>
                  <a:lnTo>
                    <a:pt x="522262" y="1044524"/>
                  </a:lnTo>
                  <a:lnTo>
                    <a:pt x="569798" y="1042390"/>
                  </a:lnTo>
                  <a:lnTo>
                    <a:pt x="616140" y="1036104"/>
                  </a:lnTo>
                  <a:lnTo>
                    <a:pt x="661098" y="1025867"/>
                  </a:lnTo>
                  <a:lnTo>
                    <a:pt x="704494" y="1011847"/>
                  </a:lnTo>
                  <a:lnTo>
                    <a:pt x="746137" y="994232"/>
                  </a:lnTo>
                  <a:lnTo>
                    <a:pt x="785850" y="973213"/>
                  </a:lnTo>
                  <a:lnTo>
                    <a:pt x="823442" y="948969"/>
                  </a:lnTo>
                  <a:lnTo>
                    <a:pt x="858748" y="921689"/>
                  </a:lnTo>
                  <a:lnTo>
                    <a:pt x="881456" y="900823"/>
                  </a:lnTo>
                  <a:lnTo>
                    <a:pt x="7161581" y="900823"/>
                  </a:lnTo>
                  <a:lnTo>
                    <a:pt x="7161581" y="144348"/>
                  </a:lnTo>
                  <a:close/>
                </a:path>
              </a:pathLst>
            </a:custGeom>
            <a:solidFill>
              <a:srgbClr val="21408B"/>
            </a:solidFill>
          </p:spPr>
          <p:txBody>
            <a:bodyPr wrap="square" lIns="0" tIns="0" rIns="0" bIns="0" rtlCol="0"/>
            <a:lstStyle/>
            <a:p>
              <a:endParaRPr/>
            </a:p>
          </p:txBody>
        </p:sp>
        <p:sp>
          <p:nvSpPr>
            <p:cNvPr id="63" name="object 63"/>
            <p:cNvSpPr/>
            <p:nvPr/>
          </p:nvSpPr>
          <p:spPr>
            <a:xfrm>
              <a:off x="7024551" y="8499941"/>
              <a:ext cx="400050" cy="561975"/>
            </a:xfrm>
            <a:custGeom>
              <a:avLst/>
              <a:gdLst/>
              <a:ahLst/>
              <a:cxnLst/>
              <a:rect l="l" t="t" r="r" b="b"/>
              <a:pathLst>
                <a:path w="400050" h="561975">
                  <a:moveTo>
                    <a:pt x="199820" y="388514"/>
                  </a:moveTo>
                  <a:lnTo>
                    <a:pt x="155005" y="379577"/>
                  </a:lnTo>
                  <a:lnTo>
                    <a:pt x="118394" y="355211"/>
                  </a:lnTo>
                  <a:lnTo>
                    <a:pt x="93701" y="319082"/>
                  </a:lnTo>
                  <a:lnTo>
                    <a:pt x="84644" y="274860"/>
                  </a:lnTo>
                  <a:lnTo>
                    <a:pt x="84644" y="113654"/>
                  </a:lnTo>
                  <a:lnTo>
                    <a:pt x="93701" y="69431"/>
                  </a:lnTo>
                  <a:lnTo>
                    <a:pt x="118394" y="33303"/>
                  </a:lnTo>
                  <a:lnTo>
                    <a:pt x="155005" y="8937"/>
                  </a:lnTo>
                  <a:lnTo>
                    <a:pt x="199820" y="0"/>
                  </a:lnTo>
                  <a:lnTo>
                    <a:pt x="244634" y="8937"/>
                  </a:lnTo>
                  <a:lnTo>
                    <a:pt x="281246" y="33303"/>
                  </a:lnTo>
                  <a:lnTo>
                    <a:pt x="305939" y="69431"/>
                  </a:lnTo>
                  <a:lnTo>
                    <a:pt x="314995" y="113654"/>
                  </a:lnTo>
                  <a:lnTo>
                    <a:pt x="314995" y="274860"/>
                  </a:lnTo>
                  <a:lnTo>
                    <a:pt x="305939" y="319082"/>
                  </a:lnTo>
                  <a:lnTo>
                    <a:pt x="281246" y="355211"/>
                  </a:lnTo>
                  <a:lnTo>
                    <a:pt x="244634" y="379577"/>
                  </a:lnTo>
                  <a:lnTo>
                    <a:pt x="199820" y="388514"/>
                  </a:lnTo>
                  <a:close/>
                </a:path>
                <a:path w="400050" h="561975">
                  <a:moveTo>
                    <a:pt x="219870" y="521954"/>
                  </a:moveTo>
                  <a:lnTo>
                    <a:pt x="179200" y="521954"/>
                  </a:lnTo>
                  <a:lnTo>
                    <a:pt x="179200" y="467431"/>
                  </a:lnTo>
                  <a:lnTo>
                    <a:pt x="131037" y="456469"/>
                  </a:lnTo>
                  <a:lnTo>
                    <a:pt x="88083" y="434739"/>
                  </a:lnTo>
                  <a:lnTo>
                    <a:pt x="51920" y="403803"/>
                  </a:lnTo>
                  <a:lnTo>
                    <a:pt x="24130" y="365223"/>
                  </a:lnTo>
                  <a:lnTo>
                    <a:pt x="6296" y="320560"/>
                  </a:lnTo>
                  <a:lnTo>
                    <a:pt x="0" y="271375"/>
                  </a:lnTo>
                  <a:lnTo>
                    <a:pt x="0" y="251028"/>
                  </a:lnTo>
                  <a:lnTo>
                    <a:pt x="1598" y="243253"/>
                  </a:lnTo>
                  <a:lnTo>
                    <a:pt x="5952" y="236891"/>
                  </a:lnTo>
                  <a:lnTo>
                    <a:pt x="12399" y="232595"/>
                  </a:lnTo>
                  <a:lnTo>
                    <a:pt x="20278" y="231017"/>
                  </a:lnTo>
                  <a:lnTo>
                    <a:pt x="28156" y="232595"/>
                  </a:lnTo>
                  <a:lnTo>
                    <a:pt x="34603" y="236891"/>
                  </a:lnTo>
                  <a:lnTo>
                    <a:pt x="38957" y="243253"/>
                  </a:lnTo>
                  <a:lnTo>
                    <a:pt x="40556" y="251028"/>
                  </a:lnTo>
                  <a:lnTo>
                    <a:pt x="40556" y="271375"/>
                  </a:lnTo>
                  <a:lnTo>
                    <a:pt x="48687" y="321003"/>
                  </a:lnTo>
                  <a:lnTo>
                    <a:pt x="71320" y="364139"/>
                  </a:lnTo>
                  <a:lnTo>
                    <a:pt x="105814" y="398177"/>
                  </a:lnTo>
                  <a:lnTo>
                    <a:pt x="149528" y="420511"/>
                  </a:lnTo>
                  <a:lnTo>
                    <a:pt x="199820" y="428535"/>
                  </a:lnTo>
                  <a:lnTo>
                    <a:pt x="318833" y="428535"/>
                  </a:lnTo>
                  <a:lnTo>
                    <a:pt x="311287" y="434972"/>
                  </a:lnTo>
                  <a:lnTo>
                    <a:pt x="268194" y="456666"/>
                  </a:lnTo>
                  <a:lnTo>
                    <a:pt x="219870" y="467544"/>
                  </a:lnTo>
                  <a:lnTo>
                    <a:pt x="219870" y="521954"/>
                  </a:lnTo>
                  <a:close/>
                </a:path>
                <a:path w="400050" h="561975">
                  <a:moveTo>
                    <a:pt x="318833" y="428535"/>
                  </a:moveTo>
                  <a:lnTo>
                    <a:pt x="199820" y="428535"/>
                  </a:lnTo>
                  <a:lnTo>
                    <a:pt x="250111" y="420511"/>
                  </a:lnTo>
                  <a:lnTo>
                    <a:pt x="293825" y="398177"/>
                  </a:lnTo>
                  <a:lnTo>
                    <a:pt x="328319" y="364139"/>
                  </a:lnTo>
                  <a:lnTo>
                    <a:pt x="350952" y="321003"/>
                  </a:lnTo>
                  <a:lnTo>
                    <a:pt x="359083" y="271375"/>
                  </a:lnTo>
                  <a:lnTo>
                    <a:pt x="359083" y="251028"/>
                  </a:lnTo>
                  <a:lnTo>
                    <a:pt x="360682" y="243253"/>
                  </a:lnTo>
                  <a:lnTo>
                    <a:pt x="365036" y="236891"/>
                  </a:lnTo>
                  <a:lnTo>
                    <a:pt x="371483" y="232595"/>
                  </a:lnTo>
                  <a:lnTo>
                    <a:pt x="379362" y="231017"/>
                  </a:lnTo>
                  <a:lnTo>
                    <a:pt x="387264" y="232595"/>
                  </a:lnTo>
                  <a:lnTo>
                    <a:pt x="393687" y="236849"/>
                  </a:lnTo>
                  <a:lnTo>
                    <a:pt x="398041" y="243206"/>
                  </a:lnTo>
                  <a:lnTo>
                    <a:pt x="399640" y="251028"/>
                  </a:lnTo>
                  <a:lnTo>
                    <a:pt x="399640" y="271375"/>
                  </a:lnTo>
                  <a:lnTo>
                    <a:pt x="393325" y="320662"/>
                  </a:lnTo>
                  <a:lnTo>
                    <a:pt x="375438" y="365402"/>
                  </a:lnTo>
                  <a:lnTo>
                    <a:pt x="347563" y="404028"/>
                  </a:lnTo>
                  <a:lnTo>
                    <a:pt x="318833" y="428535"/>
                  </a:lnTo>
                  <a:close/>
                </a:path>
                <a:path w="400050" h="561975">
                  <a:moveTo>
                    <a:pt x="301325" y="561974"/>
                  </a:moveTo>
                  <a:lnTo>
                    <a:pt x="98315" y="561974"/>
                  </a:lnTo>
                  <a:lnTo>
                    <a:pt x="90436" y="560397"/>
                  </a:lnTo>
                  <a:lnTo>
                    <a:pt x="83989" y="556101"/>
                  </a:lnTo>
                  <a:lnTo>
                    <a:pt x="79635" y="549739"/>
                  </a:lnTo>
                  <a:lnTo>
                    <a:pt x="78036" y="541964"/>
                  </a:lnTo>
                  <a:lnTo>
                    <a:pt x="79635" y="534190"/>
                  </a:lnTo>
                  <a:lnTo>
                    <a:pt x="83989" y="527828"/>
                  </a:lnTo>
                  <a:lnTo>
                    <a:pt x="90436" y="523531"/>
                  </a:lnTo>
                  <a:lnTo>
                    <a:pt x="98315" y="521954"/>
                  </a:lnTo>
                  <a:lnTo>
                    <a:pt x="301325" y="521954"/>
                  </a:lnTo>
                  <a:lnTo>
                    <a:pt x="309203" y="523531"/>
                  </a:lnTo>
                  <a:lnTo>
                    <a:pt x="315650" y="527828"/>
                  </a:lnTo>
                  <a:lnTo>
                    <a:pt x="320004" y="534190"/>
                  </a:lnTo>
                  <a:lnTo>
                    <a:pt x="321603" y="541964"/>
                  </a:lnTo>
                  <a:lnTo>
                    <a:pt x="320004" y="549739"/>
                  </a:lnTo>
                  <a:lnTo>
                    <a:pt x="315650" y="556101"/>
                  </a:lnTo>
                  <a:lnTo>
                    <a:pt x="309203" y="560397"/>
                  </a:lnTo>
                  <a:lnTo>
                    <a:pt x="301325" y="561974"/>
                  </a:lnTo>
                  <a:close/>
                </a:path>
              </a:pathLst>
            </a:custGeom>
            <a:solidFill>
              <a:srgbClr val="FFFFFF"/>
            </a:solidFill>
          </p:spPr>
          <p:txBody>
            <a:bodyPr wrap="square" lIns="0" tIns="0" rIns="0" bIns="0" rtlCol="0"/>
            <a:lstStyle/>
            <a:p>
              <a:endParaRPr/>
            </a:p>
          </p:txBody>
        </p:sp>
      </p:grpSp>
      <p:grpSp>
        <p:nvGrpSpPr>
          <p:cNvPr id="64" name="object 64"/>
          <p:cNvGrpSpPr/>
          <p:nvPr/>
        </p:nvGrpSpPr>
        <p:grpSpPr>
          <a:xfrm>
            <a:off x="6682491" y="7077338"/>
            <a:ext cx="7163434" cy="1044575"/>
            <a:chOff x="6682491" y="7077338"/>
            <a:chExt cx="7163434" cy="1044575"/>
          </a:xfrm>
        </p:grpSpPr>
        <p:sp>
          <p:nvSpPr>
            <p:cNvPr id="65" name="object 65"/>
            <p:cNvSpPr/>
            <p:nvPr/>
          </p:nvSpPr>
          <p:spPr>
            <a:xfrm>
              <a:off x="6682486" y="7077341"/>
              <a:ext cx="7163434" cy="1044575"/>
            </a:xfrm>
            <a:custGeom>
              <a:avLst/>
              <a:gdLst/>
              <a:ahLst/>
              <a:cxnLst/>
              <a:rect l="l" t="t" r="r" b="b"/>
              <a:pathLst>
                <a:path w="7163434" h="1044575">
                  <a:moveTo>
                    <a:pt x="1044511" y="522262"/>
                  </a:moveTo>
                  <a:lnTo>
                    <a:pt x="1042377" y="474726"/>
                  </a:lnTo>
                  <a:lnTo>
                    <a:pt x="1036104" y="428383"/>
                  </a:lnTo>
                  <a:lnTo>
                    <a:pt x="1025855" y="383425"/>
                  </a:lnTo>
                  <a:lnTo>
                    <a:pt x="1011847" y="340029"/>
                  </a:lnTo>
                  <a:lnTo>
                    <a:pt x="994232" y="298386"/>
                  </a:lnTo>
                  <a:lnTo>
                    <a:pt x="973213" y="258673"/>
                  </a:lnTo>
                  <a:lnTo>
                    <a:pt x="948969" y="221068"/>
                  </a:lnTo>
                  <a:lnTo>
                    <a:pt x="921689" y="185775"/>
                  </a:lnTo>
                  <a:lnTo>
                    <a:pt x="891552" y="152971"/>
                  </a:lnTo>
                  <a:lnTo>
                    <a:pt x="858748" y="122834"/>
                  </a:lnTo>
                  <a:lnTo>
                    <a:pt x="823442" y="95554"/>
                  </a:lnTo>
                  <a:lnTo>
                    <a:pt x="785850" y="71310"/>
                  </a:lnTo>
                  <a:lnTo>
                    <a:pt x="746137" y="50292"/>
                  </a:lnTo>
                  <a:lnTo>
                    <a:pt x="704494" y="32677"/>
                  </a:lnTo>
                  <a:lnTo>
                    <a:pt x="661098" y="18656"/>
                  </a:lnTo>
                  <a:lnTo>
                    <a:pt x="616140" y="8420"/>
                  </a:lnTo>
                  <a:lnTo>
                    <a:pt x="569798" y="2133"/>
                  </a:lnTo>
                  <a:lnTo>
                    <a:pt x="522262" y="0"/>
                  </a:lnTo>
                  <a:lnTo>
                    <a:pt x="474726" y="2133"/>
                  </a:lnTo>
                  <a:lnTo>
                    <a:pt x="428383" y="8420"/>
                  </a:lnTo>
                  <a:lnTo>
                    <a:pt x="383425" y="18656"/>
                  </a:lnTo>
                  <a:lnTo>
                    <a:pt x="340029" y="32677"/>
                  </a:lnTo>
                  <a:lnTo>
                    <a:pt x="298373" y="50292"/>
                  </a:lnTo>
                  <a:lnTo>
                    <a:pt x="258660" y="71310"/>
                  </a:lnTo>
                  <a:lnTo>
                    <a:pt x="221068" y="95554"/>
                  </a:lnTo>
                  <a:lnTo>
                    <a:pt x="185775" y="122834"/>
                  </a:lnTo>
                  <a:lnTo>
                    <a:pt x="152958" y="152971"/>
                  </a:lnTo>
                  <a:lnTo>
                    <a:pt x="122821" y="185775"/>
                  </a:lnTo>
                  <a:lnTo>
                    <a:pt x="95542" y="221068"/>
                  </a:lnTo>
                  <a:lnTo>
                    <a:pt x="71297" y="258673"/>
                  </a:lnTo>
                  <a:lnTo>
                    <a:pt x="50279" y="298386"/>
                  </a:lnTo>
                  <a:lnTo>
                    <a:pt x="32677" y="340029"/>
                  </a:lnTo>
                  <a:lnTo>
                    <a:pt x="18656" y="383425"/>
                  </a:lnTo>
                  <a:lnTo>
                    <a:pt x="8407" y="428383"/>
                  </a:lnTo>
                  <a:lnTo>
                    <a:pt x="2133" y="474726"/>
                  </a:lnTo>
                  <a:lnTo>
                    <a:pt x="0" y="522262"/>
                  </a:lnTo>
                  <a:lnTo>
                    <a:pt x="2133" y="569798"/>
                  </a:lnTo>
                  <a:lnTo>
                    <a:pt x="8407" y="616140"/>
                  </a:lnTo>
                  <a:lnTo>
                    <a:pt x="18656" y="661098"/>
                  </a:lnTo>
                  <a:lnTo>
                    <a:pt x="32677" y="704494"/>
                  </a:lnTo>
                  <a:lnTo>
                    <a:pt x="50279" y="746137"/>
                  </a:lnTo>
                  <a:lnTo>
                    <a:pt x="71297" y="785850"/>
                  </a:lnTo>
                  <a:lnTo>
                    <a:pt x="95542" y="823455"/>
                  </a:lnTo>
                  <a:lnTo>
                    <a:pt x="122821" y="858748"/>
                  </a:lnTo>
                  <a:lnTo>
                    <a:pt x="152958" y="891552"/>
                  </a:lnTo>
                  <a:lnTo>
                    <a:pt x="185775" y="921689"/>
                  </a:lnTo>
                  <a:lnTo>
                    <a:pt x="221068" y="948969"/>
                  </a:lnTo>
                  <a:lnTo>
                    <a:pt x="258660" y="973213"/>
                  </a:lnTo>
                  <a:lnTo>
                    <a:pt x="298373" y="994232"/>
                  </a:lnTo>
                  <a:lnTo>
                    <a:pt x="340029" y="1011847"/>
                  </a:lnTo>
                  <a:lnTo>
                    <a:pt x="383425" y="1025867"/>
                  </a:lnTo>
                  <a:lnTo>
                    <a:pt x="428383" y="1036104"/>
                  </a:lnTo>
                  <a:lnTo>
                    <a:pt x="474726" y="1042390"/>
                  </a:lnTo>
                  <a:lnTo>
                    <a:pt x="522262" y="1044524"/>
                  </a:lnTo>
                  <a:lnTo>
                    <a:pt x="569798" y="1042390"/>
                  </a:lnTo>
                  <a:lnTo>
                    <a:pt x="616140" y="1036104"/>
                  </a:lnTo>
                  <a:lnTo>
                    <a:pt x="661098" y="1025867"/>
                  </a:lnTo>
                  <a:lnTo>
                    <a:pt x="704494" y="1011847"/>
                  </a:lnTo>
                  <a:lnTo>
                    <a:pt x="746137" y="994232"/>
                  </a:lnTo>
                  <a:lnTo>
                    <a:pt x="785850" y="973213"/>
                  </a:lnTo>
                  <a:lnTo>
                    <a:pt x="823442" y="948969"/>
                  </a:lnTo>
                  <a:lnTo>
                    <a:pt x="858748" y="921689"/>
                  </a:lnTo>
                  <a:lnTo>
                    <a:pt x="891552" y="891552"/>
                  </a:lnTo>
                  <a:lnTo>
                    <a:pt x="921689" y="858748"/>
                  </a:lnTo>
                  <a:lnTo>
                    <a:pt x="948969" y="823455"/>
                  </a:lnTo>
                  <a:lnTo>
                    <a:pt x="973213" y="785850"/>
                  </a:lnTo>
                  <a:lnTo>
                    <a:pt x="994232" y="746137"/>
                  </a:lnTo>
                  <a:lnTo>
                    <a:pt x="1011847" y="704494"/>
                  </a:lnTo>
                  <a:lnTo>
                    <a:pt x="1025855" y="661098"/>
                  </a:lnTo>
                  <a:lnTo>
                    <a:pt x="1036104" y="616140"/>
                  </a:lnTo>
                  <a:lnTo>
                    <a:pt x="1042377" y="569798"/>
                  </a:lnTo>
                  <a:lnTo>
                    <a:pt x="1044511" y="522262"/>
                  </a:lnTo>
                  <a:close/>
                </a:path>
                <a:path w="7163434" h="1044575">
                  <a:moveTo>
                    <a:pt x="7163155" y="144348"/>
                  </a:moveTo>
                  <a:lnTo>
                    <a:pt x="4268457" y="144348"/>
                  </a:lnTo>
                  <a:lnTo>
                    <a:pt x="4268457" y="900823"/>
                  </a:lnTo>
                  <a:lnTo>
                    <a:pt x="7163155" y="900823"/>
                  </a:lnTo>
                  <a:lnTo>
                    <a:pt x="7163155" y="144348"/>
                  </a:lnTo>
                  <a:close/>
                </a:path>
              </a:pathLst>
            </a:custGeom>
            <a:solidFill>
              <a:srgbClr val="21408B"/>
            </a:solidFill>
          </p:spPr>
          <p:txBody>
            <a:bodyPr wrap="square" lIns="0" tIns="0" rIns="0" bIns="0" rtlCol="0"/>
            <a:lstStyle/>
            <a:p>
              <a:endParaRPr/>
            </a:p>
          </p:txBody>
        </p:sp>
        <p:sp>
          <p:nvSpPr>
            <p:cNvPr id="66" name="object 66"/>
            <p:cNvSpPr/>
            <p:nvPr/>
          </p:nvSpPr>
          <p:spPr>
            <a:xfrm>
              <a:off x="6974636" y="7351801"/>
              <a:ext cx="447675" cy="485775"/>
            </a:xfrm>
            <a:custGeom>
              <a:avLst/>
              <a:gdLst/>
              <a:ahLst/>
              <a:cxnLst/>
              <a:rect l="l" t="t" r="r" b="b"/>
              <a:pathLst>
                <a:path w="447675" h="485775">
                  <a:moveTo>
                    <a:pt x="281305" y="446925"/>
                  </a:moveTo>
                  <a:lnTo>
                    <a:pt x="281101" y="444957"/>
                  </a:lnTo>
                  <a:lnTo>
                    <a:pt x="280111" y="443484"/>
                  </a:lnTo>
                  <a:lnTo>
                    <a:pt x="279006" y="441909"/>
                  </a:lnTo>
                  <a:lnTo>
                    <a:pt x="276821" y="440829"/>
                  </a:lnTo>
                  <a:lnTo>
                    <a:pt x="275424" y="441032"/>
                  </a:lnTo>
                  <a:lnTo>
                    <a:pt x="172554" y="441617"/>
                  </a:lnTo>
                  <a:lnTo>
                    <a:pt x="168859" y="442607"/>
                  </a:lnTo>
                  <a:lnTo>
                    <a:pt x="166865" y="445744"/>
                  </a:lnTo>
                  <a:lnTo>
                    <a:pt x="166662" y="447713"/>
                  </a:lnTo>
                  <a:lnTo>
                    <a:pt x="167462" y="449389"/>
                  </a:lnTo>
                  <a:lnTo>
                    <a:pt x="176961" y="464400"/>
                  </a:lnTo>
                  <a:lnTo>
                    <a:pt x="190182" y="475881"/>
                  </a:lnTo>
                  <a:lnTo>
                    <a:pt x="206146" y="483196"/>
                  </a:lnTo>
                  <a:lnTo>
                    <a:pt x="223888" y="485775"/>
                  </a:lnTo>
                  <a:lnTo>
                    <a:pt x="241858" y="483146"/>
                  </a:lnTo>
                  <a:lnTo>
                    <a:pt x="257924" y="475678"/>
                  </a:lnTo>
                  <a:lnTo>
                    <a:pt x="271157" y="463994"/>
                  </a:lnTo>
                  <a:lnTo>
                    <a:pt x="280606" y="448703"/>
                  </a:lnTo>
                  <a:lnTo>
                    <a:pt x="281305" y="446925"/>
                  </a:lnTo>
                  <a:close/>
                </a:path>
                <a:path w="447675" h="485775">
                  <a:moveTo>
                    <a:pt x="447675" y="394220"/>
                  </a:moveTo>
                  <a:lnTo>
                    <a:pt x="446176" y="391071"/>
                  </a:lnTo>
                  <a:lnTo>
                    <a:pt x="380580" y="337096"/>
                  </a:lnTo>
                  <a:lnTo>
                    <a:pt x="380580" y="198742"/>
                  </a:lnTo>
                  <a:lnTo>
                    <a:pt x="372122" y="148640"/>
                  </a:lnTo>
                  <a:lnTo>
                    <a:pt x="348640" y="105384"/>
                  </a:lnTo>
                  <a:lnTo>
                    <a:pt x="312966" y="71729"/>
                  </a:lnTo>
                  <a:lnTo>
                    <a:pt x="267944" y="50444"/>
                  </a:lnTo>
                  <a:lnTo>
                    <a:pt x="268249" y="48387"/>
                  </a:lnTo>
                  <a:lnTo>
                    <a:pt x="268643" y="46316"/>
                  </a:lnTo>
                  <a:lnTo>
                    <a:pt x="268643" y="45923"/>
                  </a:lnTo>
                  <a:lnTo>
                    <a:pt x="268643" y="44157"/>
                  </a:lnTo>
                  <a:lnTo>
                    <a:pt x="265125" y="26974"/>
                  </a:lnTo>
                  <a:lnTo>
                    <a:pt x="261747" y="22034"/>
                  </a:lnTo>
                  <a:lnTo>
                    <a:pt x="255536" y="12941"/>
                  </a:lnTo>
                  <a:lnTo>
                    <a:pt x="246214" y="6743"/>
                  </a:lnTo>
                  <a:lnTo>
                    <a:pt x="246214" y="44157"/>
                  </a:lnTo>
                  <a:lnTo>
                    <a:pt x="246113" y="45339"/>
                  </a:lnTo>
                  <a:lnTo>
                    <a:pt x="246011" y="45923"/>
                  </a:lnTo>
                  <a:lnTo>
                    <a:pt x="238734" y="44945"/>
                  </a:lnTo>
                  <a:lnTo>
                    <a:pt x="231355" y="44157"/>
                  </a:lnTo>
                  <a:lnTo>
                    <a:pt x="216204" y="44157"/>
                  </a:lnTo>
                  <a:lnTo>
                    <a:pt x="208927" y="44843"/>
                  </a:lnTo>
                  <a:lnTo>
                    <a:pt x="201650" y="45923"/>
                  </a:lnTo>
                  <a:lnTo>
                    <a:pt x="201650" y="45339"/>
                  </a:lnTo>
                  <a:lnTo>
                    <a:pt x="201523" y="44945"/>
                  </a:lnTo>
                  <a:lnTo>
                    <a:pt x="201460" y="44157"/>
                  </a:lnTo>
                  <a:lnTo>
                    <a:pt x="203225" y="35560"/>
                  </a:lnTo>
                  <a:lnTo>
                    <a:pt x="208038" y="28524"/>
                  </a:lnTo>
                  <a:lnTo>
                    <a:pt x="215163" y="23774"/>
                  </a:lnTo>
                  <a:lnTo>
                    <a:pt x="223888" y="22034"/>
                  </a:lnTo>
                  <a:lnTo>
                    <a:pt x="232587" y="23774"/>
                  </a:lnTo>
                  <a:lnTo>
                    <a:pt x="239687" y="28524"/>
                  </a:lnTo>
                  <a:lnTo>
                    <a:pt x="244462" y="35560"/>
                  </a:lnTo>
                  <a:lnTo>
                    <a:pt x="246214" y="44157"/>
                  </a:lnTo>
                  <a:lnTo>
                    <a:pt x="246214" y="6743"/>
                  </a:lnTo>
                  <a:lnTo>
                    <a:pt x="241312" y="3479"/>
                  </a:lnTo>
                  <a:lnTo>
                    <a:pt x="223888" y="0"/>
                  </a:lnTo>
                  <a:lnTo>
                    <a:pt x="206463" y="3479"/>
                  </a:lnTo>
                  <a:lnTo>
                    <a:pt x="192239" y="12941"/>
                  </a:lnTo>
                  <a:lnTo>
                    <a:pt x="182651" y="26974"/>
                  </a:lnTo>
                  <a:lnTo>
                    <a:pt x="179133" y="44157"/>
                  </a:lnTo>
                  <a:lnTo>
                    <a:pt x="179133" y="46316"/>
                  </a:lnTo>
                  <a:lnTo>
                    <a:pt x="179527" y="48387"/>
                  </a:lnTo>
                  <a:lnTo>
                    <a:pt x="179832" y="50444"/>
                  </a:lnTo>
                  <a:lnTo>
                    <a:pt x="134810" y="71716"/>
                  </a:lnTo>
                  <a:lnTo>
                    <a:pt x="99136" y="105346"/>
                  </a:lnTo>
                  <a:lnTo>
                    <a:pt x="75641" y="148602"/>
                  </a:lnTo>
                  <a:lnTo>
                    <a:pt x="67183" y="198742"/>
                  </a:lnTo>
                  <a:lnTo>
                    <a:pt x="67183" y="337096"/>
                  </a:lnTo>
                  <a:lnTo>
                    <a:pt x="3987" y="389013"/>
                  </a:lnTo>
                  <a:lnTo>
                    <a:pt x="1397" y="391071"/>
                  </a:lnTo>
                  <a:lnTo>
                    <a:pt x="0" y="394220"/>
                  </a:lnTo>
                  <a:lnTo>
                    <a:pt x="0" y="414578"/>
                  </a:lnTo>
                  <a:lnTo>
                    <a:pt x="4978" y="419493"/>
                  </a:lnTo>
                  <a:lnTo>
                    <a:pt x="442683" y="419493"/>
                  </a:lnTo>
                  <a:lnTo>
                    <a:pt x="447675" y="414578"/>
                  </a:lnTo>
                  <a:lnTo>
                    <a:pt x="447675" y="394220"/>
                  </a:lnTo>
                  <a:close/>
                </a:path>
              </a:pathLst>
            </a:custGeom>
            <a:solidFill>
              <a:srgbClr val="FFFFFF"/>
            </a:solidFill>
          </p:spPr>
          <p:txBody>
            <a:bodyPr wrap="square" lIns="0" tIns="0" rIns="0" bIns="0" rtlCol="0"/>
            <a:lstStyle/>
            <a:p>
              <a:endParaRPr/>
            </a:p>
          </p:txBody>
        </p:sp>
        <p:sp>
          <p:nvSpPr>
            <p:cNvPr id="67" name="object 67"/>
            <p:cNvSpPr/>
            <p:nvPr/>
          </p:nvSpPr>
          <p:spPr>
            <a:xfrm>
              <a:off x="7452563" y="7077341"/>
              <a:ext cx="3707129" cy="1044575"/>
            </a:xfrm>
            <a:custGeom>
              <a:avLst/>
              <a:gdLst/>
              <a:ahLst/>
              <a:cxnLst/>
              <a:rect l="l" t="t" r="r" b="b"/>
              <a:pathLst>
                <a:path w="3707129" h="1044575">
                  <a:moveTo>
                    <a:pt x="3706914" y="522262"/>
                  </a:moveTo>
                  <a:lnTo>
                    <a:pt x="3704780" y="474726"/>
                  </a:lnTo>
                  <a:lnTo>
                    <a:pt x="3698494" y="428383"/>
                  </a:lnTo>
                  <a:lnTo>
                    <a:pt x="3688257" y="383425"/>
                  </a:lnTo>
                  <a:lnTo>
                    <a:pt x="3674237" y="340029"/>
                  </a:lnTo>
                  <a:lnTo>
                    <a:pt x="3656622" y="298386"/>
                  </a:lnTo>
                  <a:lnTo>
                    <a:pt x="3635603" y="258673"/>
                  </a:lnTo>
                  <a:lnTo>
                    <a:pt x="3611359" y="221068"/>
                  </a:lnTo>
                  <a:lnTo>
                    <a:pt x="3584079" y="185775"/>
                  </a:lnTo>
                  <a:lnTo>
                    <a:pt x="3553942" y="152971"/>
                  </a:lnTo>
                  <a:lnTo>
                    <a:pt x="3521138" y="122834"/>
                  </a:lnTo>
                  <a:lnTo>
                    <a:pt x="3485845" y="95554"/>
                  </a:lnTo>
                  <a:lnTo>
                    <a:pt x="3448240" y="71310"/>
                  </a:lnTo>
                  <a:lnTo>
                    <a:pt x="3408527" y="50292"/>
                  </a:lnTo>
                  <a:lnTo>
                    <a:pt x="3366884" y="32677"/>
                  </a:lnTo>
                  <a:lnTo>
                    <a:pt x="3323488" y="18656"/>
                  </a:lnTo>
                  <a:lnTo>
                    <a:pt x="3278530" y="8420"/>
                  </a:lnTo>
                  <a:lnTo>
                    <a:pt x="3232188" y="2133"/>
                  </a:lnTo>
                  <a:lnTo>
                    <a:pt x="3184652" y="0"/>
                  </a:lnTo>
                  <a:lnTo>
                    <a:pt x="3137116" y="2133"/>
                  </a:lnTo>
                  <a:lnTo>
                    <a:pt x="3090773" y="8420"/>
                  </a:lnTo>
                  <a:lnTo>
                    <a:pt x="3045815" y="18656"/>
                  </a:lnTo>
                  <a:lnTo>
                    <a:pt x="3002419" y="32677"/>
                  </a:lnTo>
                  <a:lnTo>
                    <a:pt x="2960776" y="50292"/>
                  </a:lnTo>
                  <a:lnTo>
                    <a:pt x="2921063" y="71310"/>
                  </a:lnTo>
                  <a:lnTo>
                    <a:pt x="2883458" y="95554"/>
                  </a:lnTo>
                  <a:lnTo>
                    <a:pt x="2848165" y="122834"/>
                  </a:lnTo>
                  <a:lnTo>
                    <a:pt x="2824746" y="144348"/>
                  </a:lnTo>
                  <a:lnTo>
                    <a:pt x="0" y="144348"/>
                  </a:lnTo>
                  <a:lnTo>
                    <a:pt x="0" y="900823"/>
                  </a:lnTo>
                  <a:lnTo>
                    <a:pt x="2825445" y="900823"/>
                  </a:lnTo>
                  <a:lnTo>
                    <a:pt x="2848165" y="921689"/>
                  </a:lnTo>
                  <a:lnTo>
                    <a:pt x="2883458" y="948969"/>
                  </a:lnTo>
                  <a:lnTo>
                    <a:pt x="2921063" y="973213"/>
                  </a:lnTo>
                  <a:lnTo>
                    <a:pt x="2960776" y="994232"/>
                  </a:lnTo>
                  <a:lnTo>
                    <a:pt x="3002419" y="1011847"/>
                  </a:lnTo>
                  <a:lnTo>
                    <a:pt x="3045815" y="1025867"/>
                  </a:lnTo>
                  <a:lnTo>
                    <a:pt x="3090773" y="1036104"/>
                  </a:lnTo>
                  <a:lnTo>
                    <a:pt x="3137116" y="1042390"/>
                  </a:lnTo>
                  <a:lnTo>
                    <a:pt x="3184664" y="1044524"/>
                  </a:lnTo>
                  <a:lnTo>
                    <a:pt x="3232188" y="1042390"/>
                  </a:lnTo>
                  <a:lnTo>
                    <a:pt x="3278530" y="1036104"/>
                  </a:lnTo>
                  <a:lnTo>
                    <a:pt x="3323488" y="1025867"/>
                  </a:lnTo>
                  <a:lnTo>
                    <a:pt x="3366884" y="1011847"/>
                  </a:lnTo>
                  <a:lnTo>
                    <a:pt x="3408527" y="994232"/>
                  </a:lnTo>
                  <a:lnTo>
                    <a:pt x="3448240" y="973213"/>
                  </a:lnTo>
                  <a:lnTo>
                    <a:pt x="3485845" y="948969"/>
                  </a:lnTo>
                  <a:lnTo>
                    <a:pt x="3521138" y="921689"/>
                  </a:lnTo>
                  <a:lnTo>
                    <a:pt x="3553942" y="891552"/>
                  </a:lnTo>
                  <a:lnTo>
                    <a:pt x="3584079" y="858748"/>
                  </a:lnTo>
                  <a:lnTo>
                    <a:pt x="3611359" y="823455"/>
                  </a:lnTo>
                  <a:lnTo>
                    <a:pt x="3635603" y="785850"/>
                  </a:lnTo>
                  <a:lnTo>
                    <a:pt x="3656622" y="746137"/>
                  </a:lnTo>
                  <a:lnTo>
                    <a:pt x="3674237" y="704494"/>
                  </a:lnTo>
                  <a:lnTo>
                    <a:pt x="3688257" y="661098"/>
                  </a:lnTo>
                  <a:lnTo>
                    <a:pt x="3698494" y="616140"/>
                  </a:lnTo>
                  <a:lnTo>
                    <a:pt x="3704780" y="569798"/>
                  </a:lnTo>
                  <a:lnTo>
                    <a:pt x="3706914" y="522262"/>
                  </a:lnTo>
                  <a:close/>
                </a:path>
              </a:pathLst>
            </a:custGeom>
            <a:solidFill>
              <a:srgbClr val="21408B"/>
            </a:solidFill>
          </p:spPr>
          <p:txBody>
            <a:bodyPr wrap="square" lIns="0" tIns="0" rIns="0" bIns="0" rtlCol="0"/>
            <a:lstStyle/>
            <a:p>
              <a:endParaRPr/>
            </a:p>
          </p:txBody>
        </p:sp>
        <p:sp>
          <p:nvSpPr>
            <p:cNvPr id="68" name="object 68"/>
            <p:cNvSpPr/>
            <p:nvPr/>
          </p:nvSpPr>
          <p:spPr>
            <a:xfrm>
              <a:off x="10386563" y="7273248"/>
              <a:ext cx="565150" cy="565150"/>
            </a:xfrm>
            <a:custGeom>
              <a:avLst/>
              <a:gdLst/>
              <a:ahLst/>
              <a:cxnLst/>
              <a:rect l="l" t="t" r="r" b="b"/>
              <a:pathLst>
                <a:path w="565150" h="565150">
                  <a:moveTo>
                    <a:pt x="167329" y="401088"/>
                  </a:moveTo>
                  <a:lnTo>
                    <a:pt x="112021" y="283521"/>
                  </a:lnTo>
                  <a:lnTo>
                    <a:pt x="152445" y="256180"/>
                  </a:lnTo>
                  <a:lnTo>
                    <a:pt x="172096" y="242434"/>
                  </a:lnTo>
                  <a:lnTo>
                    <a:pt x="215969" y="204960"/>
                  </a:lnTo>
                  <a:lnTo>
                    <a:pt x="253535" y="150184"/>
                  </a:lnTo>
                  <a:lnTo>
                    <a:pt x="265681" y="109014"/>
                  </a:lnTo>
                  <a:lnTo>
                    <a:pt x="267000" y="91756"/>
                  </a:lnTo>
                  <a:lnTo>
                    <a:pt x="266948" y="76735"/>
                  </a:lnTo>
                  <a:lnTo>
                    <a:pt x="264810" y="69982"/>
                  </a:lnTo>
                  <a:lnTo>
                    <a:pt x="281319" y="64692"/>
                  </a:lnTo>
                  <a:lnTo>
                    <a:pt x="283350" y="72301"/>
                  </a:lnTo>
                  <a:lnTo>
                    <a:pt x="422853" y="368705"/>
                  </a:lnTo>
                  <a:lnTo>
                    <a:pt x="307896" y="368705"/>
                  </a:lnTo>
                  <a:lnTo>
                    <a:pt x="235257" y="377796"/>
                  </a:lnTo>
                  <a:lnTo>
                    <a:pt x="191776" y="391382"/>
                  </a:lnTo>
                  <a:lnTo>
                    <a:pt x="183859" y="394481"/>
                  </a:lnTo>
                  <a:lnTo>
                    <a:pt x="167329" y="401088"/>
                  </a:lnTo>
                  <a:close/>
                </a:path>
                <a:path w="565150" h="565150">
                  <a:moveTo>
                    <a:pt x="392056" y="256591"/>
                  </a:moveTo>
                  <a:lnTo>
                    <a:pt x="367552" y="204626"/>
                  </a:lnTo>
                  <a:lnTo>
                    <a:pt x="380883" y="202434"/>
                  </a:lnTo>
                  <a:lnTo>
                    <a:pt x="391603" y="203854"/>
                  </a:lnTo>
                  <a:lnTo>
                    <a:pt x="399939" y="208836"/>
                  </a:lnTo>
                  <a:lnTo>
                    <a:pt x="406116" y="217329"/>
                  </a:lnTo>
                  <a:lnTo>
                    <a:pt x="409446" y="227769"/>
                  </a:lnTo>
                  <a:lnTo>
                    <a:pt x="408355" y="237639"/>
                  </a:lnTo>
                  <a:lnTo>
                    <a:pt x="402630" y="247170"/>
                  </a:lnTo>
                  <a:lnTo>
                    <a:pt x="392056" y="256591"/>
                  </a:lnTo>
                  <a:close/>
                </a:path>
                <a:path w="565150" h="565150">
                  <a:moveTo>
                    <a:pt x="65706" y="441884"/>
                  </a:moveTo>
                  <a:lnTo>
                    <a:pt x="28983" y="430658"/>
                  </a:lnTo>
                  <a:lnTo>
                    <a:pt x="5733" y="400444"/>
                  </a:lnTo>
                  <a:lnTo>
                    <a:pt x="2625" y="393295"/>
                  </a:lnTo>
                  <a:lnTo>
                    <a:pt x="857" y="385828"/>
                  </a:lnTo>
                  <a:lnTo>
                    <a:pt x="0" y="370260"/>
                  </a:lnTo>
                  <a:lnTo>
                    <a:pt x="937" y="362645"/>
                  </a:lnTo>
                  <a:lnTo>
                    <a:pt x="18567" y="328570"/>
                  </a:lnTo>
                  <a:lnTo>
                    <a:pt x="60220" y="303950"/>
                  </a:lnTo>
                  <a:lnTo>
                    <a:pt x="91147" y="289403"/>
                  </a:lnTo>
                  <a:lnTo>
                    <a:pt x="148638" y="411465"/>
                  </a:lnTo>
                  <a:lnTo>
                    <a:pt x="98075" y="433218"/>
                  </a:lnTo>
                  <a:lnTo>
                    <a:pt x="73369" y="441371"/>
                  </a:lnTo>
                  <a:lnTo>
                    <a:pt x="65706" y="441884"/>
                  </a:lnTo>
                  <a:close/>
                </a:path>
                <a:path w="565150" h="565150">
                  <a:moveTo>
                    <a:pt x="425050" y="411904"/>
                  </a:moveTo>
                  <a:lnTo>
                    <a:pt x="386664" y="384339"/>
                  </a:lnTo>
                  <a:lnTo>
                    <a:pt x="345086" y="371952"/>
                  </a:lnTo>
                  <a:lnTo>
                    <a:pt x="307896" y="368705"/>
                  </a:lnTo>
                  <a:lnTo>
                    <a:pt x="422853" y="368705"/>
                  </a:lnTo>
                  <a:lnTo>
                    <a:pt x="434722" y="393895"/>
                  </a:lnTo>
                  <a:lnTo>
                    <a:pt x="436033" y="396624"/>
                  </a:lnTo>
                  <a:lnTo>
                    <a:pt x="439762" y="406053"/>
                  </a:lnTo>
                  <a:lnTo>
                    <a:pt x="439118" y="408130"/>
                  </a:lnTo>
                  <a:lnTo>
                    <a:pt x="438853" y="408819"/>
                  </a:lnTo>
                  <a:lnTo>
                    <a:pt x="438155" y="410476"/>
                  </a:lnTo>
                  <a:lnTo>
                    <a:pt x="437213" y="411495"/>
                  </a:lnTo>
                  <a:lnTo>
                    <a:pt x="430947" y="411495"/>
                  </a:lnTo>
                  <a:lnTo>
                    <a:pt x="425050" y="411904"/>
                  </a:lnTo>
                  <a:close/>
                </a:path>
                <a:path w="565150" h="565150">
                  <a:moveTo>
                    <a:pt x="191175" y="450697"/>
                  </a:moveTo>
                  <a:lnTo>
                    <a:pt x="188234" y="445141"/>
                  </a:lnTo>
                  <a:lnTo>
                    <a:pt x="180291" y="430436"/>
                  </a:lnTo>
                  <a:lnTo>
                    <a:pt x="176705" y="423615"/>
                  </a:lnTo>
                  <a:lnTo>
                    <a:pt x="217825" y="405371"/>
                  </a:lnTo>
                  <a:lnTo>
                    <a:pt x="224437" y="420664"/>
                  </a:lnTo>
                  <a:lnTo>
                    <a:pt x="224015" y="432269"/>
                  </a:lnTo>
                  <a:lnTo>
                    <a:pt x="213836" y="441756"/>
                  </a:lnTo>
                  <a:lnTo>
                    <a:pt x="191175" y="450697"/>
                  </a:lnTo>
                  <a:close/>
                </a:path>
                <a:path w="565150" h="565150">
                  <a:moveTo>
                    <a:pt x="435411" y="412541"/>
                  </a:moveTo>
                  <a:lnTo>
                    <a:pt x="430947" y="411495"/>
                  </a:lnTo>
                  <a:lnTo>
                    <a:pt x="437213" y="411495"/>
                  </a:lnTo>
                  <a:lnTo>
                    <a:pt x="437008" y="411716"/>
                  </a:lnTo>
                  <a:lnTo>
                    <a:pt x="435411" y="412541"/>
                  </a:lnTo>
                  <a:close/>
                </a:path>
                <a:path w="565150" h="565150">
                  <a:moveTo>
                    <a:pt x="195836" y="564754"/>
                  </a:moveTo>
                  <a:lnTo>
                    <a:pt x="189765" y="560722"/>
                  </a:lnTo>
                  <a:lnTo>
                    <a:pt x="168273" y="527163"/>
                  </a:lnTo>
                  <a:lnTo>
                    <a:pt x="117805" y="448931"/>
                  </a:lnTo>
                  <a:lnTo>
                    <a:pt x="156900" y="430436"/>
                  </a:lnTo>
                  <a:lnTo>
                    <a:pt x="157012" y="430671"/>
                  </a:lnTo>
                  <a:lnTo>
                    <a:pt x="158461" y="433218"/>
                  </a:lnTo>
                  <a:lnTo>
                    <a:pt x="159992" y="435537"/>
                  </a:lnTo>
                  <a:lnTo>
                    <a:pt x="208722" y="539090"/>
                  </a:lnTo>
                  <a:lnTo>
                    <a:pt x="211257" y="546432"/>
                  </a:lnTo>
                  <a:lnTo>
                    <a:pt x="211454" y="552605"/>
                  </a:lnTo>
                  <a:lnTo>
                    <a:pt x="209286" y="557449"/>
                  </a:lnTo>
                  <a:lnTo>
                    <a:pt x="204727" y="560805"/>
                  </a:lnTo>
                  <a:lnTo>
                    <a:pt x="195836" y="564754"/>
                  </a:lnTo>
                  <a:close/>
                </a:path>
                <a:path w="565150" h="565150">
                  <a:moveTo>
                    <a:pt x="373295" y="58021"/>
                  </a:moveTo>
                  <a:lnTo>
                    <a:pt x="366875" y="55665"/>
                  </a:lnTo>
                  <a:lnTo>
                    <a:pt x="364532" y="53534"/>
                  </a:lnTo>
                  <a:lnTo>
                    <a:pt x="360924" y="45981"/>
                  </a:lnTo>
                  <a:lnTo>
                    <a:pt x="361303" y="41736"/>
                  </a:lnTo>
                  <a:lnTo>
                    <a:pt x="364194" y="37716"/>
                  </a:lnTo>
                  <a:lnTo>
                    <a:pt x="369518" y="29762"/>
                  </a:lnTo>
                  <a:lnTo>
                    <a:pt x="374881" y="21856"/>
                  </a:lnTo>
                  <a:lnTo>
                    <a:pt x="380281" y="13997"/>
                  </a:lnTo>
                  <a:lnTo>
                    <a:pt x="385720" y="6185"/>
                  </a:lnTo>
                  <a:lnTo>
                    <a:pt x="388445" y="2046"/>
                  </a:lnTo>
                  <a:lnTo>
                    <a:pt x="392285" y="0"/>
                  </a:lnTo>
                  <a:lnTo>
                    <a:pt x="397241" y="45"/>
                  </a:lnTo>
                  <a:lnTo>
                    <a:pt x="402363" y="257"/>
                  </a:lnTo>
                  <a:lnTo>
                    <a:pt x="406203" y="2584"/>
                  </a:lnTo>
                  <a:lnTo>
                    <a:pt x="408762" y="7026"/>
                  </a:lnTo>
                  <a:lnTo>
                    <a:pt x="409595" y="8231"/>
                  </a:lnTo>
                  <a:lnTo>
                    <a:pt x="409292" y="9747"/>
                  </a:lnTo>
                  <a:lnTo>
                    <a:pt x="408989" y="11415"/>
                  </a:lnTo>
                  <a:lnTo>
                    <a:pt x="408913" y="12248"/>
                  </a:lnTo>
                  <a:lnTo>
                    <a:pt x="408774" y="14863"/>
                  </a:lnTo>
                  <a:lnTo>
                    <a:pt x="408066" y="17314"/>
                  </a:lnTo>
                  <a:lnTo>
                    <a:pt x="384734" y="52041"/>
                  </a:lnTo>
                  <a:lnTo>
                    <a:pt x="376460" y="57911"/>
                  </a:lnTo>
                  <a:lnTo>
                    <a:pt x="373295" y="58021"/>
                  </a:lnTo>
                  <a:close/>
                </a:path>
                <a:path w="565150" h="565150">
                  <a:moveTo>
                    <a:pt x="469143" y="191089"/>
                  </a:moveTo>
                  <a:lnTo>
                    <a:pt x="461323" y="173782"/>
                  </a:lnTo>
                  <a:lnTo>
                    <a:pt x="463420" y="170069"/>
                  </a:lnTo>
                  <a:lnTo>
                    <a:pt x="467655" y="167562"/>
                  </a:lnTo>
                  <a:lnTo>
                    <a:pt x="475798" y="162519"/>
                  </a:lnTo>
                  <a:lnTo>
                    <a:pt x="492170" y="152575"/>
                  </a:lnTo>
                  <a:lnTo>
                    <a:pt x="500399" y="147703"/>
                  </a:lnTo>
                  <a:lnTo>
                    <a:pt x="504540" y="145044"/>
                  </a:lnTo>
                  <a:lnTo>
                    <a:pt x="521015" y="157935"/>
                  </a:lnTo>
                  <a:lnTo>
                    <a:pt x="521243" y="159451"/>
                  </a:lnTo>
                  <a:lnTo>
                    <a:pt x="520257" y="160664"/>
                  </a:lnTo>
                  <a:lnTo>
                    <a:pt x="519878" y="161346"/>
                  </a:lnTo>
                  <a:lnTo>
                    <a:pt x="519424" y="162028"/>
                  </a:lnTo>
                  <a:lnTo>
                    <a:pt x="518969" y="162786"/>
                  </a:lnTo>
                  <a:lnTo>
                    <a:pt x="517773" y="165109"/>
                  </a:lnTo>
                  <a:lnTo>
                    <a:pt x="516131" y="167054"/>
                  </a:lnTo>
                  <a:lnTo>
                    <a:pt x="480456" y="189017"/>
                  </a:lnTo>
                  <a:lnTo>
                    <a:pt x="478508" y="190292"/>
                  </a:lnTo>
                  <a:lnTo>
                    <a:pt x="476360" y="190949"/>
                  </a:lnTo>
                  <a:lnTo>
                    <a:pt x="469143" y="191089"/>
                  </a:lnTo>
                  <a:close/>
                </a:path>
                <a:path w="565150" h="565150">
                  <a:moveTo>
                    <a:pt x="550507" y="375637"/>
                  </a:moveTo>
                  <a:lnTo>
                    <a:pt x="547923" y="375242"/>
                  </a:lnTo>
                  <a:lnTo>
                    <a:pt x="538219" y="372816"/>
                  </a:lnTo>
                  <a:lnTo>
                    <a:pt x="528680" y="370315"/>
                  </a:lnTo>
                  <a:lnTo>
                    <a:pt x="509949" y="365161"/>
                  </a:lnTo>
                  <a:lnTo>
                    <a:pt x="507705" y="364609"/>
                  </a:lnTo>
                  <a:lnTo>
                    <a:pt x="505760" y="363523"/>
                  </a:lnTo>
                  <a:lnTo>
                    <a:pt x="500645" y="358453"/>
                  </a:lnTo>
                  <a:lnTo>
                    <a:pt x="499609" y="354386"/>
                  </a:lnTo>
                  <a:lnTo>
                    <a:pt x="501005" y="349699"/>
                  </a:lnTo>
                  <a:lnTo>
                    <a:pt x="511871" y="339759"/>
                  </a:lnTo>
                  <a:lnTo>
                    <a:pt x="516619" y="341058"/>
                  </a:lnTo>
                  <a:lnTo>
                    <a:pt x="544417" y="348349"/>
                  </a:lnTo>
                  <a:lnTo>
                    <a:pt x="553607" y="350911"/>
                  </a:lnTo>
                  <a:lnTo>
                    <a:pt x="558370" y="352087"/>
                  </a:lnTo>
                  <a:lnTo>
                    <a:pt x="561554" y="354992"/>
                  </a:lnTo>
                  <a:lnTo>
                    <a:pt x="563158" y="359628"/>
                  </a:lnTo>
                  <a:lnTo>
                    <a:pt x="564702" y="364513"/>
                  </a:lnTo>
                  <a:lnTo>
                    <a:pt x="563818" y="368909"/>
                  </a:lnTo>
                  <a:lnTo>
                    <a:pt x="560491" y="372835"/>
                  </a:lnTo>
                  <a:lnTo>
                    <a:pt x="559595" y="374105"/>
                  </a:lnTo>
                  <a:lnTo>
                    <a:pt x="558004" y="374257"/>
                  </a:lnTo>
                  <a:lnTo>
                    <a:pt x="556412" y="374560"/>
                  </a:lnTo>
                  <a:lnTo>
                    <a:pt x="553059" y="375485"/>
                  </a:lnTo>
                  <a:lnTo>
                    <a:pt x="550507" y="375637"/>
                  </a:lnTo>
                  <a:close/>
                </a:path>
              </a:pathLst>
            </a:custGeom>
            <a:solidFill>
              <a:srgbClr val="FFFFFF"/>
            </a:solidFill>
          </p:spPr>
          <p:txBody>
            <a:bodyPr wrap="square" lIns="0" tIns="0" rIns="0" bIns="0" rtlCol="0"/>
            <a:lstStyle/>
            <a:p>
              <a:endParaRPr/>
            </a:p>
          </p:txBody>
        </p:sp>
      </p:grpSp>
      <p:sp>
        <p:nvSpPr>
          <p:cNvPr id="69" name="object 69"/>
          <p:cNvSpPr txBox="1"/>
          <p:nvPr/>
        </p:nvSpPr>
        <p:spPr>
          <a:xfrm>
            <a:off x="8661390" y="8605520"/>
            <a:ext cx="2510790" cy="303530"/>
          </a:xfrm>
          <a:prstGeom prst="rect">
            <a:avLst/>
          </a:prstGeom>
        </p:spPr>
        <p:txBody>
          <a:bodyPr vert="horz" wrap="square" lIns="0" tIns="15875" rIns="0" bIns="0" rtlCol="0">
            <a:spAutoFit/>
          </a:bodyPr>
          <a:lstStyle/>
          <a:p>
            <a:pPr>
              <a:lnSpc>
                <a:spcPct val="100000"/>
              </a:lnSpc>
              <a:spcBef>
                <a:spcPts val="125"/>
              </a:spcBef>
            </a:pPr>
            <a:r>
              <a:rPr sz="1800" b="1" dirty="0">
                <a:solidFill>
                  <a:srgbClr val="FFFFFF"/>
                </a:solidFill>
                <a:latin typeface="Roboto"/>
                <a:cs typeface="Roboto"/>
              </a:rPr>
              <a:t>Reportaje</a:t>
            </a:r>
            <a:r>
              <a:rPr sz="1800" b="1" spc="45" dirty="0">
                <a:solidFill>
                  <a:srgbClr val="FFFFFF"/>
                </a:solidFill>
                <a:latin typeface="Roboto"/>
                <a:cs typeface="Roboto"/>
              </a:rPr>
              <a:t> </a:t>
            </a:r>
            <a:r>
              <a:rPr sz="1800" b="1" spc="-10" dirty="0">
                <a:solidFill>
                  <a:srgbClr val="FFFFFF"/>
                </a:solidFill>
                <a:latin typeface="Roboto"/>
                <a:cs typeface="Roboto"/>
              </a:rPr>
              <a:t>especializado</a:t>
            </a:r>
            <a:endParaRPr sz="1800">
              <a:latin typeface="Roboto"/>
              <a:cs typeface="Roboto"/>
            </a:endParaRPr>
          </a:p>
        </p:txBody>
      </p:sp>
      <p:sp>
        <p:nvSpPr>
          <p:cNvPr id="70" name="object 70"/>
          <p:cNvSpPr txBox="1"/>
          <p:nvPr/>
        </p:nvSpPr>
        <p:spPr>
          <a:xfrm>
            <a:off x="12198377" y="7423771"/>
            <a:ext cx="1219835" cy="303530"/>
          </a:xfrm>
          <a:prstGeom prst="rect">
            <a:avLst/>
          </a:prstGeom>
        </p:spPr>
        <p:txBody>
          <a:bodyPr vert="horz" wrap="square" lIns="0" tIns="15875" rIns="0" bIns="0" rtlCol="0">
            <a:spAutoFit/>
          </a:bodyPr>
          <a:lstStyle/>
          <a:p>
            <a:pPr marL="12700">
              <a:lnSpc>
                <a:spcPct val="100000"/>
              </a:lnSpc>
              <a:spcBef>
                <a:spcPts val="125"/>
              </a:spcBef>
            </a:pPr>
            <a:r>
              <a:rPr sz="1800" b="1" dirty="0">
                <a:solidFill>
                  <a:srgbClr val="FFFFFF"/>
                </a:solidFill>
                <a:latin typeface="Roboto"/>
                <a:cs typeface="Roboto"/>
              </a:rPr>
              <a:t>Press</a:t>
            </a:r>
            <a:r>
              <a:rPr sz="1800" b="1" spc="65" dirty="0">
                <a:solidFill>
                  <a:srgbClr val="FFFFFF"/>
                </a:solidFill>
                <a:latin typeface="Roboto"/>
                <a:cs typeface="Roboto"/>
              </a:rPr>
              <a:t> </a:t>
            </a:r>
            <a:r>
              <a:rPr sz="1800" b="1" spc="-20" dirty="0">
                <a:solidFill>
                  <a:srgbClr val="FFFFFF"/>
                </a:solidFill>
                <a:latin typeface="Roboto"/>
                <a:cs typeface="Roboto"/>
              </a:rPr>
              <a:t>Trips</a:t>
            </a:r>
            <a:endParaRPr sz="1800">
              <a:latin typeface="Roboto"/>
              <a:cs typeface="Roboto"/>
            </a:endParaRPr>
          </a:p>
        </p:txBody>
      </p:sp>
      <p:sp>
        <p:nvSpPr>
          <p:cNvPr id="71" name="object 71"/>
          <p:cNvSpPr txBox="1"/>
          <p:nvPr/>
        </p:nvSpPr>
        <p:spPr>
          <a:xfrm>
            <a:off x="8648548" y="7423771"/>
            <a:ext cx="1130300" cy="303530"/>
          </a:xfrm>
          <a:prstGeom prst="rect">
            <a:avLst/>
          </a:prstGeom>
        </p:spPr>
        <p:txBody>
          <a:bodyPr vert="horz" wrap="square" lIns="0" tIns="15875" rIns="0" bIns="0" rtlCol="0">
            <a:spAutoFit/>
          </a:bodyPr>
          <a:lstStyle/>
          <a:p>
            <a:pPr marL="12700">
              <a:lnSpc>
                <a:spcPct val="100000"/>
              </a:lnSpc>
              <a:spcBef>
                <a:spcPts val="125"/>
              </a:spcBef>
            </a:pPr>
            <a:r>
              <a:rPr sz="1800" b="1" spc="-10" dirty="0">
                <a:solidFill>
                  <a:srgbClr val="FFFFFF"/>
                </a:solidFill>
                <a:latin typeface="Roboto"/>
                <a:cs typeface="Roboto"/>
              </a:rPr>
              <a:t>Campañas</a:t>
            </a:r>
            <a:endParaRPr sz="1800">
              <a:latin typeface="Roboto"/>
              <a:cs typeface="Roboto"/>
            </a:endParaRPr>
          </a:p>
        </p:txBody>
      </p:sp>
      <p:sp>
        <p:nvSpPr>
          <p:cNvPr id="72" name="object 72"/>
          <p:cNvSpPr txBox="1"/>
          <p:nvPr/>
        </p:nvSpPr>
        <p:spPr>
          <a:xfrm>
            <a:off x="7985203" y="7211683"/>
            <a:ext cx="361315" cy="713740"/>
          </a:xfrm>
          <a:prstGeom prst="rect">
            <a:avLst/>
          </a:prstGeom>
        </p:spPr>
        <p:txBody>
          <a:bodyPr vert="horz" wrap="square" lIns="0" tIns="13970" rIns="0" bIns="0" rtlCol="0">
            <a:spAutoFit/>
          </a:bodyPr>
          <a:lstStyle/>
          <a:p>
            <a:pPr marL="12700">
              <a:lnSpc>
                <a:spcPct val="100000"/>
              </a:lnSpc>
              <a:spcBef>
                <a:spcPts val="110"/>
              </a:spcBef>
            </a:pPr>
            <a:r>
              <a:rPr sz="4500" b="1" spc="5" dirty="0">
                <a:solidFill>
                  <a:srgbClr val="F5A316"/>
                </a:solidFill>
                <a:latin typeface="OpenSans-ExtraBold"/>
                <a:cs typeface="OpenSans-ExtraBold"/>
              </a:rPr>
              <a:t>4</a:t>
            </a:r>
            <a:endParaRPr sz="4500">
              <a:latin typeface="OpenSans-ExtraBold"/>
              <a:cs typeface="OpenSans-ExtraBold"/>
            </a:endParaRPr>
          </a:p>
        </p:txBody>
      </p:sp>
      <p:sp>
        <p:nvSpPr>
          <p:cNvPr id="73" name="object 73"/>
          <p:cNvSpPr txBox="1"/>
          <p:nvPr/>
        </p:nvSpPr>
        <p:spPr>
          <a:xfrm>
            <a:off x="7997902" y="8393432"/>
            <a:ext cx="348615" cy="713740"/>
          </a:xfrm>
          <a:prstGeom prst="rect">
            <a:avLst/>
          </a:prstGeom>
        </p:spPr>
        <p:txBody>
          <a:bodyPr vert="horz" wrap="square" lIns="0" tIns="13970" rIns="0" bIns="0" rtlCol="0">
            <a:spAutoFit/>
          </a:bodyPr>
          <a:lstStyle/>
          <a:p>
            <a:pPr>
              <a:lnSpc>
                <a:spcPct val="100000"/>
              </a:lnSpc>
              <a:spcBef>
                <a:spcPts val="110"/>
              </a:spcBef>
            </a:pPr>
            <a:r>
              <a:rPr sz="4500" b="1" spc="5" dirty="0">
                <a:solidFill>
                  <a:srgbClr val="F5A316"/>
                </a:solidFill>
                <a:latin typeface="OpenSans-ExtraBold"/>
                <a:cs typeface="OpenSans-ExtraBold"/>
              </a:rPr>
              <a:t>1</a:t>
            </a:r>
            <a:endParaRPr sz="4500">
              <a:latin typeface="OpenSans-ExtraBold"/>
              <a:cs typeface="OpenSans-ExtraBold"/>
            </a:endParaRPr>
          </a:p>
        </p:txBody>
      </p:sp>
      <p:sp>
        <p:nvSpPr>
          <p:cNvPr id="74" name="object 74"/>
          <p:cNvSpPr txBox="1"/>
          <p:nvPr/>
        </p:nvSpPr>
        <p:spPr>
          <a:xfrm>
            <a:off x="11470273" y="7211683"/>
            <a:ext cx="361315" cy="713740"/>
          </a:xfrm>
          <a:prstGeom prst="rect">
            <a:avLst/>
          </a:prstGeom>
        </p:spPr>
        <p:txBody>
          <a:bodyPr vert="horz" wrap="square" lIns="0" tIns="13970" rIns="0" bIns="0" rtlCol="0">
            <a:spAutoFit/>
          </a:bodyPr>
          <a:lstStyle/>
          <a:p>
            <a:pPr marL="12700">
              <a:lnSpc>
                <a:spcPct val="100000"/>
              </a:lnSpc>
              <a:spcBef>
                <a:spcPts val="110"/>
              </a:spcBef>
            </a:pPr>
            <a:r>
              <a:rPr sz="4500" b="1" spc="5" dirty="0">
                <a:solidFill>
                  <a:srgbClr val="F5A316"/>
                </a:solidFill>
                <a:latin typeface="OpenSans-ExtraBold"/>
                <a:cs typeface="OpenSans-ExtraBold"/>
              </a:rPr>
              <a:t>3</a:t>
            </a:r>
            <a:endParaRPr sz="4500">
              <a:latin typeface="OpenSans-ExtraBold"/>
              <a:cs typeface="OpenSans-ExtraBold"/>
            </a:endParaRPr>
          </a:p>
        </p:txBody>
      </p:sp>
      <p:grpSp>
        <p:nvGrpSpPr>
          <p:cNvPr id="75" name="object 75"/>
          <p:cNvGrpSpPr/>
          <p:nvPr/>
        </p:nvGrpSpPr>
        <p:grpSpPr>
          <a:xfrm>
            <a:off x="15210107" y="7171555"/>
            <a:ext cx="740410" cy="560070"/>
            <a:chOff x="15210107" y="7171555"/>
            <a:chExt cx="740410" cy="560070"/>
          </a:xfrm>
        </p:grpSpPr>
        <p:sp>
          <p:nvSpPr>
            <p:cNvPr id="76" name="object 76"/>
            <p:cNvSpPr/>
            <p:nvPr/>
          </p:nvSpPr>
          <p:spPr>
            <a:xfrm>
              <a:off x="15210104" y="7171562"/>
              <a:ext cx="740410" cy="560070"/>
            </a:xfrm>
            <a:custGeom>
              <a:avLst/>
              <a:gdLst/>
              <a:ahLst/>
              <a:cxnLst/>
              <a:rect l="l" t="t" r="r" b="b"/>
              <a:pathLst>
                <a:path w="740409" h="560070">
                  <a:moveTo>
                    <a:pt x="680072" y="51739"/>
                  </a:moveTo>
                  <a:lnTo>
                    <a:pt x="661238" y="13690"/>
                  </a:lnTo>
                  <a:lnTo>
                    <a:pt x="628205" y="0"/>
                  </a:lnTo>
                  <a:lnTo>
                    <a:pt x="610425" y="0"/>
                  </a:lnTo>
                  <a:lnTo>
                    <a:pt x="610425" y="75196"/>
                  </a:lnTo>
                  <a:lnTo>
                    <a:pt x="610425" y="402005"/>
                  </a:lnTo>
                  <a:lnTo>
                    <a:pt x="609625" y="403936"/>
                  </a:lnTo>
                  <a:lnTo>
                    <a:pt x="606399" y="407149"/>
                  </a:lnTo>
                  <a:lnTo>
                    <a:pt x="604456" y="407949"/>
                  </a:lnTo>
                  <a:lnTo>
                    <a:pt x="135991" y="407949"/>
                  </a:lnTo>
                  <a:lnTo>
                    <a:pt x="134048" y="407149"/>
                  </a:lnTo>
                  <a:lnTo>
                    <a:pt x="130835" y="403936"/>
                  </a:lnTo>
                  <a:lnTo>
                    <a:pt x="130022" y="402005"/>
                  </a:lnTo>
                  <a:lnTo>
                    <a:pt x="130035" y="75196"/>
                  </a:lnTo>
                  <a:lnTo>
                    <a:pt x="130835" y="73279"/>
                  </a:lnTo>
                  <a:lnTo>
                    <a:pt x="134061" y="70091"/>
                  </a:lnTo>
                  <a:lnTo>
                    <a:pt x="136004" y="69303"/>
                  </a:lnTo>
                  <a:lnTo>
                    <a:pt x="138264" y="69329"/>
                  </a:lnTo>
                  <a:lnTo>
                    <a:pt x="602183" y="69329"/>
                  </a:lnTo>
                  <a:lnTo>
                    <a:pt x="604443" y="69303"/>
                  </a:lnTo>
                  <a:lnTo>
                    <a:pt x="606386" y="70091"/>
                  </a:lnTo>
                  <a:lnTo>
                    <a:pt x="609612" y="73279"/>
                  </a:lnTo>
                  <a:lnTo>
                    <a:pt x="610425" y="75196"/>
                  </a:lnTo>
                  <a:lnTo>
                    <a:pt x="610425" y="0"/>
                  </a:lnTo>
                  <a:lnTo>
                    <a:pt x="112268" y="0"/>
                  </a:lnTo>
                  <a:lnTo>
                    <a:pt x="108699" y="355"/>
                  </a:lnTo>
                  <a:lnTo>
                    <a:pt x="74104" y="18821"/>
                  </a:lnTo>
                  <a:lnTo>
                    <a:pt x="60426" y="51739"/>
                  </a:lnTo>
                  <a:lnTo>
                    <a:pt x="60426" y="439089"/>
                  </a:lnTo>
                  <a:lnTo>
                    <a:pt x="680072" y="439089"/>
                  </a:lnTo>
                  <a:lnTo>
                    <a:pt x="680072" y="407949"/>
                  </a:lnTo>
                  <a:lnTo>
                    <a:pt x="680072" y="69303"/>
                  </a:lnTo>
                  <a:lnTo>
                    <a:pt x="680072" y="51739"/>
                  </a:lnTo>
                  <a:close/>
                </a:path>
                <a:path w="740409" h="560070">
                  <a:moveTo>
                    <a:pt x="740410" y="484974"/>
                  </a:moveTo>
                  <a:lnTo>
                    <a:pt x="739660" y="475513"/>
                  </a:lnTo>
                  <a:lnTo>
                    <a:pt x="738174" y="471144"/>
                  </a:lnTo>
                  <a:lnTo>
                    <a:pt x="737273" y="469760"/>
                  </a:lnTo>
                  <a:lnTo>
                    <a:pt x="735558" y="467156"/>
                  </a:lnTo>
                  <a:lnTo>
                    <a:pt x="732993" y="463181"/>
                  </a:lnTo>
                  <a:lnTo>
                    <a:pt x="729627" y="460070"/>
                  </a:lnTo>
                  <a:lnTo>
                    <a:pt x="721283" y="455549"/>
                  </a:lnTo>
                  <a:lnTo>
                    <a:pt x="716864" y="454431"/>
                  </a:lnTo>
                  <a:lnTo>
                    <a:pt x="712063" y="454431"/>
                  </a:lnTo>
                  <a:lnTo>
                    <a:pt x="446620" y="454431"/>
                  </a:lnTo>
                  <a:lnTo>
                    <a:pt x="446620" y="469760"/>
                  </a:lnTo>
                  <a:lnTo>
                    <a:pt x="439762" y="481888"/>
                  </a:lnTo>
                  <a:lnTo>
                    <a:pt x="437807" y="485813"/>
                  </a:lnTo>
                  <a:lnTo>
                    <a:pt x="434670" y="488238"/>
                  </a:lnTo>
                  <a:lnTo>
                    <a:pt x="429628" y="489318"/>
                  </a:lnTo>
                  <a:lnTo>
                    <a:pt x="428879" y="489394"/>
                  </a:lnTo>
                  <a:lnTo>
                    <a:pt x="428129" y="489394"/>
                  </a:lnTo>
                  <a:lnTo>
                    <a:pt x="312216" y="489394"/>
                  </a:lnTo>
                  <a:lnTo>
                    <a:pt x="306857" y="488988"/>
                  </a:lnTo>
                  <a:lnTo>
                    <a:pt x="302958" y="486410"/>
                  </a:lnTo>
                  <a:lnTo>
                    <a:pt x="300621" y="481888"/>
                  </a:lnTo>
                  <a:lnTo>
                    <a:pt x="293801" y="469760"/>
                  </a:lnTo>
                  <a:lnTo>
                    <a:pt x="446620" y="469760"/>
                  </a:lnTo>
                  <a:lnTo>
                    <a:pt x="446620" y="454431"/>
                  </a:lnTo>
                  <a:lnTo>
                    <a:pt x="23609" y="454418"/>
                  </a:lnTo>
                  <a:lnTo>
                    <a:pt x="19177" y="455536"/>
                  </a:lnTo>
                  <a:lnTo>
                    <a:pt x="0" y="484974"/>
                  </a:lnTo>
                  <a:lnTo>
                    <a:pt x="774" y="489521"/>
                  </a:lnTo>
                  <a:lnTo>
                    <a:pt x="16611" y="524471"/>
                  </a:lnTo>
                  <a:lnTo>
                    <a:pt x="45567" y="552081"/>
                  </a:lnTo>
                  <a:lnTo>
                    <a:pt x="78155" y="559727"/>
                  </a:lnTo>
                  <a:lnTo>
                    <a:pt x="662114" y="559727"/>
                  </a:lnTo>
                  <a:lnTo>
                    <a:pt x="706043" y="544753"/>
                  </a:lnTo>
                  <a:lnTo>
                    <a:pt x="726389" y="518312"/>
                  </a:lnTo>
                  <a:lnTo>
                    <a:pt x="737641" y="493928"/>
                  </a:lnTo>
                  <a:lnTo>
                    <a:pt x="739609" y="489521"/>
                  </a:lnTo>
                  <a:lnTo>
                    <a:pt x="739622" y="489394"/>
                  </a:lnTo>
                  <a:lnTo>
                    <a:pt x="740410" y="484974"/>
                  </a:lnTo>
                  <a:close/>
                </a:path>
              </a:pathLst>
            </a:custGeom>
            <a:solidFill>
              <a:srgbClr val="21408B"/>
            </a:solidFill>
          </p:spPr>
          <p:txBody>
            <a:bodyPr wrap="square" lIns="0" tIns="0" rIns="0" bIns="0" rtlCol="0"/>
            <a:lstStyle/>
            <a:p>
              <a:endParaRPr/>
            </a:p>
          </p:txBody>
        </p:sp>
        <p:pic>
          <p:nvPicPr>
            <p:cNvPr id="77" name="object 77"/>
            <p:cNvPicPr/>
            <p:nvPr/>
          </p:nvPicPr>
          <p:blipFill>
            <a:blip r:embed="rId7" cstate="print"/>
            <a:stretch>
              <a:fillRect/>
            </a:stretch>
          </p:blipFill>
          <p:spPr>
            <a:xfrm>
              <a:off x="15477702" y="7293955"/>
              <a:ext cx="205172" cy="242596"/>
            </a:xfrm>
            <a:prstGeom prst="rect">
              <a:avLst/>
            </a:prstGeom>
          </p:spPr>
        </p:pic>
      </p:grpSp>
      <p:sp>
        <p:nvSpPr>
          <p:cNvPr id="78" name="object 78"/>
          <p:cNvSpPr txBox="1"/>
          <p:nvPr/>
        </p:nvSpPr>
        <p:spPr>
          <a:xfrm>
            <a:off x="16166200" y="7162977"/>
            <a:ext cx="1395730" cy="541655"/>
          </a:xfrm>
          <a:prstGeom prst="rect">
            <a:avLst/>
          </a:prstGeom>
        </p:spPr>
        <p:txBody>
          <a:bodyPr vert="horz" wrap="square" lIns="0" tIns="22225" rIns="0" bIns="0" rtlCol="0">
            <a:spAutoFit/>
          </a:bodyPr>
          <a:lstStyle/>
          <a:p>
            <a:pPr marL="12700" marR="5080">
              <a:lnSpc>
                <a:spcPts val="2030"/>
              </a:lnSpc>
              <a:spcBef>
                <a:spcPts val="175"/>
              </a:spcBef>
            </a:pPr>
            <a:r>
              <a:rPr sz="1700" b="1" spc="-10" dirty="0">
                <a:solidFill>
                  <a:srgbClr val="21408B"/>
                </a:solidFill>
                <a:latin typeface="Roboto"/>
                <a:cs typeface="Roboto"/>
              </a:rPr>
              <a:t>Webinar personalizado</a:t>
            </a:r>
            <a:endParaRPr sz="1700">
              <a:latin typeface="Roboto"/>
              <a:cs typeface="Roboto"/>
            </a:endParaRPr>
          </a:p>
        </p:txBody>
      </p:sp>
      <p:sp>
        <p:nvSpPr>
          <p:cNvPr id="79" name="object 79"/>
          <p:cNvSpPr txBox="1"/>
          <p:nvPr/>
        </p:nvSpPr>
        <p:spPr>
          <a:xfrm>
            <a:off x="14565932" y="4266913"/>
            <a:ext cx="538480" cy="3608070"/>
          </a:xfrm>
          <a:prstGeom prst="rect">
            <a:avLst/>
          </a:prstGeom>
        </p:spPr>
        <p:txBody>
          <a:bodyPr vert="horz" wrap="square" lIns="0" tIns="169545" rIns="0" bIns="0" rtlCol="0">
            <a:spAutoFit/>
          </a:bodyPr>
          <a:lstStyle/>
          <a:p>
            <a:pPr marL="38100">
              <a:lnSpc>
                <a:spcPct val="100000"/>
              </a:lnSpc>
              <a:spcBef>
                <a:spcPts val="1335"/>
              </a:spcBef>
            </a:pPr>
            <a:r>
              <a:rPr sz="6500" b="1" spc="20" dirty="0">
                <a:solidFill>
                  <a:srgbClr val="F5A316"/>
                </a:solidFill>
                <a:latin typeface="OpenSans-ExtraBold"/>
                <a:cs typeface="OpenSans-ExtraBold"/>
              </a:rPr>
              <a:t>3</a:t>
            </a:r>
            <a:endParaRPr sz="6500">
              <a:latin typeface="OpenSans-ExtraBold"/>
              <a:cs typeface="OpenSans-ExtraBold"/>
            </a:endParaRPr>
          </a:p>
          <a:p>
            <a:pPr marL="12700">
              <a:lnSpc>
                <a:spcPct val="100000"/>
              </a:lnSpc>
              <a:spcBef>
                <a:spcPts val="1220"/>
              </a:spcBef>
            </a:pPr>
            <a:r>
              <a:rPr sz="6500" b="1" spc="5" dirty="0">
                <a:solidFill>
                  <a:srgbClr val="F5A316"/>
                </a:solidFill>
                <a:latin typeface="OpenSans-ExtraBold"/>
                <a:cs typeface="OpenSans-ExtraBold"/>
              </a:rPr>
              <a:t>2</a:t>
            </a:r>
            <a:endParaRPr sz="6500">
              <a:latin typeface="OpenSans-ExtraBold"/>
              <a:cs typeface="OpenSans-ExtraBold"/>
            </a:endParaRPr>
          </a:p>
          <a:p>
            <a:pPr marL="12700">
              <a:lnSpc>
                <a:spcPct val="100000"/>
              </a:lnSpc>
              <a:spcBef>
                <a:spcPts val="2350"/>
              </a:spcBef>
            </a:pPr>
            <a:r>
              <a:rPr sz="6500" b="1" dirty="0">
                <a:solidFill>
                  <a:srgbClr val="F5A316"/>
                </a:solidFill>
                <a:latin typeface="OpenSans-ExtraBold"/>
                <a:cs typeface="OpenSans-ExtraBold"/>
              </a:rPr>
              <a:t>1</a:t>
            </a:r>
            <a:endParaRPr sz="6500">
              <a:latin typeface="OpenSans-ExtraBold"/>
              <a:cs typeface="OpenSans-ExtraBold"/>
            </a:endParaRPr>
          </a:p>
        </p:txBody>
      </p:sp>
      <p:grpSp>
        <p:nvGrpSpPr>
          <p:cNvPr id="80" name="object 80"/>
          <p:cNvGrpSpPr/>
          <p:nvPr/>
        </p:nvGrpSpPr>
        <p:grpSpPr>
          <a:xfrm>
            <a:off x="14873045" y="8368991"/>
            <a:ext cx="762000" cy="681355"/>
            <a:chOff x="14873045" y="8368991"/>
            <a:chExt cx="762000" cy="681355"/>
          </a:xfrm>
        </p:grpSpPr>
        <p:sp>
          <p:nvSpPr>
            <p:cNvPr id="81" name="object 81"/>
            <p:cNvSpPr/>
            <p:nvPr/>
          </p:nvSpPr>
          <p:spPr>
            <a:xfrm>
              <a:off x="14873045" y="8368991"/>
              <a:ext cx="762000" cy="681355"/>
            </a:xfrm>
            <a:custGeom>
              <a:avLst/>
              <a:gdLst/>
              <a:ahLst/>
              <a:cxnLst/>
              <a:rect l="l" t="t" r="r" b="b"/>
              <a:pathLst>
                <a:path w="762000" h="681354">
                  <a:moveTo>
                    <a:pt x="128188" y="681177"/>
                  </a:moveTo>
                  <a:lnTo>
                    <a:pt x="121441" y="679156"/>
                  </a:lnTo>
                  <a:lnTo>
                    <a:pt x="154857" y="638116"/>
                  </a:lnTo>
                  <a:lnTo>
                    <a:pt x="179662" y="596466"/>
                  </a:lnTo>
                  <a:lnTo>
                    <a:pt x="195101" y="564170"/>
                  </a:lnTo>
                  <a:lnTo>
                    <a:pt x="200416" y="551190"/>
                  </a:lnTo>
                  <a:lnTo>
                    <a:pt x="72717" y="551190"/>
                  </a:lnTo>
                  <a:lnTo>
                    <a:pt x="44415" y="545483"/>
                  </a:lnTo>
                  <a:lnTo>
                    <a:pt x="21300" y="529919"/>
                  </a:lnTo>
                  <a:lnTo>
                    <a:pt x="5715" y="506835"/>
                  </a:lnTo>
                  <a:lnTo>
                    <a:pt x="0" y="478568"/>
                  </a:lnTo>
                  <a:lnTo>
                    <a:pt x="0" y="72622"/>
                  </a:lnTo>
                  <a:lnTo>
                    <a:pt x="5715" y="44355"/>
                  </a:lnTo>
                  <a:lnTo>
                    <a:pt x="21300" y="21271"/>
                  </a:lnTo>
                  <a:lnTo>
                    <a:pt x="44415" y="5707"/>
                  </a:lnTo>
                  <a:lnTo>
                    <a:pt x="72717" y="0"/>
                  </a:lnTo>
                  <a:lnTo>
                    <a:pt x="688684" y="0"/>
                  </a:lnTo>
                  <a:lnTo>
                    <a:pt x="717004" y="5707"/>
                  </a:lnTo>
                  <a:lnTo>
                    <a:pt x="740119" y="21271"/>
                  </a:lnTo>
                  <a:lnTo>
                    <a:pt x="755699" y="44355"/>
                  </a:lnTo>
                  <a:lnTo>
                    <a:pt x="761410" y="72622"/>
                  </a:lnTo>
                  <a:lnTo>
                    <a:pt x="761410" y="478568"/>
                  </a:lnTo>
                  <a:lnTo>
                    <a:pt x="755699" y="506835"/>
                  </a:lnTo>
                  <a:lnTo>
                    <a:pt x="740119" y="529919"/>
                  </a:lnTo>
                  <a:lnTo>
                    <a:pt x="717004" y="545483"/>
                  </a:lnTo>
                  <a:lnTo>
                    <a:pt x="688684" y="551190"/>
                  </a:lnTo>
                  <a:lnTo>
                    <a:pt x="427217" y="551190"/>
                  </a:lnTo>
                  <a:lnTo>
                    <a:pt x="401210" y="577496"/>
                  </a:lnTo>
                  <a:lnTo>
                    <a:pt x="359230" y="603058"/>
                  </a:lnTo>
                  <a:lnTo>
                    <a:pt x="307519" y="626776"/>
                  </a:lnTo>
                  <a:lnTo>
                    <a:pt x="252318" y="647547"/>
                  </a:lnTo>
                  <a:lnTo>
                    <a:pt x="199868" y="664272"/>
                  </a:lnTo>
                  <a:lnTo>
                    <a:pt x="156411" y="675849"/>
                  </a:lnTo>
                  <a:lnTo>
                    <a:pt x="128188" y="681177"/>
                  </a:lnTo>
                  <a:close/>
                </a:path>
              </a:pathLst>
            </a:custGeom>
            <a:solidFill>
              <a:srgbClr val="21408B"/>
            </a:solidFill>
          </p:spPr>
          <p:txBody>
            <a:bodyPr wrap="square" lIns="0" tIns="0" rIns="0" bIns="0" rtlCol="0"/>
            <a:lstStyle/>
            <a:p>
              <a:endParaRPr/>
            </a:p>
          </p:txBody>
        </p:sp>
        <p:pic>
          <p:nvPicPr>
            <p:cNvPr id="82" name="object 82"/>
            <p:cNvPicPr/>
            <p:nvPr/>
          </p:nvPicPr>
          <p:blipFill>
            <a:blip r:embed="rId8" cstate="print"/>
            <a:stretch>
              <a:fillRect/>
            </a:stretch>
          </p:blipFill>
          <p:spPr>
            <a:xfrm>
              <a:off x="15018699" y="8596336"/>
              <a:ext cx="99371" cy="99229"/>
            </a:xfrm>
            <a:prstGeom prst="rect">
              <a:avLst/>
            </a:prstGeom>
          </p:spPr>
        </p:pic>
        <p:pic>
          <p:nvPicPr>
            <p:cNvPr id="83" name="object 83"/>
            <p:cNvPicPr/>
            <p:nvPr/>
          </p:nvPicPr>
          <p:blipFill>
            <a:blip r:embed="rId9" cstate="print"/>
            <a:stretch>
              <a:fillRect/>
            </a:stretch>
          </p:blipFill>
          <p:spPr>
            <a:xfrm>
              <a:off x="15204075" y="8596336"/>
              <a:ext cx="99371" cy="99229"/>
            </a:xfrm>
            <a:prstGeom prst="rect">
              <a:avLst/>
            </a:prstGeom>
          </p:spPr>
        </p:pic>
        <p:pic>
          <p:nvPicPr>
            <p:cNvPr id="84" name="object 84"/>
            <p:cNvPicPr/>
            <p:nvPr/>
          </p:nvPicPr>
          <p:blipFill>
            <a:blip r:embed="rId10" cstate="print"/>
            <a:stretch>
              <a:fillRect/>
            </a:stretch>
          </p:blipFill>
          <p:spPr>
            <a:xfrm>
              <a:off x="15389451" y="8596336"/>
              <a:ext cx="99371" cy="99229"/>
            </a:xfrm>
            <a:prstGeom prst="rect">
              <a:avLst/>
            </a:prstGeom>
          </p:spPr>
        </p:pic>
      </p:grpSp>
      <p:sp>
        <p:nvSpPr>
          <p:cNvPr id="85" name="object 85"/>
          <p:cNvSpPr txBox="1"/>
          <p:nvPr/>
        </p:nvSpPr>
        <p:spPr>
          <a:xfrm>
            <a:off x="16166200" y="8270719"/>
            <a:ext cx="1071880" cy="798830"/>
          </a:xfrm>
          <a:prstGeom prst="rect">
            <a:avLst/>
          </a:prstGeom>
        </p:spPr>
        <p:txBody>
          <a:bodyPr vert="horz" wrap="square" lIns="0" tIns="22225" rIns="0" bIns="0" rtlCol="0">
            <a:spAutoFit/>
          </a:bodyPr>
          <a:lstStyle/>
          <a:p>
            <a:pPr marL="12700" marR="5080">
              <a:lnSpc>
                <a:spcPts val="2030"/>
              </a:lnSpc>
              <a:spcBef>
                <a:spcPts val="175"/>
              </a:spcBef>
            </a:pPr>
            <a:r>
              <a:rPr sz="1700" b="1" spc="-10" dirty="0">
                <a:solidFill>
                  <a:srgbClr val="21408B"/>
                </a:solidFill>
                <a:latin typeface="Roboto"/>
                <a:cs typeface="Roboto"/>
              </a:rPr>
              <a:t>Cápsulas formativas generales</a:t>
            </a:r>
            <a:endParaRPr sz="1700">
              <a:latin typeface="Roboto"/>
              <a:cs typeface="Roboto"/>
            </a:endParaRPr>
          </a:p>
        </p:txBody>
      </p:sp>
      <p:grpSp>
        <p:nvGrpSpPr>
          <p:cNvPr id="86" name="object 86"/>
          <p:cNvGrpSpPr/>
          <p:nvPr/>
        </p:nvGrpSpPr>
        <p:grpSpPr>
          <a:xfrm>
            <a:off x="1101000" y="1253324"/>
            <a:ext cx="1175385" cy="1175385"/>
            <a:chOff x="1101000" y="1253324"/>
            <a:chExt cx="1175385" cy="1175385"/>
          </a:xfrm>
        </p:grpSpPr>
        <p:sp>
          <p:nvSpPr>
            <p:cNvPr id="87" name="object 87"/>
            <p:cNvSpPr/>
            <p:nvPr/>
          </p:nvSpPr>
          <p:spPr>
            <a:xfrm>
              <a:off x="1101000" y="1253324"/>
              <a:ext cx="1175385" cy="1175385"/>
            </a:xfrm>
            <a:custGeom>
              <a:avLst/>
              <a:gdLst/>
              <a:ahLst/>
              <a:cxnLst/>
              <a:rect l="l" t="t" r="r" b="b"/>
              <a:pathLst>
                <a:path w="1175385" h="1175385">
                  <a:moveTo>
                    <a:pt x="587690" y="1175380"/>
                  </a:moveTo>
                  <a:lnTo>
                    <a:pt x="539490" y="1173432"/>
                  </a:lnTo>
                  <a:lnTo>
                    <a:pt x="492364" y="1167688"/>
                  </a:lnTo>
                  <a:lnTo>
                    <a:pt x="446461" y="1158300"/>
                  </a:lnTo>
                  <a:lnTo>
                    <a:pt x="401934" y="1145419"/>
                  </a:lnTo>
                  <a:lnTo>
                    <a:pt x="358934" y="1129197"/>
                  </a:lnTo>
                  <a:lnTo>
                    <a:pt x="317612" y="1109783"/>
                  </a:lnTo>
                  <a:lnTo>
                    <a:pt x="278120" y="1087331"/>
                  </a:lnTo>
                  <a:lnTo>
                    <a:pt x="240608" y="1061990"/>
                  </a:lnTo>
                  <a:lnTo>
                    <a:pt x="205227" y="1033913"/>
                  </a:lnTo>
                  <a:lnTo>
                    <a:pt x="172130" y="1003250"/>
                  </a:lnTo>
                  <a:lnTo>
                    <a:pt x="141467" y="970152"/>
                  </a:lnTo>
                  <a:lnTo>
                    <a:pt x="113390" y="934772"/>
                  </a:lnTo>
                  <a:lnTo>
                    <a:pt x="88049" y="897260"/>
                  </a:lnTo>
                  <a:lnTo>
                    <a:pt x="65596" y="857767"/>
                  </a:lnTo>
                  <a:lnTo>
                    <a:pt x="46183" y="816445"/>
                  </a:lnTo>
                  <a:lnTo>
                    <a:pt x="29960" y="773445"/>
                  </a:lnTo>
                  <a:lnTo>
                    <a:pt x="17079" y="728918"/>
                  </a:lnTo>
                  <a:lnTo>
                    <a:pt x="7691" y="683016"/>
                  </a:lnTo>
                  <a:lnTo>
                    <a:pt x="1948" y="635889"/>
                  </a:lnTo>
                  <a:lnTo>
                    <a:pt x="0" y="587690"/>
                  </a:lnTo>
                  <a:lnTo>
                    <a:pt x="1948" y="539490"/>
                  </a:lnTo>
                  <a:lnTo>
                    <a:pt x="7691" y="492363"/>
                  </a:lnTo>
                  <a:lnTo>
                    <a:pt x="17079" y="446461"/>
                  </a:lnTo>
                  <a:lnTo>
                    <a:pt x="29960" y="401934"/>
                  </a:lnTo>
                  <a:lnTo>
                    <a:pt x="46183" y="358934"/>
                  </a:lnTo>
                  <a:lnTo>
                    <a:pt x="65596" y="317612"/>
                  </a:lnTo>
                  <a:lnTo>
                    <a:pt x="88049" y="278119"/>
                  </a:lnTo>
                  <a:lnTo>
                    <a:pt x="113390" y="240607"/>
                  </a:lnTo>
                  <a:lnTo>
                    <a:pt x="141467" y="205227"/>
                  </a:lnTo>
                  <a:lnTo>
                    <a:pt x="172130" y="172130"/>
                  </a:lnTo>
                  <a:lnTo>
                    <a:pt x="205227" y="141467"/>
                  </a:lnTo>
                  <a:lnTo>
                    <a:pt x="240608" y="113389"/>
                  </a:lnTo>
                  <a:lnTo>
                    <a:pt x="278120" y="88048"/>
                  </a:lnTo>
                  <a:lnTo>
                    <a:pt x="317612" y="65596"/>
                  </a:lnTo>
                  <a:lnTo>
                    <a:pt x="358934" y="46183"/>
                  </a:lnTo>
                  <a:lnTo>
                    <a:pt x="401934" y="29960"/>
                  </a:lnTo>
                  <a:lnTo>
                    <a:pt x="446461" y="17079"/>
                  </a:lnTo>
                  <a:lnTo>
                    <a:pt x="492364" y="7691"/>
                  </a:lnTo>
                  <a:lnTo>
                    <a:pt x="539490" y="1947"/>
                  </a:lnTo>
                  <a:lnTo>
                    <a:pt x="587704" y="0"/>
                  </a:lnTo>
                  <a:lnTo>
                    <a:pt x="635890" y="1947"/>
                  </a:lnTo>
                  <a:lnTo>
                    <a:pt x="683016" y="7691"/>
                  </a:lnTo>
                  <a:lnTo>
                    <a:pt x="728919" y="17079"/>
                  </a:lnTo>
                  <a:lnTo>
                    <a:pt x="773446" y="29960"/>
                  </a:lnTo>
                  <a:lnTo>
                    <a:pt x="816446" y="46183"/>
                  </a:lnTo>
                  <a:lnTo>
                    <a:pt x="857768" y="65596"/>
                  </a:lnTo>
                  <a:lnTo>
                    <a:pt x="897260" y="88048"/>
                  </a:lnTo>
                  <a:lnTo>
                    <a:pt x="934772" y="113389"/>
                  </a:lnTo>
                  <a:lnTo>
                    <a:pt x="970153" y="141467"/>
                  </a:lnTo>
                  <a:lnTo>
                    <a:pt x="1003250" y="172130"/>
                  </a:lnTo>
                  <a:lnTo>
                    <a:pt x="1033913" y="205227"/>
                  </a:lnTo>
                  <a:lnTo>
                    <a:pt x="1061990" y="240607"/>
                  </a:lnTo>
                  <a:lnTo>
                    <a:pt x="1087331" y="278119"/>
                  </a:lnTo>
                  <a:lnTo>
                    <a:pt x="1109784" y="317612"/>
                  </a:lnTo>
                  <a:lnTo>
                    <a:pt x="1129197" y="358934"/>
                  </a:lnTo>
                  <a:lnTo>
                    <a:pt x="1145420" y="401934"/>
                  </a:lnTo>
                  <a:lnTo>
                    <a:pt x="1158301" y="446461"/>
                  </a:lnTo>
                  <a:lnTo>
                    <a:pt x="1167689" y="492363"/>
                  </a:lnTo>
                  <a:lnTo>
                    <a:pt x="1173432" y="539490"/>
                  </a:lnTo>
                  <a:lnTo>
                    <a:pt x="1175381" y="587690"/>
                  </a:lnTo>
                  <a:lnTo>
                    <a:pt x="1173432" y="635889"/>
                  </a:lnTo>
                  <a:lnTo>
                    <a:pt x="1167689" y="683016"/>
                  </a:lnTo>
                  <a:lnTo>
                    <a:pt x="1158301" y="728918"/>
                  </a:lnTo>
                  <a:lnTo>
                    <a:pt x="1145420" y="773445"/>
                  </a:lnTo>
                  <a:lnTo>
                    <a:pt x="1129197" y="816445"/>
                  </a:lnTo>
                  <a:lnTo>
                    <a:pt x="1109784" y="857767"/>
                  </a:lnTo>
                  <a:lnTo>
                    <a:pt x="1087331" y="897260"/>
                  </a:lnTo>
                  <a:lnTo>
                    <a:pt x="1061990" y="934772"/>
                  </a:lnTo>
                  <a:lnTo>
                    <a:pt x="1033913" y="970152"/>
                  </a:lnTo>
                  <a:lnTo>
                    <a:pt x="1003250" y="1003250"/>
                  </a:lnTo>
                  <a:lnTo>
                    <a:pt x="970153" y="1033913"/>
                  </a:lnTo>
                  <a:lnTo>
                    <a:pt x="934772" y="1061990"/>
                  </a:lnTo>
                  <a:lnTo>
                    <a:pt x="897260" y="1087331"/>
                  </a:lnTo>
                  <a:lnTo>
                    <a:pt x="857768" y="1109783"/>
                  </a:lnTo>
                  <a:lnTo>
                    <a:pt x="816446" y="1129197"/>
                  </a:lnTo>
                  <a:lnTo>
                    <a:pt x="773446" y="1145419"/>
                  </a:lnTo>
                  <a:lnTo>
                    <a:pt x="728919" y="1158300"/>
                  </a:lnTo>
                  <a:lnTo>
                    <a:pt x="683016" y="1167688"/>
                  </a:lnTo>
                  <a:lnTo>
                    <a:pt x="635890" y="1173432"/>
                  </a:lnTo>
                  <a:lnTo>
                    <a:pt x="587690" y="1175380"/>
                  </a:lnTo>
                  <a:close/>
                </a:path>
              </a:pathLst>
            </a:custGeom>
            <a:solidFill>
              <a:srgbClr val="21408B"/>
            </a:solidFill>
          </p:spPr>
          <p:txBody>
            <a:bodyPr wrap="square" lIns="0" tIns="0" rIns="0" bIns="0" rtlCol="0"/>
            <a:lstStyle/>
            <a:p>
              <a:endParaRPr/>
            </a:p>
          </p:txBody>
        </p:sp>
        <p:sp>
          <p:nvSpPr>
            <p:cNvPr id="88" name="object 88"/>
            <p:cNvSpPr/>
            <p:nvPr/>
          </p:nvSpPr>
          <p:spPr>
            <a:xfrm>
              <a:off x="1320497" y="1470825"/>
              <a:ext cx="738505" cy="740410"/>
            </a:xfrm>
            <a:custGeom>
              <a:avLst/>
              <a:gdLst/>
              <a:ahLst/>
              <a:cxnLst/>
              <a:rect l="l" t="t" r="r" b="b"/>
              <a:pathLst>
                <a:path w="738505" h="740410">
                  <a:moveTo>
                    <a:pt x="374177" y="740409"/>
                  </a:moveTo>
                  <a:lnTo>
                    <a:pt x="332567" y="740409"/>
                  </a:lnTo>
                  <a:lnTo>
                    <a:pt x="310585" y="737869"/>
                  </a:lnTo>
                  <a:lnTo>
                    <a:pt x="307760" y="736599"/>
                  </a:lnTo>
                  <a:lnTo>
                    <a:pt x="298567" y="736599"/>
                  </a:lnTo>
                  <a:lnTo>
                    <a:pt x="282618" y="732789"/>
                  </a:lnTo>
                  <a:lnTo>
                    <a:pt x="256536" y="725169"/>
                  </a:lnTo>
                  <a:lnTo>
                    <a:pt x="230092" y="716279"/>
                  </a:lnTo>
                  <a:lnTo>
                    <a:pt x="213058" y="708659"/>
                  </a:lnTo>
                  <a:lnTo>
                    <a:pt x="199635" y="701039"/>
                  </a:lnTo>
                  <a:lnTo>
                    <a:pt x="182039" y="692149"/>
                  </a:lnTo>
                  <a:lnTo>
                    <a:pt x="131425" y="655319"/>
                  </a:lnTo>
                  <a:lnTo>
                    <a:pt x="83628" y="607059"/>
                  </a:lnTo>
                  <a:lnTo>
                    <a:pt x="46016" y="551179"/>
                  </a:lnTo>
                  <a:lnTo>
                    <a:pt x="22542" y="502919"/>
                  </a:lnTo>
                  <a:lnTo>
                    <a:pt x="21273" y="497839"/>
                  </a:lnTo>
                  <a:lnTo>
                    <a:pt x="19091" y="490219"/>
                  </a:lnTo>
                  <a:lnTo>
                    <a:pt x="5457" y="439419"/>
                  </a:lnTo>
                  <a:lnTo>
                    <a:pt x="996" y="401319"/>
                  </a:lnTo>
                  <a:lnTo>
                    <a:pt x="0" y="360679"/>
                  </a:lnTo>
                  <a:lnTo>
                    <a:pt x="2634" y="320039"/>
                  </a:lnTo>
                  <a:lnTo>
                    <a:pt x="11785" y="274319"/>
                  </a:lnTo>
                  <a:lnTo>
                    <a:pt x="28113" y="226059"/>
                  </a:lnTo>
                  <a:lnTo>
                    <a:pt x="49812" y="181609"/>
                  </a:lnTo>
                  <a:lnTo>
                    <a:pt x="75080" y="144779"/>
                  </a:lnTo>
                  <a:lnTo>
                    <a:pt x="84948" y="133349"/>
                  </a:lnTo>
                  <a:lnTo>
                    <a:pt x="89126" y="128269"/>
                  </a:lnTo>
                  <a:lnTo>
                    <a:pt x="92056" y="124459"/>
                  </a:lnTo>
                  <a:lnTo>
                    <a:pt x="98711" y="116839"/>
                  </a:lnTo>
                  <a:lnTo>
                    <a:pt x="107525" y="107949"/>
                  </a:lnTo>
                  <a:lnTo>
                    <a:pt x="116650" y="99059"/>
                  </a:lnTo>
                  <a:lnTo>
                    <a:pt x="124236" y="91439"/>
                  </a:lnTo>
                  <a:lnTo>
                    <a:pt x="127847" y="88899"/>
                  </a:lnTo>
                  <a:lnTo>
                    <a:pt x="138794" y="80009"/>
                  </a:lnTo>
                  <a:lnTo>
                    <a:pt x="144783" y="74929"/>
                  </a:lnTo>
                  <a:lnTo>
                    <a:pt x="150975" y="69849"/>
                  </a:lnTo>
                  <a:lnTo>
                    <a:pt x="157397" y="64769"/>
                  </a:lnTo>
                  <a:lnTo>
                    <a:pt x="163292" y="60959"/>
                  </a:lnTo>
                  <a:lnTo>
                    <a:pt x="167899" y="57149"/>
                  </a:lnTo>
                  <a:lnTo>
                    <a:pt x="188463" y="45719"/>
                  </a:lnTo>
                  <a:lnTo>
                    <a:pt x="208697" y="35559"/>
                  </a:lnTo>
                  <a:lnTo>
                    <a:pt x="225887" y="26669"/>
                  </a:lnTo>
                  <a:lnTo>
                    <a:pt x="237315" y="21589"/>
                  </a:lnTo>
                  <a:lnTo>
                    <a:pt x="279904" y="10159"/>
                  </a:lnTo>
                  <a:lnTo>
                    <a:pt x="310080" y="2539"/>
                  </a:lnTo>
                  <a:lnTo>
                    <a:pt x="336654" y="0"/>
                  </a:lnTo>
                  <a:lnTo>
                    <a:pt x="396126" y="0"/>
                  </a:lnTo>
                  <a:lnTo>
                    <a:pt x="421865" y="2539"/>
                  </a:lnTo>
                  <a:lnTo>
                    <a:pt x="443702" y="5079"/>
                  </a:lnTo>
                  <a:lnTo>
                    <a:pt x="459690" y="8889"/>
                  </a:lnTo>
                  <a:lnTo>
                    <a:pt x="465210" y="11429"/>
                  </a:lnTo>
                  <a:lnTo>
                    <a:pt x="472627" y="12699"/>
                  </a:lnTo>
                  <a:lnTo>
                    <a:pt x="489271" y="17779"/>
                  </a:lnTo>
                  <a:lnTo>
                    <a:pt x="504791" y="24129"/>
                  </a:lnTo>
                  <a:lnTo>
                    <a:pt x="522293" y="31749"/>
                  </a:lnTo>
                  <a:lnTo>
                    <a:pt x="340222" y="31749"/>
                  </a:lnTo>
                  <a:lnTo>
                    <a:pt x="332737" y="33019"/>
                  </a:lnTo>
                  <a:lnTo>
                    <a:pt x="322519" y="36829"/>
                  </a:lnTo>
                  <a:lnTo>
                    <a:pt x="307956" y="43179"/>
                  </a:lnTo>
                  <a:lnTo>
                    <a:pt x="289391" y="53339"/>
                  </a:lnTo>
                  <a:lnTo>
                    <a:pt x="278182" y="62229"/>
                  </a:lnTo>
                  <a:lnTo>
                    <a:pt x="227635" y="62229"/>
                  </a:lnTo>
                  <a:lnTo>
                    <a:pt x="180275" y="86359"/>
                  </a:lnTo>
                  <a:lnTo>
                    <a:pt x="138819" y="120649"/>
                  </a:lnTo>
                  <a:lnTo>
                    <a:pt x="101957" y="160019"/>
                  </a:lnTo>
                  <a:lnTo>
                    <a:pt x="96906" y="168909"/>
                  </a:lnTo>
                  <a:lnTo>
                    <a:pt x="106805" y="172719"/>
                  </a:lnTo>
                  <a:lnTo>
                    <a:pt x="127198" y="173989"/>
                  </a:lnTo>
                  <a:lnTo>
                    <a:pt x="684505" y="173989"/>
                  </a:lnTo>
                  <a:lnTo>
                    <a:pt x="689561" y="181609"/>
                  </a:lnTo>
                  <a:lnTo>
                    <a:pt x="698330" y="198119"/>
                  </a:lnTo>
                  <a:lnTo>
                    <a:pt x="699021" y="199389"/>
                  </a:lnTo>
                  <a:lnTo>
                    <a:pt x="623172" y="199389"/>
                  </a:lnTo>
                  <a:lnTo>
                    <a:pt x="597183" y="200659"/>
                  </a:lnTo>
                  <a:lnTo>
                    <a:pt x="590597" y="201929"/>
                  </a:lnTo>
                  <a:lnTo>
                    <a:pt x="82930" y="201929"/>
                  </a:lnTo>
                  <a:lnTo>
                    <a:pt x="54333" y="241299"/>
                  </a:lnTo>
                  <a:lnTo>
                    <a:pt x="37744" y="290829"/>
                  </a:lnTo>
                  <a:lnTo>
                    <a:pt x="32317" y="341629"/>
                  </a:lnTo>
                  <a:lnTo>
                    <a:pt x="34281" y="350519"/>
                  </a:lnTo>
                  <a:lnTo>
                    <a:pt x="37566" y="351789"/>
                  </a:lnTo>
                  <a:lnTo>
                    <a:pt x="44675" y="353059"/>
                  </a:lnTo>
                  <a:lnTo>
                    <a:pt x="737670" y="353059"/>
                  </a:lnTo>
                  <a:lnTo>
                    <a:pt x="738021" y="364489"/>
                  </a:lnTo>
                  <a:lnTo>
                    <a:pt x="737818" y="379729"/>
                  </a:lnTo>
                  <a:lnTo>
                    <a:pt x="659422" y="379729"/>
                  </a:lnTo>
                  <a:lnTo>
                    <a:pt x="628185" y="380999"/>
                  </a:lnTo>
                  <a:lnTo>
                    <a:pt x="611969" y="382269"/>
                  </a:lnTo>
                  <a:lnTo>
                    <a:pt x="63137" y="382269"/>
                  </a:lnTo>
                  <a:lnTo>
                    <a:pt x="49141" y="383539"/>
                  </a:lnTo>
                  <a:lnTo>
                    <a:pt x="39032" y="383539"/>
                  </a:lnTo>
                  <a:lnTo>
                    <a:pt x="34293" y="384809"/>
                  </a:lnTo>
                  <a:lnTo>
                    <a:pt x="30988" y="402589"/>
                  </a:lnTo>
                  <a:lnTo>
                    <a:pt x="36085" y="438149"/>
                  </a:lnTo>
                  <a:lnTo>
                    <a:pt x="47234" y="480059"/>
                  </a:lnTo>
                  <a:lnTo>
                    <a:pt x="62084" y="518159"/>
                  </a:lnTo>
                  <a:lnTo>
                    <a:pt x="91852" y="544829"/>
                  </a:lnTo>
                  <a:lnTo>
                    <a:pt x="696813" y="544829"/>
                  </a:lnTo>
                  <a:lnTo>
                    <a:pt x="688434" y="561339"/>
                  </a:lnTo>
                  <a:lnTo>
                    <a:pt x="680489" y="572769"/>
                  </a:lnTo>
                  <a:lnTo>
                    <a:pt x="342846" y="572769"/>
                  </a:lnTo>
                  <a:lnTo>
                    <a:pt x="329222" y="574039"/>
                  </a:lnTo>
                  <a:lnTo>
                    <a:pt x="318758" y="575309"/>
                  </a:lnTo>
                  <a:lnTo>
                    <a:pt x="115954" y="575309"/>
                  </a:lnTo>
                  <a:lnTo>
                    <a:pt x="106686" y="576579"/>
                  </a:lnTo>
                  <a:lnTo>
                    <a:pt x="102218" y="577849"/>
                  </a:lnTo>
                  <a:lnTo>
                    <a:pt x="101060" y="579119"/>
                  </a:lnTo>
                  <a:lnTo>
                    <a:pt x="108484" y="590549"/>
                  </a:lnTo>
                  <a:lnTo>
                    <a:pt x="147834" y="629919"/>
                  </a:lnTo>
                  <a:lnTo>
                    <a:pt x="191234" y="662939"/>
                  </a:lnTo>
                  <a:lnTo>
                    <a:pt x="226354" y="679449"/>
                  </a:lnTo>
                  <a:lnTo>
                    <a:pt x="279139" y="679449"/>
                  </a:lnTo>
                  <a:lnTo>
                    <a:pt x="306028" y="698499"/>
                  </a:lnTo>
                  <a:lnTo>
                    <a:pt x="335019" y="706119"/>
                  </a:lnTo>
                  <a:lnTo>
                    <a:pt x="380211" y="706119"/>
                  </a:lnTo>
                  <a:lnTo>
                    <a:pt x="380402" y="708659"/>
                  </a:lnTo>
                  <a:lnTo>
                    <a:pt x="387301" y="709929"/>
                  </a:lnTo>
                  <a:lnTo>
                    <a:pt x="523621" y="709929"/>
                  </a:lnTo>
                  <a:lnTo>
                    <a:pt x="515186" y="713739"/>
                  </a:lnTo>
                  <a:lnTo>
                    <a:pt x="493868" y="721359"/>
                  </a:lnTo>
                  <a:lnTo>
                    <a:pt x="470341" y="728979"/>
                  </a:lnTo>
                  <a:lnTo>
                    <a:pt x="446847" y="735329"/>
                  </a:lnTo>
                  <a:lnTo>
                    <a:pt x="418056" y="737869"/>
                  </a:lnTo>
                  <a:lnTo>
                    <a:pt x="374177" y="740409"/>
                  </a:lnTo>
                  <a:close/>
                </a:path>
                <a:path w="738505" h="740410">
                  <a:moveTo>
                    <a:pt x="682819" y="171449"/>
                  </a:moveTo>
                  <a:lnTo>
                    <a:pt x="275428" y="171449"/>
                  </a:lnTo>
                  <a:lnTo>
                    <a:pt x="325323" y="170179"/>
                  </a:lnTo>
                  <a:lnTo>
                    <a:pt x="349554" y="167639"/>
                  </a:lnTo>
                  <a:lnTo>
                    <a:pt x="352887" y="125729"/>
                  </a:lnTo>
                  <a:lnTo>
                    <a:pt x="353013" y="34289"/>
                  </a:lnTo>
                  <a:lnTo>
                    <a:pt x="346585" y="31749"/>
                  </a:lnTo>
                  <a:lnTo>
                    <a:pt x="389594" y="31749"/>
                  </a:lnTo>
                  <a:lnTo>
                    <a:pt x="382893" y="100329"/>
                  </a:lnTo>
                  <a:lnTo>
                    <a:pt x="382232" y="149859"/>
                  </a:lnTo>
                  <a:lnTo>
                    <a:pt x="382841" y="161289"/>
                  </a:lnTo>
                  <a:lnTo>
                    <a:pt x="384113" y="167639"/>
                  </a:lnTo>
                  <a:lnTo>
                    <a:pt x="388686" y="168909"/>
                  </a:lnTo>
                  <a:lnTo>
                    <a:pt x="400835" y="170179"/>
                  </a:lnTo>
                  <a:lnTo>
                    <a:pt x="681976" y="170179"/>
                  </a:lnTo>
                  <a:lnTo>
                    <a:pt x="682819" y="171449"/>
                  </a:lnTo>
                  <a:close/>
                </a:path>
                <a:path w="738505" h="740410">
                  <a:moveTo>
                    <a:pt x="587763" y="170179"/>
                  </a:moveTo>
                  <a:lnTo>
                    <a:pt x="511690" y="170179"/>
                  </a:lnTo>
                  <a:lnTo>
                    <a:pt x="527771" y="168909"/>
                  </a:lnTo>
                  <a:lnTo>
                    <a:pt x="534052" y="168909"/>
                  </a:lnTo>
                  <a:lnTo>
                    <a:pt x="531604" y="160019"/>
                  </a:lnTo>
                  <a:lnTo>
                    <a:pt x="511015" y="123189"/>
                  </a:lnTo>
                  <a:lnTo>
                    <a:pt x="482666" y="86359"/>
                  </a:lnTo>
                  <a:lnTo>
                    <a:pt x="446963" y="54609"/>
                  </a:lnTo>
                  <a:lnTo>
                    <a:pt x="413125" y="36829"/>
                  </a:lnTo>
                  <a:lnTo>
                    <a:pt x="395196" y="31749"/>
                  </a:lnTo>
                  <a:lnTo>
                    <a:pt x="522293" y="31749"/>
                  </a:lnTo>
                  <a:lnTo>
                    <a:pt x="541149" y="40639"/>
                  </a:lnTo>
                  <a:lnTo>
                    <a:pt x="560728" y="52069"/>
                  </a:lnTo>
                  <a:lnTo>
                    <a:pt x="565719" y="54609"/>
                  </a:lnTo>
                  <a:lnTo>
                    <a:pt x="501570" y="54609"/>
                  </a:lnTo>
                  <a:lnTo>
                    <a:pt x="501667" y="57149"/>
                  </a:lnTo>
                  <a:lnTo>
                    <a:pt x="505994" y="64769"/>
                  </a:lnTo>
                  <a:lnTo>
                    <a:pt x="513860" y="76199"/>
                  </a:lnTo>
                  <a:lnTo>
                    <a:pt x="524575" y="90169"/>
                  </a:lnTo>
                  <a:lnTo>
                    <a:pt x="531550" y="99059"/>
                  </a:lnTo>
                  <a:lnTo>
                    <a:pt x="539580" y="111759"/>
                  </a:lnTo>
                  <a:lnTo>
                    <a:pt x="547671" y="125729"/>
                  </a:lnTo>
                  <a:lnTo>
                    <a:pt x="554831" y="138429"/>
                  </a:lnTo>
                  <a:lnTo>
                    <a:pt x="561124" y="149859"/>
                  </a:lnTo>
                  <a:lnTo>
                    <a:pt x="566858" y="160019"/>
                  </a:lnTo>
                  <a:lnTo>
                    <a:pt x="571398" y="166369"/>
                  </a:lnTo>
                  <a:lnTo>
                    <a:pt x="574113" y="168909"/>
                  </a:lnTo>
                  <a:lnTo>
                    <a:pt x="587763" y="170179"/>
                  </a:lnTo>
                  <a:close/>
                </a:path>
                <a:path w="738505" h="740410">
                  <a:moveTo>
                    <a:pt x="681976" y="170179"/>
                  </a:moveTo>
                  <a:lnTo>
                    <a:pt x="631931" y="170179"/>
                  </a:lnTo>
                  <a:lnTo>
                    <a:pt x="642039" y="168909"/>
                  </a:lnTo>
                  <a:lnTo>
                    <a:pt x="638178" y="161289"/>
                  </a:lnTo>
                  <a:lnTo>
                    <a:pt x="610391" y="129539"/>
                  </a:lnTo>
                  <a:lnTo>
                    <a:pt x="577783" y="99059"/>
                  </a:lnTo>
                  <a:lnTo>
                    <a:pt x="538624" y="73659"/>
                  </a:lnTo>
                  <a:lnTo>
                    <a:pt x="507110" y="57149"/>
                  </a:lnTo>
                  <a:lnTo>
                    <a:pt x="502583" y="54609"/>
                  </a:lnTo>
                  <a:lnTo>
                    <a:pt x="565719" y="54609"/>
                  </a:lnTo>
                  <a:lnTo>
                    <a:pt x="568214" y="55879"/>
                  </a:lnTo>
                  <a:lnTo>
                    <a:pt x="575027" y="59689"/>
                  </a:lnTo>
                  <a:lnTo>
                    <a:pt x="576712" y="59689"/>
                  </a:lnTo>
                  <a:lnTo>
                    <a:pt x="584470" y="66039"/>
                  </a:lnTo>
                  <a:lnTo>
                    <a:pt x="593111" y="73659"/>
                  </a:lnTo>
                  <a:lnTo>
                    <a:pt x="600180" y="78739"/>
                  </a:lnTo>
                  <a:lnTo>
                    <a:pt x="607814" y="85089"/>
                  </a:lnTo>
                  <a:lnTo>
                    <a:pt x="615096" y="91439"/>
                  </a:lnTo>
                  <a:lnTo>
                    <a:pt x="621105" y="96519"/>
                  </a:lnTo>
                  <a:lnTo>
                    <a:pt x="637035" y="113029"/>
                  </a:lnTo>
                  <a:lnTo>
                    <a:pt x="656964" y="135889"/>
                  </a:lnTo>
                  <a:lnTo>
                    <a:pt x="676077" y="161289"/>
                  </a:lnTo>
                  <a:lnTo>
                    <a:pt x="681976" y="170179"/>
                  </a:lnTo>
                  <a:close/>
                </a:path>
                <a:path w="738505" h="740410">
                  <a:moveTo>
                    <a:pt x="684505" y="173989"/>
                  </a:moveTo>
                  <a:lnTo>
                    <a:pt x="127198" y="173989"/>
                  </a:lnTo>
                  <a:lnTo>
                    <a:pt x="148396" y="172719"/>
                  </a:lnTo>
                  <a:lnTo>
                    <a:pt x="160711" y="170179"/>
                  </a:lnTo>
                  <a:lnTo>
                    <a:pt x="163376" y="166369"/>
                  </a:lnTo>
                  <a:lnTo>
                    <a:pt x="167620" y="160019"/>
                  </a:lnTo>
                  <a:lnTo>
                    <a:pt x="172859" y="149859"/>
                  </a:lnTo>
                  <a:lnTo>
                    <a:pt x="178508" y="139699"/>
                  </a:lnTo>
                  <a:lnTo>
                    <a:pt x="185321" y="126999"/>
                  </a:lnTo>
                  <a:lnTo>
                    <a:pt x="193729" y="113029"/>
                  </a:lnTo>
                  <a:lnTo>
                    <a:pt x="202663" y="100329"/>
                  </a:lnTo>
                  <a:lnTo>
                    <a:pt x="211056" y="88899"/>
                  </a:lnTo>
                  <a:lnTo>
                    <a:pt x="218357" y="78739"/>
                  </a:lnTo>
                  <a:lnTo>
                    <a:pt x="223853" y="69849"/>
                  </a:lnTo>
                  <a:lnTo>
                    <a:pt x="227095" y="64769"/>
                  </a:lnTo>
                  <a:lnTo>
                    <a:pt x="227635" y="62229"/>
                  </a:lnTo>
                  <a:lnTo>
                    <a:pt x="278182" y="62229"/>
                  </a:lnTo>
                  <a:lnTo>
                    <a:pt x="270176" y="68579"/>
                  </a:lnTo>
                  <a:lnTo>
                    <a:pt x="251632" y="86359"/>
                  </a:lnTo>
                  <a:lnTo>
                    <a:pt x="221171" y="125729"/>
                  </a:lnTo>
                  <a:lnTo>
                    <a:pt x="201513" y="162559"/>
                  </a:lnTo>
                  <a:lnTo>
                    <a:pt x="200476" y="170179"/>
                  </a:lnTo>
                  <a:lnTo>
                    <a:pt x="225327" y="171449"/>
                  </a:lnTo>
                  <a:lnTo>
                    <a:pt x="682819" y="171449"/>
                  </a:lnTo>
                  <a:lnTo>
                    <a:pt x="684505" y="173989"/>
                  </a:lnTo>
                  <a:close/>
                </a:path>
                <a:path w="738505" h="740410">
                  <a:moveTo>
                    <a:pt x="737631" y="351789"/>
                  </a:moveTo>
                  <a:lnTo>
                    <a:pt x="657105" y="351789"/>
                  </a:lnTo>
                  <a:lnTo>
                    <a:pt x="688803" y="350519"/>
                  </a:lnTo>
                  <a:lnTo>
                    <a:pt x="705856" y="347979"/>
                  </a:lnTo>
                  <a:lnTo>
                    <a:pt x="707992" y="345439"/>
                  </a:lnTo>
                  <a:lnTo>
                    <a:pt x="708818" y="341629"/>
                  </a:lnTo>
                  <a:lnTo>
                    <a:pt x="708393" y="334009"/>
                  </a:lnTo>
                  <a:lnTo>
                    <a:pt x="699473" y="285749"/>
                  </a:lnTo>
                  <a:lnTo>
                    <a:pt x="687799" y="248919"/>
                  </a:lnTo>
                  <a:lnTo>
                    <a:pt x="663026" y="200659"/>
                  </a:lnTo>
                  <a:lnTo>
                    <a:pt x="649334" y="199389"/>
                  </a:lnTo>
                  <a:lnTo>
                    <a:pt x="699021" y="199389"/>
                  </a:lnTo>
                  <a:lnTo>
                    <a:pt x="720811" y="251459"/>
                  </a:lnTo>
                  <a:lnTo>
                    <a:pt x="733949" y="297179"/>
                  </a:lnTo>
                  <a:lnTo>
                    <a:pt x="736813" y="325119"/>
                  </a:lnTo>
                  <a:lnTo>
                    <a:pt x="737631" y="351789"/>
                  </a:lnTo>
                  <a:close/>
                </a:path>
                <a:path w="738505" h="740410">
                  <a:moveTo>
                    <a:pt x="737670" y="353059"/>
                  </a:moveTo>
                  <a:lnTo>
                    <a:pt x="101913" y="353059"/>
                  </a:lnTo>
                  <a:lnTo>
                    <a:pt x="115140" y="351789"/>
                  </a:lnTo>
                  <a:lnTo>
                    <a:pt x="122037" y="350519"/>
                  </a:lnTo>
                  <a:lnTo>
                    <a:pt x="125109" y="347979"/>
                  </a:lnTo>
                  <a:lnTo>
                    <a:pt x="126804" y="345439"/>
                  </a:lnTo>
                  <a:lnTo>
                    <a:pt x="128513" y="335279"/>
                  </a:lnTo>
                  <a:lnTo>
                    <a:pt x="128906" y="325119"/>
                  </a:lnTo>
                  <a:lnTo>
                    <a:pt x="131704" y="297179"/>
                  </a:lnTo>
                  <a:lnTo>
                    <a:pt x="137328" y="262889"/>
                  </a:lnTo>
                  <a:lnTo>
                    <a:pt x="143905" y="231139"/>
                  </a:lnTo>
                  <a:lnTo>
                    <a:pt x="149562" y="212089"/>
                  </a:lnTo>
                  <a:lnTo>
                    <a:pt x="151266" y="207009"/>
                  </a:lnTo>
                  <a:lnTo>
                    <a:pt x="147404" y="203199"/>
                  </a:lnTo>
                  <a:lnTo>
                    <a:pt x="135655" y="201929"/>
                  </a:lnTo>
                  <a:lnTo>
                    <a:pt x="212076" y="201929"/>
                  </a:lnTo>
                  <a:lnTo>
                    <a:pt x="194284" y="203199"/>
                  </a:lnTo>
                  <a:lnTo>
                    <a:pt x="187004" y="203199"/>
                  </a:lnTo>
                  <a:lnTo>
                    <a:pt x="183088" y="209549"/>
                  </a:lnTo>
                  <a:lnTo>
                    <a:pt x="169027" y="257809"/>
                  </a:lnTo>
                  <a:lnTo>
                    <a:pt x="160491" y="312419"/>
                  </a:lnTo>
                  <a:lnTo>
                    <a:pt x="158474" y="334009"/>
                  </a:lnTo>
                  <a:lnTo>
                    <a:pt x="158573" y="345439"/>
                  </a:lnTo>
                  <a:lnTo>
                    <a:pt x="158628" y="347979"/>
                  </a:lnTo>
                  <a:lnTo>
                    <a:pt x="162833" y="349249"/>
                  </a:lnTo>
                  <a:lnTo>
                    <a:pt x="176935" y="350519"/>
                  </a:lnTo>
                  <a:lnTo>
                    <a:pt x="412598" y="350519"/>
                  </a:lnTo>
                  <a:lnTo>
                    <a:pt x="477317" y="351789"/>
                  </a:lnTo>
                  <a:lnTo>
                    <a:pt x="737631" y="351789"/>
                  </a:lnTo>
                  <a:lnTo>
                    <a:pt x="737670" y="353059"/>
                  </a:lnTo>
                  <a:close/>
                </a:path>
                <a:path w="738505" h="740410">
                  <a:moveTo>
                    <a:pt x="412598" y="350519"/>
                  </a:moveTo>
                  <a:lnTo>
                    <a:pt x="349151" y="350519"/>
                  </a:lnTo>
                  <a:lnTo>
                    <a:pt x="350438" y="279399"/>
                  </a:lnTo>
                  <a:lnTo>
                    <a:pt x="350525" y="271779"/>
                  </a:lnTo>
                  <a:lnTo>
                    <a:pt x="350650" y="226059"/>
                  </a:lnTo>
                  <a:lnTo>
                    <a:pt x="330890" y="201929"/>
                  </a:lnTo>
                  <a:lnTo>
                    <a:pt x="590597" y="201929"/>
                  </a:lnTo>
                  <a:lnTo>
                    <a:pt x="584012" y="203199"/>
                  </a:lnTo>
                  <a:lnTo>
                    <a:pt x="382573" y="203199"/>
                  </a:lnTo>
                  <a:lnTo>
                    <a:pt x="381311" y="271779"/>
                  </a:lnTo>
                  <a:lnTo>
                    <a:pt x="381058" y="292099"/>
                  </a:lnTo>
                  <a:lnTo>
                    <a:pt x="381100" y="328929"/>
                  </a:lnTo>
                  <a:lnTo>
                    <a:pt x="381361" y="340359"/>
                  </a:lnTo>
                  <a:lnTo>
                    <a:pt x="382058" y="347979"/>
                  </a:lnTo>
                  <a:lnTo>
                    <a:pt x="412598" y="350519"/>
                  </a:lnTo>
                  <a:close/>
                </a:path>
                <a:path w="738505" h="740410">
                  <a:moveTo>
                    <a:pt x="657105" y="351789"/>
                  </a:moveTo>
                  <a:lnTo>
                    <a:pt x="477317" y="351789"/>
                  </a:lnTo>
                  <a:lnTo>
                    <a:pt x="542274" y="350519"/>
                  </a:lnTo>
                  <a:lnTo>
                    <a:pt x="573527" y="347979"/>
                  </a:lnTo>
                  <a:lnTo>
                    <a:pt x="571029" y="292099"/>
                  </a:lnTo>
                  <a:lnTo>
                    <a:pt x="563501" y="248919"/>
                  </a:lnTo>
                  <a:lnTo>
                    <a:pt x="549525" y="203199"/>
                  </a:lnTo>
                  <a:lnTo>
                    <a:pt x="584012" y="203199"/>
                  </a:lnTo>
                  <a:lnTo>
                    <a:pt x="581844" y="205739"/>
                  </a:lnTo>
                  <a:lnTo>
                    <a:pt x="582212" y="208279"/>
                  </a:lnTo>
                  <a:lnTo>
                    <a:pt x="585454" y="215899"/>
                  </a:lnTo>
                  <a:lnTo>
                    <a:pt x="587438" y="220979"/>
                  </a:lnTo>
                  <a:lnTo>
                    <a:pt x="589619" y="228599"/>
                  </a:lnTo>
                  <a:lnTo>
                    <a:pt x="591733" y="237489"/>
                  </a:lnTo>
                  <a:lnTo>
                    <a:pt x="593516" y="246379"/>
                  </a:lnTo>
                  <a:lnTo>
                    <a:pt x="595165" y="255269"/>
                  </a:lnTo>
                  <a:lnTo>
                    <a:pt x="596915" y="264159"/>
                  </a:lnTo>
                  <a:lnTo>
                    <a:pt x="598555" y="271779"/>
                  </a:lnTo>
                  <a:lnTo>
                    <a:pt x="599879" y="276859"/>
                  </a:lnTo>
                  <a:lnTo>
                    <a:pt x="601038" y="281939"/>
                  </a:lnTo>
                  <a:lnTo>
                    <a:pt x="602231" y="290829"/>
                  </a:lnTo>
                  <a:lnTo>
                    <a:pt x="603317" y="302259"/>
                  </a:lnTo>
                  <a:lnTo>
                    <a:pt x="605095" y="327659"/>
                  </a:lnTo>
                  <a:lnTo>
                    <a:pt x="606270" y="337819"/>
                  </a:lnTo>
                  <a:lnTo>
                    <a:pt x="607701" y="344169"/>
                  </a:lnTo>
                  <a:lnTo>
                    <a:pt x="609412" y="347979"/>
                  </a:lnTo>
                  <a:lnTo>
                    <a:pt x="625672" y="350519"/>
                  </a:lnTo>
                  <a:lnTo>
                    <a:pt x="657105" y="351789"/>
                  </a:lnTo>
                  <a:close/>
                </a:path>
                <a:path w="738505" h="740410">
                  <a:moveTo>
                    <a:pt x="698102" y="542289"/>
                  </a:moveTo>
                  <a:lnTo>
                    <a:pt x="643901" y="542289"/>
                  </a:lnTo>
                  <a:lnTo>
                    <a:pt x="655925" y="541019"/>
                  </a:lnTo>
                  <a:lnTo>
                    <a:pt x="662068" y="539749"/>
                  </a:lnTo>
                  <a:lnTo>
                    <a:pt x="665801" y="535939"/>
                  </a:lnTo>
                  <a:lnTo>
                    <a:pt x="673328" y="525779"/>
                  </a:lnTo>
                  <a:lnTo>
                    <a:pt x="694650" y="473709"/>
                  </a:lnTo>
                  <a:lnTo>
                    <a:pt x="707629" y="414019"/>
                  </a:lnTo>
                  <a:lnTo>
                    <a:pt x="709547" y="392429"/>
                  </a:lnTo>
                  <a:lnTo>
                    <a:pt x="707460" y="382269"/>
                  </a:lnTo>
                  <a:lnTo>
                    <a:pt x="690806" y="379729"/>
                  </a:lnTo>
                  <a:lnTo>
                    <a:pt x="737818" y="379729"/>
                  </a:lnTo>
                  <a:lnTo>
                    <a:pt x="737479" y="405129"/>
                  </a:lnTo>
                  <a:lnTo>
                    <a:pt x="735092" y="434339"/>
                  </a:lnTo>
                  <a:lnTo>
                    <a:pt x="724635" y="478789"/>
                  </a:lnTo>
                  <a:lnTo>
                    <a:pt x="709058" y="520699"/>
                  </a:lnTo>
                  <a:lnTo>
                    <a:pt x="698102" y="542289"/>
                  </a:lnTo>
                  <a:close/>
                </a:path>
                <a:path w="738505" h="740410">
                  <a:moveTo>
                    <a:pt x="190142" y="383539"/>
                  </a:moveTo>
                  <a:lnTo>
                    <a:pt x="112912" y="383539"/>
                  </a:lnTo>
                  <a:lnTo>
                    <a:pt x="99687" y="382269"/>
                  </a:lnTo>
                  <a:lnTo>
                    <a:pt x="220336" y="382269"/>
                  </a:lnTo>
                  <a:lnTo>
                    <a:pt x="190142" y="383539"/>
                  </a:lnTo>
                  <a:close/>
                </a:path>
                <a:path w="738505" h="740410">
                  <a:moveTo>
                    <a:pt x="696813" y="544829"/>
                  </a:moveTo>
                  <a:lnTo>
                    <a:pt x="345429" y="544829"/>
                  </a:lnTo>
                  <a:lnTo>
                    <a:pt x="347976" y="538479"/>
                  </a:lnTo>
                  <a:lnTo>
                    <a:pt x="348969" y="529589"/>
                  </a:lnTo>
                  <a:lnTo>
                    <a:pt x="349635" y="513079"/>
                  </a:lnTo>
                  <a:lnTo>
                    <a:pt x="349801" y="499109"/>
                  </a:lnTo>
                  <a:lnTo>
                    <a:pt x="349917" y="481329"/>
                  </a:lnTo>
                  <a:lnTo>
                    <a:pt x="349805" y="453389"/>
                  </a:lnTo>
                  <a:lnTo>
                    <a:pt x="349159" y="383539"/>
                  </a:lnTo>
                  <a:lnTo>
                    <a:pt x="256604" y="382269"/>
                  </a:lnTo>
                  <a:lnTo>
                    <a:pt x="413620" y="382269"/>
                  </a:lnTo>
                  <a:lnTo>
                    <a:pt x="383395" y="384809"/>
                  </a:lnTo>
                  <a:lnTo>
                    <a:pt x="381502" y="407669"/>
                  </a:lnTo>
                  <a:lnTo>
                    <a:pt x="379839" y="457199"/>
                  </a:lnTo>
                  <a:lnTo>
                    <a:pt x="379108" y="502919"/>
                  </a:lnTo>
                  <a:lnTo>
                    <a:pt x="379147" y="513079"/>
                  </a:lnTo>
                  <a:lnTo>
                    <a:pt x="379685" y="535939"/>
                  </a:lnTo>
                  <a:lnTo>
                    <a:pt x="381393" y="542289"/>
                  </a:lnTo>
                  <a:lnTo>
                    <a:pt x="698102" y="542289"/>
                  </a:lnTo>
                  <a:lnTo>
                    <a:pt x="696813" y="544829"/>
                  </a:lnTo>
                  <a:close/>
                </a:path>
                <a:path w="738505" h="740410">
                  <a:moveTo>
                    <a:pt x="584405" y="542289"/>
                  </a:moveTo>
                  <a:lnTo>
                    <a:pt x="545718" y="542289"/>
                  </a:lnTo>
                  <a:lnTo>
                    <a:pt x="549344" y="535939"/>
                  </a:lnTo>
                  <a:lnTo>
                    <a:pt x="560532" y="504189"/>
                  </a:lnTo>
                  <a:lnTo>
                    <a:pt x="570584" y="453389"/>
                  </a:lnTo>
                  <a:lnTo>
                    <a:pt x="576026" y="407669"/>
                  </a:lnTo>
                  <a:lnTo>
                    <a:pt x="576056" y="405129"/>
                  </a:lnTo>
                  <a:lnTo>
                    <a:pt x="573992" y="383539"/>
                  </a:lnTo>
                  <a:lnTo>
                    <a:pt x="542945" y="382269"/>
                  </a:lnTo>
                  <a:lnTo>
                    <a:pt x="611969" y="382269"/>
                  </a:lnTo>
                  <a:lnTo>
                    <a:pt x="609780" y="386079"/>
                  </a:lnTo>
                  <a:lnTo>
                    <a:pt x="608039" y="392429"/>
                  </a:lnTo>
                  <a:lnTo>
                    <a:pt x="606535" y="402589"/>
                  </a:lnTo>
                  <a:lnTo>
                    <a:pt x="605057" y="419099"/>
                  </a:lnTo>
                  <a:lnTo>
                    <a:pt x="601969" y="448309"/>
                  </a:lnTo>
                  <a:lnTo>
                    <a:pt x="597563" y="477519"/>
                  </a:lnTo>
                  <a:lnTo>
                    <a:pt x="592636" y="502919"/>
                  </a:lnTo>
                  <a:lnTo>
                    <a:pt x="587986" y="518159"/>
                  </a:lnTo>
                  <a:lnTo>
                    <a:pt x="586016" y="523239"/>
                  </a:lnTo>
                  <a:lnTo>
                    <a:pt x="584405" y="530859"/>
                  </a:lnTo>
                  <a:lnTo>
                    <a:pt x="584405" y="542289"/>
                  </a:lnTo>
                  <a:close/>
                </a:path>
                <a:path w="738505" h="740410">
                  <a:moveTo>
                    <a:pt x="196355" y="543559"/>
                  </a:moveTo>
                  <a:lnTo>
                    <a:pt x="148273" y="543559"/>
                  </a:lnTo>
                  <a:lnTo>
                    <a:pt x="151317" y="542289"/>
                  </a:lnTo>
                  <a:lnTo>
                    <a:pt x="152257" y="541019"/>
                  </a:lnTo>
                  <a:lnTo>
                    <a:pt x="151224" y="534669"/>
                  </a:lnTo>
                  <a:lnTo>
                    <a:pt x="149020" y="528319"/>
                  </a:lnTo>
                  <a:lnTo>
                    <a:pt x="143274" y="506729"/>
                  </a:lnTo>
                  <a:lnTo>
                    <a:pt x="136874" y="474979"/>
                  </a:lnTo>
                  <a:lnTo>
                    <a:pt x="131388" y="441959"/>
                  </a:lnTo>
                  <a:lnTo>
                    <a:pt x="128389" y="415289"/>
                  </a:lnTo>
                  <a:lnTo>
                    <a:pt x="127566" y="405129"/>
                  </a:lnTo>
                  <a:lnTo>
                    <a:pt x="126451" y="396239"/>
                  </a:lnTo>
                  <a:lnTo>
                    <a:pt x="125191" y="388619"/>
                  </a:lnTo>
                  <a:lnTo>
                    <a:pt x="123932" y="386079"/>
                  </a:lnTo>
                  <a:lnTo>
                    <a:pt x="120548" y="383539"/>
                  </a:lnTo>
                  <a:lnTo>
                    <a:pt x="169142" y="383539"/>
                  </a:lnTo>
                  <a:lnTo>
                    <a:pt x="160458" y="384809"/>
                  </a:lnTo>
                  <a:lnTo>
                    <a:pt x="158734" y="387349"/>
                  </a:lnTo>
                  <a:lnTo>
                    <a:pt x="158063" y="392429"/>
                  </a:lnTo>
                  <a:lnTo>
                    <a:pt x="158410" y="402589"/>
                  </a:lnTo>
                  <a:lnTo>
                    <a:pt x="164917" y="461009"/>
                  </a:lnTo>
                  <a:lnTo>
                    <a:pt x="172526" y="499109"/>
                  </a:lnTo>
                  <a:lnTo>
                    <a:pt x="189036" y="542289"/>
                  </a:lnTo>
                  <a:lnTo>
                    <a:pt x="196355" y="543559"/>
                  </a:lnTo>
                  <a:close/>
                </a:path>
                <a:path w="738505" h="740410">
                  <a:moveTo>
                    <a:pt x="238897" y="544829"/>
                  </a:moveTo>
                  <a:lnTo>
                    <a:pt x="129806" y="544829"/>
                  </a:lnTo>
                  <a:lnTo>
                    <a:pt x="140992" y="543559"/>
                  </a:lnTo>
                  <a:lnTo>
                    <a:pt x="213849" y="543559"/>
                  </a:lnTo>
                  <a:lnTo>
                    <a:pt x="238897" y="544829"/>
                  </a:lnTo>
                  <a:close/>
                </a:path>
                <a:path w="738505" h="740410">
                  <a:moveTo>
                    <a:pt x="380211" y="706119"/>
                  </a:moveTo>
                  <a:lnTo>
                    <a:pt x="346588" y="706119"/>
                  </a:lnTo>
                  <a:lnTo>
                    <a:pt x="347873" y="643889"/>
                  </a:lnTo>
                  <a:lnTo>
                    <a:pt x="348004" y="633729"/>
                  </a:lnTo>
                  <a:lnTo>
                    <a:pt x="348094" y="598169"/>
                  </a:lnTo>
                  <a:lnTo>
                    <a:pt x="347706" y="584199"/>
                  </a:lnTo>
                  <a:lnTo>
                    <a:pt x="346953" y="577849"/>
                  </a:lnTo>
                  <a:lnTo>
                    <a:pt x="345024" y="572769"/>
                  </a:lnTo>
                  <a:lnTo>
                    <a:pt x="458000" y="572769"/>
                  </a:lnTo>
                  <a:lnTo>
                    <a:pt x="407053" y="574039"/>
                  </a:lnTo>
                  <a:lnTo>
                    <a:pt x="381798" y="576579"/>
                  </a:lnTo>
                  <a:lnTo>
                    <a:pt x="379718" y="598169"/>
                  </a:lnTo>
                  <a:lnTo>
                    <a:pt x="378724" y="638809"/>
                  </a:lnTo>
                  <a:lnTo>
                    <a:pt x="378778" y="687069"/>
                  </a:lnTo>
                  <a:lnTo>
                    <a:pt x="380211" y="706119"/>
                  </a:lnTo>
                  <a:close/>
                </a:path>
                <a:path w="738505" h="740410">
                  <a:moveTo>
                    <a:pt x="523621" y="709929"/>
                  </a:moveTo>
                  <a:lnTo>
                    <a:pt x="387301" y="709929"/>
                  </a:lnTo>
                  <a:lnTo>
                    <a:pt x="399857" y="707389"/>
                  </a:lnTo>
                  <a:lnTo>
                    <a:pt x="414978" y="703579"/>
                  </a:lnTo>
                  <a:lnTo>
                    <a:pt x="455384" y="680719"/>
                  </a:lnTo>
                  <a:lnTo>
                    <a:pt x="504337" y="628649"/>
                  </a:lnTo>
                  <a:lnTo>
                    <a:pt x="529058" y="588009"/>
                  </a:lnTo>
                  <a:lnTo>
                    <a:pt x="532714" y="579119"/>
                  </a:lnTo>
                  <a:lnTo>
                    <a:pt x="531952" y="576579"/>
                  </a:lnTo>
                  <a:lnTo>
                    <a:pt x="508384" y="574039"/>
                  </a:lnTo>
                  <a:lnTo>
                    <a:pt x="458000" y="572769"/>
                  </a:lnTo>
                  <a:lnTo>
                    <a:pt x="604934" y="572769"/>
                  </a:lnTo>
                  <a:lnTo>
                    <a:pt x="581580" y="574039"/>
                  </a:lnTo>
                  <a:lnTo>
                    <a:pt x="569651" y="576579"/>
                  </a:lnTo>
                  <a:lnTo>
                    <a:pt x="567608" y="579119"/>
                  </a:lnTo>
                  <a:lnTo>
                    <a:pt x="563913" y="586739"/>
                  </a:lnTo>
                  <a:lnTo>
                    <a:pt x="559090" y="595629"/>
                  </a:lnTo>
                  <a:lnTo>
                    <a:pt x="538187" y="632459"/>
                  </a:lnTo>
                  <a:lnTo>
                    <a:pt x="519882" y="657859"/>
                  </a:lnTo>
                  <a:lnTo>
                    <a:pt x="511992" y="668019"/>
                  </a:lnTo>
                  <a:lnTo>
                    <a:pt x="505530" y="676909"/>
                  </a:lnTo>
                  <a:lnTo>
                    <a:pt x="501164" y="683259"/>
                  </a:lnTo>
                  <a:lnTo>
                    <a:pt x="499561" y="685799"/>
                  </a:lnTo>
                  <a:lnTo>
                    <a:pt x="501230" y="687069"/>
                  </a:lnTo>
                  <a:lnTo>
                    <a:pt x="565939" y="687069"/>
                  </a:lnTo>
                  <a:lnTo>
                    <a:pt x="555875" y="693419"/>
                  </a:lnTo>
                  <a:lnTo>
                    <a:pt x="532056" y="706119"/>
                  </a:lnTo>
                  <a:lnTo>
                    <a:pt x="523621" y="709929"/>
                  </a:lnTo>
                  <a:close/>
                </a:path>
                <a:path w="738505" h="740410">
                  <a:moveTo>
                    <a:pt x="565939" y="687069"/>
                  </a:moveTo>
                  <a:lnTo>
                    <a:pt x="501230" y="687069"/>
                  </a:lnTo>
                  <a:lnTo>
                    <a:pt x="505790" y="685799"/>
                  </a:lnTo>
                  <a:lnTo>
                    <a:pt x="512568" y="683259"/>
                  </a:lnTo>
                  <a:lnTo>
                    <a:pt x="520895" y="678179"/>
                  </a:lnTo>
                  <a:lnTo>
                    <a:pt x="527066" y="674369"/>
                  </a:lnTo>
                  <a:lnTo>
                    <a:pt x="573924" y="645159"/>
                  </a:lnTo>
                  <a:lnTo>
                    <a:pt x="605671" y="617219"/>
                  </a:lnTo>
                  <a:lnTo>
                    <a:pt x="639688" y="575309"/>
                  </a:lnTo>
                  <a:lnTo>
                    <a:pt x="628155" y="574039"/>
                  </a:lnTo>
                  <a:lnTo>
                    <a:pt x="604934" y="572769"/>
                  </a:lnTo>
                  <a:lnTo>
                    <a:pt x="680489" y="572769"/>
                  </a:lnTo>
                  <a:lnTo>
                    <a:pt x="632329" y="633729"/>
                  </a:lnTo>
                  <a:lnTo>
                    <a:pt x="596991" y="665479"/>
                  </a:lnTo>
                  <a:lnTo>
                    <a:pt x="571978" y="683259"/>
                  </a:lnTo>
                  <a:lnTo>
                    <a:pt x="565939" y="687069"/>
                  </a:lnTo>
                  <a:close/>
                </a:path>
                <a:path w="738505" h="740410">
                  <a:moveTo>
                    <a:pt x="279139" y="679449"/>
                  </a:moveTo>
                  <a:lnTo>
                    <a:pt x="226354" y="679449"/>
                  </a:lnTo>
                  <a:lnTo>
                    <a:pt x="226709" y="674369"/>
                  </a:lnTo>
                  <a:lnTo>
                    <a:pt x="213862" y="656589"/>
                  </a:lnTo>
                  <a:lnTo>
                    <a:pt x="186326" y="615949"/>
                  </a:lnTo>
                  <a:lnTo>
                    <a:pt x="171201" y="588009"/>
                  </a:lnTo>
                  <a:lnTo>
                    <a:pt x="163331" y="579119"/>
                  </a:lnTo>
                  <a:lnTo>
                    <a:pt x="151880" y="576579"/>
                  </a:lnTo>
                  <a:lnTo>
                    <a:pt x="131513" y="575309"/>
                  </a:lnTo>
                  <a:lnTo>
                    <a:pt x="225989" y="575309"/>
                  </a:lnTo>
                  <a:lnTo>
                    <a:pt x="209202" y="576579"/>
                  </a:lnTo>
                  <a:lnTo>
                    <a:pt x="202521" y="577849"/>
                  </a:lnTo>
                  <a:lnTo>
                    <a:pt x="201322" y="580389"/>
                  </a:lnTo>
                  <a:lnTo>
                    <a:pt x="201322" y="582929"/>
                  </a:lnTo>
                  <a:lnTo>
                    <a:pt x="202353" y="586739"/>
                  </a:lnTo>
                  <a:lnTo>
                    <a:pt x="204872" y="588009"/>
                  </a:lnTo>
                  <a:lnTo>
                    <a:pt x="209058" y="594359"/>
                  </a:lnTo>
                  <a:lnTo>
                    <a:pt x="212915" y="601979"/>
                  </a:lnTo>
                  <a:lnTo>
                    <a:pt x="238909" y="641349"/>
                  </a:lnTo>
                  <a:lnTo>
                    <a:pt x="271969" y="674369"/>
                  </a:lnTo>
                  <a:lnTo>
                    <a:pt x="279139" y="679449"/>
                  </a:lnTo>
                  <a:close/>
                </a:path>
              </a:pathLst>
            </a:custGeom>
            <a:solidFill>
              <a:srgbClr val="FFFFFF"/>
            </a:solidFill>
          </p:spPr>
          <p:txBody>
            <a:bodyPr wrap="square" lIns="0" tIns="0" rIns="0" bIns="0" rtlCol="0"/>
            <a:lstStyle/>
            <a:p>
              <a:endParaRPr/>
            </a:p>
          </p:txBody>
        </p:sp>
      </p:grpSp>
      <p:sp>
        <p:nvSpPr>
          <p:cNvPr id="89" name="object 89"/>
          <p:cNvSpPr txBox="1"/>
          <p:nvPr/>
        </p:nvSpPr>
        <p:spPr>
          <a:xfrm>
            <a:off x="9203949" y="1690463"/>
            <a:ext cx="2227580" cy="361315"/>
          </a:xfrm>
          <a:prstGeom prst="rect">
            <a:avLst/>
          </a:prstGeom>
        </p:spPr>
        <p:txBody>
          <a:bodyPr vert="horz" wrap="square" lIns="0" tIns="12700" rIns="0" bIns="0" rtlCol="0">
            <a:spAutoFit/>
          </a:bodyPr>
          <a:lstStyle/>
          <a:p>
            <a:pPr marL="12700">
              <a:lnSpc>
                <a:spcPct val="100000"/>
              </a:lnSpc>
              <a:spcBef>
                <a:spcPts val="100"/>
              </a:spcBef>
            </a:pPr>
            <a:r>
              <a:rPr sz="2200" b="1" dirty="0">
                <a:solidFill>
                  <a:srgbClr val="737373"/>
                </a:solidFill>
                <a:latin typeface="Roboto"/>
                <a:cs typeface="Roboto"/>
              </a:rPr>
              <a:t>B2B</a:t>
            </a:r>
            <a:r>
              <a:rPr sz="2200" b="1" spc="-20" dirty="0">
                <a:solidFill>
                  <a:srgbClr val="737373"/>
                </a:solidFill>
                <a:latin typeface="Roboto"/>
                <a:cs typeface="Roboto"/>
              </a:rPr>
              <a:t> </a:t>
            </a:r>
            <a:r>
              <a:rPr sz="2200" b="1" dirty="0">
                <a:solidFill>
                  <a:srgbClr val="737373"/>
                </a:solidFill>
                <a:latin typeface="Roboto"/>
                <a:cs typeface="Roboto"/>
              </a:rPr>
              <a:t>·</a:t>
            </a:r>
            <a:r>
              <a:rPr sz="2200" b="1" spc="-15" dirty="0">
                <a:solidFill>
                  <a:srgbClr val="737373"/>
                </a:solidFill>
                <a:latin typeface="Roboto"/>
                <a:cs typeface="Roboto"/>
              </a:rPr>
              <a:t> </a:t>
            </a:r>
            <a:r>
              <a:rPr sz="2200" b="1" dirty="0">
                <a:solidFill>
                  <a:srgbClr val="737373"/>
                </a:solidFill>
                <a:latin typeface="Roboto"/>
                <a:cs typeface="Roboto"/>
              </a:rPr>
              <a:t>B2C</a:t>
            </a:r>
            <a:r>
              <a:rPr sz="2200" b="1" spc="-20" dirty="0">
                <a:solidFill>
                  <a:srgbClr val="737373"/>
                </a:solidFill>
                <a:latin typeface="Roboto"/>
                <a:cs typeface="Roboto"/>
              </a:rPr>
              <a:t> </a:t>
            </a:r>
            <a:r>
              <a:rPr sz="2200" b="1" dirty="0">
                <a:solidFill>
                  <a:srgbClr val="737373"/>
                </a:solidFill>
                <a:latin typeface="Roboto"/>
                <a:cs typeface="Roboto"/>
              </a:rPr>
              <a:t>·</a:t>
            </a:r>
            <a:r>
              <a:rPr sz="2200" b="1" spc="-15" dirty="0">
                <a:solidFill>
                  <a:srgbClr val="737373"/>
                </a:solidFill>
                <a:latin typeface="Roboto"/>
                <a:cs typeface="Roboto"/>
              </a:rPr>
              <a:t> </a:t>
            </a:r>
            <a:r>
              <a:rPr sz="2200" b="1" spc="-20" dirty="0">
                <a:solidFill>
                  <a:srgbClr val="737373"/>
                </a:solidFill>
                <a:latin typeface="Roboto"/>
                <a:cs typeface="Roboto"/>
              </a:rPr>
              <a:t>RRPP</a:t>
            </a:r>
            <a:endParaRPr sz="2200">
              <a:latin typeface="Roboto"/>
              <a:cs typeface="Roboto"/>
            </a:endParaRPr>
          </a:p>
        </p:txBody>
      </p:sp>
      <p:sp>
        <p:nvSpPr>
          <p:cNvPr id="90" name="object 90"/>
          <p:cNvSpPr/>
          <p:nvPr/>
        </p:nvSpPr>
        <p:spPr>
          <a:xfrm>
            <a:off x="8975583" y="1714499"/>
            <a:ext cx="0" cy="362585"/>
          </a:xfrm>
          <a:custGeom>
            <a:avLst/>
            <a:gdLst/>
            <a:ahLst/>
            <a:cxnLst/>
            <a:rect l="l" t="t" r="r" b="b"/>
            <a:pathLst>
              <a:path h="362585">
                <a:moveTo>
                  <a:pt x="0" y="362038"/>
                </a:moveTo>
                <a:lnTo>
                  <a:pt x="0" y="0"/>
                </a:lnTo>
              </a:path>
            </a:pathLst>
          </a:custGeom>
          <a:ln w="19192">
            <a:solidFill>
              <a:srgbClr val="737373"/>
            </a:solidFill>
          </a:ln>
        </p:spPr>
        <p:txBody>
          <a:bodyPr wrap="square" lIns="0" tIns="0" rIns="0" bIns="0" rtlCol="0"/>
          <a:lstStyle/>
          <a:p>
            <a:endParaRPr/>
          </a:p>
        </p:txBody>
      </p:sp>
      <p:pic>
        <p:nvPicPr>
          <p:cNvPr id="91" name="object 91"/>
          <p:cNvPicPr/>
          <p:nvPr/>
        </p:nvPicPr>
        <p:blipFill>
          <a:blip r:embed="rId11" cstate="print"/>
          <a:stretch>
            <a:fillRect/>
          </a:stretch>
        </p:blipFill>
        <p:spPr>
          <a:xfrm>
            <a:off x="17316450" y="237491"/>
            <a:ext cx="742949" cy="819149"/>
          </a:xfrm>
          <a:prstGeom prst="rect">
            <a:avLst/>
          </a:prstGeom>
        </p:spPr>
      </p:pic>
      <p:sp>
        <p:nvSpPr>
          <p:cNvPr id="92" name="object 92"/>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93" name="object 93"/>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38</a:t>
            </a: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96389" y="3591116"/>
            <a:ext cx="6003290" cy="6187440"/>
          </a:xfrm>
          <a:custGeom>
            <a:avLst/>
            <a:gdLst/>
            <a:ahLst/>
            <a:cxnLst/>
            <a:rect l="l" t="t" r="r" b="b"/>
            <a:pathLst>
              <a:path w="6003290" h="6187440">
                <a:moveTo>
                  <a:pt x="0" y="6186864"/>
                </a:moveTo>
                <a:lnTo>
                  <a:pt x="6003204" y="6186864"/>
                </a:lnTo>
                <a:lnTo>
                  <a:pt x="6003204" y="0"/>
                </a:lnTo>
                <a:lnTo>
                  <a:pt x="0" y="0"/>
                </a:lnTo>
                <a:lnTo>
                  <a:pt x="0" y="6186864"/>
                </a:lnTo>
                <a:close/>
              </a:path>
            </a:pathLst>
          </a:custGeom>
          <a:solidFill>
            <a:srgbClr val="FFFFFF"/>
          </a:solidFill>
        </p:spPr>
        <p:txBody>
          <a:bodyPr wrap="square" lIns="0" tIns="0" rIns="0" bIns="0" rtlCol="0"/>
          <a:lstStyle/>
          <a:p>
            <a:endParaRPr/>
          </a:p>
        </p:txBody>
      </p:sp>
      <p:sp>
        <p:nvSpPr>
          <p:cNvPr id="3" name="object 3"/>
          <p:cNvSpPr/>
          <p:nvPr/>
        </p:nvSpPr>
        <p:spPr>
          <a:xfrm>
            <a:off x="7599681" y="4733942"/>
            <a:ext cx="1675764" cy="905510"/>
          </a:xfrm>
          <a:custGeom>
            <a:avLst/>
            <a:gdLst/>
            <a:ahLst/>
            <a:cxnLst/>
            <a:rect l="l" t="t" r="r" b="b"/>
            <a:pathLst>
              <a:path w="1675765" h="905510">
                <a:moveTo>
                  <a:pt x="0" y="905166"/>
                </a:moveTo>
                <a:lnTo>
                  <a:pt x="1675400" y="905166"/>
                </a:lnTo>
                <a:lnTo>
                  <a:pt x="1675400" y="0"/>
                </a:lnTo>
                <a:lnTo>
                  <a:pt x="0" y="0"/>
                </a:lnTo>
                <a:lnTo>
                  <a:pt x="0" y="905166"/>
                </a:lnTo>
                <a:close/>
              </a:path>
            </a:pathLst>
          </a:custGeom>
          <a:solidFill>
            <a:srgbClr val="ECE4D5"/>
          </a:solidFill>
        </p:spPr>
        <p:txBody>
          <a:bodyPr wrap="square" lIns="0" tIns="0" rIns="0" bIns="0" rtlCol="0"/>
          <a:lstStyle/>
          <a:p>
            <a:endParaRPr/>
          </a:p>
        </p:txBody>
      </p:sp>
      <p:sp>
        <p:nvSpPr>
          <p:cNvPr id="4" name="object 4"/>
          <p:cNvSpPr/>
          <p:nvPr/>
        </p:nvSpPr>
        <p:spPr>
          <a:xfrm>
            <a:off x="6682486" y="8259088"/>
            <a:ext cx="7162165" cy="1044575"/>
          </a:xfrm>
          <a:custGeom>
            <a:avLst/>
            <a:gdLst/>
            <a:ahLst/>
            <a:cxnLst/>
            <a:rect l="l" t="t" r="r" b="b"/>
            <a:pathLst>
              <a:path w="7162165" h="1044575">
                <a:moveTo>
                  <a:pt x="7161581" y="144348"/>
                </a:moveTo>
                <a:lnTo>
                  <a:pt x="882154" y="144348"/>
                </a:lnTo>
                <a:lnTo>
                  <a:pt x="858748" y="122834"/>
                </a:lnTo>
                <a:lnTo>
                  <a:pt x="823442" y="95542"/>
                </a:lnTo>
                <a:lnTo>
                  <a:pt x="785850" y="71297"/>
                </a:lnTo>
                <a:lnTo>
                  <a:pt x="746137" y="50279"/>
                </a:lnTo>
                <a:lnTo>
                  <a:pt x="704494" y="32677"/>
                </a:lnTo>
                <a:lnTo>
                  <a:pt x="661098" y="18656"/>
                </a:lnTo>
                <a:lnTo>
                  <a:pt x="616140" y="8420"/>
                </a:lnTo>
                <a:lnTo>
                  <a:pt x="569798" y="2133"/>
                </a:lnTo>
                <a:lnTo>
                  <a:pt x="522262" y="0"/>
                </a:lnTo>
                <a:lnTo>
                  <a:pt x="474726" y="2133"/>
                </a:lnTo>
                <a:lnTo>
                  <a:pt x="428383" y="8420"/>
                </a:lnTo>
                <a:lnTo>
                  <a:pt x="383425" y="18656"/>
                </a:lnTo>
                <a:lnTo>
                  <a:pt x="340029" y="32677"/>
                </a:lnTo>
                <a:lnTo>
                  <a:pt x="298373" y="50279"/>
                </a:lnTo>
                <a:lnTo>
                  <a:pt x="258660" y="71297"/>
                </a:lnTo>
                <a:lnTo>
                  <a:pt x="221068" y="95542"/>
                </a:lnTo>
                <a:lnTo>
                  <a:pt x="185775" y="122834"/>
                </a:lnTo>
                <a:lnTo>
                  <a:pt x="152958" y="152971"/>
                </a:lnTo>
                <a:lnTo>
                  <a:pt x="122821" y="185775"/>
                </a:lnTo>
                <a:lnTo>
                  <a:pt x="95542" y="221068"/>
                </a:lnTo>
                <a:lnTo>
                  <a:pt x="71297" y="258660"/>
                </a:lnTo>
                <a:lnTo>
                  <a:pt x="50279" y="298373"/>
                </a:lnTo>
                <a:lnTo>
                  <a:pt x="32677" y="340029"/>
                </a:lnTo>
                <a:lnTo>
                  <a:pt x="18656" y="383425"/>
                </a:lnTo>
                <a:lnTo>
                  <a:pt x="8407" y="428383"/>
                </a:lnTo>
                <a:lnTo>
                  <a:pt x="2133" y="474726"/>
                </a:lnTo>
                <a:lnTo>
                  <a:pt x="0" y="522262"/>
                </a:lnTo>
                <a:lnTo>
                  <a:pt x="2133" y="569798"/>
                </a:lnTo>
                <a:lnTo>
                  <a:pt x="8407" y="616140"/>
                </a:lnTo>
                <a:lnTo>
                  <a:pt x="18656" y="661098"/>
                </a:lnTo>
                <a:lnTo>
                  <a:pt x="32677" y="704494"/>
                </a:lnTo>
                <a:lnTo>
                  <a:pt x="50279" y="746137"/>
                </a:lnTo>
                <a:lnTo>
                  <a:pt x="71297" y="785850"/>
                </a:lnTo>
                <a:lnTo>
                  <a:pt x="95542" y="823455"/>
                </a:lnTo>
                <a:lnTo>
                  <a:pt x="122821" y="858748"/>
                </a:lnTo>
                <a:lnTo>
                  <a:pt x="152958" y="891552"/>
                </a:lnTo>
                <a:lnTo>
                  <a:pt x="185775" y="921689"/>
                </a:lnTo>
                <a:lnTo>
                  <a:pt x="221068" y="948969"/>
                </a:lnTo>
                <a:lnTo>
                  <a:pt x="258660" y="973213"/>
                </a:lnTo>
                <a:lnTo>
                  <a:pt x="298373" y="994232"/>
                </a:lnTo>
                <a:lnTo>
                  <a:pt x="340029" y="1011847"/>
                </a:lnTo>
                <a:lnTo>
                  <a:pt x="383425" y="1025867"/>
                </a:lnTo>
                <a:lnTo>
                  <a:pt x="428383" y="1036104"/>
                </a:lnTo>
                <a:lnTo>
                  <a:pt x="474726" y="1042377"/>
                </a:lnTo>
                <a:lnTo>
                  <a:pt x="522262" y="1044511"/>
                </a:lnTo>
                <a:lnTo>
                  <a:pt x="569798" y="1042377"/>
                </a:lnTo>
                <a:lnTo>
                  <a:pt x="616140" y="1036104"/>
                </a:lnTo>
                <a:lnTo>
                  <a:pt x="661098" y="1025867"/>
                </a:lnTo>
                <a:lnTo>
                  <a:pt x="704494" y="1011847"/>
                </a:lnTo>
                <a:lnTo>
                  <a:pt x="746137" y="994232"/>
                </a:lnTo>
                <a:lnTo>
                  <a:pt x="785850" y="973213"/>
                </a:lnTo>
                <a:lnTo>
                  <a:pt x="823442" y="948969"/>
                </a:lnTo>
                <a:lnTo>
                  <a:pt x="858748" y="921689"/>
                </a:lnTo>
                <a:lnTo>
                  <a:pt x="881456" y="900823"/>
                </a:lnTo>
                <a:lnTo>
                  <a:pt x="7161581" y="900823"/>
                </a:lnTo>
                <a:lnTo>
                  <a:pt x="7161581" y="144348"/>
                </a:lnTo>
                <a:close/>
              </a:path>
            </a:pathLst>
          </a:custGeom>
          <a:solidFill>
            <a:srgbClr val="21408B"/>
          </a:solidFill>
        </p:spPr>
        <p:txBody>
          <a:bodyPr wrap="square" lIns="0" tIns="0" rIns="0" bIns="0" rtlCol="0"/>
          <a:lstStyle/>
          <a:p>
            <a:endParaRPr/>
          </a:p>
        </p:txBody>
      </p:sp>
      <p:sp>
        <p:nvSpPr>
          <p:cNvPr id="5" name="object 5"/>
          <p:cNvSpPr/>
          <p:nvPr/>
        </p:nvSpPr>
        <p:spPr>
          <a:xfrm>
            <a:off x="10950946" y="7221676"/>
            <a:ext cx="2894965" cy="756920"/>
          </a:xfrm>
          <a:custGeom>
            <a:avLst/>
            <a:gdLst/>
            <a:ahLst/>
            <a:cxnLst/>
            <a:rect l="l" t="t" r="r" b="b"/>
            <a:pathLst>
              <a:path w="2894965" h="756920">
                <a:moveTo>
                  <a:pt x="2894700" y="756481"/>
                </a:moveTo>
                <a:lnTo>
                  <a:pt x="0" y="756481"/>
                </a:lnTo>
                <a:lnTo>
                  <a:pt x="0" y="0"/>
                </a:lnTo>
                <a:lnTo>
                  <a:pt x="2894700" y="0"/>
                </a:lnTo>
                <a:lnTo>
                  <a:pt x="2894700" y="756481"/>
                </a:lnTo>
                <a:close/>
              </a:path>
            </a:pathLst>
          </a:custGeom>
          <a:solidFill>
            <a:srgbClr val="21408B"/>
          </a:solidFill>
        </p:spPr>
        <p:txBody>
          <a:bodyPr wrap="square" lIns="0" tIns="0" rIns="0" bIns="0" rtlCol="0"/>
          <a:lstStyle/>
          <a:p>
            <a:endParaRPr/>
          </a:p>
        </p:txBody>
      </p:sp>
      <p:sp>
        <p:nvSpPr>
          <p:cNvPr id="6" name="object 6"/>
          <p:cNvSpPr/>
          <p:nvPr/>
        </p:nvSpPr>
        <p:spPr>
          <a:xfrm>
            <a:off x="7024551" y="8499940"/>
            <a:ext cx="400050" cy="561975"/>
          </a:xfrm>
          <a:custGeom>
            <a:avLst/>
            <a:gdLst/>
            <a:ahLst/>
            <a:cxnLst/>
            <a:rect l="l" t="t" r="r" b="b"/>
            <a:pathLst>
              <a:path w="400050" h="561975">
                <a:moveTo>
                  <a:pt x="199820" y="388514"/>
                </a:moveTo>
                <a:lnTo>
                  <a:pt x="155005" y="379577"/>
                </a:lnTo>
                <a:lnTo>
                  <a:pt x="118394" y="355211"/>
                </a:lnTo>
                <a:lnTo>
                  <a:pt x="93701" y="319082"/>
                </a:lnTo>
                <a:lnTo>
                  <a:pt x="84644" y="274860"/>
                </a:lnTo>
                <a:lnTo>
                  <a:pt x="84644" y="113654"/>
                </a:lnTo>
                <a:lnTo>
                  <a:pt x="93701" y="69431"/>
                </a:lnTo>
                <a:lnTo>
                  <a:pt x="118394" y="33303"/>
                </a:lnTo>
                <a:lnTo>
                  <a:pt x="155005" y="8937"/>
                </a:lnTo>
                <a:lnTo>
                  <a:pt x="199820" y="0"/>
                </a:lnTo>
                <a:lnTo>
                  <a:pt x="244634" y="8937"/>
                </a:lnTo>
                <a:lnTo>
                  <a:pt x="281246" y="33303"/>
                </a:lnTo>
                <a:lnTo>
                  <a:pt x="305939" y="69431"/>
                </a:lnTo>
                <a:lnTo>
                  <a:pt x="314995" y="113654"/>
                </a:lnTo>
                <a:lnTo>
                  <a:pt x="314995" y="274860"/>
                </a:lnTo>
                <a:lnTo>
                  <a:pt x="305939" y="319082"/>
                </a:lnTo>
                <a:lnTo>
                  <a:pt x="281246" y="355211"/>
                </a:lnTo>
                <a:lnTo>
                  <a:pt x="244634" y="379577"/>
                </a:lnTo>
                <a:lnTo>
                  <a:pt x="199820" y="388514"/>
                </a:lnTo>
                <a:close/>
              </a:path>
              <a:path w="400050" h="561975">
                <a:moveTo>
                  <a:pt x="219870" y="521954"/>
                </a:moveTo>
                <a:lnTo>
                  <a:pt x="179200" y="521954"/>
                </a:lnTo>
                <a:lnTo>
                  <a:pt x="179200" y="467431"/>
                </a:lnTo>
                <a:lnTo>
                  <a:pt x="131037" y="456469"/>
                </a:lnTo>
                <a:lnTo>
                  <a:pt x="88083" y="434739"/>
                </a:lnTo>
                <a:lnTo>
                  <a:pt x="51920" y="403803"/>
                </a:lnTo>
                <a:lnTo>
                  <a:pt x="24130" y="365223"/>
                </a:lnTo>
                <a:lnTo>
                  <a:pt x="6296" y="320560"/>
                </a:lnTo>
                <a:lnTo>
                  <a:pt x="0" y="271375"/>
                </a:lnTo>
                <a:lnTo>
                  <a:pt x="0" y="251028"/>
                </a:lnTo>
                <a:lnTo>
                  <a:pt x="1598" y="243253"/>
                </a:lnTo>
                <a:lnTo>
                  <a:pt x="5952" y="236891"/>
                </a:lnTo>
                <a:lnTo>
                  <a:pt x="12399" y="232595"/>
                </a:lnTo>
                <a:lnTo>
                  <a:pt x="20278" y="231017"/>
                </a:lnTo>
                <a:lnTo>
                  <a:pt x="28156" y="232595"/>
                </a:lnTo>
                <a:lnTo>
                  <a:pt x="34603" y="236891"/>
                </a:lnTo>
                <a:lnTo>
                  <a:pt x="38957" y="243253"/>
                </a:lnTo>
                <a:lnTo>
                  <a:pt x="40556" y="251028"/>
                </a:lnTo>
                <a:lnTo>
                  <a:pt x="40556" y="271375"/>
                </a:lnTo>
                <a:lnTo>
                  <a:pt x="48687" y="321003"/>
                </a:lnTo>
                <a:lnTo>
                  <a:pt x="71320" y="364139"/>
                </a:lnTo>
                <a:lnTo>
                  <a:pt x="105814" y="398177"/>
                </a:lnTo>
                <a:lnTo>
                  <a:pt x="149528" y="420511"/>
                </a:lnTo>
                <a:lnTo>
                  <a:pt x="199820" y="428535"/>
                </a:lnTo>
                <a:lnTo>
                  <a:pt x="318833" y="428535"/>
                </a:lnTo>
                <a:lnTo>
                  <a:pt x="311287" y="434972"/>
                </a:lnTo>
                <a:lnTo>
                  <a:pt x="268194" y="456666"/>
                </a:lnTo>
                <a:lnTo>
                  <a:pt x="219870" y="467544"/>
                </a:lnTo>
                <a:lnTo>
                  <a:pt x="219870" y="521954"/>
                </a:lnTo>
                <a:close/>
              </a:path>
              <a:path w="400050" h="561975">
                <a:moveTo>
                  <a:pt x="318833" y="428535"/>
                </a:moveTo>
                <a:lnTo>
                  <a:pt x="199820" y="428535"/>
                </a:lnTo>
                <a:lnTo>
                  <a:pt x="250111" y="420511"/>
                </a:lnTo>
                <a:lnTo>
                  <a:pt x="293825" y="398177"/>
                </a:lnTo>
                <a:lnTo>
                  <a:pt x="328319" y="364139"/>
                </a:lnTo>
                <a:lnTo>
                  <a:pt x="350952" y="321003"/>
                </a:lnTo>
                <a:lnTo>
                  <a:pt x="359083" y="271375"/>
                </a:lnTo>
                <a:lnTo>
                  <a:pt x="359083" y="251028"/>
                </a:lnTo>
                <a:lnTo>
                  <a:pt x="360682" y="243253"/>
                </a:lnTo>
                <a:lnTo>
                  <a:pt x="365036" y="236891"/>
                </a:lnTo>
                <a:lnTo>
                  <a:pt x="371483" y="232595"/>
                </a:lnTo>
                <a:lnTo>
                  <a:pt x="379362" y="231017"/>
                </a:lnTo>
                <a:lnTo>
                  <a:pt x="387264" y="232595"/>
                </a:lnTo>
                <a:lnTo>
                  <a:pt x="393687" y="236849"/>
                </a:lnTo>
                <a:lnTo>
                  <a:pt x="398041" y="243206"/>
                </a:lnTo>
                <a:lnTo>
                  <a:pt x="399640" y="251028"/>
                </a:lnTo>
                <a:lnTo>
                  <a:pt x="399640" y="271375"/>
                </a:lnTo>
                <a:lnTo>
                  <a:pt x="393325" y="320662"/>
                </a:lnTo>
                <a:lnTo>
                  <a:pt x="375438" y="365402"/>
                </a:lnTo>
                <a:lnTo>
                  <a:pt x="347563" y="404028"/>
                </a:lnTo>
                <a:lnTo>
                  <a:pt x="318833" y="428535"/>
                </a:lnTo>
                <a:close/>
              </a:path>
              <a:path w="400050" h="561975">
                <a:moveTo>
                  <a:pt x="301325" y="561974"/>
                </a:moveTo>
                <a:lnTo>
                  <a:pt x="98315" y="561974"/>
                </a:lnTo>
                <a:lnTo>
                  <a:pt x="90436" y="560397"/>
                </a:lnTo>
                <a:lnTo>
                  <a:pt x="83989" y="556101"/>
                </a:lnTo>
                <a:lnTo>
                  <a:pt x="79635" y="549739"/>
                </a:lnTo>
                <a:lnTo>
                  <a:pt x="78036" y="541964"/>
                </a:lnTo>
                <a:lnTo>
                  <a:pt x="79635" y="534190"/>
                </a:lnTo>
                <a:lnTo>
                  <a:pt x="83989" y="527828"/>
                </a:lnTo>
                <a:lnTo>
                  <a:pt x="90436" y="523531"/>
                </a:lnTo>
                <a:lnTo>
                  <a:pt x="98315" y="521954"/>
                </a:lnTo>
                <a:lnTo>
                  <a:pt x="301325" y="521954"/>
                </a:lnTo>
                <a:lnTo>
                  <a:pt x="309203" y="523531"/>
                </a:lnTo>
                <a:lnTo>
                  <a:pt x="315650" y="527828"/>
                </a:lnTo>
                <a:lnTo>
                  <a:pt x="320004" y="534190"/>
                </a:lnTo>
                <a:lnTo>
                  <a:pt x="321603" y="541964"/>
                </a:lnTo>
                <a:lnTo>
                  <a:pt x="320004" y="549739"/>
                </a:lnTo>
                <a:lnTo>
                  <a:pt x="315650" y="556101"/>
                </a:lnTo>
                <a:lnTo>
                  <a:pt x="309203" y="560397"/>
                </a:lnTo>
                <a:lnTo>
                  <a:pt x="301325" y="561974"/>
                </a:lnTo>
                <a:close/>
              </a:path>
            </a:pathLst>
          </a:custGeom>
          <a:solidFill>
            <a:srgbClr val="FFFFFF"/>
          </a:solidFill>
        </p:spPr>
        <p:txBody>
          <a:bodyPr wrap="square" lIns="0" tIns="0" rIns="0" bIns="0" rtlCol="0"/>
          <a:lstStyle/>
          <a:p>
            <a:endParaRPr/>
          </a:p>
        </p:txBody>
      </p:sp>
      <p:grpSp>
        <p:nvGrpSpPr>
          <p:cNvPr id="7" name="object 7"/>
          <p:cNvGrpSpPr/>
          <p:nvPr/>
        </p:nvGrpSpPr>
        <p:grpSpPr>
          <a:xfrm>
            <a:off x="6682491" y="7077336"/>
            <a:ext cx="4477385" cy="1044575"/>
            <a:chOff x="6682491" y="7077336"/>
            <a:chExt cx="4477385" cy="1044575"/>
          </a:xfrm>
        </p:grpSpPr>
        <p:sp>
          <p:nvSpPr>
            <p:cNvPr id="8" name="object 8"/>
            <p:cNvSpPr/>
            <p:nvPr/>
          </p:nvSpPr>
          <p:spPr>
            <a:xfrm>
              <a:off x="6682491" y="7077336"/>
              <a:ext cx="1044575" cy="1044575"/>
            </a:xfrm>
            <a:custGeom>
              <a:avLst/>
              <a:gdLst/>
              <a:ahLst/>
              <a:cxnLst/>
              <a:rect l="l" t="t" r="r" b="b"/>
              <a:pathLst>
                <a:path w="1044575" h="1044575">
                  <a:moveTo>
                    <a:pt x="522265" y="1044517"/>
                  </a:moveTo>
                  <a:lnTo>
                    <a:pt x="474722" y="1042383"/>
                  </a:lnTo>
                  <a:lnTo>
                    <a:pt x="428381" y="1036103"/>
                  </a:lnTo>
                  <a:lnTo>
                    <a:pt x="383421" y="1025861"/>
                  </a:lnTo>
                  <a:lnTo>
                    <a:pt x="340025" y="1011843"/>
                  </a:lnTo>
                  <a:lnTo>
                    <a:pt x="298378" y="994232"/>
                  </a:lnTo>
                  <a:lnTo>
                    <a:pt x="258664" y="973213"/>
                  </a:lnTo>
                  <a:lnTo>
                    <a:pt x="221068" y="948971"/>
                  </a:lnTo>
                  <a:lnTo>
                    <a:pt x="185773" y="921688"/>
                  </a:lnTo>
                  <a:lnTo>
                    <a:pt x="152965" y="891551"/>
                  </a:lnTo>
                  <a:lnTo>
                    <a:pt x="122828" y="858743"/>
                  </a:lnTo>
                  <a:lnTo>
                    <a:pt x="95546" y="823449"/>
                  </a:lnTo>
                  <a:lnTo>
                    <a:pt x="71303" y="785852"/>
                  </a:lnTo>
                  <a:lnTo>
                    <a:pt x="50284" y="746139"/>
                  </a:lnTo>
                  <a:lnTo>
                    <a:pt x="32673" y="704491"/>
                  </a:lnTo>
                  <a:lnTo>
                    <a:pt x="18655" y="661095"/>
                  </a:lnTo>
                  <a:lnTo>
                    <a:pt x="8414" y="616135"/>
                  </a:lnTo>
                  <a:lnTo>
                    <a:pt x="2134" y="569795"/>
                  </a:lnTo>
                  <a:lnTo>
                    <a:pt x="0" y="522258"/>
                  </a:lnTo>
                  <a:lnTo>
                    <a:pt x="2134" y="474722"/>
                  </a:lnTo>
                  <a:lnTo>
                    <a:pt x="8414" y="428382"/>
                  </a:lnTo>
                  <a:lnTo>
                    <a:pt x="18655" y="383421"/>
                  </a:lnTo>
                  <a:lnTo>
                    <a:pt x="32673" y="340025"/>
                  </a:lnTo>
                  <a:lnTo>
                    <a:pt x="50284" y="298378"/>
                  </a:lnTo>
                  <a:lnTo>
                    <a:pt x="71303" y="258664"/>
                  </a:lnTo>
                  <a:lnTo>
                    <a:pt x="95546" y="221068"/>
                  </a:lnTo>
                  <a:lnTo>
                    <a:pt x="122828" y="185774"/>
                  </a:lnTo>
                  <a:lnTo>
                    <a:pt x="152965" y="152966"/>
                  </a:lnTo>
                  <a:lnTo>
                    <a:pt x="185773" y="122828"/>
                  </a:lnTo>
                  <a:lnTo>
                    <a:pt x="221068" y="95546"/>
                  </a:lnTo>
                  <a:lnTo>
                    <a:pt x="258664" y="71303"/>
                  </a:lnTo>
                  <a:lnTo>
                    <a:pt x="298378" y="50284"/>
                  </a:lnTo>
                  <a:lnTo>
                    <a:pt x="340025" y="32673"/>
                  </a:lnTo>
                  <a:lnTo>
                    <a:pt x="383421" y="18655"/>
                  </a:lnTo>
                  <a:lnTo>
                    <a:pt x="428381" y="8414"/>
                  </a:lnTo>
                  <a:lnTo>
                    <a:pt x="474722" y="2134"/>
                  </a:lnTo>
                  <a:lnTo>
                    <a:pt x="522258" y="0"/>
                  </a:lnTo>
                  <a:lnTo>
                    <a:pt x="569794" y="2134"/>
                  </a:lnTo>
                  <a:lnTo>
                    <a:pt x="616135" y="8414"/>
                  </a:lnTo>
                  <a:lnTo>
                    <a:pt x="661095" y="18655"/>
                  </a:lnTo>
                  <a:lnTo>
                    <a:pt x="704491" y="32673"/>
                  </a:lnTo>
                  <a:lnTo>
                    <a:pt x="746138" y="50284"/>
                  </a:lnTo>
                  <a:lnTo>
                    <a:pt x="785852" y="71303"/>
                  </a:lnTo>
                  <a:lnTo>
                    <a:pt x="823448" y="95546"/>
                  </a:lnTo>
                  <a:lnTo>
                    <a:pt x="858743" y="122828"/>
                  </a:lnTo>
                  <a:lnTo>
                    <a:pt x="891551" y="152966"/>
                  </a:lnTo>
                  <a:lnTo>
                    <a:pt x="921688" y="185774"/>
                  </a:lnTo>
                  <a:lnTo>
                    <a:pt x="948970" y="221068"/>
                  </a:lnTo>
                  <a:lnTo>
                    <a:pt x="973213" y="258664"/>
                  </a:lnTo>
                  <a:lnTo>
                    <a:pt x="994232" y="298378"/>
                  </a:lnTo>
                  <a:lnTo>
                    <a:pt x="1011843" y="340025"/>
                  </a:lnTo>
                  <a:lnTo>
                    <a:pt x="1025861" y="383421"/>
                  </a:lnTo>
                  <a:lnTo>
                    <a:pt x="1036102" y="428382"/>
                  </a:lnTo>
                  <a:lnTo>
                    <a:pt x="1042382" y="474722"/>
                  </a:lnTo>
                  <a:lnTo>
                    <a:pt x="1044517" y="522258"/>
                  </a:lnTo>
                  <a:lnTo>
                    <a:pt x="1042382" y="569795"/>
                  </a:lnTo>
                  <a:lnTo>
                    <a:pt x="1036102" y="616135"/>
                  </a:lnTo>
                  <a:lnTo>
                    <a:pt x="1025861" y="661095"/>
                  </a:lnTo>
                  <a:lnTo>
                    <a:pt x="1011843" y="704491"/>
                  </a:lnTo>
                  <a:lnTo>
                    <a:pt x="994232" y="746139"/>
                  </a:lnTo>
                  <a:lnTo>
                    <a:pt x="973213" y="785852"/>
                  </a:lnTo>
                  <a:lnTo>
                    <a:pt x="948970" y="823449"/>
                  </a:lnTo>
                  <a:lnTo>
                    <a:pt x="921688" y="858743"/>
                  </a:lnTo>
                  <a:lnTo>
                    <a:pt x="891551" y="891551"/>
                  </a:lnTo>
                  <a:lnTo>
                    <a:pt x="858743" y="921688"/>
                  </a:lnTo>
                  <a:lnTo>
                    <a:pt x="823448" y="948971"/>
                  </a:lnTo>
                  <a:lnTo>
                    <a:pt x="785852" y="973213"/>
                  </a:lnTo>
                  <a:lnTo>
                    <a:pt x="746138" y="994232"/>
                  </a:lnTo>
                  <a:lnTo>
                    <a:pt x="704491" y="1011843"/>
                  </a:lnTo>
                  <a:lnTo>
                    <a:pt x="661095" y="1025861"/>
                  </a:lnTo>
                  <a:lnTo>
                    <a:pt x="616135" y="1036103"/>
                  </a:lnTo>
                  <a:lnTo>
                    <a:pt x="569794" y="1042383"/>
                  </a:lnTo>
                  <a:lnTo>
                    <a:pt x="522265" y="1044517"/>
                  </a:lnTo>
                  <a:close/>
                </a:path>
              </a:pathLst>
            </a:custGeom>
            <a:solidFill>
              <a:srgbClr val="21408B"/>
            </a:solidFill>
          </p:spPr>
          <p:txBody>
            <a:bodyPr wrap="square" lIns="0" tIns="0" rIns="0" bIns="0" rtlCol="0"/>
            <a:lstStyle/>
            <a:p>
              <a:endParaRPr/>
            </a:p>
          </p:txBody>
        </p:sp>
        <p:sp>
          <p:nvSpPr>
            <p:cNvPr id="9" name="object 9"/>
            <p:cNvSpPr/>
            <p:nvPr/>
          </p:nvSpPr>
          <p:spPr>
            <a:xfrm>
              <a:off x="6974636" y="7351801"/>
              <a:ext cx="447675" cy="485775"/>
            </a:xfrm>
            <a:custGeom>
              <a:avLst/>
              <a:gdLst/>
              <a:ahLst/>
              <a:cxnLst/>
              <a:rect l="l" t="t" r="r" b="b"/>
              <a:pathLst>
                <a:path w="447675" h="485775">
                  <a:moveTo>
                    <a:pt x="281305" y="446925"/>
                  </a:moveTo>
                  <a:lnTo>
                    <a:pt x="281101" y="444957"/>
                  </a:lnTo>
                  <a:lnTo>
                    <a:pt x="280111" y="443484"/>
                  </a:lnTo>
                  <a:lnTo>
                    <a:pt x="279006" y="441909"/>
                  </a:lnTo>
                  <a:lnTo>
                    <a:pt x="276821" y="440829"/>
                  </a:lnTo>
                  <a:lnTo>
                    <a:pt x="275424" y="441032"/>
                  </a:lnTo>
                  <a:lnTo>
                    <a:pt x="172554" y="441617"/>
                  </a:lnTo>
                  <a:lnTo>
                    <a:pt x="168859" y="442595"/>
                  </a:lnTo>
                  <a:lnTo>
                    <a:pt x="166865" y="445744"/>
                  </a:lnTo>
                  <a:lnTo>
                    <a:pt x="166662" y="447713"/>
                  </a:lnTo>
                  <a:lnTo>
                    <a:pt x="167462" y="449389"/>
                  </a:lnTo>
                  <a:lnTo>
                    <a:pt x="176961" y="464400"/>
                  </a:lnTo>
                  <a:lnTo>
                    <a:pt x="190182" y="475869"/>
                  </a:lnTo>
                  <a:lnTo>
                    <a:pt x="206146" y="483196"/>
                  </a:lnTo>
                  <a:lnTo>
                    <a:pt x="223888" y="485775"/>
                  </a:lnTo>
                  <a:lnTo>
                    <a:pt x="241858" y="483146"/>
                  </a:lnTo>
                  <a:lnTo>
                    <a:pt x="257924" y="475678"/>
                  </a:lnTo>
                  <a:lnTo>
                    <a:pt x="271157" y="463994"/>
                  </a:lnTo>
                  <a:lnTo>
                    <a:pt x="280606" y="448703"/>
                  </a:lnTo>
                  <a:lnTo>
                    <a:pt x="281305" y="446925"/>
                  </a:lnTo>
                  <a:close/>
                </a:path>
                <a:path w="447675" h="485775">
                  <a:moveTo>
                    <a:pt x="447675" y="394220"/>
                  </a:moveTo>
                  <a:lnTo>
                    <a:pt x="446176" y="391071"/>
                  </a:lnTo>
                  <a:lnTo>
                    <a:pt x="380580" y="337083"/>
                  </a:lnTo>
                  <a:lnTo>
                    <a:pt x="380580" y="198729"/>
                  </a:lnTo>
                  <a:lnTo>
                    <a:pt x="372122" y="148640"/>
                  </a:lnTo>
                  <a:lnTo>
                    <a:pt x="348640" y="105384"/>
                  </a:lnTo>
                  <a:lnTo>
                    <a:pt x="312966" y="71729"/>
                  </a:lnTo>
                  <a:lnTo>
                    <a:pt x="267944" y="50444"/>
                  </a:lnTo>
                  <a:lnTo>
                    <a:pt x="268249" y="48387"/>
                  </a:lnTo>
                  <a:lnTo>
                    <a:pt x="268643" y="46316"/>
                  </a:lnTo>
                  <a:lnTo>
                    <a:pt x="268643" y="45923"/>
                  </a:lnTo>
                  <a:lnTo>
                    <a:pt x="268643" y="44157"/>
                  </a:lnTo>
                  <a:lnTo>
                    <a:pt x="265125" y="26974"/>
                  </a:lnTo>
                  <a:lnTo>
                    <a:pt x="261747" y="22034"/>
                  </a:lnTo>
                  <a:lnTo>
                    <a:pt x="255536" y="12928"/>
                  </a:lnTo>
                  <a:lnTo>
                    <a:pt x="246214" y="6731"/>
                  </a:lnTo>
                  <a:lnTo>
                    <a:pt x="246214" y="44157"/>
                  </a:lnTo>
                  <a:lnTo>
                    <a:pt x="246113" y="45339"/>
                  </a:lnTo>
                  <a:lnTo>
                    <a:pt x="246011" y="45923"/>
                  </a:lnTo>
                  <a:lnTo>
                    <a:pt x="238734" y="44945"/>
                  </a:lnTo>
                  <a:lnTo>
                    <a:pt x="231355" y="44157"/>
                  </a:lnTo>
                  <a:lnTo>
                    <a:pt x="216204" y="44157"/>
                  </a:lnTo>
                  <a:lnTo>
                    <a:pt x="208927" y="44843"/>
                  </a:lnTo>
                  <a:lnTo>
                    <a:pt x="201650" y="45923"/>
                  </a:lnTo>
                  <a:lnTo>
                    <a:pt x="201650" y="45339"/>
                  </a:lnTo>
                  <a:lnTo>
                    <a:pt x="201523" y="44945"/>
                  </a:lnTo>
                  <a:lnTo>
                    <a:pt x="201460" y="44157"/>
                  </a:lnTo>
                  <a:lnTo>
                    <a:pt x="203225" y="35560"/>
                  </a:lnTo>
                  <a:lnTo>
                    <a:pt x="208038" y="28524"/>
                  </a:lnTo>
                  <a:lnTo>
                    <a:pt x="215163" y="23774"/>
                  </a:lnTo>
                  <a:lnTo>
                    <a:pt x="223888" y="22034"/>
                  </a:lnTo>
                  <a:lnTo>
                    <a:pt x="232587" y="23774"/>
                  </a:lnTo>
                  <a:lnTo>
                    <a:pt x="239687" y="28524"/>
                  </a:lnTo>
                  <a:lnTo>
                    <a:pt x="244462" y="35560"/>
                  </a:lnTo>
                  <a:lnTo>
                    <a:pt x="246214" y="44157"/>
                  </a:lnTo>
                  <a:lnTo>
                    <a:pt x="246214" y="6731"/>
                  </a:lnTo>
                  <a:lnTo>
                    <a:pt x="241312" y="3467"/>
                  </a:lnTo>
                  <a:lnTo>
                    <a:pt x="223888" y="0"/>
                  </a:lnTo>
                  <a:lnTo>
                    <a:pt x="206463" y="3467"/>
                  </a:lnTo>
                  <a:lnTo>
                    <a:pt x="192239" y="12928"/>
                  </a:lnTo>
                  <a:lnTo>
                    <a:pt x="182651" y="26974"/>
                  </a:lnTo>
                  <a:lnTo>
                    <a:pt x="179133" y="44157"/>
                  </a:lnTo>
                  <a:lnTo>
                    <a:pt x="179133" y="46316"/>
                  </a:lnTo>
                  <a:lnTo>
                    <a:pt x="179527" y="48387"/>
                  </a:lnTo>
                  <a:lnTo>
                    <a:pt x="179832" y="50444"/>
                  </a:lnTo>
                  <a:lnTo>
                    <a:pt x="134810" y="71704"/>
                  </a:lnTo>
                  <a:lnTo>
                    <a:pt x="99136" y="105346"/>
                  </a:lnTo>
                  <a:lnTo>
                    <a:pt x="75641" y="148602"/>
                  </a:lnTo>
                  <a:lnTo>
                    <a:pt x="67183" y="198729"/>
                  </a:lnTo>
                  <a:lnTo>
                    <a:pt x="67183" y="337083"/>
                  </a:lnTo>
                  <a:lnTo>
                    <a:pt x="3987" y="389013"/>
                  </a:lnTo>
                  <a:lnTo>
                    <a:pt x="1397" y="391071"/>
                  </a:lnTo>
                  <a:lnTo>
                    <a:pt x="0" y="394220"/>
                  </a:lnTo>
                  <a:lnTo>
                    <a:pt x="0" y="414578"/>
                  </a:lnTo>
                  <a:lnTo>
                    <a:pt x="4978" y="419493"/>
                  </a:lnTo>
                  <a:lnTo>
                    <a:pt x="442683" y="419493"/>
                  </a:lnTo>
                  <a:lnTo>
                    <a:pt x="447675" y="414578"/>
                  </a:lnTo>
                  <a:lnTo>
                    <a:pt x="447675" y="394220"/>
                  </a:lnTo>
                  <a:close/>
                </a:path>
              </a:pathLst>
            </a:custGeom>
            <a:solidFill>
              <a:srgbClr val="FFFFFF"/>
            </a:solidFill>
          </p:spPr>
          <p:txBody>
            <a:bodyPr wrap="square" lIns="0" tIns="0" rIns="0" bIns="0" rtlCol="0"/>
            <a:lstStyle/>
            <a:p>
              <a:endParaRPr/>
            </a:p>
          </p:txBody>
        </p:sp>
        <p:sp>
          <p:nvSpPr>
            <p:cNvPr id="10" name="object 10"/>
            <p:cNvSpPr/>
            <p:nvPr/>
          </p:nvSpPr>
          <p:spPr>
            <a:xfrm>
              <a:off x="7452563" y="7077341"/>
              <a:ext cx="3707129" cy="1044575"/>
            </a:xfrm>
            <a:custGeom>
              <a:avLst/>
              <a:gdLst/>
              <a:ahLst/>
              <a:cxnLst/>
              <a:rect l="l" t="t" r="r" b="b"/>
              <a:pathLst>
                <a:path w="3707129" h="1044575">
                  <a:moveTo>
                    <a:pt x="3706914" y="522262"/>
                  </a:moveTo>
                  <a:lnTo>
                    <a:pt x="3704780" y="474726"/>
                  </a:lnTo>
                  <a:lnTo>
                    <a:pt x="3698494" y="428383"/>
                  </a:lnTo>
                  <a:lnTo>
                    <a:pt x="3688257" y="383425"/>
                  </a:lnTo>
                  <a:lnTo>
                    <a:pt x="3674237" y="340029"/>
                  </a:lnTo>
                  <a:lnTo>
                    <a:pt x="3656622" y="298386"/>
                  </a:lnTo>
                  <a:lnTo>
                    <a:pt x="3635603" y="258660"/>
                  </a:lnTo>
                  <a:lnTo>
                    <a:pt x="3611359" y="221068"/>
                  </a:lnTo>
                  <a:lnTo>
                    <a:pt x="3584079" y="185775"/>
                  </a:lnTo>
                  <a:lnTo>
                    <a:pt x="3553942" y="152971"/>
                  </a:lnTo>
                  <a:lnTo>
                    <a:pt x="3521138" y="122834"/>
                  </a:lnTo>
                  <a:lnTo>
                    <a:pt x="3485845" y="95542"/>
                  </a:lnTo>
                  <a:lnTo>
                    <a:pt x="3448240" y="71310"/>
                  </a:lnTo>
                  <a:lnTo>
                    <a:pt x="3408527" y="50292"/>
                  </a:lnTo>
                  <a:lnTo>
                    <a:pt x="3366884" y="32677"/>
                  </a:lnTo>
                  <a:lnTo>
                    <a:pt x="3323488" y="18656"/>
                  </a:lnTo>
                  <a:lnTo>
                    <a:pt x="3278530" y="8420"/>
                  </a:lnTo>
                  <a:lnTo>
                    <a:pt x="3232188" y="2133"/>
                  </a:lnTo>
                  <a:lnTo>
                    <a:pt x="3184652" y="0"/>
                  </a:lnTo>
                  <a:lnTo>
                    <a:pt x="3137116" y="2133"/>
                  </a:lnTo>
                  <a:lnTo>
                    <a:pt x="3090773" y="8420"/>
                  </a:lnTo>
                  <a:lnTo>
                    <a:pt x="3045815" y="18656"/>
                  </a:lnTo>
                  <a:lnTo>
                    <a:pt x="3002419" y="32677"/>
                  </a:lnTo>
                  <a:lnTo>
                    <a:pt x="2960776" y="50292"/>
                  </a:lnTo>
                  <a:lnTo>
                    <a:pt x="2921063" y="71310"/>
                  </a:lnTo>
                  <a:lnTo>
                    <a:pt x="2883458" y="95542"/>
                  </a:lnTo>
                  <a:lnTo>
                    <a:pt x="2848165" y="122834"/>
                  </a:lnTo>
                  <a:lnTo>
                    <a:pt x="2824759" y="144335"/>
                  </a:lnTo>
                  <a:lnTo>
                    <a:pt x="0" y="144335"/>
                  </a:lnTo>
                  <a:lnTo>
                    <a:pt x="0" y="900823"/>
                  </a:lnTo>
                  <a:lnTo>
                    <a:pt x="2825445" y="900823"/>
                  </a:lnTo>
                  <a:lnTo>
                    <a:pt x="2848165" y="921689"/>
                  </a:lnTo>
                  <a:lnTo>
                    <a:pt x="2883458" y="948969"/>
                  </a:lnTo>
                  <a:lnTo>
                    <a:pt x="2921063" y="973213"/>
                  </a:lnTo>
                  <a:lnTo>
                    <a:pt x="2960776" y="994232"/>
                  </a:lnTo>
                  <a:lnTo>
                    <a:pt x="3002419" y="1011847"/>
                  </a:lnTo>
                  <a:lnTo>
                    <a:pt x="3045815" y="1025867"/>
                  </a:lnTo>
                  <a:lnTo>
                    <a:pt x="3090773" y="1036104"/>
                  </a:lnTo>
                  <a:lnTo>
                    <a:pt x="3137116" y="1042390"/>
                  </a:lnTo>
                  <a:lnTo>
                    <a:pt x="3184664" y="1044524"/>
                  </a:lnTo>
                  <a:lnTo>
                    <a:pt x="3232188" y="1042390"/>
                  </a:lnTo>
                  <a:lnTo>
                    <a:pt x="3278530" y="1036104"/>
                  </a:lnTo>
                  <a:lnTo>
                    <a:pt x="3323488" y="1025867"/>
                  </a:lnTo>
                  <a:lnTo>
                    <a:pt x="3366884" y="1011847"/>
                  </a:lnTo>
                  <a:lnTo>
                    <a:pt x="3408527" y="994232"/>
                  </a:lnTo>
                  <a:lnTo>
                    <a:pt x="3448240" y="973213"/>
                  </a:lnTo>
                  <a:lnTo>
                    <a:pt x="3485845" y="948969"/>
                  </a:lnTo>
                  <a:lnTo>
                    <a:pt x="3521138" y="921689"/>
                  </a:lnTo>
                  <a:lnTo>
                    <a:pt x="3553942" y="891552"/>
                  </a:lnTo>
                  <a:lnTo>
                    <a:pt x="3584079" y="858748"/>
                  </a:lnTo>
                  <a:lnTo>
                    <a:pt x="3611359" y="823455"/>
                  </a:lnTo>
                  <a:lnTo>
                    <a:pt x="3635603" y="785850"/>
                  </a:lnTo>
                  <a:lnTo>
                    <a:pt x="3656622" y="746137"/>
                  </a:lnTo>
                  <a:lnTo>
                    <a:pt x="3674237" y="704494"/>
                  </a:lnTo>
                  <a:lnTo>
                    <a:pt x="3688257" y="661098"/>
                  </a:lnTo>
                  <a:lnTo>
                    <a:pt x="3698494" y="616140"/>
                  </a:lnTo>
                  <a:lnTo>
                    <a:pt x="3704780" y="569798"/>
                  </a:lnTo>
                  <a:lnTo>
                    <a:pt x="3706914" y="522262"/>
                  </a:lnTo>
                  <a:close/>
                </a:path>
              </a:pathLst>
            </a:custGeom>
            <a:solidFill>
              <a:srgbClr val="21408B"/>
            </a:solidFill>
          </p:spPr>
          <p:txBody>
            <a:bodyPr wrap="square" lIns="0" tIns="0" rIns="0" bIns="0" rtlCol="0"/>
            <a:lstStyle/>
            <a:p>
              <a:endParaRPr/>
            </a:p>
          </p:txBody>
        </p:sp>
        <p:sp>
          <p:nvSpPr>
            <p:cNvPr id="11" name="object 11"/>
            <p:cNvSpPr/>
            <p:nvPr/>
          </p:nvSpPr>
          <p:spPr>
            <a:xfrm>
              <a:off x="10386563" y="7273247"/>
              <a:ext cx="565150" cy="565150"/>
            </a:xfrm>
            <a:custGeom>
              <a:avLst/>
              <a:gdLst/>
              <a:ahLst/>
              <a:cxnLst/>
              <a:rect l="l" t="t" r="r" b="b"/>
              <a:pathLst>
                <a:path w="565150" h="565150">
                  <a:moveTo>
                    <a:pt x="167329" y="401088"/>
                  </a:moveTo>
                  <a:lnTo>
                    <a:pt x="112021" y="283521"/>
                  </a:lnTo>
                  <a:lnTo>
                    <a:pt x="152445" y="256180"/>
                  </a:lnTo>
                  <a:lnTo>
                    <a:pt x="172096" y="242434"/>
                  </a:lnTo>
                  <a:lnTo>
                    <a:pt x="215969" y="204960"/>
                  </a:lnTo>
                  <a:lnTo>
                    <a:pt x="253535" y="150184"/>
                  </a:lnTo>
                  <a:lnTo>
                    <a:pt x="265681" y="109014"/>
                  </a:lnTo>
                  <a:lnTo>
                    <a:pt x="267000" y="91756"/>
                  </a:lnTo>
                  <a:lnTo>
                    <a:pt x="266948" y="76735"/>
                  </a:lnTo>
                  <a:lnTo>
                    <a:pt x="264810" y="69982"/>
                  </a:lnTo>
                  <a:lnTo>
                    <a:pt x="281319" y="64692"/>
                  </a:lnTo>
                  <a:lnTo>
                    <a:pt x="283350" y="72301"/>
                  </a:lnTo>
                  <a:lnTo>
                    <a:pt x="422853" y="368705"/>
                  </a:lnTo>
                  <a:lnTo>
                    <a:pt x="307896" y="368705"/>
                  </a:lnTo>
                  <a:lnTo>
                    <a:pt x="235257" y="377796"/>
                  </a:lnTo>
                  <a:lnTo>
                    <a:pt x="191776" y="391382"/>
                  </a:lnTo>
                  <a:lnTo>
                    <a:pt x="183859" y="394481"/>
                  </a:lnTo>
                  <a:lnTo>
                    <a:pt x="167329" y="401088"/>
                  </a:lnTo>
                  <a:close/>
                </a:path>
                <a:path w="565150" h="565150">
                  <a:moveTo>
                    <a:pt x="392056" y="256591"/>
                  </a:moveTo>
                  <a:lnTo>
                    <a:pt x="367552" y="204626"/>
                  </a:lnTo>
                  <a:lnTo>
                    <a:pt x="380883" y="202434"/>
                  </a:lnTo>
                  <a:lnTo>
                    <a:pt x="391603" y="203854"/>
                  </a:lnTo>
                  <a:lnTo>
                    <a:pt x="399939" y="208836"/>
                  </a:lnTo>
                  <a:lnTo>
                    <a:pt x="406116" y="217329"/>
                  </a:lnTo>
                  <a:lnTo>
                    <a:pt x="409446" y="227769"/>
                  </a:lnTo>
                  <a:lnTo>
                    <a:pt x="408355" y="237639"/>
                  </a:lnTo>
                  <a:lnTo>
                    <a:pt x="402630" y="247170"/>
                  </a:lnTo>
                  <a:lnTo>
                    <a:pt x="392056" y="256591"/>
                  </a:lnTo>
                  <a:close/>
                </a:path>
                <a:path w="565150" h="565150">
                  <a:moveTo>
                    <a:pt x="65706" y="441884"/>
                  </a:moveTo>
                  <a:lnTo>
                    <a:pt x="28983" y="430658"/>
                  </a:lnTo>
                  <a:lnTo>
                    <a:pt x="5733" y="400444"/>
                  </a:lnTo>
                  <a:lnTo>
                    <a:pt x="2625" y="393295"/>
                  </a:lnTo>
                  <a:lnTo>
                    <a:pt x="857" y="385828"/>
                  </a:lnTo>
                  <a:lnTo>
                    <a:pt x="0" y="370260"/>
                  </a:lnTo>
                  <a:lnTo>
                    <a:pt x="937" y="362645"/>
                  </a:lnTo>
                  <a:lnTo>
                    <a:pt x="18567" y="328570"/>
                  </a:lnTo>
                  <a:lnTo>
                    <a:pt x="60220" y="303950"/>
                  </a:lnTo>
                  <a:lnTo>
                    <a:pt x="91147" y="289403"/>
                  </a:lnTo>
                  <a:lnTo>
                    <a:pt x="148638" y="411465"/>
                  </a:lnTo>
                  <a:lnTo>
                    <a:pt x="98075" y="433218"/>
                  </a:lnTo>
                  <a:lnTo>
                    <a:pt x="73369" y="441371"/>
                  </a:lnTo>
                  <a:lnTo>
                    <a:pt x="65706" y="441884"/>
                  </a:lnTo>
                  <a:close/>
                </a:path>
                <a:path w="565150" h="565150">
                  <a:moveTo>
                    <a:pt x="425050" y="411904"/>
                  </a:moveTo>
                  <a:lnTo>
                    <a:pt x="386664" y="384339"/>
                  </a:lnTo>
                  <a:lnTo>
                    <a:pt x="345086" y="371952"/>
                  </a:lnTo>
                  <a:lnTo>
                    <a:pt x="307896" y="368705"/>
                  </a:lnTo>
                  <a:lnTo>
                    <a:pt x="422853" y="368705"/>
                  </a:lnTo>
                  <a:lnTo>
                    <a:pt x="434722" y="393895"/>
                  </a:lnTo>
                  <a:lnTo>
                    <a:pt x="436033" y="396624"/>
                  </a:lnTo>
                  <a:lnTo>
                    <a:pt x="439762" y="406053"/>
                  </a:lnTo>
                  <a:lnTo>
                    <a:pt x="439118" y="408130"/>
                  </a:lnTo>
                  <a:lnTo>
                    <a:pt x="438853" y="408819"/>
                  </a:lnTo>
                  <a:lnTo>
                    <a:pt x="438155" y="410476"/>
                  </a:lnTo>
                  <a:lnTo>
                    <a:pt x="437213" y="411495"/>
                  </a:lnTo>
                  <a:lnTo>
                    <a:pt x="430947" y="411495"/>
                  </a:lnTo>
                  <a:lnTo>
                    <a:pt x="425050" y="411904"/>
                  </a:lnTo>
                  <a:close/>
                </a:path>
                <a:path w="565150" h="565150">
                  <a:moveTo>
                    <a:pt x="191175" y="450697"/>
                  </a:moveTo>
                  <a:lnTo>
                    <a:pt x="188234" y="445141"/>
                  </a:lnTo>
                  <a:lnTo>
                    <a:pt x="180291" y="430436"/>
                  </a:lnTo>
                  <a:lnTo>
                    <a:pt x="176705" y="423615"/>
                  </a:lnTo>
                  <a:lnTo>
                    <a:pt x="217825" y="405371"/>
                  </a:lnTo>
                  <a:lnTo>
                    <a:pt x="224437" y="420664"/>
                  </a:lnTo>
                  <a:lnTo>
                    <a:pt x="224015" y="432269"/>
                  </a:lnTo>
                  <a:lnTo>
                    <a:pt x="213836" y="441756"/>
                  </a:lnTo>
                  <a:lnTo>
                    <a:pt x="191175" y="450697"/>
                  </a:lnTo>
                  <a:close/>
                </a:path>
                <a:path w="565150" h="565150">
                  <a:moveTo>
                    <a:pt x="435411" y="412541"/>
                  </a:moveTo>
                  <a:lnTo>
                    <a:pt x="430947" y="411495"/>
                  </a:lnTo>
                  <a:lnTo>
                    <a:pt x="437213" y="411495"/>
                  </a:lnTo>
                  <a:lnTo>
                    <a:pt x="437008" y="411716"/>
                  </a:lnTo>
                  <a:lnTo>
                    <a:pt x="435411" y="412541"/>
                  </a:lnTo>
                  <a:close/>
                </a:path>
                <a:path w="565150" h="565150">
                  <a:moveTo>
                    <a:pt x="195836" y="564754"/>
                  </a:moveTo>
                  <a:lnTo>
                    <a:pt x="189765" y="560722"/>
                  </a:lnTo>
                  <a:lnTo>
                    <a:pt x="168273" y="527163"/>
                  </a:lnTo>
                  <a:lnTo>
                    <a:pt x="117805" y="448931"/>
                  </a:lnTo>
                  <a:lnTo>
                    <a:pt x="156900" y="430436"/>
                  </a:lnTo>
                  <a:lnTo>
                    <a:pt x="157012" y="430671"/>
                  </a:lnTo>
                  <a:lnTo>
                    <a:pt x="158461" y="433218"/>
                  </a:lnTo>
                  <a:lnTo>
                    <a:pt x="159992" y="435537"/>
                  </a:lnTo>
                  <a:lnTo>
                    <a:pt x="208722" y="539090"/>
                  </a:lnTo>
                  <a:lnTo>
                    <a:pt x="211257" y="546432"/>
                  </a:lnTo>
                  <a:lnTo>
                    <a:pt x="211454" y="552605"/>
                  </a:lnTo>
                  <a:lnTo>
                    <a:pt x="209286" y="557449"/>
                  </a:lnTo>
                  <a:lnTo>
                    <a:pt x="204727" y="560805"/>
                  </a:lnTo>
                  <a:lnTo>
                    <a:pt x="195836" y="564754"/>
                  </a:lnTo>
                  <a:close/>
                </a:path>
                <a:path w="565150" h="565150">
                  <a:moveTo>
                    <a:pt x="373295" y="58021"/>
                  </a:moveTo>
                  <a:lnTo>
                    <a:pt x="366875" y="55665"/>
                  </a:lnTo>
                  <a:lnTo>
                    <a:pt x="364532" y="53534"/>
                  </a:lnTo>
                  <a:lnTo>
                    <a:pt x="360924" y="45981"/>
                  </a:lnTo>
                  <a:lnTo>
                    <a:pt x="361303" y="41736"/>
                  </a:lnTo>
                  <a:lnTo>
                    <a:pt x="364194" y="37716"/>
                  </a:lnTo>
                  <a:lnTo>
                    <a:pt x="369518" y="29762"/>
                  </a:lnTo>
                  <a:lnTo>
                    <a:pt x="374881" y="21856"/>
                  </a:lnTo>
                  <a:lnTo>
                    <a:pt x="380281" y="13997"/>
                  </a:lnTo>
                  <a:lnTo>
                    <a:pt x="385720" y="6185"/>
                  </a:lnTo>
                  <a:lnTo>
                    <a:pt x="388445" y="2046"/>
                  </a:lnTo>
                  <a:lnTo>
                    <a:pt x="392285" y="0"/>
                  </a:lnTo>
                  <a:lnTo>
                    <a:pt x="397241" y="45"/>
                  </a:lnTo>
                  <a:lnTo>
                    <a:pt x="402363" y="257"/>
                  </a:lnTo>
                  <a:lnTo>
                    <a:pt x="406203" y="2584"/>
                  </a:lnTo>
                  <a:lnTo>
                    <a:pt x="408762" y="7026"/>
                  </a:lnTo>
                  <a:lnTo>
                    <a:pt x="409595" y="8231"/>
                  </a:lnTo>
                  <a:lnTo>
                    <a:pt x="409292" y="9747"/>
                  </a:lnTo>
                  <a:lnTo>
                    <a:pt x="408989" y="11415"/>
                  </a:lnTo>
                  <a:lnTo>
                    <a:pt x="408913" y="12248"/>
                  </a:lnTo>
                  <a:lnTo>
                    <a:pt x="408774" y="14863"/>
                  </a:lnTo>
                  <a:lnTo>
                    <a:pt x="408066" y="17314"/>
                  </a:lnTo>
                  <a:lnTo>
                    <a:pt x="384734" y="52041"/>
                  </a:lnTo>
                  <a:lnTo>
                    <a:pt x="376460" y="57911"/>
                  </a:lnTo>
                  <a:lnTo>
                    <a:pt x="373295" y="58021"/>
                  </a:lnTo>
                  <a:close/>
                </a:path>
                <a:path w="565150" h="565150">
                  <a:moveTo>
                    <a:pt x="469143" y="191089"/>
                  </a:moveTo>
                  <a:lnTo>
                    <a:pt x="461323" y="173782"/>
                  </a:lnTo>
                  <a:lnTo>
                    <a:pt x="463420" y="170069"/>
                  </a:lnTo>
                  <a:lnTo>
                    <a:pt x="467655" y="167562"/>
                  </a:lnTo>
                  <a:lnTo>
                    <a:pt x="475798" y="162519"/>
                  </a:lnTo>
                  <a:lnTo>
                    <a:pt x="492170" y="152575"/>
                  </a:lnTo>
                  <a:lnTo>
                    <a:pt x="500399" y="147703"/>
                  </a:lnTo>
                  <a:lnTo>
                    <a:pt x="504540" y="145044"/>
                  </a:lnTo>
                  <a:lnTo>
                    <a:pt x="521015" y="157935"/>
                  </a:lnTo>
                  <a:lnTo>
                    <a:pt x="521243" y="159451"/>
                  </a:lnTo>
                  <a:lnTo>
                    <a:pt x="520257" y="160664"/>
                  </a:lnTo>
                  <a:lnTo>
                    <a:pt x="519878" y="161346"/>
                  </a:lnTo>
                  <a:lnTo>
                    <a:pt x="519424" y="162028"/>
                  </a:lnTo>
                  <a:lnTo>
                    <a:pt x="518969" y="162786"/>
                  </a:lnTo>
                  <a:lnTo>
                    <a:pt x="517773" y="165109"/>
                  </a:lnTo>
                  <a:lnTo>
                    <a:pt x="516131" y="167054"/>
                  </a:lnTo>
                  <a:lnTo>
                    <a:pt x="480456" y="189017"/>
                  </a:lnTo>
                  <a:lnTo>
                    <a:pt x="478508" y="190292"/>
                  </a:lnTo>
                  <a:lnTo>
                    <a:pt x="476360" y="190949"/>
                  </a:lnTo>
                  <a:lnTo>
                    <a:pt x="469143" y="191089"/>
                  </a:lnTo>
                  <a:close/>
                </a:path>
                <a:path w="565150" h="565150">
                  <a:moveTo>
                    <a:pt x="550507" y="375637"/>
                  </a:moveTo>
                  <a:lnTo>
                    <a:pt x="547923" y="375242"/>
                  </a:lnTo>
                  <a:lnTo>
                    <a:pt x="538219" y="372816"/>
                  </a:lnTo>
                  <a:lnTo>
                    <a:pt x="528680" y="370315"/>
                  </a:lnTo>
                  <a:lnTo>
                    <a:pt x="509949" y="365161"/>
                  </a:lnTo>
                  <a:lnTo>
                    <a:pt x="507705" y="364609"/>
                  </a:lnTo>
                  <a:lnTo>
                    <a:pt x="505760" y="363523"/>
                  </a:lnTo>
                  <a:lnTo>
                    <a:pt x="500645" y="358453"/>
                  </a:lnTo>
                  <a:lnTo>
                    <a:pt x="499609" y="354386"/>
                  </a:lnTo>
                  <a:lnTo>
                    <a:pt x="501005" y="349699"/>
                  </a:lnTo>
                  <a:lnTo>
                    <a:pt x="511871" y="339759"/>
                  </a:lnTo>
                  <a:lnTo>
                    <a:pt x="516619" y="341058"/>
                  </a:lnTo>
                  <a:lnTo>
                    <a:pt x="544417" y="348349"/>
                  </a:lnTo>
                  <a:lnTo>
                    <a:pt x="553607" y="350911"/>
                  </a:lnTo>
                  <a:lnTo>
                    <a:pt x="558370" y="352087"/>
                  </a:lnTo>
                  <a:lnTo>
                    <a:pt x="561554" y="354992"/>
                  </a:lnTo>
                  <a:lnTo>
                    <a:pt x="563158" y="359628"/>
                  </a:lnTo>
                  <a:lnTo>
                    <a:pt x="564702" y="364513"/>
                  </a:lnTo>
                  <a:lnTo>
                    <a:pt x="563818" y="368909"/>
                  </a:lnTo>
                  <a:lnTo>
                    <a:pt x="560491" y="372835"/>
                  </a:lnTo>
                  <a:lnTo>
                    <a:pt x="559595" y="374105"/>
                  </a:lnTo>
                  <a:lnTo>
                    <a:pt x="558004" y="374257"/>
                  </a:lnTo>
                  <a:lnTo>
                    <a:pt x="556412" y="374560"/>
                  </a:lnTo>
                  <a:lnTo>
                    <a:pt x="553059" y="375485"/>
                  </a:lnTo>
                  <a:lnTo>
                    <a:pt x="550507" y="375637"/>
                  </a:lnTo>
                  <a:close/>
                </a:path>
              </a:pathLst>
            </a:custGeom>
            <a:solidFill>
              <a:srgbClr val="FFFFFF"/>
            </a:solidFill>
          </p:spPr>
          <p:txBody>
            <a:bodyPr wrap="square" lIns="0" tIns="0" rIns="0" bIns="0" rtlCol="0"/>
            <a:lstStyle/>
            <a:p>
              <a:endParaRPr/>
            </a:p>
          </p:txBody>
        </p:sp>
      </p:grpSp>
      <p:grpSp>
        <p:nvGrpSpPr>
          <p:cNvPr id="12" name="object 12"/>
          <p:cNvGrpSpPr/>
          <p:nvPr/>
        </p:nvGrpSpPr>
        <p:grpSpPr>
          <a:xfrm>
            <a:off x="16700182" y="1485985"/>
            <a:ext cx="781050" cy="571500"/>
            <a:chOff x="16700182" y="1485985"/>
            <a:chExt cx="781050" cy="571500"/>
          </a:xfrm>
        </p:grpSpPr>
        <p:sp>
          <p:nvSpPr>
            <p:cNvPr id="13" name="object 13"/>
            <p:cNvSpPr/>
            <p:nvPr/>
          </p:nvSpPr>
          <p:spPr>
            <a:xfrm>
              <a:off x="16700182" y="1485985"/>
              <a:ext cx="781050" cy="571500"/>
            </a:xfrm>
            <a:custGeom>
              <a:avLst/>
              <a:gdLst/>
              <a:ahLst/>
              <a:cxnLst/>
              <a:rect l="l" t="t" r="r" b="b"/>
              <a:pathLst>
                <a:path w="781050" h="571500">
                  <a:moveTo>
                    <a:pt x="694266" y="571216"/>
                  </a:moveTo>
                  <a:lnTo>
                    <a:pt x="86783" y="571216"/>
                  </a:lnTo>
                  <a:lnTo>
                    <a:pt x="53004" y="564310"/>
                  </a:lnTo>
                  <a:lnTo>
                    <a:pt x="25419" y="545476"/>
                  </a:lnTo>
                  <a:lnTo>
                    <a:pt x="6820" y="517542"/>
                  </a:lnTo>
                  <a:lnTo>
                    <a:pt x="0" y="483336"/>
                  </a:lnTo>
                  <a:lnTo>
                    <a:pt x="0" y="87879"/>
                  </a:lnTo>
                  <a:lnTo>
                    <a:pt x="6820" y="53674"/>
                  </a:lnTo>
                  <a:lnTo>
                    <a:pt x="25419" y="25740"/>
                  </a:lnTo>
                  <a:lnTo>
                    <a:pt x="53004" y="6906"/>
                  </a:lnTo>
                  <a:lnTo>
                    <a:pt x="86783" y="0"/>
                  </a:lnTo>
                  <a:lnTo>
                    <a:pt x="694266" y="0"/>
                  </a:lnTo>
                  <a:lnTo>
                    <a:pt x="728045" y="6906"/>
                  </a:lnTo>
                  <a:lnTo>
                    <a:pt x="755630" y="25740"/>
                  </a:lnTo>
                  <a:lnTo>
                    <a:pt x="774229" y="53674"/>
                  </a:lnTo>
                  <a:lnTo>
                    <a:pt x="781049" y="87879"/>
                  </a:lnTo>
                  <a:lnTo>
                    <a:pt x="781049" y="483336"/>
                  </a:lnTo>
                  <a:lnTo>
                    <a:pt x="774229" y="517542"/>
                  </a:lnTo>
                  <a:lnTo>
                    <a:pt x="755630" y="545476"/>
                  </a:lnTo>
                  <a:lnTo>
                    <a:pt x="728045" y="564310"/>
                  </a:lnTo>
                  <a:lnTo>
                    <a:pt x="694266" y="571216"/>
                  </a:lnTo>
                  <a:close/>
                </a:path>
              </a:pathLst>
            </a:custGeom>
            <a:solidFill>
              <a:srgbClr val="009A3A"/>
            </a:solidFill>
          </p:spPr>
          <p:txBody>
            <a:bodyPr wrap="square" lIns="0" tIns="0" rIns="0" bIns="0" rtlCol="0"/>
            <a:lstStyle/>
            <a:p>
              <a:endParaRPr/>
            </a:p>
          </p:txBody>
        </p:sp>
        <p:sp>
          <p:nvSpPr>
            <p:cNvPr id="14" name="object 14"/>
            <p:cNvSpPr/>
            <p:nvPr/>
          </p:nvSpPr>
          <p:spPr>
            <a:xfrm>
              <a:off x="16771170" y="1527178"/>
              <a:ext cx="639445" cy="488950"/>
            </a:xfrm>
            <a:custGeom>
              <a:avLst/>
              <a:gdLst/>
              <a:ahLst/>
              <a:cxnLst/>
              <a:rect l="l" t="t" r="r" b="b"/>
              <a:pathLst>
                <a:path w="639444" h="488950">
                  <a:moveTo>
                    <a:pt x="319536" y="488807"/>
                  </a:moveTo>
                  <a:lnTo>
                    <a:pt x="0" y="244414"/>
                  </a:lnTo>
                  <a:lnTo>
                    <a:pt x="319536" y="0"/>
                  </a:lnTo>
                  <a:lnTo>
                    <a:pt x="639072" y="244414"/>
                  </a:lnTo>
                  <a:lnTo>
                    <a:pt x="319536" y="488807"/>
                  </a:lnTo>
                  <a:close/>
                </a:path>
              </a:pathLst>
            </a:custGeom>
            <a:solidFill>
              <a:srgbClr val="FEDE00"/>
            </a:solidFill>
          </p:spPr>
          <p:txBody>
            <a:bodyPr wrap="square" lIns="0" tIns="0" rIns="0" bIns="0" rtlCol="0"/>
            <a:lstStyle/>
            <a:p>
              <a:endParaRPr/>
            </a:p>
          </p:txBody>
        </p:sp>
        <p:sp>
          <p:nvSpPr>
            <p:cNvPr id="15" name="object 15"/>
            <p:cNvSpPr/>
            <p:nvPr/>
          </p:nvSpPr>
          <p:spPr>
            <a:xfrm>
              <a:off x="16950074" y="1628042"/>
              <a:ext cx="280670" cy="283845"/>
            </a:xfrm>
            <a:custGeom>
              <a:avLst/>
              <a:gdLst/>
              <a:ahLst/>
              <a:cxnLst/>
              <a:rect l="l" t="t" r="r" b="b"/>
              <a:pathLst>
                <a:path w="280669" h="283844">
                  <a:moveTo>
                    <a:pt x="140111" y="283762"/>
                  </a:moveTo>
                  <a:lnTo>
                    <a:pt x="99438" y="277654"/>
                  </a:lnTo>
                  <a:lnTo>
                    <a:pt x="62269" y="259851"/>
                  </a:lnTo>
                  <a:lnTo>
                    <a:pt x="31802" y="231890"/>
                  </a:lnTo>
                  <a:lnTo>
                    <a:pt x="10665" y="196176"/>
                  </a:lnTo>
                  <a:lnTo>
                    <a:pt x="673" y="155788"/>
                  </a:lnTo>
                  <a:lnTo>
                    <a:pt x="0" y="141881"/>
                  </a:lnTo>
                  <a:lnTo>
                    <a:pt x="673" y="127974"/>
                  </a:lnTo>
                  <a:lnTo>
                    <a:pt x="10665" y="87585"/>
                  </a:lnTo>
                  <a:lnTo>
                    <a:pt x="31802" y="51871"/>
                  </a:lnTo>
                  <a:lnTo>
                    <a:pt x="62269" y="23911"/>
                  </a:lnTo>
                  <a:lnTo>
                    <a:pt x="99438" y="6107"/>
                  </a:lnTo>
                  <a:lnTo>
                    <a:pt x="140111" y="0"/>
                  </a:lnTo>
                  <a:lnTo>
                    <a:pt x="153845" y="681"/>
                  </a:lnTo>
                  <a:lnTo>
                    <a:pt x="193730" y="10800"/>
                  </a:lnTo>
                  <a:lnTo>
                    <a:pt x="228998" y="32204"/>
                  </a:lnTo>
                  <a:lnTo>
                    <a:pt x="256610" y="63056"/>
                  </a:lnTo>
                  <a:lnTo>
                    <a:pt x="274191" y="100694"/>
                  </a:lnTo>
                  <a:lnTo>
                    <a:pt x="280223" y="141881"/>
                  </a:lnTo>
                  <a:lnTo>
                    <a:pt x="279550" y="155788"/>
                  </a:lnTo>
                  <a:lnTo>
                    <a:pt x="269557" y="196176"/>
                  </a:lnTo>
                  <a:lnTo>
                    <a:pt x="248420" y="231890"/>
                  </a:lnTo>
                  <a:lnTo>
                    <a:pt x="217953" y="259851"/>
                  </a:lnTo>
                  <a:lnTo>
                    <a:pt x="180784" y="277654"/>
                  </a:lnTo>
                  <a:lnTo>
                    <a:pt x="140111" y="283762"/>
                  </a:lnTo>
                  <a:close/>
                </a:path>
              </a:pathLst>
            </a:custGeom>
            <a:solidFill>
              <a:srgbClr val="002675"/>
            </a:solidFill>
          </p:spPr>
          <p:txBody>
            <a:bodyPr wrap="square" lIns="0" tIns="0" rIns="0" bIns="0" rtlCol="0"/>
            <a:lstStyle/>
            <a:p>
              <a:endParaRPr/>
            </a:p>
          </p:txBody>
        </p:sp>
        <p:sp>
          <p:nvSpPr>
            <p:cNvPr id="16" name="object 16"/>
            <p:cNvSpPr/>
            <p:nvPr/>
          </p:nvSpPr>
          <p:spPr>
            <a:xfrm>
              <a:off x="16951962" y="1703201"/>
              <a:ext cx="274320" cy="145415"/>
            </a:xfrm>
            <a:custGeom>
              <a:avLst/>
              <a:gdLst/>
              <a:ahLst/>
              <a:cxnLst/>
              <a:rect l="l" t="t" r="r" b="b"/>
              <a:pathLst>
                <a:path w="274319" h="145414">
                  <a:moveTo>
                    <a:pt x="254795" y="145396"/>
                  </a:moveTo>
                  <a:lnTo>
                    <a:pt x="224411" y="116848"/>
                  </a:lnTo>
                  <a:lnTo>
                    <a:pt x="185560" y="91405"/>
                  </a:lnTo>
                  <a:lnTo>
                    <a:pt x="140968" y="70254"/>
                  </a:lnTo>
                  <a:lnTo>
                    <a:pt x="93361" y="54584"/>
                  </a:lnTo>
                  <a:lnTo>
                    <a:pt x="45463" y="45585"/>
                  </a:lnTo>
                  <a:lnTo>
                    <a:pt x="0" y="44445"/>
                  </a:lnTo>
                  <a:lnTo>
                    <a:pt x="2308" y="32745"/>
                  </a:lnTo>
                  <a:lnTo>
                    <a:pt x="5516" y="21406"/>
                  </a:lnTo>
                  <a:lnTo>
                    <a:pt x="9610" y="10475"/>
                  </a:lnTo>
                  <a:lnTo>
                    <a:pt x="14579" y="0"/>
                  </a:lnTo>
                  <a:lnTo>
                    <a:pt x="59884" y="3102"/>
                  </a:lnTo>
                  <a:lnTo>
                    <a:pt x="106914" y="12415"/>
                  </a:lnTo>
                  <a:lnTo>
                    <a:pt x="153752" y="27418"/>
                  </a:lnTo>
                  <a:lnTo>
                    <a:pt x="198483" y="47591"/>
                  </a:lnTo>
                  <a:lnTo>
                    <a:pt x="239188" y="72415"/>
                  </a:lnTo>
                  <a:lnTo>
                    <a:pt x="273953" y="101368"/>
                  </a:lnTo>
                  <a:lnTo>
                    <a:pt x="270511" y="113092"/>
                  </a:lnTo>
                  <a:lnTo>
                    <a:pt x="266156" y="124371"/>
                  </a:lnTo>
                  <a:lnTo>
                    <a:pt x="260910" y="135155"/>
                  </a:lnTo>
                  <a:lnTo>
                    <a:pt x="254795" y="145396"/>
                  </a:lnTo>
                  <a:close/>
                </a:path>
              </a:pathLst>
            </a:custGeom>
            <a:solidFill>
              <a:srgbClr val="CBE8D4"/>
            </a:solidFill>
          </p:spPr>
          <p:txBody>
            <a:bodyPr wrap="square" lIns="0" tIns="0" rIns="0" bIns="0" rtlCol="0"/>
            <a:lstStyle/>
            <a:p>
              <a:endParaRPr/>
            </a:p>
          </p:txBody>
        </p:sp>
        <p:sp>
          <p:nvSpPr>
            <p:cNvPr id="17" name="object 17"/>
            <p:cNvSpPr/>
            <p:nvPr/>
          </p:nvSpPr>
          <p:spPr>
            <a:xfrm>
              <a:off x="16960532" y="1776712"/>
              <a:ext cx="43815" cy="66040"/>
            </a:xfrm>
            <a:custGeom>
              <a:avLst/>
              <a:gdLst/>
              <a:ahLst/>
              <a:cxnLst/>
              <a:rect l="l" t="t" r="r" b="b"/>
              <a:pathLst>
                <a:path w="43815" h="66039">
                  <a:moveTo>
                    <a:pt x="21695" y="21969"/>
                  </a:moveTo>
                  <a:lnTo>
                    <a:pt x="0" y="21969"/>
                  </a:lnTo>
                  <a:lnTo>
                    <a:pt x="0" y="0"/>
                  </a:lnTo>
                  <a:lnTo>
                    <a:pt x="21695" y="0"/>
                  </a:lnTo>
                  <a:lnTo>
                    <a:pt x="21695" y="21969"/>
                  </a:lnTo>
                  <a:close/>
                </a:path>
                <a:path w="43815" h="66039">
                  <a:moveTo>
                    <a:pt x="43391" y="65909"/>
                  </a:moveTo>
                  <a:lnTo>
                    <a:pt x="21695" y="65909"/>
                  </a:lnTo>
                  <a:lnTo>
                    <a:pt x="21695" y="43939"/>
                  </a:lnTo>
                  <a:lnTo>
                    <a:pt x="43391" y="43939"/>
                  </a:lnTo>
                  <a:lnTo>
                    <a:pt x="43391" y="65909"/>
                  </a:lnTo>
                  <a:close/>
                </a:path>
              </a:pathLst>
            </a:custGeom>
            <a:solidFill>
              <a:srgbClr val="87C8F9"/>
            </a:solidFill>
          </p:spPr>
          <p:txBody>
            <a:bodyPr wrap="square" lIns="0" tIns="0" rIns="0" bIns="0" rtlCol="0"/>
            <a:lstStyle/>
            <a:p>
              <a:endParaRPr/>
            </a:p>
          </p:txBody>
        </p:sp>
        <p:sp>
          <p:nvSpPr>
            <p:cNvPr id="18" name="object 18"/>
            <p:cNvSpPr/>
            <p:nvPr/>
          </p:nvSpPr>
          <p:spPr>
            <a:xfrm>
              <a:off x="17025608" y="1732774"/>
              <a:ext cx="152400" cy="154305"/>
            </a:xfrm>
            <a:custGeom>
              <a:avLst/>
              <a:gdLst/>
              <a:ahLst/>
              <a:cxnLst/>
              <a:rect l="l" t="t" r="r" b="b"/>
              <a:pathLst>
                <a:path w="152400" h="154305">
                  <a:moveTo>
                    <a:pt x="21704" y="43942"/>
                  </a:moveTo>
                  <a:lnTo>
                    <a:pt x="0" y="43942"/>
                  </a:lnTo>
                  <a:lnTo>
                    <a:pt x="0" y="65913"/>
                  </a:lnTo>
                  <a:lnTo>
                    <a:pt x="21704" y="65913"/>
                  </a:lnTo>
                  <a:lnTo>
                    <a:pt x="21704" y="43942"/>
                  </a:lnTo>
                  <a:close/>
                </a:path>
                <a:path w="152400" h="154305">
                  <a:moveTo>
                    <a:pt x="65087" y="65913"/>
                  </a:moveTo>
                  <a:lnTo>
                    <a:pt x="43395" y="65913"/>
                  </a:lnTo>
                  <a:lnTo>
                    <a:pt x="43395" y="87884"/>
                  </a:lnTo>
                  <a:lnTo>
                    <a:pt x="65087" y="87884"/>
                  </a:lnTo>
                  <a:lnTo>
                    <a:pt x="65087" y="65913"/>
                  </a:lnTo>
                  <a:close/>
                </a:path>
                <a:path w="152400" h="154305">
                  <a:moveTo>
                    <a:pt x="86791" y="131826"/>
                  </a:moveTo>
                  <a:lnTo>
                    <a:pt x="65087" y="131826"/>
                  </a:lnTo>
                  <a:lnTo>
                    <a:pt x="65087" y="153797"/>
                  </a:lnTo>
                  <a:lnTo>
                    <a:pt x="86791" y="153797"/>
                  </a:lnTo>
                  <a:lnTo>
                    <a:pt x="86791" y="131826"/>
                  </a:lnTo>
                  <a:close/>
                </a:path>
                <a:path w="152400" h="154305">
                  <a:moveTo>
                    <a:pt x="151879" y="109855"/>
                  </a:moveTo>
                  <a:lnTo>
                    <a:pt x="130175" y="109855"/>
                  </a:lnTo>
                  <a:lnTo>
                    <a:pt x="130175" y="131826"/>
                  </a:lnTo>
                  <a:lnTo>
                    <a:pt x="151879" y="131826"/>
                  </a:lnTo>
                  <a:lnTo>
                    <a:pt x="151879" y="109855"/>
                  </a:lnTo>
                  <a:close/>
                </a:path>
                <a:path w="152400" h="154305">
                  <a:moveTo>
                    <a:pt x="151879" y="0"/>
                  </a:moveTo>
                  <a:lnTo>
                    <a:pt x="130175" y="0"/>
                  </a:lnTo>
                  <a:lnTo>
                    <a:pt x="130175" y="21971"/>
                  </a:lnTo>
                  <a:lnTo>
                    <a:pt x="151879" y="21971"/>
                  </a:lnTo>
                  <a:lnTo>
                    <a:pt x="151879" y="0"/>
                  </a:lnTo>
                  <a:close/>
                </a:path>
              </a:pathLst>
            </a:custGeom>
            <a:solidFill>
              <a:srgbClr val="54ABED"/>
            </a:solidFill>
          </p:spPr>
          <p:txBody>
            <a:bodyPr wrap="square" lIns="0" tIns="0" rIns="0" bIns="0" rtlCol="0"/>
            <a:lstStyle/>
            <a:p>
              <a:endParaRPr/>
            </a:p>
          </p:txBody>
        </p:sp>
        <p:sp>
          <p:nvSpPr>
            <p:cNvPr id="19" name="object 19"/>
            <p:cNvSpPr/>
            <p:nvPr/>
          </p:nvSpPr>
          <p:spPr>
            <a:xfrm>
              <a:off x="17112403" y="1820652"/>
              <a:ext cx="22225" cy="22225"/>
            </a:xfrm>
            <a:custGeom>
              <a:avLst/>
              <a:gdLst/>
              <a:ahLst/>
              <a:cxnLst/>
              <a:rect l="l" t="t" r="r" b="b"/>
              <a:pathLst>
                <a:path w="22225" h="22225">
                  <a:moveTo>
                    <a:pt x="21695" y="21969"/>
                  </a:moveTo>
                  <a:lnTo>
                    <a:pt x="0" y="21969"/>
                  </a:lnTo>
                  <a:lnTo>
                    <a:pt x="0" y="0"/>
                  </a:lnTo>
                  <a:lnTo>
                    <a:pt x="21695" y="0"/>
                  </a:lnTo>
                  <a:lnTo>
                    <a:pt x="21695" y="21969"/>
                  </a:lnTo>
                  <a:close/>
                </a:path>
              </a:pathLst>
            </a:custGeom>
            <a:solidFill>
              <a:srgbClr val="3B87C2"/>
            </a:solidFill>
          </p:spPr>
          <p:txBody>
            <a:bodyPr wrap="square" lIns="0" tIns="0" rIns="0" bIns="0" rtlCol="0"/>
            <a:lstStyle/>
            <a:p>
              <a:endParaRPr/>
            </a:p>
          </p:txBody>
        </p:sp>
      </p:grpSp>
      <p:sp>
        <p:nvSpPr>
          <p:cNvPr id="20" name="object 20"/>
          <p:cNvSpPr/>
          <p:nvPr/>
        </p:nvSpPr>
        <p:spPr>
          <a:xfrm>
            <a:off x="1775199" y="3947632"/>
            <a:ext cx="523875" cy="977900"/>
          </a:xfrm>
          <a:custGeom>
            <a:avLst/>
            <a:gdLst/>
            <a:ahLst/>
            <a:cxnLst/>
            <a:rect l="l" t="t" r="r" b="b"/>
            <a:pathLst>
              <a:path w="523875" h="977900">
                <a:moveTo>
                  <a:pt x="352490" y="32580"/>
                </a:moveTo>
                <a:lnTo>
                  <a:pt x="171043" y="32580"/>
                </a:lnTo>
                <a:lnTo>
                  <a:pt x="163710" y="24944"/>
                </a:lnTo>
                <a:lnTo>
                  <a:pt x="163710" y="7296"/>
                </a:lnTo>
                <a:lnTo>
                  <a:pt x="171214" y="0"/>
                </a:lnTo>
                <a:lnTo>
                  <a:pt x="353001" y="0"/>
                </a:lnTo>
                <a:lnTo>
                  <a:pt x="360164" y="7636"/>
                </a:lnTo>
                <a:lnTo>
                  <a:pt x="360164" y="25284"/>
                </a:lnTo>
                <a:lnTo>
                  <a:pt x="352490" y="32580"/>
                </a:lnTo>
                <a:close/>
              </a:path>
              <a:path w="523875" h="977900">
                <a:moveTo>
                  <a:pt x="229195" y="260647"/>
                </a:moveTo>
                <a:lnTo>
                  <a:pt x="196453" y="260647"/>
                </a:lnTo>
                <a:lnTo>
                  <a:pt x="196453" y="32580"/>
                </a:lnTo>
                <a:lnTo>
                  <a:pt x="229195" y="32580"/>
                </a:lnTo>
                <a:lnTo>
                  <a:pt x="229195" y="260647"/>
                </a:lnTo>
                <a:close/>
              </a:path>
              <a:path w="523875" h="977900">
                <a:moveTo>
                  <a:pt x="327421" y="260647"/>
                </a:moveTo>
                <a:lnTo>
                  <a:pt x="294679" y="260647"/>
                </a:lnTo>
                <a:lnTo>
                  <a:pt x="294679" y="32580"/>
                </a:lnTo>
                <a:lnTo>
                  <a:pt x="327421" y="32580"/>
                </a:lnTo>
                <a:lnTo>
                  <a:pt x="327421" y="260647"/>
                </a:lnTo>
                <a:close/>
              </a:path>
              <a:path w="523875" h="977900">
                <a:moveTo>
                  <a:pt x="458561" y="944845"/>
                </a:moveTo>
                <a:lnTo>
                  <a:pt x="65313" y="944845"/>
                </a:lnTo>
                <a:lnTo>
                  <a:pt x="39856" y="939702"/>
                </a:lnTo>
                <a:lnTo>
                  <a:pt x="19099" y="925713"/>
                </a:lnTo>
                <a:lnTo>
                  <a:pt x="5121" y="905042"/>
                </a:lnTo>
                <a:lnTo>
                  <a:pt x="0" y="879853"/>
                </a:lnTo>
                <a:lnTo>
                  <a:pt x="0" y="325639"/>
                </a:lnTo>
                <a:lnTo>
                  <a:pt x="5145" y="300307"/>
                </a:lnTo>
                <a:lnTo>
                  <a:pt x="19163" y="279652"/>
                </a:lnTo>
                <a:lnTo>
                  <a:pt x="39928" y="265743"/>
                </a:lnTo>
                <a:lnTo>
                  <a:pt x="65313" y="260647"/>
                </a:lnTo>
                <a:lnTo>
                  <a:pt x="458561" y="260647"/>
                </a:lnTo>
                <a:lnTo>
                  <a:pt x="484018" y="265790"/>
                </a:lnTo>
                <a:lnTo>
                  <a:pt x="504775" y="279779"/>
                </a:lnTo>
                <a:lnTo>
                  <a:pt x="518753" y="300450"/>
                </a:lnTo>
                <a:lnTo>
                  <a:pt x="523874" y="325639"/>
                </a:lnTo>
                <a:lnTo>
                  <a:pt x="523874" y="390970"/>
                </a:lnTo>
                <a:lnTo>
                  <a:pt x="105729" y="390970"/>
                </a:lnTo>
                <a:lnTo>
                  <a:pt x="98226" y="398267"/>
                </a:lnTo>
                <a:lnTo>
                  <a:pt x="98226" y="415915"/>
                </a:lnTo>
                <a:lnTo>
                  <a:pt x="105729" y="423551"/>
                </a:lnTo>
                <a:lnTo>
                  <a:pt x="523874" y="423551"/>
                </a:lnTo>
                <a:lnTo>
                  <a:pt x="523874" y="521294"/>
                </a:lnTo>
                <a:lnTo>
                  <a:pt x="105729" y="521294"/>
                </a:lnTo>
                <a:lnTo>
                  <a:pt x="98226" y="528591"/>
                </a:lnTo>
                <a:lnTo>
                  <a:pt x="98226" y="546239"/>
                </a:lnTo>
                <a:lnTo>
                  <a:pt x="105729" y="553875"/>
                </a:lnTo>
                <a:lnTo>
                  <a:pt x="523874" y="553875"/>
                </a:lnTo>
                <a:lnTo>
                  <a:pt x="523874" y="651617"/>
                </a:lnTo>
                <a:lnTo>
                  <a:pt x="105729" y="651617"/>
                </a:lnTo>
                <a:lnTo>
                  <a:pt x="98226" y="658914"/>
                </a:lnTo>
                <a:lnTo>
                  <a:pt x="98226" y="676562"/>
                </a:lnTo>
                <a:lnTo>
                  <a:pt x="105729" y="684198"/>
                </a:lnTo>
                <a:lnTo>
                  <a:pt x="523874" y="684198"/>
                </a:lnTo>
                <a:lnTo>
                  <a:pt x="523874" y="781941"/>
                </a:lnTo>
                <a:lnTo>
                  <a:pt x="105729" y="781941"/>
                </a:lnTo>
                <a:lnTo>
                  <a:pt x="98226" y="789238"/>
                </a:lnTo>
                <a:lnTo>
                  <a:pt x="98226" y="806886"/>
                </a:lnTo>
                <a:lnTo>
                  <a:pt x="105729" y="814522"/>
                </a:lnTo>
                <a:lnTo>
                  <a:pt x="523874" y="814522"/>
                </a:lnTo>
                <a:lnTo>
                  <a:pt x="523874" y="879853"/>
                </a:lnTo>
                <a:lnTo>
                  <a:pt x="518729" y="905185"/>
                </a:lnTo>
                <a:lnTo>
                  <a:pt x="504711" y="925840"/>
                </a:lnTo>
                <a:lnTo>
                  <a:pt x="483946" y="939749"/>
                </a:lnTo>
                <a:lnTo>
                  <a:pt x="458561" y="944845"/>
                </a:lnTo>
                <a:close/>
              </a:path>
              <a:path w="523875" h="977900">
                <a:moveTo>
                  <a:pt x="523874" y="423551"/>
                </a:moveTo>
                <a:lnTo>
                  <a:pt x="418145" y="423551"/>
                </a:lnTo>
                <a:lnTo>
                  <a:pt x="425648" y="416254"/>
                </a:lnTo>
                <a:lnTo>
                  <a:pt x="425648" y="398606"/>
                </a:lnTo>
                <a:lnTo>
                  <a:pt x="418145" y="390970"/>
                </a:lnTo>
                <a:lnTo>
                  <a:pt x="523874" y="390970"/>
                </a:lnTo>
                <a:lnTo>
                  <a:pt x="523874" y="423551"/>
                </a:lnTo>
                <a:close/>
              </a:path>
              <a:path w="523875" h="977900">
                <a:moveTo>
                  <a:pt x="523874" y="553875"/>
                </a:moveTo>
                <a:lnTo>
                  <a:pt x="418145" y="553875"/>
                </a:lnTo>
                <a:lnTo>
                  <a:pt x="425648" y="546578"/>
                </a:lnTo>
                <a:lnTo>
                  <a:pt x="425648" y="528930"/>
                </a:lnTo>
                <a:lnTo>
                  <a:pt x="418145" y="521294"/>
                </a:lnTo>
                <a:lnTo>
                  <a:pt x="523874" y="521294"/>
                </a:lnTo>
                <a:lnTo>
                  <a:pt x="523874" y="553875"/>
                </a:lnTo>
                <a:close/>
              </a:path>
              <a:path w="523875" h="977900">
                <a:moveTo>
                  <a:pt x="523874" y="684198"/>
                </a:moveTo>
                <a:lnTo>
                  <a:pt x="418145" y="684198"/>
                </a:lnTo>
                <a:lnTo>
                  <a:pt x="425648" y="676902"/>
                </a:lnTo>
                <a:lnTo>
                  <a:pt x="425648" y="659254"/>
                </a:lnTo>
                <a:lnTo>
                  <a:pt x="418145" y="651617"/>
                </a:lnTo>
                <a:lnTo>
                  <a:pt x="523874" y="651617"/>
                </a:lnTo>
                <a:lnTo>
                  <a:pt x="523874" y="684198"/>
                </a:lnTo>
                <a:close/>
              </a:path>
              <a:path w="523875" h="977900">
                <a:moveTo>
                  <a:pt x="523874" y="814522"/>
                </a:moveTo>
                <a:lnTo>
                  <a:pt x="418145" y="814522"/>
                </a:lnTo>
                <a:lnTo>
                  <a:pt x="425648" y="807225"/>
                </a:lnTo>
                <a:lnTo>
                  <a:pt x="425648" y="789577"/>
                </a:lnTo>
                <a:lnTo>
                  <a:pt x="418145" y="781941"/>
                </a:lnTo>
                <a:lnTo>
                  <a:pt x="523874" y="781941"/>
                </a:lnTo>
                <a:lnTo>
                  <a:pt x="523874" y="814522"/>
                </a:lnTo>
                <a:close/>
              </a:path>
              <a:path w="523875" h="977900">
                <a:moveTo>
                  <a:pt x="130968" y="977426"/>
                </a:moveTo>
                <a:lnTo>
                  <a:pt x="118226" y="974889"/>
                </a:lnTo>
                <a:lnTo>
                  <a:pt x="107819" y="967945"/>
                </a:lnTo>
                <a:lnTo>
                  <a:pt x="100800" y="957596"/>
                </a:lnTo>
                <a:lnTo>
                  <a:pt x="98226" y="944845"/>
                </a:lnTo>
                <a:lnTo>
                  <a:pt x="163710" y="944845"/>
                </a:lnTo>
                <a:lnTo>
                  <a:pt x="161160" y="957525"/>
                </a:lnTo>
                <a:lnTo>
                  <a:pt x="154182" y="967881"/>
                </a:lnTo>
                <a:lnTo>
                  <a:pt x="143782" y="974865"/>
                </a:lnTo>
                <a:lnTo>
                  <a:pt x="130968" y="977426"/>
                </a:lnTo>
                <a:close/>
              </a:path>
              <a:path w="523875" h="977900">
                <a:moveTo>
                  <a:pt x="392906" y="977426"/>
                </a:moveTo>
                <a:lnTo>
                  <a:pt x="380164" y="974889"/>
                </a:lnTo>
                <a:lnTo>
                  <a:pt x="369756" y="967945"/>
                </a:lnTo>
                <a:lnTo>
                  <a:pt x="362738" y="957596"/>
                </a:lnTo>
                <a:lnTo>
                  <a:pt x="360164" y="944845"/>
                </a:lnTo>
                <a:lnTo>
                  <a:pt x="425648" y="944845"/>
                </a:lnTo>
                <a:lnTo>
                  <a:pt x="423098" y="957525"/>
                </a:lnTo>
                <a:lnTo>
                  <a:pt x="416119" y="967881"/>
                </a:lnTo>
                <a:lnTo>
                  <a:pt x="405720" y="974865"/>
                </a:lnTo>
                <a:lnTo>
                  <a:pt x="392906" y="977426"/>
                </a:lnTo>
                <a:close/>
              </a:path>
            </a:pathLst>
          </a:custGeom>
          <a:solidFill>
            <a:srgbClr val="21408B"/>
          </a:solidFill>
        </p:spPr>
        <p:txBody>
          <a:bodyPr wrap="square" lIns="0" tIns="0" rIns="0" bIns="0" rtlCol="0"/>
          <a:lstStyle/>
          <a:p>
            <a:endParaRPr/>
          </a:p>
        </p:txBody>
      </p:sp>
      <p:sp>
        <p:nvSpPr>
          <p:cNvPr id="21" name="object 21"/>
          <p:cNvSpPr/>
          <p:nvPr/>
        </p:nvSpPr>
        <p:spPr>
          <a:xfrm>
            <a:off x="4216412" y="4109224"/>
            <a:ext cx="765810" cy="766445"/>
          </a:xfrm>
          <a:custGeom>
            <a:avLst/>
            <a:gdLst/>
            <a:ahLst/>
            <a:cxnLst/>
            <a:rect l="l" t="t" r="r" b="b"/>
            <a:pathLst>
              <a:path w="765810" h="766445">
                <a:moveTo>
                  <a:pt x="600075" y="387223"/>
                </a:moveTo>
                <a:lnTo>
                  <a:pt x="595541" y="342303"/>
                </a:lnTo>
                <a:lnTo>
                  <a:pt x="595122" y="340956"/>
                </a:lnTo>
                <a:lnTo>
                  <a:pt x="582549" y="300418"/>
                </a:lnTo>
                <a:lnTo>
                  <a:pt x="562013" y="262470"/>
                </a:lnTo>
                <a:lnTo>
                  <a:pt x="534847" y="229374"/>
                </a:lnTo>
                <a:lnTo>
                  <a:pt x="501929" y="202044"/>
                </a:lnTo>
                <a:lnTo>
                  <a:pt x="471017" y="185127"/>
                </a:lnTo>
                <a:lnTo>
                  <a:pt x="471017" y="340956"/>
                </a:lnTo>
                <a:lnTo>
                  <a:pt x="432854" y="340956"/>
                </a:lnTo>
                <a:lnTo>
                  <a:pt x="430301" y="332193"/>
                </a:lnTo>
                <a:lnTo>
                  <a:pt x="423316" y="325018"/>
                </a:lnTo>
                <a:lnTo>
                  <a:pt x="412978" y="320167"/>
                </a:lnTo>
                <a:lnTo>
                  <a:pt x="400316" y="318389"/>
                </a:lnTo>
                <a:lnTo>
                  <a:pt x="358787" y="318389"/>
                </a:lnTo>
                <a:lnTo>
                  <a:pt x="346138" y="320167"/>
                </a:lnTo>
                <a:lnTo>
                  <a:pt x="335788" y="325018"/>
                </a:lnTo>
                <a:lnTo>
                  <a:pt x="328803" y="332193"/>
                </a:lnTo>
                <a:lnTo>
                  <a:pt x="326250" y="340956"/>
                </a:lnTo>
                <a:lnTo>
                  <a:pt x="326250" y="344347"/>
                </a:lnTo>
                <a:lnTo>
                  <a:pt x="329615" y="349986"/>
                </a:lnTo>
                <a:lnTo>
                  <a:pt x="343077" y="357886"/>
                </a:lnTo>
                <a:lnTo>
                  <a:pt x="425005" y="373684"/>
                </a:lnTo>
                <a:lnTo>
                  <a:pt x="428371" y="374815"/>
                </a:lnTo>
                <a:lnTo>
                  <a:pt x="463435" y="402602"/>
                </a:lnTo>
                <a:lnTo>
                  <a:pt x="471017" y="428980"/>
                </a:lnTo>
                <a:lnTo>
                  <a:pt x="465683" y="452780"/>
                </a:lnTo>
                <a:lnTo>
                  <a:pt x="451091" y="472147"/>
                </a:lnTo>
                <a:lnTo>
                  <a:pt x="429348" y="485152"/>
                </a:lnTo>
                <a:lnTo>
                  <a:pt x="402564" y="489915"/>
                </a:lnTo>
                <a:lnTo>
                  <a:pt x="402564" y="518134"/>
                </a:lnTo>
                <a:lnTo>
                  <a:pt x="364401" y="518134"/>
                </a:lnTo>
                <a:lnTo>
                  <a:pt x="364401" y="491045"/>
                </a:lnTo>
                <a:lnTo>
                  <a:pt x="359918" y="491045"/>
                </a:lnTo>
                <a:lnTo>
                  <a:pt x="332295" y="486283"/>
                </a:lnTo>
                <a:lnTo>
                  <a:pt x="309841" y="473265"/>
                </a:lnTo>
                <a:lnTo>
                  <a:pt x="294741" y="453910"/>
                </a:lnTo>
                <a:lnTo>
                  <a:pt x="289217" y="430110"/>
                </a:lnTo>
                <a:lnTo>
                  <a:pt x="327367" y="430110"/>
                </a:lnTo>
                <a:lnTo>
                  <a:pt x="329933" y="438873"/>
                </a:lnTo>
                <a:lnTo>
                  <a:pt x="336905" y="446049"/>
                </a:lnTo>
                <a:lnTo>
                  <a:pt x="347256" y="450900"/>
                </a:lnTo>
                <a:lnTo>
                  <a:pt x="359918" y="452678"/>
                </a:lnTo>
                <a:lnTo>
                  <a:pt x="401434" y="452678"/>
                </a:lnTo>
                <a:lnTo>
                  <a:pt x="414096" y="450900"/>
                </a:lnTo>
                <a:lnTo>
                  <a:pt x="424446" y="446049"/>
                </a:lnTo>
                <a:lnTo>
                  <a:pt x="431419" y="438873"/>
                </a:lnTo>
                <a:lnTo>
                  <a:pt x="433984" y="430110"/>
                </a:lnTo>
                <a:lnTo>
                  <a:pt x="433984" y="427850"/>
                </a:lnTo>
                <a:lnTo>
                  <a:pt x="431457" y="426021"/>
                </a:lnTo>
                <a:lnTo>
                  <a:pt x="428091" y="422490"/>
                </a:lnTo>
                <a:lnTo>
                  <a:pt x="422617" y="417690"/>
                </a:lnTo>
                <a:lnTo>
                  <a:pt x="413778" y="412051"/>
                </a:lnTo>
                <a:lnTo>
                  <a:pt x="334098" y="395122"/>
                </a:lnTo>
                <a:lnTo>
                  <a:pt x="329615" y="393992"/>
                </a:lnTo>
                <a:lnTo>
                  <a:pt x="298056" y="370154"/>
                </a:lnTo>
                <a:lnTo>
                  <a:pt x="288086" y="343217"/>
                </a:lnTo>
                <a:lnTo>
                  <a:pt x="288086" y="340956"/>
                </a:lnTo>
                <a:lnTo>
                  <a:pt x="293611" y="317157"/>
                </a:lnTo>
                <a:lnTo>
                  <a:pt x="308711" y="297789"/>
                </a:lnTo>
                <a:lnTo>
                  <a:pt x="331177" y="284772"/>
                </a:lnTo>
                <a:lnTo>
                  <a:pt x="358787" y="280022"/>
                </a:lnTo>
                <a:lnTo>
                  <a:pt x="363283" y="280022"/>
                </a:lnTo>
                <a:lnTo>
                  <a:pt x="363283" y="254063"/>
                </a:lnTo>
                <a:lnTo>
                  <a:pt x="401434" y="254063"/>
                </a:lnTo>
                <a:lnTo>
                  <a:pt x="401434" y="280022"/>
                </a:lnTo>
                <a:lnTo>
                  <a:pt x="428409" y="285407"/>
                </a:lnTo>
                <a:lnTo>
                  <a:pt x="450532" y="298640"/>
                </a:lnTo>
                <a:lnTo>
                  <a:pt x="465505" y="317792"/>
                </a:lnTo>
                <a:lnTo>
                  <a:pt x="471017" y="340956"/>
                </a:lnTo>
                <a:lnTo>
                  <a:pt x="471017" y="185127"/>
                </a:lnTo>
                <a:lnTo>
                  <a:pt x="464197" y="181394"/>
                </a:lnTo>
                <a:lnTo>
                  <a:pt x="422541" y="168338"/>
                </a:lnTo>
                <a:lnTo>
                  <a:pt x="377875" y="163779"/>
                </a:lnTo>
                <a:lnTo>
                  <a:pt x="333197" y="168338"/>
                </a:lnTo>
                <a:lnTo>
                  <a:pt x="291541" y="181394"/>
                </a:lnTo>
                <a:lnTo>
                  <a:pt x="253809" y="202044"/>
                </a:lnTo>
                <a:lnTo>
                  <a:pt x="220903" y="229374"/>
                </a:lnTo>
                <a:lnTo>
                  <a:pt x="193725" y="262470"/>
                </a:lnTo>
                <a:lnTo>
                  <a:pt x="173189" y="300418"/>
                </a:lnTo>
                <a:lnTo>
                  <a:pt x="160197" y="342303"/>
                </a:lnTo>
                <a:lnTo>
                  <a:pt x="155663" y="387223"/>
                </a:lnTo>
                <a:lnTo>
                  <a:pt x="160197" y="432142"/>
                </a:lnTo>
                <a:lnTo>
                  <a:pt x="173189" y="474027"/>
                </a:lnTo>
                <a:lnTo>
                  <a:pt x="193725" y="511975"/>
                </a:lnTo>
                <a:lnTo>
                  <a:pt x="220903" y="545071"/>
                </a:lnTo>
                <a:lnTo>
                  <a:pt x="253809" y="572401"/>
                </a:lnTo>
                <a:lnTo>
                  <a:pt x="291541" y="593051"/>
                </a:lnTo>
                <a:lnTo>
                  <a:pt x="333197" y="606107"/>
                </a:lnTo>
                <a:lnTo>
                  <a:pt x="377875" y="610666"/>
                </a:lnTo>
                <a:lnTo>
                  <a:pt x="422541" y="606107"/>
                </a:lnTo>
                <a:lnTo>
                  <a:pt x="464197" y="593051"/>
                </a:lnTo>
                <a:lnTo>
                  <a:pt x="501929" y="572401"/>
                </a:lnTo>
                <a:lnTo>
                  <a:pt x="534847" y="545071"/>
                </a:lnTo>
                <a:lnTo>
                  <a:pt x="562013" y="511975"/>
                </a:lnTo>
                <a:lnTo>
                  <a:pt x="582549" y="474027"/>
                </a:lnTo>
                <a:lnTo>
                  <a:pt x="595541" y="432142"/>
                </a:lnTo>
                <a:lnTo>
                  <a:pt x="600075" y="387223"/>
                </a:lnTo>
                <a:close/>
              </a:path>
              <a:path w="765810" h="766445">
                <a:moveTo>
                  <a:pt x="687603" y="61087"/>
                </a:moveTo>
                <a:lnTo>
                  <a:pt x="649452" y="61087"/>
                </a:lnTo>
                <a:lnTo>
                  <a:pt x="649452" y="110744"/>
                </a:lnTo>
                <a:lnTo>
                  <a:pt x="613689" y="79349"/>
                </a:lnTo>
                <a:lnTo>
                  <a:pt x="574763" y="52959"/>
                </a:lnTo>
                <a:lnTo>
                  <a:pt x="533222" y="31699"/>
                </a:lnTo>
                <a:lnTo>
                  <a:pt x="489623" y="15697"/>
                </a:lnTo>
                <a:lnTo>
                  <a:pt x="444500" y="5092"/>
                </a:lnTo>
                <a:lnTo>
                  <a:pt x="398399" y="0"/>
                </a:lnTo>
                <a:lnTo>
                  <a:pt x="351866" y="558"/>
                </a:lnTo>
                <a:lnTo>
                  <a:pt x="305460" y="6883"/>
                </a:lnTo>
                <a:lnTo>
                  <a:pt x="259702" y="19126"/>
                </a:lnTo>
                <a:lnTo>
                  <a:pt x="215150" y="37388"/>
                </a:lnTo>
                <a:lnTo>
                  <a:pt x="173532" y="60858"/>
                </a:lnTo>
                <a:lnTo>
                  <a:pt x="135788" y="89077"/>
                </a:lnTo>
                <a:lnTo>
                  <a:pt x="102133" y="121513"/>
                </a:lnTo>
                <a:lnTo>
                  <a:pt x="72834" y="157645"/>
                </a:lnTo>
                <a:lnTo>
                  <a:pt x="48120" y="196977"/>
                </a:lnTo>
                <a:lnTo>
                  <a:pt x="28232" y="238963"/>
                </a:lnTo>
                <a:lnTo>
                  <a:pt x="13423" y="283095"/>
                </a:lnTo>
                <a:lnTo>
                  <a:pt x="3924" y="328866"/>
                </a:lnTo>
                <a:lnTo>
                  <a:pt x="0" y="375729"/>
                </a:lnTo>
                <a:lnTo>
                  <a:pt x="1866" y="423202"/>
                </a:lnTo>
                <a:lnTo>
                  <a:pt x="9779" y="470738"/>
                </a:lnTo>
                <a:lnTo>
                  <a:pt x="12026" y="479755"/>
                </a:lnTo>
                <a:lnTo>
                  <a:pt x="19875" y="485406"/>
                </a:lnTo>
                <a:lnTo>
                  <a:pt x="32219" y="485406"/>
                </a:lnTo>
                <a:lnTo>
                  <a:pt x="39116" y="415671"/>
                </a:lnTo>
                <a:lnTo>
                  <a:pt x="38061" y="368706"/>
                </a:lnTo>
                <a:lnTo>
                  <a:pt x="43332" y="322541"/>
                </a:lnTo>
                <a:lnTo>
                  <a:pt x="54622" y="277774"/>
                </a:lnTo>
                <a:lnTo>
                  <a:pt x="71640" y="235013"/>
                </a:lnTo>
                <a:lnTo>
                  <a:pt x="94081" y="194868"/>
                </a:lnTo>
                <a:lnTo>
                  <a:pt x="121640" y="157924"/>
                </a:lnTo>
                <a:lnTo>
                  <a:pt x="154012" y="124790"/>
                </a:lnTo>
                <a:lnTo>
                  <a:pt x="190893" y="96075"/>
                </a:lnTo>
                <a:lnTo>
                  <a:pt x="231978" y="72377"/>
                </a:lnTo>
                <a:lnTo>
                  <a:pt x="279311" y="53619"/>
                </a:lnTo>
                <a:lnTo>
                  <a:pt x="328015" y="42341"/>
                </a:lnTo>
                <a:lnTo>
                  <a:pt x="377291" y="38354"/>
                </a:lnTo>
                <a:lnTo>
                  <a:pt x="426339" y="41440"/>
                </a:lnTo>
                <a:lnTo>
                  <a:pt x="474370" y="51396"/>
                </a:lnTo>
                <a:lnTo>
                  <a:pt x="520598" y="68033"/>
                </a:lnTo>
                <a:lnTo>
                  <a:pt x="564222" y="91122"/>
                </a:lnTo>
                <a:lnTo>
                  <a:pt x="604443" y="120472"/>
                </a:lnTo>
                <a:lnTo>
                  <a:pt x="640473" y="155879"/>
                </a:lnTo>
                <a:lnTo>
                  <a:pt x="555180" y="155879"/>
                </a:lnTo>
                <a:lnTo>
                  <a:pt x="555180" y="194246"/>
                </a:lnTo>
                <a:lnTo>
                  <a:pt x="668528" y="194246"/>
                </a:lnTo>
                <a:lnTo>
                  <a:pt x="675767" y="192684"/>
                </a:lnTo>
                <a:lnTo>
                  <a:pt x="681850" y="188468"/>
                </a:lnTo>
                <a:lnTo>
                  <a:pt x="686041" y="182346"/>
                </a:lnTo>
                <a:lnTo>
                  <a:pt x="687603" y="175069"/>
                </a:lnTo>
                <a:lnTo>
                  <a:pt x="687603" y="61087"/>
                </a:lnTo>
                <a:close/>
              </a:path>
              <a:path w="765810" h="766445">
                <a:moveTo>
                  <a:pt x="765746" y="390715"/>
                </a:moveTo>
                <a:lnTo>
                  <a:pt x="763943" y="343319"/>
                </a:lnTo>
                <a:lnTo>
                  <a:pt x="756056" y="295821"/>
                </a:lnTo>
                <a:lnTo>
                  <a:pt x="741070" y="281063"/>
                </a:lnTo>
                <a:lnTo>
                  <a:pt x="733615" y="281139"/>
                </a:lnTo>
                <a:lnTo>
                  <a:pt x="726757" y="284200"/>
                </a:lnTo>
                <a:lnTo>
                  <a:pt x="721690" y="289471"/>
                </a:lnTo>
                <a:lnTo>
                  <a:pt x="718934" y="296227"/>
                </a:lnTo>
                <a:lnTo>
                  <a:pt x="719023" y="303720"/>
                </a:lnTo>
                <a:lnTo>
                  <a:pt x="726109" y="350913"/>
                </a:lnTo>
                <a:lnTo>
                  <a:pt x="726681" y="397954"/>
                </a:lnTo>
                <a:lnTo>
                  <a:pt x="721042" y="444246"/>
                </a:lnTo>
                <a:lnTo>
                  <a:pt x="709460" y="489165"/>
                </a:lnTo>
                <a:lnTo>
                  <a:pt x="692238" y="532091"/>
                </a:lnTo>
                <a:lnTo>
                  <a:pt x="669658" y="572414"/>
                </a:lnTo>
                <a:lnTo>
                  <a:pt x="642023" y="609511"/>
                </a:lnTo>
                <a:lnTo>
                  <a:pt x="609600" y="642772"/>
                </a:lnTo>
                <a:lnTo>
                  <a:pt x="572706" y="671576"/>
                </a:lnTo>
                <a:lnTo>
                  <a:pt x="531609" y="695299"/>
                </a:lnTo>
                <a:lnTo>
                  <a:pt x="489026" y="712520"/>
                </a:lnTo>
                <a:lnTo>
                  <a:pt x="445173" y="723646"/>
                </a:lnTo>
                <a:lnTo>
                  <a:pt x="400646" y="728814"/>
                </a:lnTo>
                <a:lnTo>
                  <a:pt x="356082" y="728167"/>
                </a:lnTo>
                <a:lnTo>
                  <a:pt x="312077" y="721817"/>
                </a:lnTo>
                <a:lnTo>
                  <a:pt x="269252" y="709930"/>
                </a:lnTo>
                <a:lnTo>
                  <a:pt x="228219" y="692619"/>
                </a:lnTo>
                <a:lnTo>
                  <a:pt x="189598" y="670026"/>
                </a:lnTo>
                <a:lnTo>
                  <a:pt x="153987" y="642289"/>
                </a:lnTo>
                <a:lnTo>
                  <a:pt x="122008" y="609536"/>
                </a:lnTo>
                <a:lnTo>
                  <a:pt x="191579" y="610666"/>
                </a:lnTo>
                <a:lnTo>
                  <a:pt x="191579" y="572300"/>
                </a:lnTo>
                <a:lnTo>
                  <a:pt x="73748" y="571169"/>
                </a:lnTo>
                <a:lnTo>
                  <a:pt x="68135" y="572300"/>
                </a:lnTo>
                <a:lnTo>
                  <a:pt x="64770" y="576808"/>
                </a:lnTo>
                <a:lnTo>
                  <a:pt x="61404" y="580199"/>
                </a:lnTo>
                <a:lnTo>
                  <a:pt x="59156" y="584708"/>
                </a:lnTo>
                <a:lnTo>
                  <a:pt x="58039" y="703199"/>
                </a:lnTo>
                <a:lnTo>
                  <a:pt x="96189" y="703199"/>
                </a:lnTo>
                <a:lnTo>
                  <a:pt x="97320" y="637743"/>
                </a:lnTo>
                <a:lnTo>
                  <a:pt x="130898" y="671169"/>
                </a:lnTo>
                <a:lnTo>
                  <a:pt x="167817" y="699770"/>
                </a:lnTo>
                <a:lnTo>
                  <a:pt x="207556" y="723442"/>
                </a:lnTo>
                <a:lnTo>
                  <a:pt x="249618" y="742061"/>
                </a:lnTo>
                <a:lnTo>
                  <a:pt x="293497" y="755497"/>
                </a:lnTo>
                <a:lnTo>
                  <a:pt x="338658" y="763651"/>
                </a:lnTo>
                <a:lnTo>
                  <a:pt x="384606" y="766394"/>
                </a:lnTo>
                <a:lnTo>
                  <a:pt x="426631" y="764070"/>
                </a:lnTo>
                <a:lnTo>
                  <a:pt x="468350" y="757085"/>
                </a:lnTo>
                <a:lnTo>
                  <a:pt x="509435" y="745451"/>
                </a:lnTo>
                <a:lnTo>
                  <a:pt x="549567" y="729157"/>
                </a:lnTo>
                <a:lnTo>
                  <a:pt x="591210" y="705434"/>
                </a:lnTo>
                <a:lnTo>
                  <a:pt x="629031" y="677062"/>
                </a:lnTo>
                <a:lnTo>
                  <a:pt x="662787" y="644550"/>
                </a:lnTo>
                <a:lnTo>
                  <a:pt x="692226" y="608393"/>
                </a:lnTo>
                <a:lnTo>
                  <a:pt x="717092" y="569112"/>
                </a:lnTo>
                <a:lnTo>
                  <a:pt x="737120" y="527202"/>
                </a:lnTo>
                <a:lnTo>
                  <a:pt x="752081" y="483158"/>
                </a:lnTo>
                <a:lnTo>
                  <a:pt x="761707" y="437502"/>
                </a:lnTo>
                <a:lnTo>
                  <a:pt x="765746" y="390715"/>
                </a:lnTo>
                <a:close/>
              </a:path>
            </a:pathLst>
          </a:custGeom>
          <a:solidFill>
            <a:srgbClr val="21408B"/>
          </a:solidFill>
        </p:spPr>
        <p:txBody>
          <a:bodyPr wrap="square" lIns="0" tIns="0" rIns="0" bIns="0" rtlCol="0"/>
          <a:lstStyle/>
          <a:p>
            <a:endParaRPr/>
          </a:p>
        </p:txBody>
      </p:sp>
      <p:grpSp>
        <p:nvGrpSpPr>
          <p:cNvPr id="22" name="object 22"/>
          <p:cNvGrpSpPr/>
          <p:nvPr/>
        </p:nvGrpSpPr>
        <p:grpSpPr>
          <a:xfrm>
            <a:off x="1501389" y="6072582"/>
            <a:ext cx="1054100" cy="751840"/>
            <a:chOff x="1501389" y="6072582"/>
            <a:chExt cx="1054100" cy="751840"/>
          </a:xfrm>
        </p:grpSpPr>
        <p:pic>
          <p:nvPicPr>
            <p:cNvPr id="23" name="object 23"/>
            <p:cNvPicPr/>
            <p:nvPr/>
          </p:nvPicPr>
          <p:blipFill>
            <a:blip r:embed="rId2" cstate="print"/>
            <a:stretch>
              <a:fillRect/>
            </a:stretch>
          </p:blipFill>
          <p:spPr>
            <a:xfrm>
              <a:off x="2216776" y="6072582"/>
              <a:ext cx="174915" cy="175199"/>
            </a:xfrm>
            <a:prstGeom prst="rect">
              <a:avLst/>
            </a:prstGeom>
          </p:spPr>
        </p:pic>
        <p:sp>
          <p:nvSpPr>
            <p:cNvPr id="24" name="object 24"/>
            <p:cNvSpPr/>
            <p:nvPr/>
          </p:nvSpPr>
          <p:spPr>
            <a:xfrm>
              <a:off x="1501389" y="6102201"/>
              <a:ext cx="1054100" cy="721995"/>
            </a:xfrm>
            <a:custGeom>
              <a:avLst/>
              <a:gdLst/>
              <a:ahLst/>
              <a:cxnLst/>
              <a:rect l="l" t="t" r="r" b="b"/>
              <a:pathLst>
                <a:path w="1054100" h="721995">
                  <a:moveTo>
                    <a:pt x="344159" y="16604"/>
                  </a:moveTo>
                  <a:lnTo>
                    <a:pt x="316274" y="16604"/>
                  </a:lnTo>
                  <a:lnTo>
                    <a:pt x="324846" y="8372"/>
                  </a:lnTo>
                  <a:lnTo>
                    <a:pt x="332993" y="2696"/>
                  </a:lnTo>
                  <a:lnTo>
                    <a:pt x="339865" y="0"/>
                  </a:lnTo>
                  <a:lnTo>
                    <a:pt x="344611" y="709"/>
                  </a:lnTo>
                  <a:lnTo>
                    <a:pt x="346577" y="4842"/>
                  </a:lnTo>
                  <a:lnTo>
                    <a:pt x="345886" y="11637"/>
                  </a:lnTo>
                  <a:lnTo>
                    <a:pt x="344159" y="16604"/>
                  </a:lnTo>
                  <a:close/>
                </a:path>
                <a:path w="1054100" h="721995">
                  <a:moveTo>
                    <a:pt x="297041" y="68598"/>
                  </a:moveTo>
                  <a:lnTo>
                    <a:pt x="292471" y="67693"/>
                  </a:lnTo>
                  <a:lnTo>
                    <a:pt x="290505" y="63737"/>
                  </a:lnTo>
                  <a:lnTo>
                    <a:pt x="291196" y="57333"/>
                  </a:lnTo>
                  <a:lnTo>
                    <a:pt x="294225" y="49013"/>
                  </a:lnTo>
                  <a:lnTo>
                    <a:pt x="299272" y="39310"/>
                  </a:lnTo>
                  <a:lnTo>
                    <a:pt x="284537" y="27957"/>
                  </a:lnTo>
                  <a:lnTo>
                    <a:pt x="278870" y="23415"/>
                  </a:lnTo>
                  <a:lnTo>
                    <a:pt x="277736" y="14333"/>
                  </a:lnTo>
                  <a:lnTo>
                    <a:pt x="286804" y="2980"/>
                  </a:lnTo>
                  <a:lnTo>
                    <a:pt x="295872" y="1844"/>
                  </a:lnTo>
                  <a:lnTo>
                    <a:pt x="301539" y="6386"/>
                  </a:lnTo>
                  <a:lnTo>
                    <a:pt x="316274" y="16604"/>
                  </a:lnTo>
                  <a:lnTo>
                    <a:pt x="344159" y="16604"/>
                  </a:lnTo>
                  <a:lnTo>
                    <a:pt x="342858" y="20347"/>
                  </a:lnTo>
                  <a:lnTo>
                    <a:pt x="337810" y="30227"/>
                  </a:lnTo>
                  <a:lnTo>
                    <a:pt x="372815" y="54069"/>
                  </a:lnTo>
                  <a:lnTo>
                    <a:pt x="319675" y="54069"/>
                  </a:lnTo>
                  <a:lnTo>
                    <a:pt x="311280" y="61466"/>
                  </a:lnTo>
                  <a:lnTo>
                    <a:pt x="303523" y="66416"/>
                  </a:lnTo>
                  <a:lnTo>
                    <a:pt x="297041" y="68598"/>
                  </a:lnTo>
                  <a:close/>
                </a:path>
                <a:path w="1054100" h="721995">
                  <a:moveTo>
                    <a:pt x="588756" y="494573"/>
                  </a:moveTo>
                  <a:lnTo>
                    <a:pt x="370681" y="494573"/>
                  </a:lnTo>
                  <a:lnTo>
                    <a:pt x="375215" y="490032"/>
                  </a:lnTo>
                  <a:lnTo>
                    <a:pt x="378616" y="488897"/>
                  </a:lnTo>
                  <a:lnTo>
                    <a:pt x="512366" y="409424"/>
                  </a:lnTo>
                  <a:lnTo>
                    <a:pt x="403552" y="328817"/>
                  </a:lnTo>
                  <a:lnTo>
                    <a:pt x="376136" y="292894"/>
                  </a:lnTo>
                  <a:lnTo>
                    <a:pt x="374082" y="276592"/>
                  </a:lnTo>
                  <a:lnTo>
                    <a:pt x="375711" y="262596"/>
                  </a:lnTo>
                  <a:lnTo>
                    <a:pt x="396751" y="228908"/>
                  </a:lnTo>
                  <a:lnTo>
                    <a:pt x="429764" y="199390"/>
                  </a:lnTo>
                  <a:lnTo>
                    <a:pt x="470427" y="169872"/>
                  </a:lnTo>
                  <a:lnTo>
                    <a:pt x="319675" y="54069"/>
                  </a:lnTo>
                  <a:lnTo>
                    <a:pt x="372815" y="54069"/>
                  </a:lnTo>
                  <a:lnTo>
                    <a:pt x="507832" y="146030"/>
                  </a:lnTo>
                  <a:lnTo>
                    <a:pt x="740781" y="146030"/>
                  </a:lnTo>
                  <a:lnTo>
                    <a:pt x="728895" y="201732"/>
                  </a:lnTo>
                  <a:lnTo>
                    <a:pt x="677853" y="258427"/>
                  </a:lnTo>
                  <a:lnTo>
                    <a:pt x="763997" y="281133"/>
                  </a:lnTo>
                  <a:lnTo>
                    <a:pt x="766279" y="282269"/>
                  </a:lnTo>
                  <a:lnTo>
                    <a:pt x="566772" y="282269"/>
                  </a:lnTo>
                  <a:lnTo>
                    <a:pt x="536169" y="300434"/>
                  </a:lnTo>
                  <a:lnTo>
                    <a:pt x="621179" y="371959"/>
                  </a:lnTo>
                  <a:lnTo>
                    <a:pt x="629609" y="382443"/>
                  </a:lnTo>
                  <a:lnTo>
                    <a:pt x="634214" y="394523"/>
                  </a:lnTo>
                  <a:lnTo>
                    <a:pt x="634568" y="407242"/>
                  </a:lnTo>
                  <a:lnTo>
                    <a:pt x="630247" y="419642"/>
                  </a:lnTo>
                  <a:lnTo>
                    <a:pt x="588756" y="494573"/>
                  </a:lnTo>
                  <a:close/>
                </a:path>
                <a:path w="1054100" h="721995">
                  <a:moveTo>
                    <a:pt x="740781" y="146030"/>
                  </a:moveTo>
                  <a:lnTo>
                    <a:pt x="507832" y="146030"/>
                  </a:lnTo>
                  <a:lnTo>
                    <a:pt x="520300" y="140353"/>
                  </a:lnTo>
                  <a:lnTo>
                    <a:pt x="550992" y="123661"/>
                  </a:lnTo>
                  <a:lnTo>
                    <a:pt x="601751" y="99642"/>
                  </a:lnTo>
                  <a:lnTo>
                    <a:pt x="638978" y="86905"/>
                  </a:lnTo>
                  <a:lnTo>
                    <a:pt x="662409" y="84581"/>
                  </a:lnTo>
                  <a:lnTo>
                    <a:pt x="686478" y="88856"/>
                  </a:lnTo>
                  <a:lnTo>
                    <a:pt x="709590" y="101753"/>
                  </a:lnTo>
                  <a:lnTo>
                    <a:pt x="712991" y="105159"/>
                  </a:lnTo>
                  <a:lnTo>
                    <a:pt x="728859" y="122188"/>
                  </a:lnTo>
                  <a:lnTo>
                    <a:pt x="729993" y="122188"/>
                  </a:lnTo>
                  <a:lnTo>
                    <a:pt x="729993" y="123324"/>
                  </a:lnTo>
                  <a:lnTo>
                    <a:pt x="731126" y="124459"/>
                  </a:lnTo>
                  <a:lnTo>
                    <a:pt x="740781" y="146030"/>
                  </a:lnTo>
                  <a:close/>
                </a:path>
                <a:path w="1054100" h="721995">
                  <a:moveTo>
                    <a:pt x="754929" y="356064"/>
                  </a:moveTo>
                  <a:lnTo>
                    <a:pt x="748128" y="356064"/>
                  </a:lnTo>
                  <a:lnTo>
                    <a:pt x="744728" y="354929"/>
                  </a:lnTo>
                  <a:lnTo>
                    <a:pt x="595109" y="315193"/>
                  </a:lnTo>
                  <a:lnTo>
                    <a:pt x="585599" y="311414"/>
                  </a:lnTo>
                  <a:lnTo>
                    <a:pt x="577682" y="305401"/>
                  </a:lnTo>
                  <a:lnTo>
                    <a:pt x="571678" y="297471"/>
                  </a:lnTo>
                  <a:lnTo>
                    <a:pt x="567897" y="287927"/>
                  </a:lnTo>
                  <a:lnTo>
                    <a:pt x="566772" y="285674"/>
                  </a:lnTo>
                  <a:lnTo>
                    <a:pt x="566772" y="282269"/>
                  </a:lnTo>
                  <a:lnTo>
                    <a:pt x="766279" y="282269"/>
                  </a:lnTo>
                  <a:lnTo>
                    <a:pt x="777668" y="287945"/>
                  </a:lnTo>
                  <a:lnTo>
                    <a:pt x="787375" y="298873"/>
                  </a:lnTo>
                  <a:lnTo>
                    <a:pt x="792210" y="312585"/>
                  </a:lnTo>
                  <a:lnTo>
                    <a:pt x="791200" y="327681"/>
                  </a:lnTo>
                  <a:lnTo>
                    <a:pt x="786011" y="339301"/>
                  </a:lnTo>
                  <a:lnTo>
                    <a:pt x="777740" y="348259"/>
                  </a:lnTo>
                  <a:lnTo>
                    <a:pt x="767132" y="354024"/>
                  </a:lnTo>
                  <a:lnTo>
                    <a:pt x="754929" y="356064"/>
                  </a:lnTo>
                  <a:close/>
                </a:path>
                <a:path w="1054100" h="721995">
                  <a:moveTo>
                    <a:pt x="939686" y="721637"/>
                  </a:moveTo>
                  <a:lnTo>
                    <a:pt x="887546" y="714826"/>
                  </a:lnTo>
                  <a:lnTo>
                    <a:pt x="18171" y="437807"/>
                  </a:lnTo>
                  <a:lnTo>
                    <a:pt x="0" y="415136"/>
                  </a:lnTo>
                  <a:lnTo>
                    <a:pt x="1168" y="404883"/>
                  </a:lnTo>
                  <a:lnTo>
                    <a:pt x="6304" y="395996"/>
                  </a:lnTo>
                  <a:lnTo>
                    <a:pt x="14203" y="389982"/>
                  </a:lnTo>
                  <a:lnTo>
                    <a:pt x="23802" y="387161"/>
                  </a:lnTo>
                  <a:lnTo>
                    <a:pt x="34039" y="387853"/>
                  </a:lnTo>
                  <a:lnTo>
                    <a:pt x="370681" y="494573"/>
                  </a:lnTo>
                  <a:lnTo>
                    <a:pt x="588756" y="494573"/>
                  </a:lnTo>
                  <a:lnTo>
                    <a:pt x="581212" y="508197"/>
                  </a:lnTo>
                  <a:lnTo>
                    <a:pt x="493096" y="508197"/>
                  </a:lnTo>
                  <a:lnTo>
                    <a:pt x="464760" y="525227"/>
                  </a:lnTo>
                  <a:lnTo>
                    <a:pt x="481762" y="530904"/>
                  </a:lnTo>
                  <a:lnTo>
                    <a:pt x="568639" y="530904"/>
                  </a:lnTo>
                  <a:lnTo>
                    <a:pt x="555438" y="554745"/>
                  </a:lnTo>
                  <a:lnTo>
                    <a:pt x="903414" y="666007"/>
                  </a:lnTo>
                  <a:lnTo>
                    <a:pt x="913722" y="668260"/>
                  </a:lnTo>
                  <a:lnTo>
                    <a:pt x="939969" y="670406"/>
                  </a:lnTo>
                  <a:lnTo>
                    <a:pt x="1053836" y="670406"/>
                  </a:lnTo>
                  <a:lnTo>
                    <a:pt x="1050731" y="679666"/>
                  </a:lnTo>
                  <a:lnTo>
                    <a:pt x="1043965" y="687578"/>
                  </a:lnTo>
                  <a:lnTo>
                    <a:pt x="1017151" y="704395"/>
                  </a:lnTo>
                  <a:lnTo>
                    <a:pt x="990125" y="714826"/>
                  </a:lnTo>
                  <a:lnTo>
                    <a:pt x="963949" y="720147"/>
                  </a:lnTo>
                  <a:lnTo>
                    <a:pt x="939686" y="721637"/>
                  </a:lnTo>
                  <a:close/>
                </a:path>
                <a:path w="1054100" h="721995">
                  <a:moveTo>
                    <a:pt x="568639" y="530904"/>
                  </a:moveTo>
                  <a:lnTo>
                    <a:pt x="481762" y="530904"/>
                  </a:lnTo>
                  <a:lnTo>
                    <a:pt x="493096" y="508197"/>
                  </a:lnTo>
                  <a:lnTo>
                    <a:pt x="581212" y="508197"/>
                  </a:lnTo>
                  <a:lnTo>
                    <a:pt x="568639" y="530904"/>
                  </a:lnTo>
                  <a:close/>
                </a:path>
                <a:path w="1054100" h="721995">
                  <a:moveTo>
                    <a:pt x="1053836" y="670406"/>
                  </a:moveTo>
                  <a:lnTo>
                    <a:pt x="939969" y="670406"/>
                  </a:lnTo>
                  <a:lnTo>
                    <a:pt x="975142" y="665528"/>
                  </a:lnTo>
                  <a:lnTo>
                    <a:pt x="1021402" y="641988"/>
                  </a:lnTo>
                  <a:lnTo>
                    <a:pt x="1053883" y="670264"/>
                  </a:lnTo>
                  <a:lnTo>
                    <a:pt x="1053836" y="670406"/>
                  </a:lnTo>
                  <a:close/>
                </a:path>
              </a:pathLst>
            </a:custGeom>
            <a:solidFill>
              <a:srgbClr val="21408B"/>
            </a:solidFill>
          </p:spPr>
          <p:txBody>
            <a:bodyPr wrap="square" lIns="0" tIns="0" rIns="0" bIns="0" rtlCol="0"/>
            <a:lstStyle/>
            <a:p>
              <a:endParaRPr/>
            </a:p>
          </p:txBody>
        </p:sp>
      </p:grpSp>
      <p:sp>
        <p:nvSpPr>
          <p:cNvPr id="25" name="object 25"/>
          <p:cNvSpPr/>
          <p:nvPr/>
        </p:nvSpPr>
        <p:spPr>
          <a:xfrm>
            <a:off x="4503758" y="8156422"/>
            <a:ext cx="154940" cy="45720"/>
          </a:xfrm>
          <a:custGeom>
            <a:avLst/>
            <a:gdLst/>
            <a:ahLst/>
            <a:cxnLst/>
            <a:rect l="l" t="t" r="r" b="b"/>
            <a:pathLst>
              <a:path w="154939" h="45720">
                <a:moveTo>
                  <a:pt x="6307" y="45322"/>
                </a:moveTo>
                <a:lnTo>
                  <a:pt x="23949" y="4730"/>
                </a:lnTo>
                <a:lnTo>
                  <a:pt x="72374" y="525"/>
                </a:lnTo>
                <a:lnTo>
                  <a:pt x="96719" y="0"/>
                </a:lnTo>
                <a:lnTo>
                  <a:pt x="111258" y="211"/>
                </a:lnTo>
                <a:lnTo>
                  <a:pt x="125775" y="817"/>
                </a:lnTo>
                <a:lnTo>
                  <a:pt x="140249" y="1774"/>
                </a:lnTo>
                <a:lnTo>
                  <a:pt x="154656" y="3037"/>
                </a:lnTo>
                <a:lnTo>
                  <a:pt x="150919" y="40182"/>
                </a:lnTo>
                <a:lnTo>
                  <a:pt x="137390" y="38956"/>
                </a:lnTo>
                <a:lnTo>
                  <a:pt x="123818" y="38080"/>
                </a:lnTo>
                <a:lnTo>
                  <a:pt x="110247" y="37554"/>
                </a:lnTo>
                <a:lnTo>
                  <a:pt x="96718" y="37379"/>
                </a:lnTo>
                <a:lnTo>
                  <a:pt x="73951" y="37864"/>
                </a:lnTo>
                <a:lnTo>
                  <a:pt x="51250" y="39335"/>
                </a:lnTo>
                <a:lnTo>
                  <a:pt x="28680" y="41814"/>
                </a:lnTo>
                <a:lnTo>
                  <a:pt x="6307" y="45322"/>
                </a:lnTo>
                <a:close/>
              </a:path>
            </a:pathLst>
          </a:custGeom>
          <a:solidFill>
            <a:srgbClr val="21408B"/>
          </a:solidFill>
        </p:spPr>
        <p:txBody>
          <a:bodyPr wrap="square" lIns="0" tIns="0" rIns="0" bIns="0" rtlCol="0"/>
          <a:lstStyle/>
          <a:p>
            <a:endParaRPr/>
          </a:p>
        </p:txBody>
      </p:sp>
      <p:sp>
        <p:nvSpPr>
          <p:cNvPr id="26" name="object 26"/>
          <p:cNvSpPr/>
          <p:nvPr/>
        </p:nvSpPr>
        <p:spPr>
          <a:xfrm>
            <a:off x="4039786" y="8262719"/>
            <a:ext cx="254000" cy="703580"/>
          </a:xfrm>
          <a:custGeom>
            <a:avLst/>
            <a:gdLst/>
            <a:ahLst/>
            <a:cxnLst/>
            <a:rect l="l" t="t" r="r" b="b"/>
            <a:pathLst>
              <a:path w="254000" h="703579">
                <a:moveTo>
                  <a:pt x="57937" y="702965"/>
                </a:moveTo>
                <a:lnTo>
                  <a:pt x="37199" y="655717"/>
                </a:lnTo>
                <a:lnTo>
                  <a:pt x="20992" y="607124"/>
                </a:lnTo>
                <a:lnTo>
                  <a:pt x="9359" y="557297"/>
                </a:lnTo>
                <a:lnTo>
                  <a:pt x="2347" y="506349"/>
                </a:lnTo>
                <a:lnTo>
                  <a:pt x="0" y="454392"/>
                </a:lnTo>
                <a:lnTo>
                  <a:pt x="2614" y="400444"/>
                </a:lnTo>
                <a:lnTo>
                  <a:pt x="10376" y="347113"/>
                </a:lnTo>
                <a:lnTo>
                  <a:pt x="23162" y="294848"/>
                </a:lnTo>
                <a:lnTo>
                  <a:pt x="40848" y="244096"/>
                </a:lnTo>
                <a:lnTo>
                  <a:pt x="63311" y="195307"/>
                </a:lnTo>
                <a:lnTo>
                  <a:pt x="89443" y="150369"/>
                </a:lnTo>
                <a:lnTo>
                  <a:pt x="119690" y="108022"/>
                </a:lnTo>
                <a:lnTo>
                  <a:pt x="153739" y="68613"/>
                </a:lnTo>
                <a:lnTo>
                  <a:pt x="191275" y="32490"/>
                </a:lnTo>
                <a:lnTo>
                  <a:pt x="231985" y="0"/>
                </a:lnTo>
                <a:lnTo>
                  <a:pt x="253945" y="30370"/>
                </a:lnTo>
                <a:lnTo>
                  <a:pt x="215949" y="60737"/>
                </a:lnTo>
                <a:lnTo>
                  <a:pt x="180925" y="94446"/>
                </a:lnTo>
                <a:lnTo>
                  <a:pt x="149152" y="131194"/>
                </a:lnTo>
                <a:lnTo>
                  <a:pt x="120912" y="170677"/>
                </a:lnTo>
                <a:lnTo>
                  <a:pt x="96485" y="212594"/>
                </a:lnTo>
                <a:lnTo>
                  <a:pt x="75446" y="258106"/>
                </a:lnTo>
                <a:lnTo>
                  <a:pt x="58926" y="305478"/>
                </a:lnTo>
                <a:lnTo>
                  <a:pt x="47015" y="354275"/>
                </a:lnTo>
                <a:lnTo>
                  <a:pt x="39803" y="404059"/>
                </a:lnTo>
                <a:lnTo>
                  <a:pt x="37379" y="454392"/>
                </a:lnTo>
                <a:lnTo>
                  <a:pt x="39560" y="502875"/>
                </a:lnTo>
                <a:lnTo>
                  <a:pt x="46081" y="550416"/>
                </a:lnTo>
                <a:lnTo>
                  <a:pt x="56908" y="596914"/>
                </a:lnTo>
                <a:lnTo>
                  <a:pt x="72007" y="642268"/>
                </a:lnTo>
                <a:lnTo>
                  <a:pt x="91345" y="686378"/>
                </a:lnTo>
                <a:lnTo>
                  <a:pt x="57937" y="702965"/>
                </a:lnTo>
                <a:close/>
              </a:path>
            </a:pathLst>
          </a:custGeom>
          <a:solidFill>
            <a:srgbClr val="21408B"/>
          </a:solidFill>
        </p:spPr>
        <p:txBody>
          <a:bodyPr wrap="square" lIns="0" tIns="0" rIns="0" bIns="0" rtlCol="0"/>
          <a:lstStyle/>
          <a:p>
            <a:endParaRPr/>
          </a:p>
        </p:txBody>
      </p:sp>
      <p:sp>
        <p:nvSpPr>
          <p:cNvPr id="27" name="object 27"/>
          <p:cNvSpPr/>
          <p:nvPr/>
        </p:nvSpPr>
        <p:spPr>
          <a:xfrm>
            <a:off x="4151922" y="8154796"/>
            <a:ext cx="1009650" cy="1123315"/>
          </a:xfrm>
          <a:custGeom>
            <a:avLst/>
            <a:gdLst/>
            <a:ahLst/>
            <a:cxnLst/>
            <a:rect l="l" t="t" r="r" b="b"/>
            <a:pathLst>
              <a:path w="1009650" h="1123315">
                <a:moveTo>
                  <a:pt x="622363" y="1095679"/>
                </a:moveTo>
                <a:lnTo>
                  <a:pt x="610679" y="1060170"/>
                </a:lnTo>
                <a:lnTo>
                  <a:pt x="575576" y="1070190"/>
                </a:lnTo>
                <a:lnTo>
                  <a:pt x="539750" y="1077772"/>
                </a:lnTo>
                <a:lnTo>
                  <a:pt x="503351" y="1082865"/>
                </a:lnTo>
                <a:lnTo>
                  <a:pt x="466534" y="1085392"/>
                </a:lnTo>
                <a:lnTo>
                  <a:pt x="467702" y="1122781"/>
                </a:lnTo>
                <a:lnTo>
                  <a:pt x="507149" y="1120025"/>
                </a:lnTo>
                <a:lnTo>
                  <a:pt x="546176" y="1114577"/>
                </a:lnTo>
                <a:lnTo>
                  <a:pt x="584631" y="1106449"/>
                </a:lnTo>
                <a:lnTo>
                  <a:pt x="622363" y="1095679"/>
                </a:lnTo>
                <a:close/>
              </a:path>
              <a:path w="1009650" h="1123315">
                <a:moveTo>
                  <a:pt x="695032" y="952754"/>
                </a:moveTo>
                <a:lnTo>
                  <a:pt x="526618" y="871740"/>
                </a:lnTo>
                <a:lnTo>
                  <a:pt x="510413" y="905421"/>
                </a:lnTo>
                <a:lnTo>
                  <a:pt x="678840" y="986434"/>
                </a:lnTo>
                <a:lnTo>
                  <a:pt x="695032" y="952754"/>
                </a:lnTo>
                <a:close/>
              </a:path>
              <a:path w="1009650" h="1123315">
                <a:moveTo>
                  <a:pt x="822731" y="750087"/>
                </a:moveTo>
                <a:lnTo>
                  <a:pt x="815454" y="700417"/>
                </a:lnTo>
                <a:lnTo>
                  <a:pt x="803275" y="679602"/>
                </a:lnTo>
                <a:lnTo>
                  <a:pt x="790117" y="657110"/>
                </a:lnTo>
                <a:lnTo>
                  <a:pt x="785253" y="653440"/>
                </a:lnTo>
                <a:lnTo>
                  <a:pt x="785253" y="743140"/>
                </a:lnTo>
                <a:lnTo>
                  <a:pt x="782396" y="766737"/>
                </a:lnTo>
                <a:lnTo>
                  <a:pt x="766267" y="758964"/>
                </a:lnTo>
                <a:lnTo>
                  <a:pt x="766267" y="800379"/>
                </a:lnTo>
                <a:lnTo>
                  <a:pt x="749681" y="817321"/>
                </a:lnTo>
                <a:lnTo>
                  <a:pt x="729716" y="829322"/>
                </a:lnTo>
                <a:lnTo>
                  <a:pt x="707466" y="836028"/>
                </a:lnTo>
                <a:lnTo>
                  <a:pt x="684034" y="837057"/>
                </a:lnTo>
                <a:lnTo>
                  <a:pt x="689178" y="833081"/>
                </a:lnTo>
                <a:lnTo>
                  <a:pt x="701789" y="822375"/>
                </a:lnTo>
                <a:lnTo>
                  <a:pt x="713295" y="810602"/>
                </a:lnTo>
                <a:lnTo>
                  <a:pt x="715340" y="808088"/>
                </a:lnTo>
                <a:lnTo>
                  <a:pt x="716102" y="807161"/>
                </a:lnTo>
                <a:lnTo>
                  <a:pt x="723671" y="797864"/>
                </a:lnTo>
                <a:lnTo>
                  <a:pt x="732866" y="784263"/>
                </a:lnTo>
                <a:lnTo>
                  <a:pt x="766267" y="800379"/>
                </a:lnTo>
                <a:lnTo>
                  <a:pt x="766267" y="758964"/>
                </a:lnTo>
                <a:lnTo>
                  <a:pt x="754316" y="753186"/>
                </a:lnTo>
                <a:lnTo>
                  <a:pt x="748982" y="750620"/>
                </a:lnTo>
                <a:lnTo>
                  <a:pt x="753884" y="734987"/>
                </a:lnTo>
                <a:lnTo>
                  <a:pt x="753986" y="734504"/>
                </a:lnTo>
                <a:lnTo>
                  <a:pt x="757339" y="718997"/>
                </a:lnTo>
                <a:lnTo>
                  <a:pt x="759294" y="702691"/>
                </a:lnTo>
                <a:lnTo>
                  <a:pt x="759637" y="689825"/>
                </a:lnTo>
                <a:lnTo>
                  <a:pt x="759726" y="680529"/>
                </a:lnTo>
                <a:lnTo>
                  <a:pt x="759726" y="679602"/>
                </a:lnTo>
                <a:lnTo>
                  <a:pt x="773557" y="698474"/>
                </a:lnTo>
                <a:lnTo>
                  <a:pt x="782193" y="720013"/>
                </a:lnTo>
                <a:lnTo>
                  <a:pt x="785253" y="743140"/>
                </a:lnTo>
                <a:lnTo>
                  <a:pt x="785253" y="653440"/>
                </a:lnTo>
                <a:lnTo>
                  <a:pt x="781227" y="650392"/>
                </a:lnTo>
                <a:lnTo>
                  <a:pt x="748753" y="625868"/>
                </a:lnTo>
                <a:lnTo>
                  <a:pt x="722350" y="619239"/>
                </a:lnTo>
                <a:lnTo>
                  <a:pt x="722350" y="680529"/>
                </a:lnTo>
                <a:lnTo>
                  <a:pt x="722261" y="689825"/>
                </a:lnTo>
                <a:lnTo>
                  <a:pt x="722007" y="699046"/>
                </a:lnTo>
                <a:lnTo>
                  <a:pt x="720623" y="711111"/>
                </a:lnTo>
                <a:lnTo>
                  <a:pt x="718248" y="722947"/>
                </a:lnTo>
                <a:lnTo>
                  <a:pt x="714870" y="734504"/>
                </a:lnTo>
                <a:lnTo>
                  <a:pt x="698995" y="726871"/>
                </a:lnTo>
                <a:lnTo>
                  <a:pt x="698995" y="767676"/>
                </a:lnTo>
                <a:lnTo>
                  <a:pt x="666280" y="803414"/>
                </a:lnTo>
                <a:lnTo>
                  <a:pt x="661377" y="807161"/>
                </a:lnTo>
                <a:lnTo>
                  <a:pt x="661466" y="797864"/>
                </a:lnTo>
                <a:lnTo>
                  <a:pt x="661720" y="788631"/>
                </a:lnTo>
                <a:lnTo>
                  <a:pt x="663105" y="776579"/>
                </a:lnTo>
                <a:lnTo>
                  <a:pt x="665480" y="764743"/>
                </a:lnTo>
                <a:lnTo>
                  <a:pt x="668858" y="753186"/>
                </a:lnTo>
                <a:lnTo>
                  <a:pt x="698995" y="767676"/>
                </a:lnTo>
                <a:lnTo>
                  <a:pt x="698995" y="726871"/>
                </a:lnTo>
                <a:lnTo>
                  <a:pt x="686689" y="720953"/>
                </a:lnTo>
                <a:lnTo>
                  <a:pt x="684733" y="720013"/>
                </a:lnTo>
                <a:lnTo>
                  <a:pt x="691781" y="710031"/>
                </a:lnTo>
                <a:lnTo>
                  <a:pt x="722350" y="680529"/>
                </a:lnTo>
                <a:lnTo>
                  <a:pt x="722350" y="619239"/>
                </a:lnTo>
                <a:lnTo>
                  <a:pt x="699693" y="613537"/>
                </a:lnTo>
                <a:lnTo>
                  <a:pt x="699693" y="650633"/>
                </a:lnTo>
                <a:lnTo>
                  <a:pt x="694550" y="654596"/>
                </a:lnTo>
                <a:lnTo>
                  <a:pt x="681939" y="665314"/>
                </a:lnTo>
                <a:lnTo>
                  <a:pt x="670433" y="677087"/>
                </a:lnTo>
                <a:lnTo>
                  <a:pt x="660057" y="689825"/>
                </a:lnTo>
                <a:lnTo>
                  <a:pt x="650862" y="703427"/>
                </a:lnTo>
                <a:lnTo>
                  <a:pt x="634746" y="695655"/>
                </a:lnTo>
                <a:lnTo>
                  <a:pt x="634746" y="737069"/>
                </a:lnTo>
                <a:lnTo>
                  <a:pt x="629843" y="752690"/>
                </a:lnTo>
                <a:lnTo>
                  <a:pt x="626389" y="768692"/>
                </a:lnTo>
                <a:lnTo>
                  <a:pt x="624433" y="784999"/>
                </a:lnTo>
                <a:lnTo>
                  <a:pt x="624027" y="800379"/>
                </a:lnTo>
                <a:lnTo>
                  <a:pt x="624001" y="808088"/>
                </a:lnTo>
                <a:lnTo>
                  <a:pt x="617702" y="800696"/>
                </a:lnTo>
                <a:lnTo>
                  <a:pt x="600087" y="761365"/>
                </a:lnTo>
                <a:lnTo>
                  <a:pt x="598474" y="747814"/>
                </a:lnTo>
                <a:lnTo>
                  <a:pt x="598881" y="734275"/>
                </a:lnTo>
                <a:lnTo>
                  <a:pt x="601332" y="720953"/>
                </a:lnTo>
                <a:lnTo>
                  <a:pt x="634746" y="737069"/>
                </a:lnTo>
                <a:lnTo>
                  <a:pt x="634746" y="695655"/>
                </a:lnTo>
                <a:lnTo>
                  <a:pt x="617461" y="687311"/>
                </a:lnTo>
                <a:lnTo>
                  <a:pt x="632650" y="671588"/>
                </a:lnTo>
                <a:lnTo>
                  <a:pt x="650684" y="660006"/>
                </a:lnTo>
                <a:lnTo>
                  <a:pt x="670737" y="652843"/>
                </a:lnTo>
                <a:lnTo>
                  <a:pt x="691984" y="650392"/>
                </a:lnTo>
                <a:lnTo>
                  <a:pt x="694550" y="650392"/>
                </a:lnTo>
                <a:lnTo>
                  <a:pt x="697115" y="650633"/>
                </a:lnTo>
                <a:lnTo>
                  <a:pt x="699693" y="650633"/>
                </a:lnTo>
                <a:lnTo>
                  <a:pt x="699693" y="613537"/>
                </a:lnTo>
                <a:lnTo>
                  <a:pt x="698347" y="613194"/>
                </a:lnTo>
                <a:lnTo>
                  <a:pt x="648677" y="620458"/>
                </a:lnTo>
                <a:lnTo>
                  <a:pt x="605345" y="645744"/>
                </a:lnTo>
                <a:lnTo>
                  <a:pt x="574001" y="687070"/>
                </a:lnTo>
                <a:lnTo>
                  <a:pt x="565111" y="711377"/>
                </a:lnTo>
                <a:lnTo>
                  <a:pt x="561213" y="736549"/>
                </a:lnTo>
                <a:lnTo>
                  <a:pt x="562305" y="761974"/>
                </a:lnTo>
                <a:lnTo>
                  <a:pt x="579234" y="810501"/>
                </a:lnTo>
                <a:lnTo>
                  <a:pt x="613079" y="848271"/>
                </a:lnTo>
                <a:lnTo>
                  <a:pt x="649071" y="867346"/>
                </a:lnTo>
                <a:lnTo>
                  <a:pt x="691743" y="874433"/>
                </a:lnTo>
                <a:lnTo>
                  <a:pt x="727633" y="869442"/>
                </a:lnTo>
                <a:lnTo>
                  <a:pt x="760666" y="854925"/>
                </a:lnTo>
                <a:lnTo>
                  <a:pt x="782269" y="837057"/>
                </a:lnTo>
                <a:lnTo>
                  <a:pt x="788797" y="831659"/>
                </a:lnTo>
                <a:lnTo>
                  <a:pt x="809955" y="800379"/>
                </a:lnTo>
                <a:lnTo>
                  <a:pt x="814057" y="784263"/>
                </a:lnTo>
                <a:lnTo>
                  <a:pt x="818502" y="766737"/>
                </a:lnTo>
                <a:lnTo>
                  <a:pt x="822731" y="750087"/>
                </a:lnTo>
                <a:close/>
              </a:path>
              <a:path w="1009650" h="1123315">
                <a:moveTo>
                  <a:pt x="990320" y="183159"/>
                </a:moveTo>
                <a:lnTo>
                  <a:pt x="988441" y="178485"/>
                </a:lnTo>
                <a:lnTo>
                  <a:pt x="947559" y="137604"/>
                </a:lnTo>
                <a:lnTo>
                  <a:pt x="942263" y="133883"/>
                </a:lnTo>
                <a:lnTo>
                  <a:pt x="936205" y="132219"/>
                </a:lnTo>
                <a:lnTo>
                  <a:pt x="929919" y="132676"/>
                </a:lnTo>
                <a:lnTo>
                  <a:pt x="923963" y="135267"/>
                </a:lnTo>
                <a:lnTo>
                  <a:pt x="878179" y="165633"/>
                </a:lnTo>
                <a:lnTo>
                  <a:pt x="793140" y="109093"/>
                </a:lnTo>
                <a:lnTo>
                  <a:pt x="837298" y="50228"/>
                </a:lnTo>
                <a:lnTo>
                  <a:pt x="840320" y="44196"/>
                </a:lnTo>
                <a:lnTo>
                  <a:pt x="841032" y="37693"/>
                </a:lnTo>
                <a:lnTo>
                  <a:pt x="839457" y="31330"/>
                </a:lnTo>
                <a:lnTo>
                  <a:pt x="835660" y="25692"/>
                </a:lnTo>
                <a:lnTo>
                  <a:pt x="811364" y="1397"/>
                </a:lnTo>
                <a:lnTo>
                  <a:pt x="802487" y="0"/>
                </a:lnTo>
                <a:lnTo>
                  <a:pt x="692454" y="54902"/>
                </a:lnTo>
                <a:lnTo>
                  <a:pt x="657644" y="34340"/>
                </a:lnTo>
                <a:lnTo>
                  <a:pt x="628484" y="22898"/>
                </a:lnTo>
                <a:lnTo>
                  <a:pt x="598068" y="21640"/>
                </a:lnTo>
                <a:lnTo>
                  <a:pt x="568871" y="30226"/>
                </a:lnTo>
                <a:lnTo>
                  <a:pt x="543394" y="48361"/>
                </a:lnTo>
                <a:lnTo>
                  <a:pt x="524713" y="67043"/>
                </a:lnTo>
                <a:lnTo>
                  <a:pt x="522605" y="72885"/>
                </a:lnTo>
                <a:lnTo>
                  <a:pt x="524002" y="84328"/>
                </a:lnTo>
                <a:lnTo>
                  <a:pt x="843368" y="282448"/>
                </a:lnTo>
                <a:lnTo>
                  <a:pt x="872566" y="290626"/>
                </a:lnTo>
                <a:lnTo>
                  <a:pt x="883348" y="289572"/>
                </a:lnTo>
                <a:lnTo>
                  <a:pt x="988441" y="198107"/>
                </a:lnTo>
                <a:lnTo>
                  <a:pt x="990320" y="193433"/>
                </a:lnTo>
                <a:lnTo>
                  <a:pt x="990320" y="183159"/>
                </a:lnTo>
                <a:close/>
              </a:path>
              <a:path w="1009650" h="1123315">
                <a:moveTo>
                  <a:pt x="1008303" y="523303"/>
                </a:moveTo>
                <a:lnTo>
                  <a:pt x="1001776" y="468007"/>
                </a:lnTo>
                <a:lnTo>
                  <a:pt x="989939" y="414032"/>
                </a:lnTo>
                <a:lnTo>
                  <a:pt x="972794" y="361543"/>
                </a:lnTo>
                <a:lnTo>
                  <a:pt x="950366" y="310718"/>
                </a:lnTo>
                <a:lnTo>
                  <a:pt x="916952" y="327533"/>
                </a:lnTo>
                <a:lnTo>
                  <a:pt x="924712" y="343560"/>
                </a:lnTo>
                <a:lnTo>
                  <a:pt x="931849" y="359778"/>
                </a:lnTo>
                <a:lnTo>
                  <a:pt x="938377" y="376161"/>
                </a:lnTo>
                <a:lnTo>
                  <a:pt x="944295" y="392709"/>
                </a:lnTo>
                <a:lnTo>
                  <a:pt x="896556" y="385457"/>
                </a:lnTo>
                <a:lnTo>
                  <a:pt x="850734" y="371703"/>
                </a:lnTo>
                <a:lnTo>
                  <a:pt x="807377" y="351675"/>
                </a:lnTo>
                <a:lnTo>
                  <a:pt x="767041" y="325577"/>
                </a:lnTo>
                <a:lnTo>
                  <a:pt x="730300" y="293662"/>
                </a:lnTo>
                <a:lnTo>
                  <a:pt x="695490" y="259321"/>
                </a:lnTo>
                <a:lnTo>
                  <a:pt x="676224" y="246570"/>
                </a:lnTo>
                <a:lnTo>
                  <a:pt x="654253" y="242316"/>
                </a:lnTo>
                <a:lnTo>
                  <a:pt x="632282" y="246570"/>
                </a:lnTo>
                <a:lnTo>
                  <a:pt x="606082" y="263918"/>
                </a:lnTo>
                <a:lnTo>
                  <a:pt x="598182" y="265442"/>
                </a:lnTo>
                <a:lnTo>
                  <a:pt x="590283" y="263918"/>
                </a:lnTo>
                <a:lnTo>
                  <a:pt x="583349" y="259321"/>
                </a:lnTo>
                <a:lnTo>
                  <a:pt x="578675" y="254647"/>
                </a:lnTo>
                <a:lnTo>
                  <a:pt x="535343" y="225869"/>
                </a:lnTo>
                <a:lnTo>
                  <a:pt x="486041" y="216268"/>
                </a:lnTo>
                <a:lnTo>
                  <a:pt x="436753" y="225869"/>
                </a:lnTo>
                <a:lnTo>
                  <a:pt x="393407" y="254647"/>
                </a:lnTo>
                <a:lnTo>
                  <a:pt x="385127" y="261467"/>
                </a:lnTo>
                <a:lnTo>
                  <a:pt x="375869" y="266446"/>
                </a:lnTo>
                <a:lnTo>
                  <a:pt x="365848" y="269494"/>
                </a:lnTo>
                <a:lnTo>
                  <a:pt x="355333" y="270535"/>
                </a:lnTo>
                <a:lnTo>
                  <a:pt x="355333" y="307911"/>
                </a:lnTo>
                <a:lnTo>
                  <a:pt x="373265" y="306146"/>
                </a:lnTo>
                <a:lnTo>
                  <a:pt x="390321" y="300964"/>
                </a:lnTo>
                <a:lnTo>
                  <a:pt x="406057" y="292531"/>
                </a:lnTo>
                <a:lnTo>
                  <a:pt x="420052" y="281038"/>
                </a:lnTo>
                <a:lnTo>
                  <a:pt x="450989" y="260540"/>
                </a:lnTo>
                <a:lnTo>
                  <a:pt x="486283" y="253707"/>
                </a:lnTo>
                <a:lnTo>
                  <a:pt x="521563" y="260540"/>
                </a:lnTo>
                <a:lnTo>
                  <a:pt x="552513" y="281038"/>
                </a:lnTo>
                <a:lnTo>
                  <a:pt x="557187" y="285711"/>
                </a:lnTo>
                <a:lnTo>
                  <a:pt x="576440" y="298462"/>
                </a:lnTo>
                <a:lnTo>
                  <a:pt x="598411" y="302704"/>
                </a:lnTo>
                <a:lnTo>
                  <a:pt x="620395" y="298462"/>
                </a:lnTo>
                <a:lnTo>
                  <a:pt x="646582" y="281114"/>
                </a:lnTo>
                <a:lnTo>
                  <a:pt x="654481" y="279577"/>
                </a:lnTo>
                <a:lnTo>
                  <a:pt x="662381" y="281114"/>
                </a:lnTo>
                <a:lnTo>
                  <a:pt x="669315" y="285711"/>
                </a:lnTo>
                <a:lnTo>
                  <a:pt x="703656" y="320052"/>
                </a:lnTo>
                <a:lnTo>
                  <a:pt x="739241" y="351510"/>
                </a:lnTo>
                <a:lnTo>
                  <a:pt x="777938" y="377990"/>
                </a:lnTo>
                <a:lnTo>
                  <a:pt x="819327" y="399338"/>
                </a:lnTo>
                <a:lnTo>
                  <a:pt x="863003" y="415378"/>
                </a:lnTo>
                <a:lnTo>
                  <a:pt x="908545" y="425919"/>
                </a:lnTo>
                <a:lnTo>
                  <a:pt x="955509" y="430796"/>
                </a:lnTo>
                <a:lnTo>
                  <a:pt x="960932" y="454190"/>
                </a:lnTo>
                <a:lnTo>
                  <a:pt x="965314" y="477812"/>
                </a:lnTo>
                <a:lnTo>
                  <a:pt x="968641" y="501688"/>
                </a:lnTo>
                <a:lnTo>
                  <a:pt x="970927" y="525881"/>
                </a:lnTo>
                <a:lnTo>
                  <a:pt x="1008303" y="523303"/>
                </a:lnTo>
                <a:close/>
              </a:path>
              <a:path w="1009650" h="1123315">
                <a:moveTo>
                  <a:pt x="1009269" y="598081"/>
                </a:moveTo>
                <a:lnTo>
                  <a:pt x="1008164" y="590969"/>
                </a:lnTo>
                <a:lnTo>
                  <a:pt x="1004544" y="584771"/>
                </a:lnTo>
                <a:lnTo>
                  <a:pt x="998728" y="580313"/>
                </a:lnTo>
                <a:lnTo>
                  <a:pt x="933081" y="548728"/>
                </a:lnTo>
                <a:lnTo>
                  <a:pt x="933081" y="673290"/>
                </a:lnTo>
                <a:lnTo>
                  <a:pt x="746887" y="1060640"/>
                </a:lnTo>
                <a:lnTo>
                  <a:pt x="570090" y="975601"/>
                </a:lnTo>
                <a:lnTo>
                  <a:pt x="565721" y="973493"/>
                </a:lnTo>
                <a:lnTo>
                  <a:pt x="422376" y="904570"/>
                </a:lnTo>
                <a:lnTo>
                  <a:pt x="418884" y="900836"/>
                </a:lnTo>
                <a:lnTo>
                  <a:pt x="417245" y="895934"/>
                </a:lnTo>
                <a:lnTo>
                  <a:pt x="415607" y="891260"/>
                </a:lnTo>
                <a:lnTo>
                  <a:pt x="415836" y="886117"/>
                </a:lnTo>
                <a:lnTo>
                  <a:pt x="417944" y="881684"/>
                </a:lnTo>
                <a:lnTo>
                  <a:pt x="527215" y="654596"/>
                </a:lnTo>
                <a:lnTo>
                  <a:pt x="597598" y="508355"/>
                </a:lnTo>
                <a:lnTo>
                  <a:pt x="602043" y="512787"/>
                </a:lnTo>
                <a:lnTo>
                  <a:pt x="607174" y="516534"/>
                </a:lnTo>
                <a:lnTo>
                  <a:pt x="933081" y="673290"/>
                </a:lnTo>
                <a:lnTo>
                  <a:pt x="933081" y="548728"/>
                </a:lnTo>
                <a:lnTo>
                  <a:pt x="849210" y="508355"/>
                </a:lnTo>
                <a:lnTo>
                  <a:pt x="661847" y="418172"/>
                </a:lnTo>
                <a:lnTo>
                  <a:pt x="640308" y="412737"/>
                </a:lnTo>
                <a:lnTo>
                  <a:pt x="619036" y="415836"/>
                </a:lnTo>
                <a:lnTo>
                  <a:pt x="600468" y="426656"/>
                </a:lnTo>
                <a:lnTo>
                  <a:pt x="587082" y="444347"/>
                </a:lnTo>
                <a:lnTo>
                  <a:pt x="485927" y="654596"/>
                </a:lnTo>
                <a:lnTo>
                  <a:pt x="485927" y="543636"/>
                </a:lnTo>
                <a:lnTo>
                  <a:pt x="485927" y="468871"/>
                </a:lnTo>
                <a:lnTo>
                  <a:pt x="478586" y="432485"/>
                </a:lnTo>
                <a:lnTo>
                  <a:pt x="458558" y="402793"/>
                </a:lnTo>
                <a:lnTo>
                  <a:pt x="428866" y="382765"/>
                </a:lnTo>
                <a:lnTo>
                  <a:pt x="392480" y="375424"/>
                </a:lnTo>
                <a:lnTo>
                  <a:pt x="392480" y="1066939"/>
                </a:lnTo>
                <a:lnTo>
                  <a:pt x="391007" y="1074204"/>
                </a:lnTo>
                <a:lnTo>
                  <a:pt x="386994" y="1080147"/>
                </a:lnTo>
                <a:lnTo>
                  <a:pt x="381050" y="1084160"/>
                </a:lnTo>
                <a:lnTo>
                  <a:pt x="373786" y="1085634"/>
                </a:lnTo>
                <a:lnTo>
                  <a:pt x="366534" y="1084160"/>
                </a:lnTo>
                <a:lnTo>
                  <a:pt x="360591" y="1080147"/>
                </a:lnTo>
                <a:lnTo>
                  <a:pt x="356577" y="1074204"/>
                </a:lnTo>
                <a:lnTo>
                  <a:pt x="355104" y="1066939"/>
                </a:lnTo>
                <a:lnTo>
                  <a:pt x="356577" y="1059688"/>
                </a:lnTo>
                <a:lnTo>
                  <a:pt x="360591" y="1053744"/>
                </a:lnTo>
                <a:lnTo>
                  <a:pt x="366534" y="1049731"/>
                </a:lnTo>
                <a:lnTo>
                  <a:pt x="373786" y="1048258"/>
                </a:lnTo>
                <a:lnTo>
                  <a:pt x="381050" y="1049731"/>
                </a:lnTo>
                <a:lnTo>
                  <a:pt x="386994" y="1053744"/>
                </a:lnTo>
                <a:lnTo>
                  <a:pt x="391007" y="1059688"/>
                </a:lnTo>
                <a:lnTo>
                  <a:pt x="392480" y="1066939"/>
                </a:lnTo>
                <a:lnTo>
                  <a:pt x="392480" y="375424"/>
                </a:lnTo>
                <a:lnTo>
                  <a:pt x="373786" y="375424"/>
                </a:lnTo>
                <a:lnTo>
                  <a:pt x="373786" y="543636"/>
                </a:lnTo>
                <a:lnTo>
                  <a:pt x="373786" y="973493"/>
                </a:lnTo>
                <a:lnTo>
                  <a:pt x="336410" y="973493"/>
                </a:lnTo>
                <a:lnTo>
                  <a:pt x="336410" y="543636"/>
                </a:lnTo>
                <a:lnTo>
                  <a:pt x="373786" y="543636"/>
                </a:lnTo>
                <a:lnTo>
                  <a:pt x="373786" y="375424"/>
                </a:lnTo>
                <a:lnTo>
                  <a:pt x="317715" y="375424"/>
                </a:lnTo>
                <a:lnTo>
                  <a:pt x="317715" y="76390"/>
                </a:lnTo>
                <a:lnTo>
                  <a:pt x="311823" y="47358"/>
                </a:lnTo>
                <a:lnTo>
                  <a:pt x="306184" y="39014"/>
                </a:lnTo>
                <a:lnTo>
                  <a:pt x="295757" y="23596"/>
                </a:lnTo>
                <a:lnTo>
                  <a:pt x="280339" y="13182"/>
                </a:lnTo>
                <a:lnTo>
                  <a:pt x="280339" y="76390"/>
                </a:lnTo>
                <a:lnTo>
                  <a:pt x="280339" y="375424"/>
                </a:lnTo>
                <a:lnTo>
                  <a:pt x="261645" y="375424"/>
                </a:lnTo>
                <a:lnTo>
                  <a:pt x="261645" y="543636"/>
                </a:lnTo>
                <a:lnTo>
                  <a:pt x="261645" y="973493"/>
                </a:lnTo>
                <a:lnTo>
                  <a:pt x="224269" y="973493"/>
                </a:lnTo>
                <a:lnTo>
                  <a:pt x="224269" y="543636"/>
                </a:lnTo>
                <a:lnTo>
                  <a:pt x="261645" y="543636"/>
                </a:lnTo>
                <a:lnTo>
                  <a:pt x="261645" y="375424"/>
                </a:lnTo>
                <a:lnTo>
                  <a:pt x="205587" y="375424"/>
                </a:lnTo>
                <a:lnTo>
                  <a:pt x="205587" y="76390"/>
                </a:lnTo>
                <a:lnTo>
                  <a:pt x="208534" y="61874"/>
                </a:lnTo>
                <a:lnTo>
                  <a:pt x="216560" y="49987"/>
                </a:lnTo>
                <a:lnTo>
                  <a:pt x="228447" y="41960"/>
                </a:lnTo>
                <a:lnTo>
                  <a:pt x="242963" y="39014"/>
                </a:lnTo>
                <a:lnTo>
                  <a:pt x="257479" y="41960"/>
                </a:lnTo>
                <a:lnTo>
                  <a:pt x="269367" y="49987"/>
                </a:lnTo>
                <a:lnTo>
                  <a:pt x="277393" y="61874"/>
                </a:lnTo>
                <a:lnTo>
                  <a:pt x="280339" y="76390"/>
                </a:lnTo>
                <a:lnTo>
                  <a:pt x="280339" y="13182"/>
                </a:lnTo>
                <a:lnTo>
                  <a:pt x="271983" y="7531"/>
                </a:lnTo>
                <a:lnTo>
                  <a:pt x="242963" y="1625"/>
                </a:lnTo>
                <a:lnTo>
                  <a:pt x="213931" y="7531"/>
                </a:lnTo>
                <a:lnTo>
                  <a:pt x="190169" y="23596"/>
                </a:lnTo>
                <a:lnTo>
                  <a:pt x="174104" y="47358"/>
                </a:lnTo>
                <a:lnTo>
                  <a:pt x="168198" y="76390"/>
                </a:lnTo>
                <a:lnTo>
                  <a:pt x="168198" y="375424"/>
                </a:lnTo>
                <a:lnTo>
                  <a:pt x="149517" y="375424"/>
                </a:lnTo>
                <a:lnTo>
                  <a:pt x="149517" y="543636"/>
                </a:lnTo>
                <a:lnTo>
                  <a:pt x="149517" y="973493"/>
                </a:lnTo>
                <a:lnTo>
                  <a:pt x="130822" y="973493"/>
                </a:lnTo>
                <a:lnTo>
                  <a:pt x="130822" y="1066939"/>
                </a:lnTo>
                <a:lnTo>
                  <a:pt x="129349" y="1074204"/>
                </a:lnTo>
                <a:lnTo>
                  <a:pt x="125336" y="1080147"/>
                </a:lnTo>
                <a:lnTo>
                  <a:pt x="119392" y="1084160"/>
                </a:lnTo>
                <a:lnTo>
                  <a:pt x="112128" y="1085634"/>
                </a:lnTo>
                <a:lnTo>
                  <a:pt x="104876" y="1084160"/>
                </a:lnTo>
                <a:lnTo>
                  <a:pt x="98933" y="1080147"/>
                </a:lnTo>
                <a:lnTo>
                  <a:pt x="94919" y="1074204"/>
                </a:lnTo>
                <a:lnTo>
                  <a:pt x="93446" y="1066939"/>
                </a:lnTo>
                <a:lnTo>
                  <a:pt x="94919" y="1059688"/>
                </a:lnTo>
                <a:lnTo>
                  <a:pt x="130822" y="1066939"/>
                </a:lnTo>
                <a:lnTo>
                  <a:pt x="130822" y="973493"/>
                </a:lnTo>
                <a:lnTo>
                  <a:pt x="112128" y="973493"/>
                </a:lnTo>
                <a:lnTo>
                  <a:pt x="112128" y="543636"/>
                </a:lnTo>
                <a:lnTo>
                  <a:pt x="149517" y="543636"/>
                </a:lnTo>
                <a:lnTo>
                  <a:pt x="149517" y="375424"/>
                </a:lnTo>
                <a:lnTo>
                  <a:pt x="93446" y="375424"/>
                </a:lnTo>
                <a:lnTo>
                  <a:pt x="57061" y="382765"/>
                </a:lnTo>
                <a:lnTo>
                  <a:pt x="27355" y="402793"/>
                </a:lnTo>
                <a:lnTo>
                  <a:pt x="7340" y="432485"/>
                </a:lnTo>
                <a:lnTo>
                  <a:pt x="0" y="468871"/>
                </a:lnTo>
                <a:lnTo>
                  <a:pt x="0" y="954798"/>
                </a:lnTo>
                <a:lnTo>
                  <a:pt x="4572" y="983742"/>
                </a:lnTo>
                <a:lnTo>
                  <a:pt x="17348" y="1008976"/>
                </a:lnTo>
                <a:lnTo>
                  <a:pt x="36855" y="1029081"/>
                </a:lnTo>
                <a:lnTo>
                  <a:pt x="61671" y="1042644"/>
                </a:lnTo>
                <a:lnTo>
                  <a:pt x="58166" y="1049883"/>
                </a:lnTo>
                <a:lnTo>
                  <a:pt x="56070" y="1058303"/>
                </a:lnTo>
                <a:lnTo>
                  <a:pt x="56070" y="1066939"/>
                </a:lnTo>
                <a:lnTo>
                  <a:pt x="60490" y="1088707"/>
                </a:lnTo>
                <a:lnTo>
                  <a:pt x="72529" y="1106538"/>
                </a:lnTo>
                <a:lnTo>
                  <a:pt x="90360" y="1118590"/>
                </a:lnTo>
                <a:lnTo>
                  <a:pt x="112128" y="1123010"/>
                </a:lnTo>
                <a:lnTo>
                  <a:pt x="133908" y="1118590"/>
                </a:lnTo>
                <a:lnTo>
                  <a:pt x="151726" y="1106538"/>
                </a:lnTo>
                <a:lnTo>
                  <a:pt x="163779" y="1088707"/>
                </a:lnTo>
                <a:lnTo>
                  <a:pt x="164401" y="1085634"/>
                </a:lnTo>
                <a:lnTo>
                  <a:pt x="168198" y="1066939"/>
                </a:lnTo>
                <a:lnTo>
                  <a:pt x="168198" y="1060399"/>
                </a:lnTo>
                <a:lnTo>
                  <a:pt x="167030" y="1054087"/>
                </a:lnTo>
                <a:lnTo>
                  <a:pt x="164934" y="1048258"/>
                </a:lnTo>
                <a:lnTo>
                  <a:pt x="320992" y="1048258"/>
                </a:lnTo>
                <a:lnTo>
                  <a:pt x="318884" y="1054087"/>
                </a:lnTo>
                <a:lnTo>
                  <a:pt x="317715" y="1060399"/>
                </a:lnTo>
                <a:lnTo>
                  <a:pt x="317715" y="1066939"/>
                </a:lnTo>
                <a:lnTo>
                  <a:pt x="322148" y="1088707"/>
                </a:lnTo>
                <a:lnTo>
                  <a:pt x="334187" y="1106538"/>
                </a:lnTo>
                <a:lnTo>
                  <a:pt x="352018" y="1118590"/>
                </a:lnTo>
                <a:lnTo>
                  <a:pt x="373786" y="1123010"/>
                </a:lnTo>
                <a:lnTo>
                  <a:pt x="395554" y="1118590"/>
                </a:lnTo>
                <a:lnTo>
                  <a:pt x="413385" y="1106538"/>
                </a:lnTo>
                <a:lnTo>
                  <a:pt x="425437" y="1088707"/>
                </a:lnTo>
                <a:lnTo>
                  <a:pt x="426059" y="1085634"/>
                </a:lnTo>
                <a:lnTo>
                  <a:pt x="429856" y="1066939"/>
                </a:lnTo>
                <a:lnTo>
                  <a:pt x="429856" y="1058303"/>
                </a:lnTo>
                <a:lnTo>
                  <a:pt x="427761" y="1050124"/>
                </a:lnTo>
                <a:lnTo>
                  <a:pt x="426885" y="1048258"/>
                </a:lnTo>
                <a:lnTo>
                  <a:pt x="424256" y="1042644"/>
                </a:lnTo>
                <a:lnTo>
                  <a:pt x="445020" y="1032002"/>
                </a:lnTo>
                <a:lnTo>
                  <a:pt x="462330" y="1016749"/>
                </a:lnTo>
                <a:lnTo>
                  <a:pt x="475437" y="997673"/>
                </a:lnTo>
                <a:lnTo>
                  <a:pt x="483590" y="975601"/>
                </a:lnTo>
                <a:lnTo>
                  <a:pt x="747585" y="1102448"/>
                </a:lnTo>
                <a:lnTo>
                  <a:pt x="750150" y="1103617"/>
                </a:lnTo>
                <a:lnTo>
                  <a:pt x="752957" y="1104315"/>
                </a:lnTo>
                <a:lnTo>
                  <a:pt x="762774" y="1104315"/>
                </a:lnTo>
                <a:lnTo>
                  <a:pt x="769315" y="1100353"/>
                </a:lnTo>
                <a:lnTo>
                  <a:pt x="772579" y="1093812"/>
                </a:lnTo>
                <a:lnTo>
                  <a:pt x="788543" y="1060640"/>
                </a:lnTo>
                <a:lnTo>
                  <a:pt x="1007605" y="605307"/>
                </a:lnTo>
                <a:lnTo>
                  <a:pt x="1009269" y="598081"/>
                </a:lnTo>
                <a:close/>
              </a:path>
            </a:pathLst>
          </a:custGeom>
          <a:solidFill>
            <a:srgbClr val="21408B"/>
          </a:solidFill>
        </p:spPr>
        <p:txBody>
          <a:bodyPr wrap="square" lIns="0" tIns="0" rIns="0" bIns="0" rtlCol="0"/>
          <a:lstStyle/>
          <a:p>
            <a:endParaRPr/>
          </a:p>
        </p:txBody>
      </p:sp>
      <p:sp>
        <p:nvSpPr>
          <p:cNvPr id="28" name="object 28"/>
          <p:cNvSpPr/>
          <p:nvPr/>
        </p:nvSpPr>
        <p:spPr>
          <a:xfrm>
            <a:off x="4704961" y="6401653"/>
            <a:ext cx="256540" cy="487045"/>
          </a:xfrm>
          <a:custGeom>
            <a:avLst/>
            <a:gdLst/>
            <a:ahLst/>
            <a:cxnLst/>
            <a:rect l="l" t="t" r="r" b="b"/>
            <a:pathLst>
              <a:path w="256539" h="487045">
                <a:moveTo>
                  <a:pt x="201114" y="29489"/>
                </a:moveTo>
                <a:lnTo>
                  <a:pt x="51995" y="29489"/>
                </a:lnTo>
                <a:lnTo>
                  <a:pt x="45128" y="22608"/>
                </a:lnTo>
                <a:lnTo>
                  <a:pt x="45128" y="6880"/>
                </a:lnTo>
                <a:lnTo>
                  <a:pt x="51995" y="0"/>
                </a:lnTo>
                <a:lnTo>
                  <a:pt x="201114" y="0"/>
                </a:lnTo>
                <a:lnTo>
                  <a:pt x="207981" y="6880"/>
                </a:lnTo>
                <a:lnTo>
                  <a:pt x="207981" y="22608"/>
                </a:lnTo>
                <a:lnTo>
                  <a:pt x="201114" y="29489"/>
                </a:lnTo>
                <a:close/>
              </a:path>
              <a:path w="256539" h="487045">
                <a:moveTo>
                  <a:pt x="103009" y="131719"/>
                </a:moveTo>
                <a:lnTo>
                  <a:pt x="73578" y="131719"/>
                </a:lnTo>
                <a:lnTo>
                  <a:pt x="73578" y="29489"/>
                </a:lnTo>
                <a:lnTo>
                  <a:pt x="103009" y="29489"/>
                </a:lnTo>
                <a:lnTo>
                  <a:pt x="103009" y="131719"/>
                </a:lnTo>
                <a:close/>
              </a:path>
              <a:path w="256539" h="487045">
                <a:moveTo>
                  <a:pt x="69654" y="486575"/>
                </a:moveTo>
                <a:lnTo>
                  <a:pt x="52976" y="483134"/>
                </a:lnTo>
                <a:lnTo>
                  <a:pt x="39241" y="473796"/>
                </a:lnTo>
                <a:lnTo>
                  <a:pt x="29921" y="460034"/>
                </a:lnTo>
                <a:lnTo>
                  <a:pt x="26488" y="443324"/>
                </a:lnTo>
                <a:lnTo>
                  <a:pt x="26488" y="439392"/>
                </a:lnTo>
                <a:lnTo>
                  <a:pt x="15727" y="433555"/>
                </a:lnTo>
                <a:lnTo>
                  <a:pt x="7357" y="425138"/>
                </a:lnTo>
                <a:lnTo>
                  <a:pt x="1931" y="414510"/>
                </a:lnTo>
                <a:lnTo>
                  <a:pt x="0" y="402038"/>
                </a:lnTo>
                <a:lnTo>
                  <a:pt x="0" y="171038"/>
                </a:lnTo>
                <a:lnTo>
                  <a:pt x="3096" y="155771"/>
                </a:lnTo>
                <a:lnTo>
                  <a:pt x="11527" y="143269"/>
                </a:lnTo>
                <a:lnTo>
                  <a:pt x="24004" y="134821"/>
                </a:lnTo>
                <a:lnTo>
                  <a:pt x="39241" y="131719"/>
                </a:lnTo>
                <a:lnTo>
                  <a:pt x="151080" y="131719"/>
                </a:lnTo>
                <a:lnTo>
                  <a:pt x="151080" y="29489"/>
                </a:lnTo>
                <a:lnTo>
                  <a:pt x="179531" y="29489"/>
                </a:lnTo>
                <a:lnTo>
                  <a:pt x="179531" y="131719"/>
                </a:lnTo>
                <a:lnTo>
                  <a:pt x="213868" y="131719"/>
                </a:lnTo>
                <a:lnTo>
                  <a:pt x="229702" y="134837"/>
                </a:lnTo>
                <a:lnTo>
                  <a:pt x="242686" y="143392"/>
                </a:lnTo>
                <a:lnTo>
                  <a:pt x="251806" y="156186"/>
                </a:lnTo>
                <a:lnTo>
                  <a:pt x="256052" y="172021"/>
                </a:lnTo>
                <a:lnTo>
                  <a:pt x="256052" y="199544"/>
                </a:lnTo>
                <a:lnTo>
                  <a:pt x="70635" y="199544"/>
                </a:lnTo>
                <a:lnTo>
                  <a:pt x="64748" y="205442"/>
                </a:lnTo>
                <a:lnTo>
                  <a:pt x="64748" y="221170"/>
                </a:lnTo>
                <a:lnTo>
                  <a:pt x="70635" y="227068"/>
                </a:lnTo>
                <a:lnTo>
                  <a:pt x="256052" y="227068"/>
                </a:lnTo>
                <a:lnTo>
                  <a:pt x="256052" y="402038"/>
                </a:lnTo>
                <a:lnTo>
                  <a:pt x="254121" y="414510"/>
                </a:lnTo>
                <a:lnTo>
                  <a:pt x="248694" y="425138"/>
                </a:lnTo>
                <a:lnTo>
                  <a:pt x="246251" y="427596"/>
                </a:lnTo>
                <a:lnTo>
                  <a:pt x="59843" y="427596"/>
                </a:lnTo>
                <a:lnTo>
                  <a:pt x="51995" y="435460"/>
                </a:lnTo>
                <a:lnTo>
                  <a:pt x="51995" y="453153"/>
                </a:lnTo>
                <a:lnTo>
                  <a:pt x="59843" y="461017"/>
                </a:lnTo>
                <a:lnTo>
                  <a:pt x="108720" y="461017"/>
                </a:lnTo>
                <a:lnTo>
                  <a:pt x="100066" y="473796"/>
                </a:lnTo>
                <a:lnTo>
                  <a:pt x="86331" y="483134"/>
                </a:lnTo>
                <a:lnTo>
                  <a:pt x="69654" y="486575"/>
                </a:lnTo>
                <a:close/>
              </a:path>
              <a:path w="256539" h="487045">
                <a:moveTo>
                  <a:pt x="256052" y="227068"/>
                </a:moveTo>
                <a:lnTo>
                  <a:pt x="183455" y="227068"/>
                </a:lnTo>
                <a:lnTo>
                  <a:pt x="190322" y="221170"/>
                </a:lnTo>
                <a:lnTo>
                  <a:pt x="190322" y="205442"/>
                </a:lnTo>
                <a:lnTo>
                  <a:pt x="184436" y="199544"/>
                </a:lnTo>
                <a:lnTo>
                  <a:pt x="256052" y="199544"/>
                </a:lnTo>
                <a:lnTo>
                  <a:pt x="256052" y="227068"/>
                </a:lnTo>
                <a:close/>
              </a:path>
              <a:path w="256539" h="487045">
                <a:moveTo>
                  <a:pt x="108720" y="461017"/>
                </a:moveTo>
                <a:lnTo>
                  <a:pt x="77502" y="461017"/>
                </a:lnTo>
                <a:lnTo>
                  <a:pt x="85350" y="454136"/>
                </a:lnTo>
                <a:lnTo>
                  <a:pt x="85350" y="435460"/>
                </a:lnTo>
                <a:lnTo>
                  <a:pt x="77502" y="427596"/>
                </a:lnTo>
                <a:lnTo>
                  <a:pt x="176588" y="427596"/>
                </a:lnTo>
                <a:lnTo>
                  <a:pt x="168739" y="435460"/>
                </a:lnTo>
                <a:lnTo>
                  <a:pt x="168739" y="441358"/>
                </a:lnTo>
                <a:lnTo>
                  <a:pt x="112820" y="441358"/>
                </a:lnTo>
                <a:lnTo>
                  <a:pt x="112820" y="443324"/>
                </a:lnTo>
                <a:lnTo>
                  <a:pt x="109386" y="460034"/>
                </a:lnTo>
                <a:lnTo>
                  <a:pt x="108720" y="461017"/>
                </a:lnTo>
                <a:close/>
              </a:path>
              <a:path w="256539" h="487045">
                <a:moveTo>
                  <a:pt x="225465" y="461017"/>
                </a:moveTo>
                <a:lnTo>
                  <a:pt x="194246" y="461017"/>
                </a:lnTo>
                <a:lnTo>
                  <a:pt x="201114" y="454136"/>
                </a:lnTo>
                <a:lnTo>
                  <a:pt x="202095" y="444306"/>
                </a:lnTo>
                <a:lnTo>
                  <a:pt x="202095" y="435460"/>
                </a:lnTo>
                <a:lnTo>
                  <a:pt x="194246" y="427596"/>
                </a:lnTo>
                <a:lnTo>
                  <a:pt x="246251" y="427596"/>
                </a:lnTo>
                <a:lnTo>
                  <a:pt x="240325" y="433555"/>
                </a:lnTo>
                <a:lnTo>
                  <a:pt x="229564" y="439392"/>
                </a:lnTo>
                <a:lnTo>
                  <a:pt x="229564" y="443324"/>
                </a:lnTo>
                <a:lnTo>
                  <a:pt x="226130" y="460034"/>
                </a:lnTo>
                <a:lnTo>
                  <a:pt x="225465" y="461017"/>
                </a:lnTo>
                <a:close/>
              </a:path>
              <a:path w="256539" h="487045">
                <a:moveTo>
                  <a:pt x="186398" y="486575"/>
                </a:moveTo>
                <a:lnTo>
                  <a:pt x="169720" y="483134"/>
                </a:lnTo>
                <a:lnTo>
                  <a:pt x="155986" y="473796"/>
                </a:lnTo>
                <a:lnTo>
                  <a:pt x="146666" y="460034"/>
                </a:lnTo>
                <a:lnTo>
                  <a:pt x="143232" y="443324"/>
                </a:lnTo>
                <a:lnTo>
                  <a:pt x="143232" y="441358"/>
                </a:lnTo>
                <a:lnTo>
                  <a:pt x="168739" y="441358"/>
                </a:lnTo>
                <a:lnTo>
                  <a:pt x="168739" y="453153"/>
                </a:lnTo>
                <a:lnTo>
                  <a:pt x="176588" y="461017"/>
                </a:lnTo>
                <a:lnTo>
                  <a:pt x="225465" y="461017"/>
                </a:lnTo>
                <a:lnTo>
                  <a:pt x="216811" y="473796"/>
                </a:lnTo>
                <a:lnTo>
                  <a:pt x="203076" y="483134"/>
                </a:lnTo>
                <a:lnTo>
                  <a:pt x="186398" y="486575"/>
                </a:lnTo>
                <a:close/>
              </a:path>
            </a:pathLst>
          </a:custGeom>
          <a:solidFill>
            <a:srgbClr val="21408B"/>
          </a:solidFill>
        </p:spPr>
        <p:txBody>
          <a:bodyPr wrap="square" lIns="0" tIns="0" rIns="0" bIns="0" rtlCol="0"/>
          <a:lstStyle/>
          <a:p>
            <a:endParaRPr/>
          </a:p>
        </p:txBody>
      </p:sp>
      <p:grpSp>
        <p:nvGrpSpPr>
          <p:cNvPr id="29" name="object 29"/>
          <p:cNvGrpSpPr/>
          <p:nvPr/>
        </p:nvGrpSpPr>
        <p:grpSpPr>
          <a:xfrm>
            <a:off x="4241907" y="5955381"/>
            <a:ext cx="509270" cy="929005"/>
            <a:chOff x="4241907" y="5955381"/>
            <a:chExt cx="509270" cy="929005"/>
          </a:xfrm>
        </p:grpSpPr>
        <p:pic>
          <p:nvPicPr>
            <p:cNvPr id="30" name="object 30"/>
            <p:cNvPicPr/>
            <p:nvPr/>
          </p:nvPicPr>
          <p:blipFill>
            <a:blip r:embed="rId3" cstate="print"/>
            <a:stretch>
              <a:fillRect/>
            </a:stretch>
          </p:blipFill>
          <p:spPr>
            <a:xfrm>
              <a:off x="4397893" y="5955381"/>
              <a:ext cx="192284" cy="192664"/>
            </a:xfrm>
            <a:prstGeom prst="rect">
              <a:avLst/>
            </a:prstGeom>
          </p:spPr>
        </p:pic>
        <p:sp>
          <p:nvSpPr>
            <p:cNvPr id="31" name="object 31"/>
            <p:cNvSpPr/>
            <p:nvPr/>
          </p:nvSpPr>
          <p:spPr>
            <a:xfrm>
              <a:off x="4241907" y="6171636"/>
              <a:ext cx="509270" cy="713105"/>
            </a:xfrm>
            <a:custGeom>
              <a:avLst/>
              <a:gdLst/>
              <a:ahLst/>
              <a:cxnLst/>
              <a:rect l="l" t="t" r="r" b="b"/>
              <a:pathLst>
                <a:path w="509270" h="713104">
                  <a:moveTo>
                    <a:pt x="285603" y="65859"/>
                  </a:moveTo>
                  <a:lnTo>
                    <a:pt x="120668" y="65859"/>
                  </a:lnTo>
                  <a:lnTo>
                    <a:pt x="121649" y="63893"/>
                  </a:lnTo>
                  <a:lnTo>
                    <a:pt x="123611" y="61927"/>
                  </a:lnTo>
                  <a:lnTo>
                    <a:pt x="124592" y="59961"/>
                  </a:lnTo>
                  <a:lnTo>
                    <a:pt x="139829" y="35249"/>
                  </a:lnTo>
                  <a:lnTo>
                    <a:pt x="154514" y="16342"/>
                  </a:lnTo>
                  <a:lnTo>
                    <a:pt x="170671" y="4254"/>
                  </a:lnTo>
                  <a:lnTo>
                    <a:pt x="190322" y="0"/>
                  </a:lnTo>
                  <a:lnTo>
                    <a:pt x="313934" y="0"/>
                  </a:lnTo>
                  <a:lnTo>
                    <a:pt x="329937" y="2687"/>
                  </a:lnTo>
                  <a:lnTo>
                    <a:pt x="343365" y="10444"/>
                  </a:lnTo>
                  <a:lnTo>
                    <a:pt x="355322" y="22808"/>
                  </a:lnTo>
                  <a:lnTo>
                    <a:pt x="366910" y="39319"/>
                  </a:lnTo>
                  <a:lnTo>
                    <a:pt x="428716" y="47183"/>
                  </a:lnTo>
                  <a:lnTo>
                    <a:pt x="435584" y="48165"/>
                  </a:lnTo>
                  <a:lnTo>
                    <a:pt x="440489" y="53080"/>
                  </a:lnTo>
                  <a:lnTo>
                    <a:pt x="441470" y="59961"/>
                  </a:lnTo>
                  <a:lnTo>
                    <a:pt x="441695" y="61927"/>
                  </a:lnTo>
                  <a:lnTo>
                    <a:pt x="316877" y="61927"/>
                  </a:lnTo>
                  <a:lnTo>
                    <a:pt x="317197" y="64876"/>
                  </a:lnTo>
                  <a:lnTo>
                    <a:pt x="288427" y="64876"/>
                  </a:lnTo>
                  <a:lnTo>
                    <a:pt x="285603" y="65859"/>
                  </a:lnTo>
                  <a:close/>
                </a:path>
                <a:path w="509270" h="713104">
                  <a:moveTo>
                    <a:pt x="46109" y="245745"/>
                  </a:moveTo>
                  <a:lnTo>
                    <a:pt x="40222" y="245745"/>
                  </a:lnTo>
                  <a:lnTo>
                    <a:pt x="31454" y="244823"/>
                  </a:lnTo>
                  <a:lnTo>
                    <a:pt x="1471" y="217131"/>
                  </a:lnTo>
                  <a:lnTo>
                    <a:pt x="0" y="201879"/>
                  </a:lnTo>
                  <a:lnTo>
                    <a:pt x="4414" y="187180"/>
                  </a:lnTo>
                  <a:lnTo>
                    <a:pt x="14715" y="174970"/>
                  </a:lnTo>
                  <a:lnTo>
                    <a:pt x="48071" y="148429"/>
                  </a:lnTo>
                  <a:lnTo>
                    <a:pt x="40222" y="73723"/>
                  </a:lnTo>
                  <a:lnTo>
                    <a:pt x="39241" y="69791"/>
                  </a:lnTo>
                  <a:lnTo>
                    <a:pt x="41203" y="64876"/>
                  </a:lnTo>
                  <a:lnTo>
                    <a:pt x="47090" y="58978"/>
                  </a:lnTo>
                  <a:lnTo>
                    <a:pt x="51995" y="57995"/>
                  </a:lnTo>
                  <a:lnTo>
                    <a:pt x="55919" y="57995"/>
                  </a:lnTo>
                  <a:lnTo>
                    <a:pt x="120668" y="65859"/>
                  </a:lnTo>
                  <a:lnTo>
                    <a:pt x="285603" y="65859"/>
                  </a:lnTo>
                  <a:lnTo>
                    <a:pt x="217821" y="89451"/>
                  </a:lnTo>
                  <a:lnTo>
                    <a:pt x="69654" y="89451"/>
                  </a:lnTo>
                  <a:lnTo>
                    <a:pt x="86076" y="240830"/>
                  </a:lnTo>
                  <a:lnTo>
                    <a:pt x="58862" y="240830"/>
                  </a:lnTo>
                  <a:lnTo>
                    <a:pt x="52976" y="243779"/>
                  </a:lnTo>
                  <a:lnTo>
                    <a:pt x="46109" y="245745"/>
                  </a:lnTo>
                  <a:close/>
                </a:path>
                <a:path w="509270" h="713104">
                  <a:moveTo>
                    <a:pt x="467362" y="299808"/>
                  </a:moveTo>
                  <a:lnTo>
                    <a:pt x="438527" y="299808"/>
                  </a:lnTo>
                  <a:lnTo>
                    <a:pt x="414001" y="73723"/>
                  </a:lnTo>
                  <a:lnTo>
                    <a:pt x="316877" y="61927"/>
                  </a:lnTo>
                  <a:lnTo>
                    <a:pt x="441695" y="61927"/>
                  </a:lnTo>
                  <a:lnTo>
                    <a:pt x="448337" y="119923"/>
                  </a:lnTo>
                  <a:lnTo>
                    <a:pt x="479731" y="127787"/>
                  </a:lnTo>
                  <a:lnTo>
                    <a:pt x="494109" y="134913"/>
                  </a:lnTo>
                  <a:lnTo>
                    <a:pt x="504257" y="146463"/>
                  </a:lnTo>
                  <a:lnTo>
                    <a:pt x="509254" y="160962"/>
                  </a:lnTo>
                  <a:lnTo>
                    <a:pt x="508181" y="176936"/>
                  </a:lnTo>
                  <a:lnTo>
                    <a:pt x="501068" y="191343"/>
                  </a:lnTo>
                  <a:lnTo>
                    <a:pt x="489541" y="201510"/>
                  </a:lnTo>
                  <a:lnTo>
                    <a:pt x="481019" y="204459"/>
                  </a:lnTo>
                  <a:lnTo>
                    <a:pt x="457167" y="204459"/>
                  </a:lnTo>
                  <a:lnTo>
                    <a:pt x="467362" y="299808"/>
                  </a:lnTo>
                  <a:close/>
                </a:path>
                <a:path w="509270" h="713104">
                  <a:moveTo>
                    <a:pt x="346210" y="323400"/>
                  </a:moveTo>
                  <a:lnTo>
                    <a:pt x="219754" y="323400"/>
                  </a:lnTo>
                  <a:lnTo>
                    <a:pt x="312953" y="290962"/>
                  </a:lnTo>
                  <a:lnTo>
                    <a:pt x="288427" y="64876"/>
                  </a:lnTo>
                  <a:lnTo>
                    <a:pt x="317197" y="64876"/>
                  </a:lnTo>
                  <a:lnTo>
                    <a:pt x="341403" y="288013"/>
                  </a:lnTo>
                  <a:lnTo>
                    <a:pt x="438527" y="299808"/>
                  </a:lnTo>
                  <a:lnTo>
                    <a:pt x="467362" y="299808"/>
                  </a:lnTo>
                  <a:lnTo>
                    <a:pt x="468939" y="314553"/>
                  </a:lnTo>
                  <a:lnTo>
                    <a:pt x="469430" y="316519"/>
                  </a:lnTo>
                  <a:lnTo>
                    <a:pt x="345327" y="316519"/>
                  </a:lnTo>
                  <a:lnTo>
                    <a:pt x="346210" y="323400"/>
                  </a:lnTo>
                  <a:close/>
                </a:path>
                <a:path w="509270" h="713104">
                  <a:moveTo>
                    <a:pt x="346715" y="327332"/>
                  </a:moveTo>
                  <a:lnTo>
                    <a:pt x="191303" y="327332"/>
                  </a:lnTo>
                  <a:lnTo>
                    <a:pt x="166777" y="101246"/>
                  </a:lnTo>
                  <a:lnTo>
                    <a:pt x="69654" y="89451"/>
                  </a:lnTo>
                  <a:lnTo>
                    <a:pt x="217821" y="89451"/>
                  </a:lnTo>
                  <a:lnTo>
                    <a:pt x="195228" y="97315"/>
                  </a:lnTo>
                  <a:lnTo>
                    <a:pt x="219754" y="323400"/>
                  </a:lnTo>
                  <a:lnTo>
                    <a:pt x="346210" y="323400"/>
                  </a:lnTo>
                  <a:lnTo>
                    <a:pt x="346715" y="327332"/>
                  </a:lnTo>
                  <a:close/>
                </a:path>
                <a:path w="509270" h="713104">
                  <a:moveTo>
                    <a:pt x="475071" y="206517"/>
                  </a:moveTo>
                  <a:lnTo>
                    <a:pt x="459129" y="205442"/>
                  </a:lnTo>
                  <a:lnTo>
                    <a:pt x="457167" y="204459"/>
                  </a:lnTo>
                  <a:lnTo>
                    <a:pt x="481019" y="204459"/>
                  </a:lnTo>
                  <a:lnTo>
                    <a:pt x="475071" y="206517"/>
                  </a:lnTo>
                  <a:close/>
                </a:path>
                <a:path w="509270" h="713104">
                  <a:moveTo>
                    <a:pt x="166777" y="712660"/>
                  </a:moveTo>
                  <a:lnTo>
                    <a:pt x="160891" y="712660"/>
                  </a:lnTo>
                  <a:lnTo>
                    <a:pt x="143431" y="706455"/>
                  </a:lnTo>
                  <a:lnTo>
                    <a:pt x="130111" y="694721"/>
                  </a:lnTo>
                  <a:lnTo>
                    <a:pt x="122124" y="678931"/>
                  </a:lnTo>
                  <a:lnTo>
                    <a:pt x="120668" y="660562"/>
                  </a:lnTo>
                  <a:lnTo>
                    <a:pt x="159910" y="350923"/>
                  </a:lnTo>
                  <a:lnTo>
                    <a:pt x="81426" y="341094"/>
                  </a:lnTo>
                  <a:lnTo>
                    <a:pt x="74559" y="340111"/>
                  </a:lnTo>
                  <a:lnTo>
                    <a:pt x="69654" y="335196"/>
                  </a:lnTo>
                  <a:lnTo>
                    <a:pt x="68673" y="328315"/>
                  </a:lnTo>
                  <a:lnTo>
                    <a:pt x="58862" y="240830"/>
                  </a:lnTo>
                  <a:lnTo>
                    <a:pt x="86076" y="240830"/>
                  </a:lnTo>
                  <a:lnTo>
                    <a:pt x="94180" y="315536"/>
                  </a:lnTo>
                  <a:lnTo>
                    <a:pt x="191303" y="327332"/>
                  </a:lnTo>
                  <a:lnTo>
                    <a:pt x="346715" y="327332"/>
                  </a:lnTo>
                  <a:lnTo>
                    <a:pt x="348607" y="342077"/>
                  </a:lnTo>
                  <a:lnTo>
                    <a:pt x="255071" y="342077"/>
                  </a:lnTo>
                  <a:lnTo>
                    <a:pt x="212886" y="672358"/>
                  </a:lnTo>
                  <a:lnTo>
                    <a:pt x="207613" y="688608"/>
                  </a:lnTo>
                  <a:lnTo>
                    <a:pt x="197190" y="701356"/>
                  </a:lnTo>
                  <a:lnTo>
                    <a:pt x="183087" y="709680"/>
                  </a:lnTo>
                  <a:lnTo>
                    <a:pt x="166777" y="712660"/>
                  </a:lnTo>
                  <a:close/>
                </a:path>
                <a:path w="509270" h="713104">
                  <a:moveTo>
                    <a:pt x="462072" y="330281"/>
                  </a:moveTo>
                  <a:lnTo>
                    <a:pt x="456186" y="330281"/>
                  </a:lnTo>
                  <a:lnTo>
                    <a:pt x="345327" y="316519"/>
                  </a:lnTo>
                  <a:lnTo>
                    <a:pt x="469430" y="316519"/>
                  </a:lnTo>
                  <a:lnTo>
                    <a:pt x="469920" y="318485"/>
                  </a:lnTo>
                  <a:lnTo>
                    <a:pt x="467958" y="323400"/>
                  </a:lnTo>
                  <a:lnTo>
                    <a:pt x="467958" y="326349"/>
                  </a:lnTo>
                  <a:lnTo>
                    <a:pt x="462072" y="330281"/>
                  </a:lnTo>
                  <a:close/>
                </a:path>
                <a:path w="509270" h="713104">
                  <a:moveTo>
                    <a:pt x="349252" y="712660"/>
                  </a:moveTo>
                  <a:lnTo>
                    <a:pt x="343365" y="712660"/>
                  </a:lnTo>
                  <a:lnTo>
                    <a:pt x="326642" y="709680"/>
                  </a:lnTo>
                  <a:lnTo>
                    <a:pt x="312585" y="701356"/>
                  </a:lnTo>
                  <a:lnTo>
                    <a:pt x="302391" y="688608"/>
                  </a:lnTo>
                  <a:lnTo>
                    <a:pt x="297256" y="672358"/>
                  </a:lnTo>
                  <a:lnTo>
                    <a:pt x="256052" y="342077"/>
                  </a:lnTo>
                  <a:lnTo>
                    <a:pt x="348607" y="342077"/>
                  </a:lnTo>
                  <a:lnTo>
                    <a:pt x="389474" y="660562"/>
                  </a:lnTo>
                  <a:lnTo>
                    <a:pt x="388018" y="679070"/>
                  </a:lnTo>
                  <a:lnTo>
                    <a:pt x="380032" y="695089"/>
                  </a:lnTo>
                  <a:lnTo>
                    <a:pt x="366711" y="706870"/>
                  </a:lnTo>
                  <a:lnTo>
                    <a:pt x="349252" y="712660"/>
                  </a:lnTo>
                  <a:close/>
                </a:path>
              </a:pathLst>
            </a:custGeom>
            <a:solidFill>
              <a:srgbClr val="21408B"/>
            </a:solidFill>
          </p:spPr>
          <p:txBody>
            <a:bodyPr wrap="square" lIns="0" tIns="0" rIns="0" bIns="0" rtlCol="0"/>
            <a:lstStyle/>
            <a:p>
              <a:endParaRPr/>
            </a:p>
          </p:txBody>
        </p:sp>
      </p:grpSp>
      <p:sp>
        <p:nvSpPr>
          <p:cNvPr id="32" name="object 32"/>
          <p:cNvSpPr/>
          <p:nvPr/>
        </p:nvSpPr>
        <p:spPr>
          <a:xfrm>
            <a:off x="15201868" y="6123894"/>
            <a:ext cx="271145" cy="360680"/>
          </a:xfrm>
          <a:custGeom>
            <a:avLst/>
            <a:gdLst/>
            <a:ahLst/>
            <a:cxnLst/>
            <a:rect l="l" t="t" r="r" b="b"/>
            <a:pathLst>
              <a:path w="271144" h="360679">
                <a:moveTo>
                  <a:pt x="255377" y="360263"/>
                </a:moveTo>
                <a:lnTo>
                  <a:pt x="246685" y="360263"/>
                </a:lnTo>
                <a:lnTo>
                  <a:pt x="239994" y="354647"/>
                </a:lnTo>
                <a:lnTo>
                  <a:pt x="228641" y="275630"/>
                </a:lnTo>
                <a:lnTo>
                  <a:pt x="151244" y="282365"/>
                </a:lnTo>
                <a:lnTo>
                  <a:pt x="140854" y="354647"/>
                </a:lnTo>
                <a:lnTo>
                  <a:pt x="134163" y="360263"/>
                </a:lnTo>
                <a:lnTo>
                  <a:pt x="126510" y="360263"/>
                </a:lnTo>
                <a:lnTo>
                  <a:pt x="124457" y="360162"/>
                </a:lnTo>
                <a:lnTo>
                  <a:pt x="115182" y="358357"/>
                </a:lnTo>
                <a:lnTo>
                  <a:pt x="109860" y="350250"/>
                </a:lnTo>
                <a:lnTo>
                  <a:pt x="119515" y="283178"/>
                </a:lnTo>
                <a:lnTo>
                  <a:pt x="88555" y="274450"/>
                </a:lnTo>
                <a:lnTo>
                  <a:pt x="62206" y="256638"/>
                </a:lnTo>
                <a:lnTo>
                  <a:pt x="42591" y="231383"/>
                </a:lnTo>
                <a:lnTo>
                  <a:pt x="31830" y="200324"/>
                </a:lnTo>
                <a:lnTo>
                  <a:pt x="0" y="10979"/>
                </a:lnTo>
                <a:lnTo>
                  <a:pt x="5752" y="2871"/>
                </a:lnTo>
                <a:lnTo>
                  <a:pt x="22783" y="0"/>
                </a:lnTo>
                <a:lnTo>
                  <a:pt x="30867" y="5769"/>
                </a:lnTo>
                <a:lnTo>
                  <a:pt x="62697" y="195088"/>
                </a:lnTo>
                <a:lnTo>
                  <a:pt x="71689" y="219219"/>
                </a:lnTo>
                <a:lnTo>
                  <a:pt x="88388" y="237907"/>
                </a:lnTo>
                <a:lnTo>
                  <a:pt x="110609" y="249457"/>
                </a:lnTo>
                <a:lnTo>
                  <a:pt x="136165" y="252172"/>
                </a:lnTo>
                <a:lnTo>
                  <a:pt x="257531" y="241624"/>
                </a:lnTo>
                <a:lnTo>
                  <a:pt x="260243" y="272885"/>
                </a:lnTo>
                <a:lnTo>
                  <a:pt x="259863" y="272936"/>
                </a:lnTo>
                <a:lnTo>
                  <a:pt x="270988" y="350250"/>
                </a:lnTo>
                <a:lnTo>
                  <a:pt x="265666" y="358357"/>
                </a:lnTo>
                <a:lnTo>
                  <a:pt x="257430" y="359958"/>
                </a:lnTo>
                <a:lnTo>
                  <a:pt x="255377" y="360263"/>
                </a:lnTo>
                <a:close/>
              </a:path>
            </a:pathLst>
          </a:custGeom>
          <a:solidFill>
            <a:srgbClr val="21408B"/>
          </a:solidFill>
        </p:spPr>
        <p:txBody>
          <a:bodyPr wrap="square" lIns="0" tIns="0" rIns="0" bIns="0" rtlCol="0"/>
          <a:lstStyle/>
          <a:p>
            <a:endParaRPr/>
          </a:p>
        </p:txBody>
      </p:sp>
      <p:grpSp>
        <p:nvGrpSpPr>
          <p:cNvPr id="33" name="object 33"/>
          <p:cNvGrpSpPr/>
          <p:nvPr/>
        </p:nvGrpSpPr>
        <p:grpSpPr>
          <a:xfrm>
            <a:off x="15272954" y="5933837"/>
            <a:ext cx="285115" cy="520065"/>
            <a:chOff x="15272954" y="5933837"/>
            <a:chExt cx="285115" cy="520065"/>
          </a:xfrm>
        </p:grpSpPr>
        <p:pic>
          <p:nvPicPr>
            <p:cNvPr id="34" name="object 34"/>
            <p:cNvPicPr/>
            <p:nvPr/>
          </p:nvPicPr>
          <p:blipFill>
            <a:blip r:embed="rId4" cstate="print"/>
            <a:stretch>
              <a:fillRect/>
            </a:stretch>
          </p:blipFill>
          <p:spPr>
            <a:xfrm>
              <a:off x="15309221" y="5933837"/>
              <a:ext cx="109682" cy="109998"/>
            </a:xfrm>
            <a:prstGeom prst="rect">
              <a:avLst/>
            </a:prstGeom>
          </p:spPr>
        </p:pic>
        <p:sp>
          <p:nvSpPr>
            <p:cNvPr id="35" name="object 35"/>
            <p:cNvSpPr/>
            <p:nvPr/>
          </p:nvSpPr>
          <p:spPr>
            <a:xfrm>
              <a:off x="15272954" y="6068945"/>
              <a:ext cx="285115" cy="384810"/>
            </a:xfrm>
            <a:custGeom>
              <a:avLst/>
              <a:gdLst/>
              <a:ahLst/>
              <a:cxnLst/>
              <a:rect l="l" t="t" r="r" b="b"/>
              <a:pathLst>
                <a:path w="285115" h="384810">
                  <a:moveTo>
                    <a:pt x="257085" y="384701"/>
                  </a:moveTo>
                  <a:lnTo>
                    <a:pt x="248162" y="381959"/>
                  </a:lnTo>
                  <a:lnTo>
                    <a:pt x="240826" y="376191"/>
                  </a:lnTo>
                  <a:lnTo>
                    <a:pt x="235966" y="367914"/>
                  </a:lnTo>
                  <a:lnTo>
                    <a:pt x="201069" y="268565"/>
                  </a:lnTo>
                  <a:lnTo>
                    <a:pt x="58365" y="278832"/>
                  </a:lnTo>
                  <a:lnTo>
                    <a:pt x="21277" y="251822"/>
                  </a:lnTo>
                  <a:lnTo>
                    <a:pt x="9057" y="206474"/>
                  </a:lnTo>
                  <a:lnTo>
                    <a:pt x="0" y="132755"/>
                  </a:lnTo>
                  <a:lnTo>
                    <a:pt x="1420" y="95714"/>
                  </a:lnTo>
                  <a:lnTo>
                    <a:pt x="7286" y="62402"/>
                  </a:lnTo>
                  <a:lnTo>
                    <a:pt x="20253" y="28185"/>
                  </a:lnTo>
                  <a:lnTo>
                    <a:pt x="42557" y="3804"/>
                  </a:lnTo>
                  <a:lnTo>
                    <a:pt x="76434" y="0"/>
                  </a:lnTo>
                  <a:lnTo>
                    <a:pt x="93031" y="8419"/>
                  </a:lnTo>
                  <a:lnTo>
                    <a:pt x="103231" y="22086"/>
                  </a:lnTo>
                  <a:lnTo>
                    <a:pt x="109339" y="38935"/>
                  </a:lnTo>
                  <a:lnTo>
                    <a:pt x="121468" y="90097"/>
                  </a:lnTo>
                  <a:lnTo>
                    <a:pt x="181150" y="97417"/>
                  </a:lnTo>
                  <a:lnTo>
                    <a:pt x="190451" y="97417"/>
                  </a:lnTo>
                  <a:lnTo>
                    <a:pt x="198003" y="104965"/>
                  </a:lnTo>
                  <a:lnTo>
                    <a:pt x="198003" y="123646"/>
                  </a:lnTo>
                  <a:lnTo>
                    <a:pt x="190451" y="131219"/>
                  </a:lnTo>
                  <a:lnTo>
                    <a:pt x="100814" y="131219"/>
                  </a:lnTo>
                  <a:lnTo>
                    <a:pt x="100891" y="144684"/>
                  </a:lnTo>
                  <a:lnTo>
                    <a:pt x="101416" y="158840"/>
                  </a:lnTo>
                  <a:lnTo>
                    <a:pt x="102425" y="173672"/>
                  </a:lnTo>
                  <a:lnTo>
                    <a:pt x="103956" y="189167"/>
                  </a:lnTo>
                  <a:lnTo>
                    <a:pt x="217947" y="197350"/>
                  </a:lnTo>
                  <a:lnTo>
                    <a:pt x="228619" y="199838"/>
                  </a:lnTo>
                  <a:lnTo>
                    <a:pt x="284168" y="352588"/>
                  </a:lnTo>
                  <a:lnTo>
                    <a:pt x="284932" y="362627"/>
                  </a:lnTo>
                  <a:lnTo>
                    <a:pt x="281899" y="371866"/>
                  </a:lnTo>
                  <a:lnTo>
                    <a:pt x="275636" y="379293"/>
                  </a:lnTo>
                  <a:lnTo>
                    <a:pt x="266707" y="383900"/>
                  </a:lnTo>
                  <a:lnTo>
                    <a:pt x="257085" y="384701"/>
                  </a:lnTo>
                  <a:close/>
                </a:path>
              </a:pathLst>
            </a:custGeom>
            <a:solidFill>
              <a:srgbClr val="21408B"/>
            </a:solidFill>
          </p:spPr>
          <p:txBody>
            <a:bodyPr wrap="square" lIns="0" tIns="0" rIns="0" bIns="0" rtlCol="0"/>
            <a:lstStyle/>
            <a:p>
              <a:endParaRPr/>
            </a:p>
          </p:txBody>
        </p:sp>
      </p:grpSp>
      <p:sp>
        <p:nvSpPr>
          <p:cNvPr id="36" name="object 36"/>
          <p:cNvSpPr/>
          <p:nvPr/>
        </p:nvSpPr>
        <p:spPr>
          <a:xfrm>
            <a:off x="15682948" y="6123894"/>
            <a:ext cx="271145" cy="360680"/>
          </a:xfrm>
          <a:custGeom>
            <a:avLst/>
            <a:gdLst/>
            <a:ahLst/>
            <a:cxnLst/>
            <a:rect l="l" t="t" r="r" b="b"/>
            <a:pathLst>
              <a:path w="271144" h="360679">
                <a:moveTo>
                  <a:pt x="145492" y="360263"/>
                </a:moveTo>
                <a:lnTo>
                  <a:pt x="136824" y="360263"/>
                </a:lnTo>
                <a:lnTo>
                  <a:pt x="130134" y="354647"/>
                </a:lnTo>
                <a:lnTo>
                  <a:pt x="119718" y="282365"/>
                </a:lnTo>
                <a:lnTo>
                  <a:pt x="42347" y="275630"/>
                </a:lnTo>
                <a:lnTo>
                  <a:pt x="30994" y="354647"/>
                </a:lnTo>
                <a:lnTo>
                  <a:pt x="24303" y="360263"/>
                </a:lnTo>
                <a:lnTo>
                  <a:pt x="16650" y="360263"/>
                </a:lnTo>
                <a:lnTo>
                  <a:pt x="14572" y="360162"/>
                </a:lnTo>
                <a:lnTo>
                  <a:pt x="5321" y="358357"/>
                </a:lnTo>
                <a:lnTo>
                  <a:pt x="0" y="350250"/>
                </a:lnTo>
                <a:lnTo>
                  <a:pt x="11100" y="272936"/>
                </a:lnTo>
                <a:lnTo>
                  <a:pt x="10770" y="272885"/>
                </a:lnTo>
                <a:lnTo>
                  <a:pt x="13456" y="241624"/>
                </a:lnTo>
                <a:lnTo>
                  <a:pt x="134822" y="252172"/>
                </a:lnTo>
                <a:lnTo>
                  <a:pt x="160379" y="249457"/>
                </a:lnTo>
                <a:lnTo>
                  <a:pt x="182599" y="237907"/>
                </a:lnTo>
                <a:lnTo>
                  <a:pt x="199299" y="219219"/>
                </a:lnTo>
                <a:lnTo>
                  <a:pt x="208291" y="195088"/>
                </a:lnTo>
                <a:lnTo>
                  <a:pt x="240121" y="5769"/>
                </a:lnTo>
                <a:lnTo>
                  <a:pt x="248180" y="0"/>
                </a:lnTo>
                <a:lnTo>
                  <a:pt x="256720" y="1448"/>
                </a:lnTo>
                <a:lnTo>
                  <a:pt x="265235" y="2871"/>
                </a:lnTo>
                <a:lnTo>
                  <a:pt x="270988" y="10979"/>
                </a:lnTo>
                <a:lnTo>
                  <a:pt x="239158" y="200324"/>
                </a:lnTo>
                <a:lnTo>
                  <a:pt x="208782" y="256638"/>
                </a:lnTo>
                <a:lnTo>
                  <a:pt x="151472" y="283178"/>
                </a:lnTo>
                <a:lnTo>
                  <a:pt x="161103" y="350250"/>
                </a:lnTo>
                <a:lnTo>
                  <a:pt x="155781" y="358357"/>
                </a:lnTo>
                <a:lnTo>
                  <a:pt x="147570" y="359958"/>
                </a:lnTo>
                <a:lnTo>
                  <a:pt x="145492" y="360263"/>
                </a:lnTo>
                <a:close/>
              </a:path>
            </a:pathLst>
          </a:custGeom>
          <a:solidFill>
            <a:srgbClr val="21408B"/>
          </a:solidFill>
        </p:spPr>
        <p:txBody>
          <a:bodyPr wrap="square" lIns="0" tIns="0" rIns="0" bIns="0" rtlCol="0"/>
          <a:lstStyle/>
          <a:p>
            <a:endParaRPr/>
          </a:p>
        </p:txBody>
      </p:sp>
      <p:grpSp>
        <p:nvGrpSpPr>
          <p:cNvPr id="37" name="object 37"/>
          <p:cNvGrpSpPr/>
          <p:nvPr/>
        </p:nvGrpSpPr>
        <p:grpSpPr>
          <a:xfrm>
            <a:off x="15416141" y="5669030"/>
            <a:ext cx="466725" cy="784860"/>
            <a:chOff x="15416141" y="5669030"/>
            <a:chExt cx="466725" cy="784860"/>
          </a:xfrm>
        </p:grpSpPr>
        <p:pic>
          <p:nvPicPr>
            <p:cNvPr id="38" name="object 38"/>
            <p:cNvPicPr/>
            <p:nvPr/>
          </p:nvPicPr>
          <p:blipFill>
            <a:blip r:embed="rId4" cstate="print"/>
            <a:stretch>
              <a:fillRect/>
            </a:stretch>
          </p:blipFill>
          <p:spPr>
            <a:xfrm>
              <a:off x="15736902" y="5933837"/>
              <a:ext cx="109682" cy="109998"/>
            </a:xfrm>
            <a:prstGeom prst="rect">
              <a:avLst/>
            </a:prstGeom>
          </p:spPr>
        </p:pic>
        <p:sp>
          <p:nvSpPr>
            <p:cNvPr id="39" name="object 39"/>
            <p:cNvSpPr/>
            <p:nvPr/>
          </p:nvSpPr>
          <p:spPr>
            <a:xfrm>
              <a:off x="15597916" y="6068945"/>
              <a:ext cx="285115" cy="384810"/>
            </a:xfrm>
            <a:custGeom>
              <a:avLst/>
              <a:gdLst/>
              <a:ahLst/>
              <a:cxnLst/>
              <a:rect l="l" t="t" r="r" b="b"/>
              <a:pathLst>
                <a:path w="285115" h="384810">
                  <a:moveTo>
                    <a:pt x="27850" y="384701"/>
                  </a:moveTo>
                  <a:lnTo>
                    <a:pt x="18228" y="383900"/>
                  </a:lnTo>
                  <a:lnTo>
                    <a:pt x="9288" y="379293"/>
                  </a:lnTo>
                  <a:lnTo>
                    <a:pt x="3026" y="371866"/>
                  </a:lnTo>
                  <a:lnTo>
                    <a:pt x="0" y="362627"/>
                  </a:lnTo>
                  <a:lnTo>
                    <a:pt x="767" y="352588"/>
                  </a:lnTo>
                  <a:lnTo>
                    <a:pt x="35867" y="222715"/>
                  </a:lnTo>
                  <a:lnTo>
                    <a:pt x="66988" y="197350"/>
                  </a:lnTo>
                  <a:lnTo>
                    <a:pt x="180979" y="189167"/>
                  </a:lnTo>
                  <a:lnTo>
                    <a:pt x="182510" y="173672"/>
                  </a:lnTo>
                  <a:lnTo>
                    <a:pt x="183519" y="158840"/>
                  </a:lnTo>
                  <a:lnTo>
                    <a:pt x="184044" y="144684"/>
                  </a:lnTo>
                  <a:lnTo>
                    <a:pt x="184121" y="131219"/>
                  </a:lnTo>
                  <a:lnTo>
                    <a:pt x="94459" y="131219"/>
                  </a:lnTo>
                  <a:lnTo>
                    <a:pt x="86932" y="123646"/>
                  </a:lnTo>
                  <a:lnTo>
                    <a:pt x="86932" y="104965"/>
                  </a:lnTo>
                  <a:lnTo>
                    <a:pt x="94459" y="97417"/>
                  </a:lnTo>
                  <a:lnTo>
                    <a:pt x="103785" y="97417"/>
                  </a:lnTo>
                  <a:lnTo>
                    <a:pt x="163467" y="90097"/>
                  </a:lnTo>
                  <a:lnTo>
                    <a:pt x="175596" y="38935"/>
                  </a:lnTo>
                  <a:lnTo>
                    <a:pt x="181704" y="22086"/>
                  </a:lnTo>
                  <a:lnTo>
                    <a:pt x="191903" y="8419"/>
                  </a:lnTo>
                  <a:lnTo>
                    <a:pt x="208501" y="0"/>
                  </a:lnTo>
                  <a:lnTo>
                    <a:pt x="242378" y="3804"/>
                  </a:lnTo>
                  <a:lnTo>
                    <a:pt x="264682" y="28185"/>
                  </a:lnTo>
                  <a:lnTo>
                    <a:pt x="277649" y="62402"/>
                  </a:lnTo>
                  <a:lnTo>
                    <a:pt x="283515" y="95714"/>
                  </a:lnTo>
                  <a:lnTo>
                    <a:pt x="284935" y="132755"/>
                  </a:lnTo>
                  <a:lnTo>
                    <a:pt x="282086" y="169781"/>
                  </a:lnTo>
                  <a:lnTo>
                    <a:pt x="267220" y="242514"/>
                  </a:lnTo>
                  <a:lnTo>
                    <a:pt x="242054" y="273190"/>
                  </a:lnTo>
                  <a:lnTo>
                    <a:pt x="226570" y="278832"/>
                  </a:lnTo>
                  <a:lnTo>
                    <a:pt x="83866" y="268565"/>
                  </a:lnTo>
                  <a:lnTo>
                    <a:pt x="48969" y="367914"/>
                  </a:lnTo>
                  <a:lnTo>
                    <a:pt x="44109" y="376191"/>
                  </a:lnTo>
                  <a:lnTo>
                    <a:pt x="36773" y="381959"/>
                  </a:lnTo>
                  <a:lnTo>
                    <a:pt x="27850" y="384701"/>
                  </a:lnTo>
                  <a:close/>
                </a:path>
              </a:pathLst>
            </a:custGeom>
            <a:solidFill>
              <a:srgbClr val="21408B"/>
            </a:solidFill>
          </p:spPr>
          <p:txBody>
            <a:bodyPr wrap="square" lIns="0" tIns="0" rIns="0" bIns="0" rtlCol="0"/>
            <a:lstStyle/>
            <a:p>
              <a:endParaRPr/>
            </a:p>
          </p:txBody>
        </p:sp>
        <p:pic>
          <p:nvPicPr>
            <p:cNvPr id="40" name="object 40"/>
            <p:cNvPicPr/>
            <p:nvPr/>
          </p:nvPicPr>
          <p:blipFill>
            <a:blip r:embed="rId5" cstate="print"/>
            <a:stretch>
              <a:fillRect/>
            </a:stretch>
          </p:blipFill>
          <p:spPr>
            <a:xfrm>
              <a:off x="15416141" y="5669030"/>
              <a:ext cx="368744" cy="252021"/>
            </a:xfrm>
            <a:prstGeom prst="rect">
              <a:avLst/>
            </a:prstGeom>
          </p:spPr>
        </p:pic>
      </p:grpSp>
      <p:grpSp>
        <p:nvGrpSpPr>
          <p:cNvPr id="41" name="object 41"/>
          <p:cNvGrpSpPr/>
          <p:nvPr/>
        </p:nvGrpSpPr>
        <p:grpSpPr>
          <a:xfrm>
            <a:off x="15210107" y="7171553"/>
            <a:ext cx="740410" cy="560070"/>
            <a:chOff x="15210107" y="7171553"/>
            <a:chExt cx="740410" cy="560070"/>
          </a:xfrm>
        </p:grpSpPr>
        <p:sp>
          <p:nvSpPr>
            <p:cNvPr id="42" name="object 42"/>
            <p:cNvSpPr/>
            <p:nvPr/>
          </p:nvSpPr>
          <p:spPr>
            <a:xfrm>
              <a:off x="15210104" y="7171562"/>
              <a:ext cx="740410" cy="560070"/>
            </a:xfrm>
            <a:custGeom>
              <a:avLst/>
              <a:gdLst/>
              <a:ahLst/>
              <a:cxnLst/>
              <a:rect l="l" t="t" r="r" b="b"/>
              <a:pathLst>
                <a:path w="740409" h="560070">
                  <a:moveTo>
                    <a:pt x="680072" y="51727"/>
                  </a:moveTo>
                  <a:lnTo>
                    <a:pt x="661238" y="13690"/>
                  </a:lnTo>
                  <a:lnTo>
                    <a:pt x="628205" y="0"/>
                  </a:lnTo>
                  <a:lnTo>
                    <a:pt x="610425" y="0"/>
                  </a:lnTo>
                  <a:lnTo>
                    <a:pt x="610425" y="75196"/>
                  </a:lnTo>
                  <a:lnTo>
                    <a:pt x="610425" y="402005"/>
                  </a:lnTo>
                  <a:lnTo>
                    <a:pt x="609625" y="403936"/>
                  </a:lnTo>
                  <a:lnTo>
                    <a:pt x="606399" y="407136"/>
                  </a:lnTo>
                  <a:lnTo>
                    <a:pt x="604456" y="407949"/>
                  </a:lnTo>
                  <a:lnTo>
                    <a:pt x="135991" y="407949"/>
                  </a:lnTo>
                  <a:lnTo>
                    <a:pt x="134048" y="407136"/>
                  </a:lnTo>
                  <a:lnTo>
                    <a:pt x="130835" y="403936"/>
                  </a:lnTo>
                  <a:lnTo>
                    <a:pt x="130022" y="402005"/>
                  </a:lnTo>
                  <a:lnTo>
                    <a:pt x="130035" y="75196"/>
                  </a:lnTo>
                  <a:lnTo>
                    <a:pt x="130835" y="73279"/>
                  </a:lnTo>
                  <a:lnTo>
                    <a:pt x="134061" y="70091"/>
                  </a:lnTo>
                  <a:lnTo>
                    <a:pt x="136004" y="69303"/>
                  </a:lnTo>
                  <a:lnTo>
                    <a:pt x="138264" y="69329"/>
                  </a:lnTo>
                  <a:lnTo>
                    <a:pt x="602183" y="69329"/>
                  </a:lnTo>
                  <a:lnTo>
                    <a:pt x="604443" y="69303"/>
                  </a:lnTo>
                  <a:lnTo>
                    <a:pt x="606386" y="70091"/>
                  </a:lnTo>
                  <a:lnTo>
                    <a:pt x="609612" y="73279"/>
                  </a:lnTo>
                  <a:lnTo>
                    <a:pt x="610425" y="75196"/>
                  </a:lnTo>
                  <a:lnTo>
                    <a:pt x="610425" y="0"/>
                  </a:lnTo>
                  <a:lnTo>
                    <a:pt x="112268" y="0"/>
                  </a:lnTo>
                  <a:lnTo>
                    <a:pt x="108699" y="355"/>
                  </a:lnTo>
                  <a:lnTo>
                    <a:pt x="74104" y="18821"/>
                  </a:lnTo>
                  <a:lnTo>
                    <a:pt x="60426" y="51727"/>
                  </a:lnTo>
                  <a:lnTo>
                    <a:pt x="60426" y="439089"/>
                  </a:lnTo>
                  <a:lnTo>
                    <a:pt x="680072" y="439089"/>
                  </a:lnTo>
                  <a:lnTo>
                    <a:pt x="680072" y="407949"/>
                  </a:lnTo>
                  <a:lnTo>
                    <a:pt x="680072" y="69303"/>
                  </a:lnTo>
                  <a:lnTo>
                    <a:pt x="680072" y="51727"/>
                  </a:lnTo>
                  <a:close/>
                </a:path>
                <a:path w="740409" h="560070">
                  <a:moveTo>
                    <a:pt x="740410" y="484974"/>
                  </a:moveTo>
                  <a:lnTo>
                    <a:pt x="739660" y="475513"/>
                  </a:lnTo>
                  <a:lnTo>
                    <a:pt x="738174" y="471144"/>
                  </a:lnTo>
                  <a:lnTo>
                    <a:pt x="737273" y="469760"/>
                  </a:lnTo>
                  <a:lnTo>
                    <a:pt x="735558" y="467156"/>
                  </a:lnTo>
                  <a:lnTo>
                    <a:pt x="732993" y="463181"/>
                  </a:lnTo>
                  <a:lnTo>
                    <a:pt x="729627" y="460070"/>
                  </a:lnTo>
                  <a:lnTo>
                    <a:pt x="721283" y="455549"/>
                  </a:lnTo>
                  <a:lnTo>
                    <a:pt x="716864" y="454418"/>
                  </a:lnTo>
                  <a:lnTo>
                    <a:pt x="712050" y="454418"/>
                  </a:lnTo>
                  <a:lnTo>
                    <a:pt x="446620" y="454418"/>
                  </a:lnTo>
                  <a:lnTo>
                    <a:pt x="446620" y="469760"/>
                  </a:lnTo>
                  <a:lnTo>
                    <a:pt x="439762" y="481888"/>
                  </a:lnTo>
                  <a:lnTo>
                    <a:pt x="437807" y="485813"/>
                  </a:lnTo>
                  <a:lnTo>
                    <a:pt x="434670" y="488238"/>
                  </a:lnTo>
                  <a:lnTo>
                    <a:pt x="429628" y="489318"/>
                  </a:lnTo>
                  <a:lnTo>
                    <a:pt x="428879" y="489394"/>
                  </a:lnTo>
                  <a:lnTo>
                    <a:pt x="428129" y="489394"/>
                  </a:lnTo>
                  <a:lnTo>
                    <a:pt x="312216" y="489394"/>
                  </a:lnTo>
                  <a:lnTo>
                    <a:pt x="306857" y="488988"/>
                  </a:lnTo>
                  <a:lnTo>
                    <a:pt x="302958" y="486410"/>
                  </a:lnTo>
                  <a:lnTo>
                    <a:pt x="300621" y="481888"/>
                  </a:lnTo>
                  <a:lnTo>
                    <a:pt x="293801" y="469760"/>
                  </a:lnTo>
                  <a:lnTo>
                    <a:pt x="446620" y="469760"/>
                  </a:lnTo>
                  <a:lnTo>
                    <a:pt x="446620" y="454418"/>
                  </a:lnTo>
                  <a:lnTo>
                    <a:pt x="23609" y="454418"/>
                  </a:lnTo>
                  <a:lnTo>
                    <a:pt x="0" y="484974"/>
                  </a:lnTo>
                  <a:lnTo>
                    <a:pt x="774" y="489508"/>
                  </a:lnTo>
                  <a:lnTo>
                    <a:pt x="16611" y="524471"/>
                  </a:lnTo>
                  <a:lnTo>
                    <a:pt x="45567" y="552081"/>
                  </a:lnTo>
                  <a:lnTo>
                    <a:pt x="78155" y="559727"/>
                  </a:lnTo>
                  <a:lnTo>
                    <a:pt x="662114" y="559727"/>
                  </a:lnTo>
                  <a:lnTo>
                    <a:pt x="706043" y="544753"/>
                  </a:lnTo>
                  <a:lnTo>
                    <a:pt x="726389" y="518312"/>
                  </a:lnTo>
                  <a:lnTo>
                    <a:pt x="737641" y="493928"/>
                  </a:lnTo>
                  <a:lnTo>
                    <a:pt x="739609" y="489508"/>
                  </a:lnTo>
                  <a:lnTo>
                    <a:pt x="740410" y="484974"/>
                  </a:lnTo>
                  <a:close/>
                </a:path>
              </a:pathLst>
            </a:custGeom>
            <a:solidFill>
              <a:srgbClr val="21408B"/>
            </a:solidFill>
          </p:spPr>
          <p:txBody>
            <a:bodyPr wrap="square" lIns="0" tIns="0" rIns="0" bIns="0" rtlCol="0"/>
            <a:lstStyle/>
            <a:p>
              <a:endParaRPr/>
            </a:p>
          </p:txBody>
        </p:sp>
        <p:pic>
          <p:nvPicPr>
            <p:cNvPr id="43" name="object 43"/>
            <p:cNvPicPr/>
            <p:nvPr/>
          </p:nvPicPr>
          <p:blipFill>
            <a:blip r:embed="rId6" cstate="print"/>
            <a:stretch>
              <a:fillRect/>
            </a:stretch>
          </p:blipFill>
          <p:spPr>
            <a:xfrm>
              <a:off x="15477702" y="7293954"/>
              <a:ext cx="205172" cy="242596"/>
            </a:xfrm>
            <a:prstGeom prst="rect">
              <a:avLst/>
            </a:prstGeom>
          </p:spPr>
        </p:pic>
      </p:grpSp>
      <p:grpSp>
        <p:nvGrpSpPr>
          <p:cNvPr id="44" name="object 44"/>
          <p:cNvGrpSpPr/>
          <p:nvPr/>
        </p:nvGrpSpPr>
        <p:grpSpPr>
          <a:xfrm>
            <a:off x="14873045" y="8368989"/>
            <a:ext cx="762000" cy="681355"/>
            <a:chOff x="14873045" y="8368989"/>
            <a:chExt cx="762000" cy="681355"/>
          </a:xfrm>
        </p:grpSpPr>
        <p:sp>
          <p:nvSpPr>
            <p:cNvPr id="45" name="object 45"/>
            <p:cNvSpPr/>
            <p:nvPr/>
          </p:nvSpPr>
          <p:spPr>
            <a:xfrm>
              <a:off x="14873045" y="8368989"/>
              <a:ext cx="762000" cy="681355"/>
            </a:xfrm>
            <a:custGeom>
              <a:avLst/>
              <a:gdLst/>
              <a:ahLst/>
              <a:cxnLst/>
              <a:rect l="l" t="t" r="r" b="b"/>
              <a:pathLst>
                <a:path w="762000" h="681354">
                  <a:moveTo>
                    <a:pt x="128188" y="681177"/>
                  </a:moveTo>
                  <a:lnTo>
                    <a:pt x="121441" y="679156"/>
                  </a:lnTo>
                  <a:lnTo>
                    <a:pt x="154857" y="638116"/>
                  </a:lnTo>
                  <a:lnTo>
                    <a:pt x="179662" y="596466"/>
                  </a:lnTo>
                  <a:lnTo>
                    <a:pt x="195101" y="564170"/>
                  </a:lnTo>
                  <a:lnTo>
                    <a:pt x="200416" y="551190"/>
                  </a:lnTo>
                  <a:lnTo>
                    <a:pt x="72717" y="551190"/>
                  </a:lnTo>
                  <a:lnTo>
                    <a:pt x="44415" y="545483"/>
                  </a:lnTo>
                  <a:lnTo>
                    <a:pt x="21300" y="529919"/>
                  </a:lnTo>
                  <a:lnTo>
                    <a:pt x="5715" y="506835"/>
                  </a:lnTo>
                  <a:lnTo>
                    <a:pt x="0" y="478568"/>
                  </a:lnTo>
                  <a:lnTo>
                    <a:pt x="0" y="72622"/>
                  </a:lnTo>
                  <a:lnTo>
                    <a:pt x="5715" y="44355"/>
                  </a:lnTo>
                  <a:lnTo>
                    <a:pt x="21300" y="21271"/>
                  </a:lnTo>
                  <a:lnTo>
                    <a:pt x="44415" y="5707"/>
                  </a:lnTo>
                  <a:lnTo>
                    <a:pt x="72717" y="0"/>
                  </a:lnTo>
                  <a:lnTo>
                    <a:pt x="688684" y="0"/>
                  </a:lnTo>
                  <a:lnTo>
                    <a:pt x="717004" y="5707"/>
                  </a:lnTo>
                  <a:lnTo>
                    <a:pt x="740119" y="21271"/>
                  </a:lnTo>
                  <a:lnTo>
                    <a:pt x="755699" y="44355"/>
                  </a:lnTo>
                  <a:lnTo>
                    <a:pt x="761410" y="72622"/>
                  </a:lnTo>
                  <a:lnTo>
                    <a:pt x="761410" y="478568"/>
                  </a:lnTo>
                  <a:lnTo>
                    <a:pt x="755699" y="506835"/>
                  </a:lnTo>
                  <a:lnTo>
                    <a:pt x="740119" y="529919"/>
                  </a:lnTo>
                  <a:lnTo>
                    <a:pt x="717004" y="545483"/>
                  </a:lnTo>
                  <a:lnTo>
                    <a:pt x="688684" y="551190"/>
                  </a:lnTo>
                  <a:lnTo>
                    <a:pt x="427217" y="551190"/>
                  </a:lnTo>
                  <a:lnTo>
                    <a:pt x="401210" y="577496"/>
                  </a:lnTo>
                  <a:lnTo>
                    <a:pt x="359230" y="603058"/>
                  </a:lnTo>
                  <a:lnTo>
                    <a:pt x="307519" y="626776"/>
                  </a:lnTo>
                  <a:lnTo>
                    <a:pt x="252318" y="647547"/>
                  </a:lnTo>
                  <a:lnTo>
                    <a:pt x="199868" y="664272"/>
                  </a:lnTo>
                  <a:lnTo>
                    <a:pt x="156411" y="675849"/>
                  </a:lnTo>
                  <a:lnTo>
                    <a:pt x="128188" y="681177"/>
                  </a:lnTo>
                  <a:close/>
                </a:path>
              </a:pathLst>
            </a:custGeom>
            <a:solidFill>
              <a:srgbClr val="21408B"/>
            </a:solidFill>
          </p:spPr>
          <p:txBody>
            <a:bodyPr wrap="square" lIns="0" tIns="0" rIns="0" bIns="0" rtlCol="0"/>
            <a:lstStyle/>
            <a:p>
              <a:endParaRPr/>
            </a:p>
          </p:txBody>
        </p:sp>
        <p:pic>
          <p:nvPicPr>
            <p:cNvPr id="46" name="object 46"/>
            <p:cNvPicPr/>
            <p:nvPr/>
          </p:nvPicPr>
          <p:blipFill>
            <a:blip r:embed="rId7" cstate="print"/>
            <a:stretch>
              <a:fillRect/>
            </a:stretch>
          </p:blipFill>
          <p:spPr>
            <a:xfrm>
              <a:off x="15018699" y="8596335"/>
              <a:ext cx="99371" cy="99229"/>
            </a:xfrm>
            <a:prstGeom prst="rect">
              <a:avLst/>
            </a:prstGeom>
          </p:spPr>
        </p:pic>
        <p:pic>
          <p:nvPicPr>
            <p:cNvPr id="47" name="object 47"/>
            <p:cNvPicPr/>
            <p:nvPr/>
          </p:nvPicPr>
          <p:blipFill>
            <a:blip r:embed="rId8" cstate="print"/>
            <a:stretch>
              <a:fillRect/>
            </a:stretch>
          </p:blipFill>
          <p:spPr>
            <a:xfrm>
              <a:off x="15204075" y="8596335"/>
              <a:ext cx="99371" cy="99229"/>
            </a:xfrm>
            <a:prstGeom prst="rect">
              <a:avLst/>
            </a:prstGeom>
          </p:spPr>
        </p:pic>
        <p:pic>
          <p:nvPicPr>
            <p:cNvPr id="48" name="object 48"/>
            <p:cNvPicPr/>
            <p:nvPr/>
          </p:nvPicPr>
          <p:blipFill>
            <a:blip r:embed="rId9" cstate="print"/>
            <a:stretch>
              <a:fillRect/>
            </a:stretch>
          </p:blipFill>
          <p:spPr>
            <a:xfrm>
              <a:off x="15389451" y="8596335"/>
              <a:ext cx="99371" cy="99229"/>
            </a:xfrm>
            <a:prstGeom prst="rect">
              <a:avLst/>
            </a:prstGeom>
          </p:spPr>
        </p:pic>
      </p:grpSp>
      <p:grpSp>
        <p:nvGrpSpPr>
          <p:cNvPr id="49" name="object 49"/>
          <p:cNvGrpSpPr/>
          <p:nvPr/>
        </p:nvGrpSpPr>
        <p:grpSpPr>
          <a:xfrm>
            <a:off x="7935331" y="4458214"/>
            <a:ext cx="1000125" cy="1000125"/>
            <a:chOff x="7935331" y="4458214"/>
            <a:chExt cx="1000125" cy="1000125"/>
          </a:xfrm>
        </p:grpSpPr>
        <p:sp>
          <p:nvSpPr>
            <p:cNvPr id="50" name="object 50"/>
            <p:cNvSpPr/>
            <p:nvPr/>
          </p:nvSpPr>
          <p:spPr>
            <a:xfrm>
              <a:off x="7935331" y="4458214"/>
              <a:ext cx="1000125" cy="1000125"/>
            </a:xfrm>
            <a:custGeom>
              <a:avLst/>
              <a:gdLst/>
              <a:ahLst/>
              <a:cxnLst/>
              <a:rect l="l" t="t" r="r" b="b"/>
              <a:pathLst>
                <a:path w="1000125" h="1000125">
                  <a:moveTo>
                    <a:pt x="500062" y="1000124"/>
                  </a:moveTo>
                  <a:lnTo>
                    <a:pt x="451901" y="997835"/>
                  </a:lnTo>
                  <a:lnTo>
                    <a:pt x="405036" y="991108"/>
                  </a:lnTo>
                  <a:lnTo>
                    <a:pt x="359676" y="980151"/>
                  </a:lnTo>
                  <a:lnTo>
                    <a:pt x="316031" y="965176"/>
                  </a:lnTo>
                  <a:lnTo>
                    <a:pt x="274309" y="946390"/>
                  </a:lnTo>
                  <a:lnTo>
                    <a:pt x="234721" y="924004"/>
                  </a:lnTo>
                  <a:lnTo>
                    <a:pt x="197477" y="898227"/>
                  </a:lnTo>
                  <a:lnTo>
                    <a:pt x="162785" y="869269"/>
                  </a:lnTo>
                  <a:lnTo>
                    <a:pt x="130855" y="837339"/>
                  </a:lnTo>
                  <a:lnTo>
                    <a:pt x="101897" y="802647"/>
                  </a:lnTo>
                  <a:lnTo>
                    <a:pt x="76120" y="765402"/>
                  </a:lnTo>
                  <a:lnTo>
                    <a:pt x="53734" y="725815"/>
                  </a:lnTo>
                  <a:lnTo>
                    <a:pt x="34948" y="684093"/>
                  </a:lnTo>
                  <a:lnTo>
                    <a:pt x="19973" y="640448"/>
                  </a:lnTo>
                  <a:lnTo>
                    <a:pt x="9016" y="595088"/>
                  </a:lnTo>
                  <a:lnTo>
                    <a:pt x="2289" y="548223"/>
                  </a:lnTo>
                  <a:lnTo>
                    <a:pt x="0" y="500062"/>
                  </a:lnTo>
                  <a:lnTo>
                    <a:pt x="2289" y="451901"/>
                  </a:lnTo>
                  <a:lnTo>
                    <a:pt x="9016" y="405036"/>
                  </a:lnTo>
                  <a:lnTo>
                    <a:pt x="19973" y="359676"/>
                  </a:lnTo>
                  <a:lnTo>
                    <a:pt x="34948" y="316031"/>
                  </a:lnTo>
                  <a:lnTo>
                    <a:pt x="53734" y="274309"/>
                  </a:lnTo>
                  <a:lnTo>
                    <a:pt x="76120" y="234721"/>
                  </a:lnTo>
                  <a:lnTo>
                    <a:pt x="101897" y="197477"/>
                  </a:lnTo>
                  <a:lnTo>
                    <a:pt x="130855" y="162785"/>
                  </a:lnTo>
                  <a:lnTo>
                    <a:pt x="162785" y="130855"/>
                  </a:lnTo>
                  <a:lnTo>
                    <a:pt x="197477" y="101897"/>
                  </a:lnTo>
                  <a:lnTo>
                    <a:pt x="234721" y="76120"/>
                  </a:lnTo>
                  <a:lnTo>
                    <a:pt x="274309" y="53734"/>
                  </a:lnTo>
                  <a:lnTo>
                    <a:pt x="316031" y="34948"/>
                  </a:lnTo>
                  <a:lnTo>
                    <a:pt x="359676" y="19973"/>
                  </a:lnTo>
                  <a:lnTo>
                    <a:pt x="405036" y="9016"/>
                  </a:lnTo>
                  <a:lnTo>
                    <a:pt x="451901" y="2289"/>
                  </a:lnTo>
                  <a:lnTo>
                    <a:pt x="500062" y="0"/>
                  </a:lnTo>
                  <a:lnTo>
                    <a:pt x="548223" y="2289"/>
                  </a:lnTo>
                  <a:lnTo>
                    <a:pt x="595088" y="9016"/>
                  </a:lnTo>
                  <a:lnTo>
                    <a:pt x="640448" y="19973"/>
                  </a:lnTo>
                  <a:lnTo>
                    <a:pt x="684093" y="34948"/>
                  </a:lnTo>
                  <a:lnTo>
                    <a:pt x="725815" y="53734"/>
                  </a:lnTo>
                  <a:lnTo>
                    <a:pt x="765402" y="76120"/>
                  </a:lnTo>
                  <a:lnTo>
                    <a:pt x="802647" y="101897"/>
                  </a:lnTo>
                  <a:lnTo>
                    <a:pt x="837339" y="130855"/>
                  </a:lnTo>
                  <a:lnTo>
                    <a:pt x="869269" y="162785"/>
                  </a:lnTo>
                  <a:lnTo>
                    <a:pt x="898227" y="197477"/>
                  </a:lnTo>
                  <a:lnTo>
                    <a:pt x="924004" y="234721"/>
                  </a:lnTo>
                  <a:lnTo>
                    <a:pt x="946390" y="274309"/>
                  </a:lnTo>
                  <a:lnTo>
                    <a:pt x="965176" y="316031"/>
                  </a:lnTo>
                  <a:lnTo>
                    <a:pt x="980151" y="359676"/>
                  </a:lnTo>
                  <a:lnTo>
                    <a:pt x="991108" y="405036"/>
                  </a:lnTo>
                  <a:lnTo>
                    <a:pt x="997835" y="451901"/>
                  </a:lnTo>
                  <a:lnTo>
                    <a:pt x="1000124" y="500062"/>
                  </a:lnTo>
                  <a:lnTo>
                    <a:pt x="997835" y="548223"/>
                  </a:lnTo>
                  <a:lnTo>
                    <a:pt x="991108" y="595088"/>
                  </a:lnTo>
                  <a:lnTo>
                    <a:pt x="980151" y="640448"/>
                  </a:lnTo>
                  <a:lnTo>
                    <a:pt x="965176" y="684093"/>
                  </a:lnTo>
                  <a:lnTo>
                    <a:pt x="946390" y="725815"/>
                  </a:lnTo>
                  <a:lnTo>
                    <a:pt x="924004" y="765402"/>
                  </a:lnTo>
                  <a:lnTo>
                    <a:pt x="898227" y="802647"/>
                  </a:lnTo>
                  <a:lnTo>
                    <a:pt x="869269" y="837339"/>
                  </a:lnTo>
                  <a:lnTo>
                    <a:pt x="837339" y="869269"/>
                  </a:lnTo>
                  <a:lnTo>
                    <a:pt x="802647" y="898227"/>
                  </a:lnTo>
                  <a:lnTo>
                    <a:pt x="765402" y="924004"/>
                  </a:lnTo>
                  <a:lnTo>
                    <a:pt x="725815" y="946390"/>
                  </a:lnTo>
                  <a:lnTo>
                    <a:pt x="684093" y="965176"/>
                  </a:lnTo>
                  <a:lnTo>
                    <a:pt x="640448" y="980151"/>
                  </a:lnTo>
                  <a:lnTo>
                    <a:pt x="595088" y="991108"/>
                  </a:lnTo>
                  <a:lnTo>
                    <a:pt x="548223" y="997835"/>
                  </a:lnTo>
                  <a:lnTo>
                    <a:pt x="500062" y="1000124"/>
                  </a:lnTo>
                  <a:close/>
                </a:path>
              </a:pathLst>
            </a:custGeom>
            <a:solidFill>
              <a:srgbClr val="04A24A"/>
            </a:solidFill>
          </p:spPr>
          <p:txBody>
            <a:bodyPr wrap="square" lIns="0" tIns="0" rIns="0" bIns="0" rtlCol="0"/>
            <a:lstStyle/>
            <a:p>
              <a:endParaRPr/>
            </a:p>
          </p:txBody>
        </p:sp>
        <p:sp>
          <p:nvSpPr>
            <p:cNvPr id="51" name="object 51"/>
            <p:cNvSpPr/>
            <p:nvPr/>
          </p:nvSpPr>
          <p:spPr>
            <a:xfrm>
              <a:off x="8018674" y="4666574"/>
              <a:ext cx="833755" cy="583565"/>
            </a:xfrm>
            <a:custGeom>
              <a:avLst/>
              <a:gdLst/>
              <a:ahLst/>
              <a:cxnLst/>
              <a:rect l="l" t="t" r="r" b="b"/>
              <a:pathLst>
                <a:path w="833754" h="583564">
                  <a:moveTo>
                    <a:pt x="416718" y="583406"/>
                  </a:moveTo>
                  <a:lnTo>
                    <a:pt x="0" y="291703"/>
                  </a:lnTo>
                  <a:lnTo>
                    <a:pt x="416718" y="0"/>
                  </a:lnTo>
                  <a:lnTo>
                    <a:pt x="833437" y="291703"/>
                  </a:lnTo>
                  <a:lnTo>
                    <a:pt x="416718" y="583406"/>
                  </a:lnTo>
                  <a:close/>
                </a:path>
              </a:pathLst>
            </a:custGeom>
            <a:solidFill>
              <a:srgbClr val="F1C400"/>
            </a:solidFill>
          </p:spPr>
          <p:txBody>
            <a:bodyPr wrap="square" lIns="0" tIns="0" rIns="0" bIns="0" rtlCol="0"/>
            <a:lstStyle/>
            <a:p>
              <a:endParaRPr/>
            </a:p>
          </p:txBody>
        </p:sp>
        <p:sp>
          <p:nvSpPr>
            <p:cNvPr id="52" name="object 52"/>
            <p:cNvSpPr/>
            <p:nvPr/>
          </p:nvSpPr>
          <p:spPr>
            <a:xfrm>
              <a:off x="8247870" y="4770753"/>
              <a:ext cx="375285" cy="375285"/>
            </a:xfrm>
            <a:custGeom>
              <a:avLst/>
              <a:gdLst/>
              <a:ahLst/>
              <a:cxnLst/>
              <a:rect l="l" t="t" r="r" b="b"/>
              <a:pathLst>
                <a:path w="375284" h="375285">
                  <a:moveTo>
                    <a:pt x="187523" y="375046"/>
                  </a:moveTo>
                  <a:lnTo>
                    <a:pt x="137685" y="368345"/>
                  </a:lnTo>
                  <a:lnTo>
                    <a:pt x="92893" y="349436"/>
                  </a:lnTo>
                  <a:lnTo>
                    <a:pt x="54938" y="320108"/>
                  </a:lnTo>
                  <a:lnTo>
                    <a:pt x="25610" y="282153"/>
                  </a:lnTo>
                  <a:lnTo>
                    <a:pt x="6701" y="237361"/>
                  </a:lnTo>
                  <a:lnTo>
                    <a:pt x="0" y="187523"/>
                  </a:lnTo>
                  <a:lnTo>
                    <a:pt x="6701" y="137685"/>
                  </a:lnTo>
                  <a:lnTo>
                    <a:pt x="25610" y="92893"/>
                  </a:lnTo>
                  <a:lnTo>
                    <a:pt x="54938" y="54938"/>
                  </a:lnTo>
                  <a:lnTo>
                    <a:pt x="92893" y="25610"/>
                  </a:lnTo>
                  <a:lnTo>
                    <a:pt x="137685" y="6701"/>
                  </a:lnTo>
                  <a:lnTo>
                    <a:pt x="187523" y="0"/>
                  </a:lnTo>
                  <a:lnTo>
                    <a:pt x="237361" y="6701"/>
                  </a:lnTo>
                  <a:lnTo>
                    <a:pt x="282153" y="25610"/>
                  </a:lnTo>
                  <a:lnTo>
                    <a:pt x="320108" y="54938"/>
                  </a:lnTo>
                  <a:lnTo>
                    <a:pt x="349436" y="92893"/>
                  </a:lnTo>
                  <a:lnTo>
                    <a:pt x="368345" y="137685"/>
                  </a:lnTo>
                  <a:lnTo>
                    <a:pt x="375046" y="187523"/>
                  </a:lnTo>
                  <a:lnTo>
                    <a:pt x="368345" y="237361"/>
                  </a:lnTo>
                  <a:lnTo>
                    <a:pt x="349436" y="282153"/>
                  </a:lnTo>
                  <a:lnTo>
                    <a:pt x="320108" y="320108"/>
                  </a:lnTo>
                  <a:lnTo>
                    <a:pt x="282153" y="349436"/>
                  </a:lnTo>
                  <a:lnTo>
                    <a:pt x="237361" y="368345"/>
                  </a:lnTo>
                  <a:lnTo>
                    <a:pt x="187523" y="375046"/>
                  </a:lnTo>
                  <a:close/>
                </a:path>
              </a:pathLst>
            </a:custGeom>
            <a:solidFill>
              <a:srgbClr val="217EBA"/>
            </a:solidFill>
          </p:spPr>
          <p:txBody>
            <a:bodyPr wrap="square" lIns="0" tIns="0" rIns="0" bIns="0" rtlCol="0"/>
            <a:lstStyle/>
            <a:p>
              <a:endParaRPr/>
            </a:p>
          </p:txBody>
        </p:sp>
        <p:sp>
          <p:nvSpPr>
            <p:cNvPr id="53" name="object 53"/>
            <p:cNvSpPr/>
            <p:nvPr/>
          </p:nvSpPr>
          <p:spPr>
            <a:xfrm>
              <a:off x="8250366" y="4880467"/>
              <a:ext cx="371475" cy="135255"/>
            </a:xfrm>
            <a:custGeom>
              <a:avLst/>
              <a:gdLst/>
              <a:ahLst/>
              <a:cxnLst/>
              <a:rect l="l" t="t" r="r" b="b"/>
              <a:pathLst>
                <a:path w="371475" h="135254">
                  <a:moveTo>
                    <a:pt x="363652" y="134999"/>
                  </a:moveTo>
                  <a:lnTo>
                    <a:pt x="328452" y="105007"/>
                  </a:lnTo>
                  <a:lnTo>
                    <a:pt x="289653" y="79549"/>
                  </a:lnTo>
                  <a:lnTo>
                    <a:pt x="247670" y="59035"/>
                  </a:lnTo>
                  <a:lnTo>
                    <a:pt x="202921" y="43874"/>
                  </a:lnTo>
                  <a:lnTo>
                    <a:pt x="155820" y="34477"/>
                  </a:lnTo>
                  <a:lnTo>
                    <a:pt x="106784" y="31253"/>
                  </a:lnTo>
                  <a:lnTo>
                    <a:pt x="79203" y="32261"/>
                  </a:lnTo>
                  <a:lnTo>
                    <a:pt x="52171" y="35242"/>
                  </a:lnTo>
                  <a:lnTo>
                    <a:pt x="25749" y="40135"/>
                  </a:lnTo>
                  <a:lnTo>
                    <a:pt x="0" y="46880"/>
                  </a:lnTo>
                  <a:lnTo>
                    <a:pt x="3906" y="28988"/>
                  </a:lnTo>
                  <a:lnTo>
                    <a:pt x="57176" y="3025"/>
                  </a:lnTo>
                  <a:lnTo>
                    <a:pt x="106784" y="0"/>
                  </a:lnTo>
                  <a:lnTo>
                    <a:pt x="156669" y="3068"/>
                  </a:lnTo>
                  <a:lnTo>
                    <a:pt x="204721" y="12033"/>
                  </a:lnTo>
                  <a:lnTo>
                    <a:pt x="250573" y="26533"/>
                  </a:lnTo>
                  <a:lnTo>
                    <a:pt x="293857" y="46205"/>
                  </a:lnTo>
                  <a:lnTo>
                    <a:pt x="334204" y="70689"/>
                  </a:lnTo>
                  <a:lnTo>
                    <a:pt x="371248" y="99621"/>
                  </a:lnTo>
                  <a:lnTo>
                    <a:pt x="368305" y="117595"/>
                  </a:lnTo>
                  <a:lnTo>
                    <a:pt x="363652" y="134999"/>
                  </a:lnTo>
                  <a:close/>
                </a:path>
              </a:pathLst>
            </a:custGeom>
            <a:solidFill>
              <a:srgbClr val="FFFFFF"/>
            </a:solidFill>
          </p:spPr>
          <p:txBody>
            <a:bodyPr wrap="square" lIns="0" tIns="0" rIns="0" bIns="0" rtlCol="0"/>
            <a:lstStyle/>
            <a:p>
              <a:endParaRPr/>
            </a:p>
          </p:txBody>
        </p:sp>
      </p:grpSp>
      <p:sp>
        <p:nvSpPr>
          <p:cNvPr id="54" name="object 54"/>
          <p:cNvSpPr txBox="1"/>
          <p:nvPr/>
        </p:nvSpPr>
        <p:spPr>
          <a:xfrm>
            <a:off x="1051064" y="5025185"/>
            <a:ext cx="1898014" cy="507365"/>
          </a:xfrm>
          <a:prstGeom prst="rect">
            <a:avLst/>
          </a:prstGeom>
        </p:spPr>
        <p:txBody>
          <a:bodyPr vert="horz" wrap="square" lIns="0" tIns="24765" rIns="0" bIns="0" rtlCol="0">
            <a:spAutoFit/>
          </a:bodyPr>
          <a:lstStyle/>
          <a:p>
            <a:pPr marL="401955" marR="5080" indent="-389890">
              <a:lnSpc>
                <a:spcPts val="1880"/>
              </a:lnSpc>
              <a:spcBef>
                <a:spcPts val="195"/>
              </a:spcBef>
            </a:pPr>
            <a:r>
              <a:rPr sz="1600" spc="-25" dirty="0">
                <a:solidFill>
                  <a:srgbClr val="737373"/>
                </a:solidFill>
                <a:latin typeface="Roboto"/>
                <a:cs typeface="Roboto"/>
              </a:rPr>
              <a:t>Recuperar</a:t>
            </a:r>
            <a:r>
              <a:rPr sz="1600" spc="-20" dirty="0">
                <a:solidFill>
                  <a:srgbClr val="737373"/>
                </a:solidFill>
                <a:latin typeface="Roboto"/>
                <a:cs typeface="Roboto"/>
              </a:rPr>
              <a:t> </a:t>
            </a:r>
            <a:r>
              <a:rPr sz="1600" dirty="0">
                <a:solidFill>
                  <a:srgbClr val="737373"/>
                </a:solidFill>
                <a:latin typeface="Roboto"/>
                <a:cs typeface="Roboto"/>
              </a:rPr>
              <a:t>el</a:t>
            </a:r>
            <a:r>
              <a:rPr sz="1600" spc="-20" dirty="0">
                <a:solidFill>
                  <a:srgbClr val="737373"/>
                </a:solidFill>
                <a:latin typeface="Roboto"/>
                <a:cs typeface="Roboto"/>
              </a:rPr>
              <a:t> </a:t>
            </a:r>
            <a:r>
              <a:rPr sz="1600" spc="-10" dirty="0">
                <a:solidFill>
                  <a:srgbClr val="737373"/>
                </a:solidFill>
                <a:latin typeface="Roboto"/>
                <a:cs typeface="Roboto"/>
              </a:rPr>
              <a:t>número </a:t>
            </a:r>
            <a:r>
              <a:rPr sz="1600" dirty="0">
                <a:solidFill>
                  <a:srgbClr val="737373"/>
                </a:solidFill>
                <a:latin typeface="Roboto"/>
                <a:cs typeface="Roboto"/>
              </a:rPr>
              <a:t>de</a:t>
            </a:r>
            <a:r>
              <a:rPr sz="1600" spc="-20" dirty="0">
                <a:solidFill>
                  <a:srgbClr val="737373"/>
                </a:solidFill>
                <a:latin typeface="Roboto"/>
                <a:cs typeface="Roboto"/>
              </a:rPr>
              <a:t> </a:t>
            </a:r>
            <a:r>
              <a:rPr sz="1600" b="1" spc="-10" dirty="0">
                <a:solidFill>
                  <a:srgbClr val="E3112B"/>
                </a:solidFill>
                <a:latin typeface="Roboto"/>
                <a:cs typeface="Roboto"/>
              </a:rPr>
              <a:t>llegadas</a:t>
            </a:r>
            <a:endParaRPr sz="1600">
              <a:latin typeface="Roboto"/>
              <a:cs typeface="Roboto"/>
            </a:endParaRPr>
          </a:p>
        </p:txBody>
      </p:sp>
      <p:sp>
        <p:nvSpPr>
          <p:cNvPr id="55" name="object 55"/>
          <p:cNvSpPr txBox="1"/>
          <p:nvPr/>
        </p:nvSpPr>
        <p:spPr>
          <a:xfrm>
            <a:off x="16851442" y="2145588"/>
            <a:ext cx="481965" cy="237490"/>
          </a:xfrm>
          <a:prstGeom prst="rect">
            <a:avLst/>
          </a:prstGeom>
        </p:spPr>
        <p:txBody>
          <a:bodyPr vert="horz" wrap="square" lIns="0" tIns="11430" rIns="0" bIns="0" rtlCol="0">
            <a:spAutoFit/>
          </a:bodyPr>
          <a:lstStyle/>
          <a:p>
            <a:pPr marL="12700">
              <a:lnSpc>
                <a:spcPct val="100000"/>
              </a:lnSpc>
              <a:spcBef>
                <a:spcPts val="90"/>
              </a:spcBef>
            </a:pPr>
            <a:r>
              <a:rPr sz="1400" b="1" spc="-10" dirty="0">
                <a:solidFill>
                  <a:srgbClr val="737373"/>
                </a:solidFill>
                <a:latin typeface="Roboto"/>
                <a:cs typeface="Roboto"/>
              </a:rPr>
              <a:t>Brasil</a:t>
            </a:r>
            <a:endParaRPr sz="1400">
              <a:latin typeface="Roboto"/>
              <a:cs typeface="Roboto"/>
            </a:endParaRPr>
          </a:p>
        </p:txBody>
      </p:sp>
      <p:sp>
        <p:nvSpPr>
          <p:cNvPr id="56" name="object 56"/>
          <p:cNvSpPr txBox="1"/>
          <p:nvPr/>
        </p:nvSpPr>
        <p:spPr>
          <a:xfrm>
            <a:off x="2438692" y="1604055"/>
            <a:ext cx="6356350" cy="482600"/>
          </a:xfrm>
          <a:prstGeom prst="rect">
            <a:avLst/>
          </a:prstGeom>
        </p:spPr>
        <p:txBody>
          <a:bodyPr vert="horz" wrap="square" lIns="0" tIns="12700" rIns="0" bIns="0" rtlCol="0">
            <a:spAutoFit/>
          </a:bodyPr>
          <a:lstStyle/>
          <a:p>
            <a:pPr marL="12700">
              <a:lnSpc>
                <a:spcPct val="100000"/>
              </a:lnSpc>
              <a:spcBef>
                <a:spcPts val="100"/>
              </a:spcBef>
            </a:pPr>
            <a:r>
              <a:rPr sz="3000" spc="-10" dirty="0">
                <a:solidFill>
                  <a:srgbClr val="737373"/>
                </a:solidFill>
                <a:latin typeface="Roboto"/>
                <a:cs typeface="Roboto"/>
              </a:rPr>
              <a:t>Paquete</a:t>
            </a:r>
            <a:r>
              <a:rPr sz="3000" spc="-160" dirty="0">
                <a:solidFill>
                  <a:srgbClr val="737373"/>
                </a:solidFill>
                <a:latin typeface="Roboto"/>
                <a:cs typeface="Roboto"/>
              </a:rPr>
              <a:t> </a:t>
            </a:r>
            <a:r>
              <a:rPr sz="3000" dirty="0">
                <a:solidFill>
                  <a:srgbClr val="737373"/>
                </a:solidFill>
                <a:latin typeface="Roboto"/>
                <a:cs typeface="Roboto"/>
              </a:rPr>
              <a:t>promocional</a:t>
            </a:r>
            <a:r>
              <a:rPr sz="3000" spc="-160" dirty="0">
                <a:solidFill>
                  <a:srgbClr val="737373"/>
                </a:solidFill>
                <a:latin typeface="Roboto"/>
                <a:cs typeface="Roboto"/>
              </a:rPr>
              <a:t> </a:t>
            </a:r>
            <a:r>
              <a:rPr sz="3000" dirty="0">
                <a:solidFill>
                  <a:srgbClr val="737373"/>
                </a:solidFill>
                <a:latin typeface="Roboto"/>
                <a:cs typeface="Roboto"/>
              </a:rPr>
              <a:t>mercados</a:t>
            </a:r>
            <a:r>
              <a:rPr sz="3000" spc="-155" dirty="0">
                <a:solidFill>
                  <a:srgbClr val="737373"/>
                </a:solidFill>
                <a:latin typeface="Roboto"/>
                <a:cs typeface="Roboto"/>
              </a:rPr>
              <a:t> </a:t>
            </a:r>
            <a:r>
              <a:rPr sz="3000" spc="-20" dirty="0">
                <a:solidFill>
                  <a:srgbClr val="737373"/>
                </a:solidFill>
                <a:latin typeface="Roboto"/>
                <a:cs typeface="Roboto"/>
              </a:rPr>
              <a:t>360º</a:t>
            </a:r>
            <a:endParaRPr sz="3000">
              <a:latin typeface="Roboto"/>
              <a:cs typeface="Roboto"/>
            </a:endParaRPr>
          </a:p>
        </p:txBody>
      </p:sp>
      <p:sp>
        <p:nvSpPr>
          <p:cNvPr id="57" name="object 57"/>
          <p:cNvSpPr/>
          <p:nvPr/>
        </p:nvSpPr>
        <p:spPr>
          <a:xfrm>
            <a:off x="6437706" y="2807029"/>
            <a:ext cx="11651615" cy="1224280"/>
          </a:xfrm>
          <a:custGeom>
            <a:avLst/>
            <a:gdLst/>
            <a:ahLst/>
            <a:cxnLst/>
            <a:rect l="l" t="t" r="r" b="b"/>
            <a:pathLst>
              <a:path w="11651615" h="1224279">
                <a:moveTo>
                  <a:pt x="11651526" y="0"/>
                </a:moveTo>
                <a:lnTo>
                  <a:pt x="0" y="0"/>
                </a:lnTo>
                <a:lnTo>
                  <a:pt x="0" y="784098"/>
                </a:lnTo>
                <a:lnTo>
                  <a:pt x="255663" y="784098"/>
                </a:lnTo>
                <a:lnTo>
                  <a:pt x="507047" y="1224000"/>
                </a:lnTo>
                <a:lnTo>
                  <a:pt x="758405" y="784098"/>
                </a:lnTo>
                <a:lnTo>
                  <a:pt x="11651526" y="784098"/>
                </a:lnTo>
                <a:lnTo>
                  <a:pt x="11651526" y="0"/>
                </a:lnTo>
                <a:close/>
              </a:path>
            </a:pathLst>
          </a:custGeom>
          <a:solidFill>
            <a:srgbClr val="E3112B"/>
          </a:solidFill>
        </p:spPr>
        <p:txBody>
          <a:bodyPr wrap="square" lIns="0" tIns="0" rIns="0" bIns="0" rtlCol="0"/>
          <a:lstStyle/>
          <a:p>
            <a:endParaRPr/>
          </a:p>
        </p:txBody>
      </p:sp>
      <p:sp>
        <p:nvSpPr>
          <p:cNvPr id="58" name="object 58"/>
          <p:cNvSpPr txBox="1"/>
          <p:nvPr/>
        </p:nvSpPr>
        <p:spPr>
          <a:xfrm>
            <a:off x="6932053" y="2957769"/>
            <a:ext cx="4886325" cy="129159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Acciones</a:t>
            </a:r>
            <a:r>
              <a:rPr sz="2400" b="1" spc="10" dirty="0">
                <a:solidFill>
                  <a:srgbClr val="FFFFFF"/>
                </a:solidFill>
                <a:latin typeface="Arial"/>
                <a:cs typeface="Arial"/>
              </a:rPr>
              <a:t> </a:t>
            </a:r>
            <a:r>
              <a:rPr sz="2400" b="1" spc="90" dirty="0">
                <a:solidFill>
                  <a:srgbClr val="FFFFFF"/>
                </a:solidFill>
                <a:latin typeface="Arial"/>
                <a:cs typeface="Arial"/>
              </a:rPr>
              <a:t>clave</a:t>
            </a:r>
            <a:r>
              <a:rPr sz="2400" b="1" spc="15" dirty="0">
                <a:solidFill>
                  <a:srgbClr val="FFFFFF"/>
                </a:solidFill>
                <a:latin typeface="Arial"/>
                <a:cs typeface="Arial"/>
              </a:rPr>
              <a:t> </a:t>
            </a:r>
            <a:r>
              <a:rPr sz="2400" b="1" spc="114" dirty="0">
                <a:solidFill>
                  <a:srgbClr val="FFFFFF"/>
                </a:solidFill>
                <a:latin typeface="Arial"/>
                <a:cs typeface="Arial"/>
              </a:rPr>
              <a:t>(anuales)</a:t>
            </a:r>
            <a:endParaRPr sz="2400">
              <a:latin typeface="Arial"/>
              <a:cs typeface="Arial"/>
            </a:endParaRPr>
          </a:p>
          <a:p>
            <a:pPr>
              <a:lnSpc>
                <a:spcPct val="100000"/>
              </a:lnSpc>
              <a:spcBef>
                <a:spcPts val="10"/>
              </a:spcBef>
            </a:pPr>
            <a:endParaRPr sz="3650">
              <a:latin typeface="Arial"/>
              <a:cs typeface="Arial"/>
            </a:endParaRPr>
          </a:p>
          <a:p>
            <a:pPr marL="379095">
              <a:lnSpc>
                <a:spcPct val="100000"/>
              </a:lnSpc>
              <a:tabLst>
                <a:tab pos="3549650" algn="l"/>
              </a:tabLst>
            </a:pPr>
            <a:r>
              <a:rPr sz="2400" b="1" dirty="0">
                <a:solidFill>
                  <a:srgbClr val="737373"/>
                </a:solidFill>
                <a:latin typeface="Roboto"/>
                <a:cs typeface="Roboto"/>
              </a:rPr>
              <a:t>Asistencia </a:t>
            </a:r>
            <a:r>
              <a:rPr sz="2400" b="1" spc="-10" dirty="0">
                <a:solidFill>
                  <a:srgbClr val="737373"/>
                </a:solidFill>
                <a:latin typeface="Roboto"/>
                <a:cs typeface="Roboto"/>
              </a:rPr>
              <a:t>ferias:</a:t>
            </a:r>
            <a:r>
              <a:rPr sz="2400" b="1" dirty="0">
                <a:solidFill>
                  <a:srgbClr val="737373"/>
                </a:solidFill>
                <a:latin typeface="Roboto"/>
                <a:cs typeface="Roboto"/>
              </a:rPr>
              <a:t>	</a:t>
            </a:r>
            <a:r>
              <a:rPr sz="2400" b="1" spc="75" dirty="0">
                <a:solidFill>
                  <a:srgbClr val="737373"/>
                </a:solidFill>
                <a:latin typeface="Roboto"/>
                <a:cs typeface="Roboto"/>
              </a:rPr>
              <a:t>A</a:t>
            </a:r>
            <a:r>
              <a:rPr sz="2400" b="1" dirty="0">
                <a:solidFill>
                  <a:srgbClr val="737373"/>
                </a:solidFill>
                <a:latin typeface="Roboto"/>
                <a:cs typeface="Roboto"/>
              </a:rPr>
              <a:t> </a:t>
            </a:r>
            <a:r>
              <a:rPr sz="2400" b="1" spc="-10" dirty="0">
                <a:solidFill>
                  <a:srgbClr val="737373"/>
                </a:solidFill>
                <a:latin typeface="Roboto"/>
                <a:cs typeface="Roboto"/>
              </a:rPr>
              <a:t>valorar:</a:t>
            </a:r>
            <a:endParaRPr sz="2400">
              <a:latin typeface="Roboto"/>
              <a:cs typeface="Roboto"/>
            </a:endParaRPr>
          </a:p>
        </p:txBody>
      </p:sp>
      <p:sp>
        <p:nvSpPr>
          <p:cNvPr id="59" name="object 59"/>
          <p:cNvSpPr/>
          <p:nvPr/>
        </p:nvSpPr>
        <p:spPr>
          <a:xfrm>
            <a:off x="196380" y="2807029"/>
            <a:ext cx="6019800" cy="1224280"/>
          </a:xfrm>
          <a:custGeom>
            <a:avLst/>
            <a:gdLst/>
            <a:ahLst/>
            <a:cxnLst/>
            <a:rect l="l" t="t" r="r" b="b"/>
            <a:pathLst>
              <a:path w="6019800" h="1224279">
                <a:moveTo>
                  <a:pt x="6019508" y="0"/>
                </a:moveTo>
                <a:lnTo>
                  <a:pt x="0" y="0"/>
                </a:lnTo>
                <a:lnTo>
                  <a:pt x="0" y="784098"/>
                </a:lnTo>
                <a:lnTo>
                  <a:pt x="255663" y="784098"/>
                </a:lnTo>
                <a:lnTo>
                  <a:pt x="507034" y="1224000"/>
                </a:lnTo>
                <a:lnTo>
                  <a:pt x="758405" y="784098"/>
                </a:lnTo>
                <a:lnTo>
                  <a:pt x="6019508" y="784098"/>
                </a:lnTo>
                <a:lnTo>
                  <a:pt x="6019508" y="0"/>
                </a:lnTo>
                <a:close/>
              </a:path>
            </a:pathLst>
          </a:custGeom>
          <a:solidFill>
            <a:srgbClr val="E3112B"/>
          </a:solidFill>
        </p:spPr>
        <p:txBody>
          <a:bodyPr wrap="square" lIns="0" tIns="0" rIns="0" bIns="0" rtlCol="0"/>
          <a:lstStyle/>
          <a:p>
            <a:endParaRPr/>
          </a:p>
        </p:txBody>
      </p:sp>
      <p:sp>
        <p:nvSpPr>
          <p:cNvPr id="60" name="object 60"/>
          <p:cNvSpPr txBox="1"/>
          <p:nvPr/>
        </p:nvSpPr>
        <p:spPr>
          <a:xfrm>
            <a:off x="1896142" y="2957769"/>
            <a:ext cx="249809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Foco</a:t>
            </a:r>
            <a:r>
              <a:rPr sz="2400" b="1" spc="-35" dirty="0">
                <a:solidFill>
                  <a:srgbClr val="FFFFFF"/>
                </a:solidFill>
                <a:latin typeface="Arial"/>
                <a:cs typeface="Arial"/>
              </a:rPr>
              <a:t> </a:t>
            </a:r>
            <a:r>
              <a:rPr sz="2400" b="1" spc="130" dirty="0">
                <a:solidFill>
                  <a:srgbClr val="FFFFFF"/>
                </a:solidFill>
                <a:latin typeface="Arial"/>
                <a:cs typeface="Arial"/>
              </a:rPr>
              <a:t>de</a:t>
            </a:r>
            <a:r>
              <a:rPr sz="2400" b="1" spc="-30" dirty="0">
                <a:solidFill>
                  <a:srgbClr val="FFFFFF"/>
                </a:solidFill>
                <a:latin typeface="Arial"/>
                <a:cs typeface="Arial"/>
              </a:rPr>
              <a:t> </a:t>
            </a:r>
            <a:r>
              <a:rPr sz="2400" b="1" spc="175" dirty="0">
                <a:solidFill>
                  <a:srgbClr val="FFFFFF"/>
                </a:solidFill>
                <a:latin typeface="Arial"/>
                <a:cs typeface="Arial"/>
              </a:rPr>
              <a:t>trabajo</a:t>
            </a:r>
            <a:endParaRPr sz="2400">
              <a:latin typeface="Arial"/>
              <a:cs typeface="Arial"/>
            </a:endParaRPr>
          </a:p>
        </p:txBody>
      </p:sp>
      <p:sp>
        <p:nvSpPr>
          <p:cNvPr id="61" name="object 61"/>
          <p:cNvSpPr txBox="1"/>
          <p:nvPr/>
        </p:nvSpPr>
        <p:spPr>
          <a:xfrm>
            <a:off x="870833" y="8185842"/>
            <a:ext cx="2411095" cy="983615"/>
          </a:xfrm>
          <a:prstGeom prst="rect">
            <a:avLst/>
          </a:prstGeom>
        </p:spPr>
        <p:txBody>
          <a:bodyPr vert="horz" wrap="square" lIns="0" tIns="24765" rIns="0" bIns="0" rtlCol="0">
            <a:spAutoFit/>
          </a:bodyPr>
          <a:lstStyle/>
          <a:p>
            <a:pPr marL="12065" marR="5080" indent="-635" algn="ctr">
              <a:lnSpc>
                <a:spcPts val="1880"/>
              </a:lnSpc>
              <a:spcBef>
                <a:spcPts val="195"/>
              </a:spcBef>
            </a:pPr>
            <a:r>
              <a:rPr sz="1600" spc="-10" dirty="0">
                <a:solidFill>
                  <a:srgbClr val="737373"/>
                </a:solidFill>
                <a:latin typeface="Roboto"/>
                <a:cs typeface="Roboto"/>
              </a:rPr>
              <a:t>Promocionar</a:t>
            </a:r>
            <a:r>
              <a:rPr sz="1600" spc="-60" dirty="0">
                <a:solidFill>
                  <a:srgbClr val="737373"/>
                </a:solidFill>
                <a:latin typeface="Roboto"/>
                <a:cs typeface="Roboto"/>
              </a:rPr>
              <a:t> </a:t>
            </a:r>
            <a:r>
              <a:rPr sz="1600" b="1" spc="-10" dirty="0">
                <a:solidFill>
                  <a:srgbClr val="E3112B"/>
                </a:solidFill>
                <a:latin typeface="Roboto"/>
                <a:cs typeface="Roboto"/>
              </a:rPr>
              <a:t>experiencias </a:t>
            </a:r>
            <a:r>
              <a:rPr sz="1600" b="1" dirty="0">
                <a:solidFill>
                  <a:srgbClr val="E3112B"/>
                </a:solidFill>
                <a:latin typeface="Roboto"/>
                <a:cs typeface="Roboto"/>
              </a:rPr>
              <a:t>complementaria</a:t>
            </a:r>
            <a:r>
              <a:rPr sz="1600" b="1" spc="-65" dirty="0">
                <a:solidFill>
                  <a:srgbClr val="E3112B"/>
                </a:solidFill>
                <a:latin typeface="Roboto"/>
                <a:cs typeface="Roboto"/>
              </a:rPr>
              <a:t> </a:t>
            </a:r>
            <a:r>
              <a:rPr sz="1600" dirty="0">
                <a:solidFill>
                  <a:srgbClr val="737373"/>
                </a:solidFill>
                <a:latin typeface="Roboto"/>
                <a:cs typeface="Roboto"/>
              </a:rPr>
              <a:t>al</a:t>
            </a:r>
            <a:r>
              <a:rPr sz="1600" spc="-65" dirty="0">
                <a:solidFill>
                  <a:srgbClr val="737373"/>
                </a:solidFill>
                <a:latin typeface="Roboto"/>
                <a:cs typeface="Roboto"/>
              </a:rPr>
              <a:t> </a:t>
            </a:r>
            <a:r>
              <a:rPr sz="1600" dirty="0">
                <a:solidFill>
                  <a:srgbClr val="737373"/>
                </a:solidFill>
                <a:latin typeface="Roboto"/>
                <a:cs typeface="Roboto"/>
              </a:rPr>
              <a:t>esquí</a:t>
            </a:r>
            <a:r>
              <a:rPr sz="1600" spc="-65" dirty="0">
                <a:solidFill>
                  <a:srgbClr val="737373"/>
                </a:solidFill>
                <a:latin typeface="Roboto"/>
                <a:cs typeface="Roboto"/>
              </a:rPr>
              <a:t> </a:t>
            </a:r>
            <a:r>
              <a:rPr sz="1600" spc="-50" dirty="0">
                <a:solidFill>
                  <a:srgbClr val="737373"/>
                </a:solidFill>
                <a:latin typeface="Roboto"/>
                <a:cs typeface="Roboto"/>
              </a:rPr>
              <a:t>y </a:t>
            </a:r>
            <a:r>
              <a:rPr sz="1600" dirty="0">
                <a:solidFill>
                  <a:srgbClr val="737373"/>
                </a:solidFill>
                <a:latin typeface="Roboto"/>
                <a:cs typeface="Roboto"/>
              </a:rPr>
              <a:t>al</a:t>
            </a:r>
            <a:r>
              <a:rPr sz="1600" spc="-70" dirty="0">
                <a:solidFill>
                  <a:srgbClr val="737373"/>
                </a:solidFill>
                <a:latin typeface="Roboto"/>
                <a:cs typeface="Roboto"/>
              </a:rPr>
              <a:t> </a:t>
            </a:r>
            <a:r>
              <a:rPr sz="1600" dirty="0">
                <a:solidFill>
                  <a:srgbClr val="737373"/>
                </a:solidFill>
                <a:latin typeface="Roboto"/>
                <a:cs typeface="Roboto"/>
              </a:rPr>
              <a:t>vino</a:t>
            </a:r>
            <a:r>
              <a:rPr sz="1600" spc="-65" dirty="0">
                <a:solidFill>
                  <a:srgbClr val="737373"/>
                </a:solidFill>
                <a:latin typeface="Roboto"/>
                <a:cs typeface="Roboto"/>
              </a:rPr>
              <a:t> </a:t>
            </a:r>
            <a:r>
              <a:rPr sz="1600" dirty="0">
                <a:solidFill>
                  <a:srgbClr val="737373"/>
                </a:solidFill>
                <a:latin typeface="Roboto"/>
                <a:cs typeface="Roboto"/>
              </a:rPr>
              <a:t>para</a:t>
            </a:r>
            <a:r>
              <a:rPr sz="1600" spc="-70" dirty="0">
                <a:solidFill>
                  <a:srgbClr val="737373"/>
                </a:solidFill>
                <a:latin typeface="Roboto"/>
                <a:cs typeface="Roboto"/>
              </a:rPr>
              <a:t> </a:t>
            </a:r>
            <a:r>
              <a:rPr sz="1600" b="1" dirty="0">
                <a:solidFill>
                  <a:srgbClr val="E3112B"/>
                </a:solidFill>
                <a:latin typeface="Roboto"/>
                <a:cs typeface="Roboto"/>
              </a:rPr>
              <a:t>aumentar</a:t>
            </a:r>
            <a:r>
              <a:rPr sz="1600" b="1" spc="-65" dirty="0">
                <a:solidFill>
                  <a:srgbClr val="E3112B"/>
                </a:solidFill>
                <a:latin typeface="Roboto"/>
                <a:cs typeface="Roboto"/>
              </a:rPr>
              <a:t> </a:t>
            </a:r>
            <a:r>
              <a:rPr sz="1600" b="1" spc="-25" dirty="0">
                <a:solidFill>
                  <a:srgbClr val="E3112B"/>
                </a:solidFill>
                <a:latin typeface="Roboto"/>
                <a:cs typeface="Roboto"/>
              </a:rPr>
              <a:t>la </a:t>
            </a:r>
            <a:r>
              <a:rPr sz="1600" b="1" spc="-10" dirty="0">
                <a:solidFill>
                  <a:srgbClr val="E3112B"/>
                </a:solidFill>
                <a:latin typeface="Roboto"/>
                <a:cs typeface="Roboto"/>
              </a:rPr>
              <a:t>estadía</a:t>
            </a:r>
            <a:endParaRPr sz="1600">
              <a:latin typeface="Roboto"/>
              <a:cs typeface="Roboto"/>
            </a:endParaRPr>
          </a:p>
        </p:txBody>
      </p:sp>
      <p:sp>
        <p:nvSpPr>
          <p:cNvPr id="62" name="object 62"/>
          <p:cNvSpPr txBox="1"/>
          <p:nvPr/>
        </p:nvSpPr>
        <p:spPr>
          <a:xfrm>
            <a:off x="3882021" y="5025185"/>
            <a:ext cx="1450975" cy="507365"/>
          </a:xfrm>
          <a:prstGeom prst="rect">
            <a:avLst/>
          </a:prstGeom>
        </p:spPr>
        <p:txBody>
          <a:bodyPr vert="horz" wrap="square" lIns="0" tIns="12700" rIns="0" bIns="0" rtlCol="0">
            <a:spAutoFit/>
          </a:bodyPr>
          <a:lstStyle/>
          <a:p>
            <a:pPr marL="12700">
              <a:lnSpc>
                <a:spcPts val="1900"/>
              </a:lnSpc>
              <a:spcBef>
                <a:spcPts val="100"/>
              </a:spcBef>
            </a:pPr>
            <a:r>
              <a:rPr sz="1600" spc="-10" dirty="0">
                <a:solidFill>
                  <a:srgbClr val="737373"/>
                </a:solidFill>
                <a:latin typeface="Roboto"/>
                <a:cs typeface="Roboto"/>
              </a:rPr>
              <a:t>Mantener</a:t>
            </a:r>
            <a:r>
              <a:rPr sz="1600" spc="-90" dirty="0">
                <a:solidFill>
                  <a:srgbClr val="737373"/>
                </a:solidFill>
                <a:latin typeface="Roboto"/>
                <a:cs typeface="Roboto"/>
              </a:rPr>
              <a:t> </a:t>
            </a:r>
            <a:r>
              <a:rPr sz="1600" b="1" spc="-20" dirty="0">
                <a:solidFill>
                  <a:srgbClr val="E3112B"/>
                </a:solidFill>
                <a:latin typeface="Roboto"/>
                <a:cs typeface="Roboto"/>
              </a:rPr>
              <a:t>gasto</a:t>
            </a:r>
            <a:endParaRPr sz="1600">
              <a:latin typeface="Roboto"/>
              <a:cs typeface="Roboto"/>
            </a:endParaRPr>
          </a:p>
          <a:p>
            <a:pPr marL="13970">
              <a:lnSpc>
                <a:spcPts val="1895"/>
              </a:lnSpc>
            </a:pPr>
            <a:r>
              <a:rPr sz="1600" dirty="0">
                <a:solidFill>
                  <a:srgbClr val="737373"/>
                </a:solidFill>
                <a:latin typeface="Roboto"/>
                <a:cs typeface="Roboto"/>
              </a:rPr>
              <a:t>diario</a:t>
            </a:r>
            <a:r>
              <a:rPr sz="1600" spc="-85" dirty="0">
                <a:solidFill>
                  <a:srgbClr val="737373"/>
                </a:solidFill>
                <a:latin typeface="Roboto"/>
                <a:cs typeface="Roboto"/>
              </a:rPr>
              <a:t> </a:t>
            </a:r>
            <a:r>
              <a:rPr sz="1600" spc="-10" dirty="0">
                <a:solidFill>
                  <a:srgbClr val="737373"/>
                </a:solidFill>
                <a:latin typeface="Roboto"/>
                <a:cs typeface="Roboto"/>
              </a:rPr>
              <a:t>promedio</a:t>
            </a:r>
            <a:endParaRPr sz="1600">
              <a:latin typeface="Roboto"/>
              <a:cs typeface="Roboto"/>
            </a:endParaRPr>
          </a:p>
        </p:txBody>
      </p:sp>
      <p:sp>
        <p:nvSpPr>
          <p:cNvPr id="63" name="object 63"/>
          <p:cNvSpPr txBox="1"/>
          <p:nvPr/>
        </p:nvSpPr>
        <p:spPr>
          <a:xfrm>
            <a:off x="3379152" y="6929441"/>
            <a:ext cx="2456815" cy="745490"/>
          </a:xfrm>
          <a:prstGeom prst="rect">
            <a:avLst/>
          </a:prstGeom>
        </p:spPr>
        <p:txBody>
          <a:bodyPr vert="horz" wrap="square" lIns="0" tIns="24765" rIns="0" bIns="0" rtlCol="0">
            <a:spAutoFit/>
          </a:bodyPr>
          <a:lstStyle/>
          <a:p>
            <a:pPr marL="12700" marR="5080" algn="ctr">
              <a:lnSpc>
                <a:spcPts val="1880"/>
              </a:lnSpc>
              <a:spcBef>
                <a:spcPts val="195"/>
              </a:spcBef>
            </a:pPr>
            <a:r>
              <a:rPr sz="1600" spc="-10" dirty="0">
                <a:solidFill>
                  <a:srgbClr val="737373"/>
                </a:solidFill>
                <a:latin typeface="Roboto"/>
                <a:cs typeface="Roboto"/>
              </a:rPr>
              <a:t>Promocionar</a:t>
            </a:r>
            <a:r>
              <a:rPr sz="1600" spc="-60" dirty="0">
                <a:solidFill>
                  <a:srgbClr val="737373"/>
                </a:solidFill>
                <a:latin typeface="Roboto"/>
                <a:cs typeface="Roboto"/>
              </a:rPr>
              <a:t> </a:t>
            </a:r>
            <a:r>
              <a:rPr sz="1600" b="1" spc="-10" dirty="0">
                <a:solidFill>
                  <a:srgbClr val="E3112B"/>
                </a:solidFill>
                <a:latin typeface="Roboto"/>
                <a:cs typeface="Roboto"/>
              </a:rPr>
              <a:t>nuevas actividades</a:t>
            </a:r>
            <a:r>
              <a:rPr sz="1600" b="1" spc="-45" dirty="0">
                <a:solidFill>
                  <a:srgbClr val="E3112B"/>
                </a:solidFill>
                <a:latin typeface="Roboto"/>
                <a:cs typeface="Roboto"/>
              </a:rPr>
              <a:t> </a:t>
            </a:r>
            <a:r>
              <a:rPr sz="1600" dirty="0">
                <a:solidFill>
                  <a:srgbClr val="737373"/>
                </a:solidFill>
                <a:latin typeface="Roboto"/>
                <a:cs typeface="Roboto"/>
              </a:rPr>
              <a:t>para</a:t>
            </a:r>
            <a:r>
              <a:rPr sz="1600" spc="-40" dirty="0">
                <a:solidFill>
                  <a:srgbClr val="737373"/>
                </a:solidFill>
                <a:latin typeface="Roboto"/>
                <a:cs typeface="Roboto"/>
              </a:rPr>
              <a:t> </a:t>
            </a:r>
            <a:r>
              <a:rPr sz="1600" spc="-10" dirty="0">
                <a:solidFill>
                  <a:srgbClr val="737373"/>
                </a:solidFill>
                <a:latin typeface="Roboto"/>
                <a:cs typeface="Roboto"/>
              </a:rPr>
              <a:t>incentivar </a:t>
            </a:r>
            <a:r>
              <a:rPr sz="1600" dirty="0">
                <a:solidFill>
                  <a:srgbClr val="737373"/>
                </a:solidFill>
                <a:latin typeface="Roboto"/>
                <a:cs typeface="Roboto"/>
              </a:rPr>
              <a:t>la</a:t>
            </a:r>
            <a:r>
              <a:rPr sz="1600" spc="-40" dirty="0">
                <a:solidFill>
                  <a:srgbClr val="737373"/>
                </a:solidFill>
                <a:latin typeface="Roboto"/>
                <a:cs typeface="Roboto"/>
              </a:rPr>
              <a:t> </a:t>
            </a:r>
            <a:r>
              <a:rPr sz="1600" b="1" spc="-10" dirty="0">
                <a:solidFill>
                  <a:srgbClr val="E3112B"/>
                </a:solidFill>
                <a:latin typeface="Roboto"/>
                <a:cs typeface="Roboto"/>
              </a:rPr>
              <a:t>repetición</a:t>
            </a:r>
            <a:endParaRPr sz="1600">
              <a:latin typeface="Roboto"/>
              <a:cs typeface="Roboto"/>
            </a:endParaRPr>
          </a:p>
        </p:txBody>
      </p:sp>
      <p:sp>
        <p:nvSpPr>
          <p:cNvPr id="64" name="object 64"/>
          <p:cNvSpPr txBox="1"/>
          <p:nvPr/>
        </p:nvSpPr>
        <p:spPr>
          <a:xfrm>
            <a:off x="1029037" y="6929441"/>
            <a:ext cx="1951989" cy="507365"/>
          </a:xfrm>
          <a:prstGeom prst="rect">
            <a:avLst/>
          </a:prstGeom>
        </p:spPr>
        <p:txBody>
          <a:bodyPr vert="horz" wrap="square" lIns="0" tIns="12700" rIns="0" bIns="0" rtlCol="0">
            <a:spAutoFit/>
          </a:bodyPr>
          <a:lstStyle/>
          <a:p>
            <a:pPr algn="ctr">
              <a:lnSpc>
                <a:spcPts val="1895"/>
              </a:lnSpc>
              <a:spcBef>
                <a:spcPts val="100"/>
              </a:spcBef>
            </a:pPr>
            <a:r>
              <a:rPr sz="1600" spc="-10" dirty="0">
                <a:solidFill>
                  <a:srgbClr val="737373"/>
                </a:solidFill>
                <a:latin typeface="Roboto"/>
                <a:cs typeface="Roboto"/>
              </a:rPr>
              <a:t>Contribuir</a:t>
            </a:r>
            <a:r>
              <a:rPr sz="1600" spc="-55" dirty="0">
                <a:solidFill>
                  <a:srgbClr val="737373"/>
                </a:solidFill>
                <a:latin typeface="Roboto"/>
                <a:cs typeface="Roboto"/>
              </a:rPr>
              <a:t> </a:t>
            </a:r>
            <a:r>
              <a:rPr sz="1600" dirty="0">
                <a:solidFill>
                  <a:srgbClr val="737373"/>
                </a:solidFill>
                <a:latin typeface="Roboto"/>
                <a:cs typeface="Roboto"/>
              </a:rPr>
              <a:t>a</a:t>
            </a:r>
            <a:r>
              <a:rPr sz="1600" spc="-50" dirty="0">
                <a:solidFill>
                  <a:srgbClr val="737373"/>
                </a:solidFill>
                <a:latin typeface="Roboto"/>
                <a:cs typeface="Roboto"/>
              </a:rPr>
              <a:t> </a:t>
            </a:r>
            <a:r>
              <a:rPr sz="1600" spc="-25" dirty="0">
                <a:solidFill>
                  <a:srgbClr val="737373"/>
                </a:solidFill>
                <a:latin typeface="Roboto"/>
                <a:cs typeface="Roboto"/>
              </a:rPr>
              <a:t>la</a:t>
            </a:r>
            <a:endParaRPr sz="1600">
              <a:latin typeface="Roboto"/>
              <a:cs typeface="Roboto"/>
            </a:endParaRPr>
          </a:p>
          <a:p>
            <a:pPr algn="ctr">
              <a:lnSpc>
                <a:spcPts val="1895"/>
              </a:lnSpc>
            </a:pPr>
            <a:r>
              <a:rPr sz="1600" b="1" spc="-10" dirty="0">
                <a:solidFill>
                  <a:srgbClr val="E3112B"/>
                </a:solidFill>
                <a:latin typeface="Roboto"/>
                <a:cs typeface="Roboto"/>
              </a:rPr>
              <a:t>desestacionalización</a:t>
            </a:r>
            <a:endParaRPr sz="1600">
              <a:latin typeface="Roboto"/>
              <a:cs typeface="Roboto"/>
            </a:endParaRPr>
          </a:p>
        </p:txBody>
      </p:sp>
      <p:sp>
        <p:nvSpPr>
          <p:cNvPr id="65" name="object 65"/>
          <p:cNvSpPr txBox="1"/>
          <p:nvPr/>
        </p:nvSpPr>
        <p:spPr>
          <a:xfrm>
            <a:off x="7599681" y="5639109"/>
            <a:ext cx="1675130" cy="980440"/>
          </a:xfrm>
          <a:prstGeom prst="rect">
            <a:avLst/>
          </a:prstGeom>
          <a:solidFill>
            <a:srgbClr val="21408B"/>
          </a:solidFill>
        </p:spPr>
        <p:txBody>
          <a:bodyPr vert="horz" wrap="square" lIns="0" tIns="0" rIns="0" bIns="0" rtlCol="0">
            <a:spAutoFit/>
          </a:bodyPr>
          <a:lstStyle/>
          <a:p>
            <a:pPr>
              <a:lnSpc>
                <a:spcPct val="100000"/>
              </a:lnSpc>
            </a:pPr>
            <a:endParaRPr sz="2400">
              <a:latin typeface="Times New Roman"/>
              <a:cs typeface="Times New Roman"/>
            </a:endParaRPr>
          </a:p>
          <a:p>
            <a:pPr marL="528955">
              <a:lnSpc>
                <a:spcPct val="100000"/>
              </a:lnSpc>
              <a:spcBef>
                <a:spcPts val="5"/>
              </a:spcBef>
            </a:pPr>
            <a:r>
              <a:rPr sz="1800" b="1" spc="150" dirty="0">
                <a:solidFill>
                  <a:srgbClr val="FFFFFF"/>
                </a:solidFill>
                <a:latin typeface="Arial"/>
                <a:cs typeface="Arial"/>
              </a:rPr>
              <a:t>WTM</a:t>
            </a:r>
            <a:endParaRPr sz="1800">
              <a:latin typeface="Arial"/>
              <a:cs typeface="Arial"/>
            </a:endParaRPr>
          </a:p>
        </p:txBody>
      </p:sp>
      <p:grpSp>
        <p:nvGrpSpPr>
          <p:cNvPr id="66" name="object 66"/>
          <p:cNvGrpSpPr/>
          <p:nvPr/>
        </p:nvGrpSpPr>
        <p:grpSpPr>
          <a:xfrm>
            <a:off x="10320939" y="4458214"/>
            <a:ext cx="1675764" cy="1181100"/>
            <a:chOff x="10320939" y="4458214"/>
            <a:chExt cx="1675764" cy="1181100"/>
          </a:xfrm>
        </p:grpSpPr>
        <p:sp>
          <p:nvSpPr>
            <p:cNvPr id="67" name="object 67"/>
            <p:cNvSpPr/>
            <p:nvPr/>
          </p:nvSpPr>
          <p:spPr>
            <a:xfrm>
              <a:off x="10320939" y="4733942"/>
              <a:ext cx="1675764" cy="905510"/>
            </a:xfrm>
            <a:custGeom>
              <a:avLst/>
              <a:gdLst/>
              <a:ahLst/>
              <a:cxnLst/>
              <a:rect l="l" t="t" r="r" b="b"/>
              <a:pathLst>
                <a:path w="1675765" h="905510">
                  <a:moveTo>
                    <a:pt x="0" y="905166"/>
                  </a:moveTo>
                  <a:lnTo>
                    <a:pt x="1675400" y="905166"/>
                  </a:lnTo>
                  <a:lnTo>
                    <a:pt x="1675400" y="0"/>
                  </a:lnTo>
                  <a:lnTo>
                    <a:pt x="0" y="0"/>
                  </a:lnTo>
                  <a:lnTo>
                    <a:pt x="0" y="905166"/>
                  </a:lnTo>
                  <a:close/>
                </a:path>
              </a:pathLst>
            </a:custGeom>
            <a:solidFill>
              <a:srgbClr val="ECE4D5"/>
            </a:solidFill>
          </p:spPr>
          <p:txBody>
            <a:bodyPr wrap="square" lIns="0" tIns="0" rIns="0" bIns="0" rtlCol="0"/>
            <a:lstStyle/>
            <a:p>
              <a:endParaRPr/>
            </a:p>
          </p:txBody>
        </p:sp>
        <p:sp>
          <p:nvSpPr>
            <p:cNvPr id="68" name="object 68"/>
            <p:cNvSpPr/>
            <p:nvPr/>
          </p:nvSpPr>
          <p:spPr>
            <a:xfrm>
              <a:off x="10656588" y="4458214"/>
              <a:ext cx="1000125" cy="1000125"/>
            </a:xfrm>
            <a:custGeom>
              <a:avLst/>
              <a:gdLst/>
              <a:ahLst/>
              <a:cxnLst/>
              <a:rect l="l" t="t" r="r" b="b"/>
              <a:pathLst>
                <a:path w="1000125" h="1000125">
                  <a:moveTo>
                    <a:pt x="500062" y="1000124"/>
                  </a:moveTo>
                  <a:lnTo>
                    <a:pt x="451901" y="997835"/>
                  </a:lnTo>
                  <a:lnTo>
                    <a:pt x="405036" y="991108"/>
                  </a:lnTo>
                  <a:lnTo>
                    <a:pt x="359676" y="980151"/>
                  </a:lnTo>
                  <a:lnTo>
                    <a:pt x="316031" y="965176"/>
                  </a:lnTo>
                  <a:lnTo>
                    <a:pt x="274309" y="946390"/>
                  </a:lnTo>
                  <a:lnTo>
                    <a:pt x="234721" y="924004"/>
                  </a:lnTo>
                  <a:lnTo>
                    <a:pt x="197477" y="898227"/>
                  </a:lnTo>
                  <a:lnTo>
                    <a:pt x="162785" y="869269"/>
                  </a:lnTo>
                  <a:lnTo>
                    <a:pt x="130855" y="837339"/>
                  </a:lnTo>
                  <a:lnTo>
                    <a:pt x="101897" y="802647"/>
                  </a:lnTo>
                  <a:lnTo>
                    <a:pt x="76120" y="765402"/>
                  </a:lnTo>
                  <a:lnTo>
                    <a:pt x="53734" y="725815"/>
                  </a:lnTo>
                  <a:lnTo>
                    <a:pt x="34948" y="684093"/>
                  </a:lnTo>
                  <a:lnTo>
                    <a:pt x="19973" y="640448"/>
                  </a:lnTo>
                  <a:lnTo>
                    <a:pt x="9016" y="595088"/>
                  </a:lnTo>
                  <a:lnTo>
                    <a:pt x="2289" y="548223"/>
                  </a:lnTo>
                  <a:lnTo>
                    <a:pt x="0" y="500062"/>
                  </a:lnTo>
                  <a:lnTo>
                    <a:pt x="2289" y="451901"/>
                  </a:lnTo>
                  <a:lnTo>
                    <a:pt x="9016" y="405036"/>
                  </a:lnTo>
                  <a:lnTo>
                    <a:pt x="19973" y="359676"/>
                  </a:lnTo>
                  <a:lnTo>
                    <a:pt x="34948" y="316031"/>
                  </a:lnTo>
                  <a:lnTo>
                    <a:pt x="53734" y="274309"/>
                  </a:lnTo>
                  <a:lnTo>
                    <a:pt x="76120" y="234721"/>
                  </a:lnTo>
                  <a:lnTo>
                    <a:pt x="101897" y="197477"/>
                  </a:lnTo>
                  <a:lnTo>
                    <a:pt x="130855" y="162785"/>
                  </a:lnTo>
                  <a:lnTo>
                    <a:pt x="162785" y="130855"/>
                  </a:lnTo>
                  <a:lnTo>
                    <a:pt x="197477" y="101897"/>
                  </a:lnTo>
                  <a:lnTo>
                    <a:pt x="234721" y="76120"/>
                  </a:lnTo>
                  <a:lnTo>
                    <a:pt x="274309" y="53734"/>
                  </a:lnTo>
                  <a:lnTo>
                    <a:pt x="316031" y="34948"/>
                  </a:lnTo>
                  <a:lnTo>
                    <a:pt x="359676" y="19973"/>
                  </a:lnTo>
                  <a:lnTo>
                    <a:pt x="405036" y="9016"/>
                  </a:lnTo>
                  <a:lnTo>
                    <a:pt x="451901" y="2289"/>
                  </a:lnTo>
                  <a:lnTo>
                    <a:pt x="500062" y="0"/>
                  </a:lnTo>
                  <a:lnTo>
                    <a:pt x="548223" y="2289"/>
                  </a:lnTo>
                  <a:lnTo>
                    <a:pt x="595088" y="9016"/>
                  </a:lnTo>
                  <a:lnTo>
                    <a:pt x="640448" y="19973"/>
                  </a:lnTo>
                  <a:lnTo>
                    <a:pt x="684093" y="34948"/>
                  </a:lnTo>
                  <a:lnTo>
                    <a:pt x="725815" y="53734"/>
                  </a:lnTo>
                  <a:lnTo>
                    <a:pt x="765402" y="76120"/>
                  </a:lnTo>
                  <a:lnTo>
                    <a:pt x="802647" y="101897"/>
                  </a:lnTo>
                  <a:lnTo>
                    <a:pt x="837339" y="130855"/>
                  </a:lnTo>
                  <a:lnTo>
                    <a:pt x="869269" y="162785"/>
                  </a:lnTo>
                  <a:lnTo>
                    <a:pt x="898227" y="197477"/>
                  </a:lnTo>
                  <a:lnTo>
                    <a:pt x="924004" y="234721"/>
                  </a:lnTo>
                  <a:lnTo>
                    <a:pt x="946390" y="274309"/>
                  </a:lnTo>
                  <a:lnTo>
                    <a:pt x="965176" y="316031"/>
                  </a:lnTo>
                  <a:lnTo>
                    <a:pt x="980151" y="359676"/>
                  </a:lnTo>
                  <a:lnTo>
                    <a:pt x="991108" y="405036"/>
                  </a:lnTo>
                  <a:lnTo>
                    <a:pt x="997835" y="451901"/>
                  </a:lnTo>
                  <a:lnTo>
                    <a:pt x="1000124" y="500062"/>
                  </a:lnTo>
                  <a:lnTo>
                    <a:pt x="997835" y="548223"/>
                  </a:lnTo>
                  <a:lnTo>
                    <a:pt x="991108" y="595088"/>
                  </a:lnTo>
                  <a:lnTo>
                    <a:pt x="980151" y="640448"/>
                  </a:lnTo>
                  <a:lnTo>
                    <a:pt x="965176" y="684093"/>
                  </a:lnTo>
                  <a:lnTo>
                    <a:pt x="946390" y="725815"/>
                  </a:lnTo>
                  <a:lnTo>
                    <a:pt x="924004" y="765402"/>
                  </a:lnTo>
                  <a:lnTo>
                    <a:pt x="898227" y="802647"/>
                  </a:lnTo>
                  <a:lnTo>
                    <a:pt x="869269" y="837339"/>
                  </a:lnTo>
                  <a:lnTo>
                    <a:pt x="837339" y="869269"/>
                  </a:lnTo>
                  <a:lnTo>
                    <a:pt x="802647" y="898227"/>
                  </a:lnTo>
                  <a:lnTo>
                    <a:pt x="765402" y="924004"/>
                  </a:lnTo>
                  <a:lnTo>
                    <a:pt x="725815" y="946390"/>
                  </a:lnTo>
                  <a:lnTo>
                    <a:pt x="684093" y="965176"/>
                  </a:lnTo>
                  <a:lnTo>
                    <a:pt x="640448" y="980151"/>
                  </a:lnTo>
                  <a:lnTo>
                    <a:pt x="595088" y="991108"/>
                  </a:lnTo>
                  <a:lnTo>
                    <a:pt x="548223" y="997835"/>
                  </a:lnTo>
                  <a:lnTo>
                    <a:pt x="500062" y="1000124"/>
                  </a:lnTo>
                  <a:close/>
                </a:path>
              </a:pathLst>
            </a:custGeom>
            <a:solidFill>
              <a:srgbClr val="04A24A"/>
            </a:solidFill>
          </p:spPr>
          <p:txBody>
            <a:bodyPr wrap="square" lIns="0" tIns="0" rIns="0" bIns="0" rtlCol="0"/>
            <a:lstStyle/>
            <a:p>
              <a:endParaRPr/>
            </a:p>
          </p:txBody>
        </p:sp>
        <p:sp>
          <p:nvSpPr>
            <p:cNvPr id="69" name="object 69"/>
            <p:cNvSpPr/>
            <p:nvPr/>
          </p:nvSpPr>
          <p:spPr>
            <a:xfrm>
              <a:off x="10739932" y="4666574"/>
              <a:ext cx="833755" cy="583565"/>
            </a:xfrm>
            <a:custGeom>
              <a:avLst/>
              <a:gdLst/>
              <a:ahLst/>
              <a:cxnLst/>
              <a:rect l="l" t="t" r="r" b="b"/>
              <a:pathLst>
                <a:path w="833754" h="583564">
                  <a:moveTo>
                    <a:pt x="416718" y="583406"/>
                  </a:moveTo>
                  <a:lnTo>
                    <a:pt x="0" y="291703"/>
                  </a:lnTo>
                  <a:lnTo>
                    <a:pt x="416718" y="0"/>
                  </a:lnTo>
                  <a:lnTo>
                    <a:pt x="833437" y="291703"/>
                  </a:lnTo>
                  <a:lnTo>
                    <a:pt x="416718" y="583406"/>
                  </a:lnTo>
                  <a:close/>
                </a:path>
              </a:pathLst>
            </a:custGeom>
            <a:solidFill>
              <a:srgbClr val="F1C400"/>
            </a:solidFill>
          </p:spPr>
          <p:txBody>
            <a:bodyPr wrap="square" lIns="0" tIns="0" rIns="0" bIns="0" rtlCol="0"/>
            <a:lstStyle/>
            <a:p>
              <a:endParaRPr/>
            </a:p>
          </p:txBody>
        </p:sp>
        <p:sp>
          <p:nvSpPr>
            <p:cNvPr id="70" name="object 70"/>
            <p:cNvSpPr/>
            <p:nvPr/>
          </p:nvSpPr>
          <p:spPr>
            <a:xfrm>
              <a:off x="10969127" y="4770753"/>
              <a:ext cx="375285" cy="375285"/>
            </a:xfrm>
            <a:custGeom>
              <a:avLst/>
              <a:gdLst/>
              <a:ahLst/>
              <a:cxnLst/>
              <a:rect l="l" t="t" r="r" b="b"/>
              <a:pathLst>
                <a:path w="375284" h="375285">
                  <a:moveTo>
                    <a:pt x="187523" y="375046"/>
                  </a:moveTo>
                  <a:lnTo>
                    <a:pt x="137685" y="368345"/>
                  </a:lnTo>
                  <a:lnTo>
                    <a:pt x="92893" y="349436"/>
                  </a:lnTo>
                  <a:lnTo>
                    <a:pt x="54938" y="320108"/>
                  </a:lnTo>
                  <a:lnTo>
                    <a:pt x="25610" y="282153"/>
                  </a:lnTo>
                  <a:lnTo>
                    <a:pt x="6701" y="237361"/>
                  </a:lnTo>
                  <a:lnTo>
                    <a:pt x="0" y="187523"/>
                  </a:lnTo>
                  <a:lnTo>
                    <a:pt x="6701" y="137685"/>
                  </a:lnTo>
                  <a:lnTo>
                    <a:pt x="25610" y="92893"/>
                  </a:lnTo>
                  <a:lnTo>
                    <a:pt x="54938" y="54938"/>
                  </a:lnTo>
                  <a:lnTo>
                    <a:pt x="92893" y="25610"/>
                  </a:lnTo>
                  <a:lnTo>
                    <a:pt x="137685" y="6701"/>
                  </a:lnTo>
                  <a:lnTo>
                    <a:pt x="187523" y="0"/>
                  </a:lnTo>
                  <a:lnTo>
                    <a:pt x="237361" y="6701"/>
                  </a:lnTo>
                  <a:lnTo>
                    <a:pt x="282153" y="25610"/>
                  </a:lnTo>
                  <a:lnTo>
                    <a:pt x="320108" y="54938"/>
                  </a:lnTo>
                  <a:lnTo>
                    <a:pt x="349436" y="92893"/>
                  </a:lnTo>
                  <a:lnTo>
                    <a:pt x="368345" y="137685"/>
                  </a:lnTo>
                  <a:lnTo>
                    <a:pt x="375046" y="187523"/>
                  </a:lnTo>
                  <a:lnTo>
                    <a:pt x="368345" y="237361"/>
                  </a:lnTo>
                  <a:lnTo>
                    <a:pt x="349436" y="282153"/>
                  </a:lnTo>
                  <a:lnTo>
                    <a:pt x="320108" y="320108"/>
                  </a:lnTo>
                  <a:lnTo>
                    <a:pt x="282153" y="349436"/>
                  </a:lnTo>
                  <a:lnTo>
                    <a:pt x="237361" y="368345"/>
                  </a:lnTo>
                  <a:lnTo>
                    <a:pt x="187523" y="375046"/>
                  </a:lnTo>
                  <a:close/>
                </a:path>
              </a:pathLst>
            </a:custGeom>
            <a:solidFill>
              <a:srgbClr val="217EBA"/>
            </a:solidFill>
          </p:spPr>
          <p:txBody>
            <a:bodyPr wrap="square" lIns="0" tIns="0" rIns="0" bIns="0" rtlCol="0"/>
            <a:lstStyle/>
            <a:p>
              <a:endParaRPr/>
            </a:p>
          </p:txBody>
        </p:sp>
        <p:sp>
          <p:nvSpPr>
            <p:cNvPr id="71" name="object 71"/>
            <p:cNvSpPr/>
            <p:nvPr/>
          </p:nvSpPr>
          <p:spPr>
            <a:xfrm>
              <a:off x="10971623" y="4880467"/>
              <a:ext cx="371475" cy="135255"/>
            </a:xfrm>
            <a:custGeom>
              <a:avLst/>
              <a:gdLst/>
              <a:ahLst/>
              <a:cxnLst/>
              <a:rect l="l" t="t" r="r" b="b"/>
              <a:pathLst>
                <a:path w="371475" h="135254">
                  <a:moveTo>
                    <a:pt x="363652" y="134999"/>
                  </a:moveTo>
                  <a:lnTo>
                    <a:pt x="328452" y="105007"/>
                  </a:lnTo>
                  <a:lnTo>
                    <a:pt x="289653" y="79549"/>
                  </a:lnTo>
                  <a:lnTo>
                    <a:pt x="247670" y="59035"/>
                  </a:lnTo>
                  <a:lnTo>
                    <a:pt x="202921" y="43874"/>
                  </a:lnTo>
                  <a:lnTo>
                    <a:pt x="155820" y="34477"/>
                  </a:lnTo>
                  <a:lnTo>
                    <a:pt x="106784" y="31253"/>
                  </a:lnTo>
                  <a:lnTo>
                    <a:pt x="79203" y="32261"/>
                  </a:lnTo>
                  <a:lnTo>
                    <a:pt x="52171" y="35242"/>
                  </a:lnTo>
                  <a:lnTo>
                    <a:pt x="25749" y="40135"/>
                  </a:lnTo>
                  <a:lnTo>
                    <a:pt x="0" y="46880"/>
                  </a:lnTo>
                  <a:lnTo>
                    <a:pt x="3906" y="28988"/>
                  </a:lnTo>
                  <a:lnTo>
                    <a:pt x="57176" y="3025"/>
                  </a:lnTo>
                  <a:lnTo>
                    <a:pt x="106784" y="0"/>
                  </a:lnTo>
                  <a:lnTo>
                    <a:pt x="156669" y="3068"/>
                  </a:lnTo>
                  <a:lnTo>
                    <a:pt x="204721" y="12033"/>
                  </a:lnTo>
                  <a:lnTo>
                    <a:pt x="250573" y="26533"/>
                  </a:lnTo>
                  <a:lnTo>
                    <a:pt x="293857" y="46205"/>
                  </a:lnTo>
                  <a:lnTo>
                    <a:pt x="334204" y="70689"/>
                  </a:lnTo>
                  <a:lnTo>
                    <a:pt x="371248" y="99621"/>
                  </a:lnTo>
                  <a:lnTo>
                    <a:pt x="368305" y="117595"/>
                  </a:lnTo>
                  <a:lnTo>
                    <a:pt x="363652" y="134999"/>
                  </a:lnTo>
                  <a:close/>
                </a:path>
              </a:pathLst>
            </a:custGeom>
            <a:solidFill>
              <a:srgbClr val="FFFFFF"/>
            </a:solidFill>
          </p:spPr>
          <p:txBody>
            <a:bodyPr wrap="square" lIns="0" tIns="0" rIns="0" bIns="0" rtlCol="0"/>
            <a:lstStyle/>
            <a:p>
              <a:endParaRPr/>
            </a:p>
          </p:txBody>
        </p:sp>
      </p:grpSp>
      <p:sp>
        <p:nvSpPr>
          <p:cNvPr id="72" name="object 72"/>
          <p:cNvSpPr txBox="1"/>
          <p:nvPr/>
        </p:nvSpPr>
        <p:spPr>
          <a:xfrm>
            <a:off x="10320939" y="5639109"/>
            <a:ext cx="1675130" cy="980440"/>
          </a:xfrm>
          <a:prstGeom prst="rect">
            <a:avLst/>
          </a:prstGeom>
          <a:solidFill>
            <a:srgbClr val="0090AE"/>
          </a:solidFill>
        </p:spPr>
        <p:txBody>
          <a:bodyPr vert="horz" wrap="square" lIns="0" tIns="0" rIns="0" bIns="0" rtlCol="0">
            <a:spAutoFit/>
          </a:bodyPr>
          <a:lstStyle/>
          <a:p>
            <a:pPr>
              <a:lnSpc>
                <a:spcPct val="100000"/>
              </a:lnSpc>
            </a:pPr>
            <a:endParaRPr sz="2400">
              <a:latin typeface="Times New Roman"/>
              <a:cs typeface="Times New Roman"/>
            </a:endParaRPr>
          </a:p>
          <a:p>
            <a:pPr marL="305435">
              <a:lnSpc>
                <a:spcPct val="100000"/>
              </a:lnSpc>
              <a:spcBef>
                <a:spcPts val="5"/>
              </a:spcBef>
            </a:pPr>
            <a:r>
              <a:rPr sz="1800" b="1" spc="-10" dirty="0">
                <a:solidFill>
                  <a:srgbClr val="FFFFFF"/>
                </a:solidFill>
                <a:latin typeface="Arial"/>
                <a:cs typeface="Arial"/>
              </a:rPr>
              <a:t>FESTURIS</a:t>
            </a:r>
            <a:endParaRPr sz="1800">
              <a:latin typeface="Arial"/>
              <a:cs typeface="Arial"/>
            </a:endParaRPr>
          </a:p>
        </p:txBody>
      </p:sp>
      <p:sp>
        <p:nvSpPr>
          <p:cNvPr id="73" name="object 73"/>
          <p:cNvSpPr txBox="1"/>
          <p:nvPr/>
        </p:nvSpPr>
        <p:spPr>
          <a:xfrm>
            <a:off x="8661390" y="8605522"/>
            <a:ext cx="2510790" cy="303530"/>
          </a:xfrm>
          <a:prstGeom prst="rect">
            <a:avLst/>
          </a:prstGeom>
        </p:spPr>
        <p:txBody>
          <a:bodyPr vert="horz" wrap="square" lIns="0" tIns="15875" rIns="0" bIns="0" rtlCol="0">
            <a:spAutoFit/>
          </a:bodyPr>
          <a:lstStyle/>
          <a:p>
            <a:pPr>
              <a:lnSpc>
                <a:spcPct val="100000"/>
              </a:lnSpc>
              <a:spcBef>
                <a:spcPts val="125"/>
              </a:spcBef>
            </a:pPr>
            <a:r>
              <a:rPr sz="1800" b="1" dirty="0">
                <a:solidFill>
                  <a:srgbClr val="FFFFFF"/>
                </a:solidFill>
                <a:latin typeface="Roboto"/>
                <a:cs typeface="Roboto"/>
              </a:rPr>
              <a:t>Reportaje</a:t>
            </a:r>
            <a:r>
              <a:rPr sz="1800" b="1" spc="45" dirty="0">
                <a:solidFill>
                  <a:srgbClr val="FFFFFF"/>
                </a:solidFill>
                <a:latin typeface="Roboto"/>
                <a:cs typeface="Roboto"/>
              </a:rPr>
              <a:t> </a:t>
            </a:r>
            <a:r>
              <a:rPr sz="1800" b="1" spc="-10" dirty="0">
                <a:solidFill>
                  <a:srgbClr val="FFFFFF"/>
                </a:solidFill>
                <a:latin typeface="Roboto"/>
                <a:cs typeface="Roboto"/>
              </a:rPr>
              <a:t>especializado</a:t>
            </a:r>
            <a:endParaRPr sz="1800">
              <a:latin typeface="Roboto"/>
              <a:cs typeface="Roboto"/>
            </a:endParaRPr>
          </a:p>
        </p:txBody>
      </p:sp>
      <p:sp>
        <p:nvSpPr>
          <p:cNvPr id="74" name="object 74"/>
          <p:cNvSpPr txBox="1"/>
          <p:nvPr/>
        </p:nvSpPr>
        <p:spPr>
          <a:xfrm>
            <a:off x="12198377" y="7423770"/>
            <a:ext cx="1219835" cy="303530"/>
          </a:xfrm>
          <a:prstGeom prst="rect">
            <a:avLst/>
          </a:prstGeom>
        </p:spPr>
        <p:txBody>
          <a:bodyPr vert="horz" wrap="square" lIns="0" tIns="15875" rIns="0" bIns="0" rtlCol="0">
            <a:spAutoFit/>
          </a:bodyPr>
          <a:lstStyle/>
          <a:p>
            <a:pPr marL="12700">
              <a:lnSpc>
                <a:spcPct val="100000"/>
              </a:lnSpc>
              <a:spcBef>
                <a:spcPts val="125"/>
              </a:spcBef>
            </a:pPr>
            <a:r>
              <a:rPr sz="1800" b="1" dirty="0">
                <a:solidFill>
                  <a:srgbClr val="FFFFFF"/>
                </a:solidFill>
                <a:latin typeface="Roboto"/>
                <a:cs typeface="Roboto"/>
              </a:rPr>
              <a:t>Press</a:t>
            </a:r>
            <a:r>
              <a:rPr sz="1800" b="1" spc="65" dirty="0">
                <a:solidFill>
                  <a:srgbClr val="FFFFFF"/>
                </a:solidFill>
                <a:latin typeface="Roboto"/>
                <a:cs typeface="Roboto"/>
              </a:rPr>
              <a:t> </a:t>
            </a:r>
            <a:r>
              <a:rPr sz="1800" b="1" spc="-20" dirty="0">
                <a:solidFill>
                  <a:srgbClr val="FFFFFF"/>
                </a:solidFill>
                <a:latin typeface="Roboto"/>
                <a:cs typeface="Roboto"/>
              </a:rPr>
              <a:t>Trips</a:t>
            </a:r>
            <a:endParaRPr sz="1800">
              <a:latin typeface="Roboto"/>
              <a:cs typeface="Roboto"/>
            </a:endParaRPr>
          </a:p>
        </p:txBody>
      </p:sp>
      <p:sp>
        <p:nvSpPr>
          <p:cNvPr id="75" name="object 75"/>
          <p:cNvSpPr txBox="1"/>
          <p:nvPr/>
        </p:nvSpPr>
        <p:spPr>
          <a:xfrm>
            <a:off x="8648548" y="7423770"/>
            <a:ext cx="1130300" cy="303530"/>
          </a:xfrm>
          <a:prstGeom prst="rect">
            <a:avLst/>
          </a:prstGeom>
        </p:spPr>
        <p:txBody>
          <a:bodyPr vert="horz" wrap="square" lIns="0" tIns="15875" rIns="0" bIns="0" rtlCol="0">
            <a:spAutoFit/>
          </a:bodyPr>
          <a:lstStyle/>
          <a:p>
            <a:pPr marL="12700">
              <a:lnSpc>
                <a:spcPct val="100000"/>
              </a:lnSpc>
              <a:spcBef>
                <a:spcPts val="125"/>
              </a:spcBef>
            </a:pPr>
            <a:r>
              <a:rPr sz="1800" b="1" spc="-10" dirty="0">
                <a:solidFill>
                  <a:srgbClr val="FFFFFF"/>
                </a:solidFill>
                <a:latin typeface="Roboto"/>
                <a:cs typeface="Roboto"/>
              </a:rPr>
              <a:t>Campañas</a:t>
            </a:r>
            <a:endParaRPr sz="1800">
              <a:latin typeface="Roboto"/>
              <a:cs typeface="Roboto"/>
            </a:endParaRPr>
          </a:p>
        </p:txBody>
      </p:sp>
      <p:sp>
        <p:nvSpPr>
          <p:cNvPr id="76" name="object 76"/>
          <p:cNvSpPr txBox="1"/>
          <p:nvPr/>
        </p:nvSpPr>
        <p:spPr>
          <a:xfrm>
            <a:off x="7985203" y="7211682"/>
            <a:ext cx="361315" cy="713740"/>
          </a:xfrm>
          <a:prstGeom prst="rect">
            <a:avLst/>
          </a:prstGeom>
        </p:spPr>
        <p:txBody>
          <a:bodyPr vert="horz" wrap="square" lIns="0" tIns="13970" rIns="0" bIns="0" rtlCol="0">
            <a:spAutoFit/>
          </a:bodyPr>
          <a:lstStyle/>
          <a:p>
            <a:pPr marL="12700">
              <a:lnSpc>
                <a:spcPct val="100000"/>
              </a:lnSpc>
              <a:spcBef>
                <a:spcPts val="110"/>
              </a:spcBef>
            </a:pPr>
            <a:r>
              <a:rPr sz="4500" b="1" spc="5" dirty="0">
                <a:solidFill>
                  <a:srgbClr val="F5A316"/>
                </a:solidFill>
                <a:latin typeface="OpenSans-ExtraBold"/>
                <a:cs typeface="OpenSans-ExtraBold"/>
              </a:rPr>
              <a:t>4</a:t>
            </a:r>
            <a:endParaRPr sz="4500">
              <a:latin typeface="OpenSans-ExtraBold"/>
              <a:cs typeface="OpenSans-ExtraBold"/>
            </a:endParaRPr>
          </a:p>
        </p:txBody>
      </p:sp>
      <p:sp>
        <p:nvSpPr>
          <p:cNvPr id="77" name="object 77"/>
          <p:cNvSpPr txBox="1"/>
          <p:nvPr/>
        </p:nvSpPr>
        <p:spPr>
          <a:xfrm>
            <a:off x="7997902" y="8393428"/>
            <a:ext cx="348615" cy="713740"/>
          </a:xfrm>
          <a:prstGeom prst="rect">
            <a:avLst/>
          </a:prstGeom>
        </p:spPr>
        <p:txBody>
          <a:bodyPr vert="horz" wrap="square" lIns="0" tIns="13970" rIns="0" bIns="0" rtlCol="0">
            <a:spAutoFit/>
          </a:bodyPr>
          <a:lstStyle/>
          <a:p>
            <a:pPr>
              <a:lnSpc>
                <a:spcPct val="100000"/>
              </a:lnSpc>
              <a:spcBef>
                <a:spcPts val="110"/>
              </a:spcBef>
            </a:pPr>
            <a:r>
              <a:rPr sz="4500" b="1" spc="5" dirty="0">
                <a:solidFill>
                  <a:srgbClr val="F5A316"/>
                </a:solidFill>
                <a:latin typeface="OpenSans-ExtraBold"/>
                <a:cs typeface="OpenSans-ExtraBold"/>
              </a:rPr>
              <a:t>1</a:t>
            </a:r>
            <a:endParaRPr sz="4500">
              <a:latin typeface="OpenSans-ExtraBold"/>
              <a:cs typeface="OpenSans-ExtraBold"/>
            </a:endParaRPr>
          </a:p>
        </p:txBody>
      </p:sp>
      <p:sp>
        <p:nvSpPr>
          <p:cNvPr id="78" name="object 78"/>
          <p:cNvSpPr txBox="1"/>
          <p:nvPr/>
        </p:nvSpPr>
        <p:spPr>
          <a:xfrm>
            <a:off x="11470273" y="7211682"/>
            <a:ext cx="361315" cy="713740"/>
          </a:xfrm>
          <a:prstGeom prst="rect">
            <a:avLst/>
          </a:prstGeom>
        </p:spPr>
        <p:txBody>
          <a:bodyPr vert="horz" wrap="square" lIns="0" tIns="13970" rIns="0" bIns="0" rtlCol="0">
            <a:spAutoFit/>
          </a:bodyPr>
          <a:lstStyle/>
          <a:p>
            <a:pPr marL="12700">
              <a:lnSpc>
                <a:spcPct val="100000"/>
              </a:lnSpc>
              <a:spcBef>
                <a:spcPts val="110"/>
              </a:spcBef>
            </a:pPr>
            <a:r>
              <a:rPr sz="4500" b="1" spc="5" dirty="0">
                <a:solidFill>
                  <a:srgbClr val="F5A316"/>
                </a:solidFill>
                <a:latin typeface="OpenSans-ExtraBold"/>
                <a:cs typeface="OpenSans-ExtraBold"/>
              </a:rPr>
              <a:t>3</a:t>
            </a:r>
            <a:endParaRPr sz="4500">
              <a:latin typeface="OpenSans-ExtraBold"/>
              <a:cs typeface="OpenSans-ExtraBold"/>
            </a:endParaRPr>
          </a:p>
        </p:txBody>
      </p:sp>
      <p:sp>
        <p:nvSpPr>
          <p:cNvPr id="79" name="object 79"/>
          <p:cNvSpPr txBox="1"/>
          <p:nvPr/>
        </p:nvSpPr>
        <p:spPr>
          <a:xfrm>
            <a:off x="637985" y="384147"/>
            <a:ext cx="6600190"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3.</a:t>
            </a:r>
            <a:r>
              <a:rPr sz="3000" spc="-85" dirty="0">
                <a:solidFill>
                  <a:srgbClr val="FFFFFF"/>
                </a:solidFill>
                <a:latin typeface="Roboto"/>
                <a:cs typeface="Roboto"/>
              </a:rPr>
              <a:t> </a:t>
            </a:r>
            <a:r>
              <a:rPr sz="3000" spc="-20" dirty="0">
                <a:solidFill>
                  <a:srgbClr val="FFFFFF"/>
                </a:solidFill>
                <a:latin typeface="Roboto"/>
                <a:cs typeface="Roboto"/>
              </a:rPr>
              <a:t>Propuesta</a:t>
            </a:r>
            <a:r>
              <a:rPr sz="3000" spc="-80" dirty="0">
                <a:solidFill>
                  <a:srgbClr val="FFFFFF"/>
                </a:solidFill>
                <a:latin typeface="Roboto"/>
                <a:cs typeface="Roboto"/>
              </a:rPr>
              <a:t> </a:t>
            </a:r>
            <a:r>
              <a:rPr sz="3000" dirty="0">
                <a:solidFill>
                  <a:srgbClr val="FFFFFF"/>
                </a:solidFill>
                <a:latin typeface="Roboto"/>
                <a:cs typeface="Roboto"/>
              </a:rPr>
              <a:t>de</a:t>
            </a:r>
            <a:r>
              <a:rPr sz="3000" spc="-85" dirty="0">
                <a:solidFill>
                  <a:srgbClr val="FFFFFF"/>
                </a:solidFill>
                <a:latin typeface="Roboto"/>
                <a:cs typeface="Roboto"/>
              </a:rPr>
              <a:t> </a:t>
            </a:r>
            <a:r>
              <a:rPr sz="3000" spc="-20" dirty="0">
                <a:solidFill>
                  <a:srgbClr val="FFFFFF"/>
                </a:solidFill>
                <a:latin typeface="Roboto"/>
                <a:cs typeface="Roboto"/>
              </a:rPr>
              <a:t>marketing</a:t>
            </a:r>
            <a:r>
              <a:rPr sz="3000" spc="-80" dirty="0">
                <a:solidFill>
                  <a:srgbClr val="FFFFFF"/>
                </a:solidFill>
                <a:latin typeface="Roboto"/>
                <a:cs typeface="Roboto"/>
              </a:rPr>
              <a:t> </a:t>
            </a:r>
            <a:r>
              <a:rPr sz="3000" dirty="0">
                <a:solidFill>
                  <a:srgbClr val="FFFFFF"/>
                </a:solidFill>
                <a:latin typeface="Roboto"/>
                <a:cs typeface="Roboto"/>
              </a:rPr>
              <a:t>para</a:t>
            </a:r>
            <a:r>
              <a:rPr sz="3000" spc="-85" dirty="0">
                <a:solidFill>
                  <a:srgbClr val="FFFFFF"/>
                </a:solidFill>
                <a:latin typeface="Roboto"/>
                <a:cs typeface="Roboto"/>
              </a:rPr>
              <a:t> </a:t>
            </a:r>
            <a:r>
              <a:rPr sz="3000" spc="-10" dirty="0">
                <a:solidFill>
                  <a:srgbClr val="FFFFFF"/>
                </a:solidFill>
                <a:latin typeface="Roboto"/>
                <a:cs typeface="Roboto"/>
              </a:rPr>
              <a:t>Brasil</a:t>
            </a:r>
            <a:endParaRPr sz="3000">
              <a:latin typeface="Roboto"/>
              <a:cs typeface="Roboto"/>
            </a:endParaRPr>
          </a:p>
        </p:txBody>
      </p:sp>
      <p:sp>
        <p:nvSpPr>
          <p:cNvPr id="80" name="object 80"/>
          <p:cNvSpPr txBox="1"/>
          <p:nvPr/>
        </p:nvSpPr>
        <p:spPr>
          <a:xfrm>
            <a:off x="16166200" y="5975932"/>
            <a:ext cx="1146175" cy="284480"/>
          </a:xfrm>
          <a:prstGeom prst="rect">
            <a:avLst/>
          </a:prstGeom>
        </p:spPr>
        <p:txBody>
          <a:bodyPr vert="horz" wrap="square" lIns="0" tIns="12700" rIns="0" bIns="0" rtlCol="0">
            <a:spAutoFit/>
          </a:bodyPr>
          <a:lstStyle/>
          <a:p>
            <a:pPr marL="12700">
              <a:lnSpc>
                <a:spcPct val="100000"/>
              </a:lnSpc>
              <a:spcBef>
                <a:spcPts val="100"/>
              </a:spcBef>
            </a:pPr>
            <a:r>
              <a:rPr sz="1700" b="1" spc="-10" dirty="0">
                <a:solidFill>
                  <a:srgbClr val="21408B"/>
                </a:solidFill>
                <a:latin typeface="Roboto"/>
                <a:cs typeface="Roboto"/>
              </a:rPr>
              <a:t>Roadshows</a:t>
            </a:r>
            <a:endParaRPr sz="1700">
              <a:latin typeface="Roboto"/>
              <a:cs typeface="Roboto"/>
            </a:endParaRPr>
          </a:p>
        </p:txBody>
      </p:sp>
      <p:sp>
        <p:nvSpPr>
          <p:cNvPr id="81" name="object 81"/>
          <p:cNvSpPr txBox="1"/>
          <p:nvPr/>
        </p:nvSpPr>
        <p:spPr>
          <a:xfrm>
            <a:off x="16166200" y="7162975"/>
            <a:ext cx="1395730" cy="541655"/>
          </a:xfrm>
          <a:prstGeom prst="rect">
            <a:avLst/>
          </a:prstGeom>
        </p:spPr>
        <p:txBody>
          <a:bodyPr vert="horz" wrap="square" lIns="0" tIns="22225" rIns="0" bIns="0" rtlCol="0">
            <a:spAutoFit/>
          </a:bodyPr>
          <a:lstStyle/>
          <a:p>
            <a:pPr marL="12700" marR="5080">
              <a:lnSpc>
                <a:spcPts val="2030"/>
              </a:lnSpc>
              <a:spcBef>
                <a:spcPts val="175"/>
              </a:spcBef>
            </a:pPr>
            <a:r>
              <a:rPr sz="1700" b="1" spc="-10" dirty="0">
                <a:solidFill>
                  <a:srgbClr val="21408B"/>
                </a:solidFill>
                <a:latin typeface="Roboto"/>
                <a:cs typeface="Roboto"/>
              </a:rPr>
              <a:t>Webinar personalizado</a:t>
            </a:r>
            <a:endParaRPr sz="1700">
              <a:latin typeface="Roboto"/>
              <a:cs typeface="Roboto"/>
            </a:endParaRPr>
          </a:p>
        </p:txBody>
      </p:sp>
      <p:sp>
        <p:nvSpPr>
          <p:cNvPr id="82" name="object 82"/>
          <p:cNvSpPr txBox="1"/>
          <p:nvPr/>
        </p:nvSpPr>
        <p:spPr>
          <a:xfrm>
            <a:off x="16166200" y="8270721"/>
            <a:ext cx="1071880" cy="798830"/>
          </a:xfrm>
          <a:prstGeom prst="rect">
            <a:avLst/>
          </a:prstGeom>
        </p:spPr>
        <p:txBody>
          <a:bodyPr vert="horz" wrap="square" lIns="0" tIns="22225" rIns="0" bIns="0" rtlCol="0">
            <a:spAutoFit/>
          </a:bodyPr>
          <a:lstStyle/>
          <a:p>
            <a:pPr marL="12700" marR="5080">
              <a:lnSpc>
                <a:spcPts val="2030"/>
              </a:lnSpc>
              <a:spcBef>
                <a:spcPts val="175"/>
              </a:spcBef>
            </a:pPr>
            <a:r>
              <a:rPr sz="1700" b="1" spc="-10" dirty="0">
                <a:solidFill>
                  <a:srgbClr val="21408B"/>
                </a:solidFill>
                <a:latin typeface="Roboto"/>
                <a:cs typeface="Roboto"/>
              </a:rPr>
              <a:t>Cápsulas formativas generales</a:t>
            </a:r>
            <a:endParaRPr sz="1700">
              <a:latin typeface="Roboto"/>
              <a:cs typeface="Roboto"/>
            </a:endParaRPr>
          </a:p>
        </p:txBody>
      </p:sp>
      <p:sp>
        <p:nvSpPr>
          <p:cNvPr id="83" name="object 83"/>
          <p:cNvSpPr/>
          <p:nvPr/>
        </p:nvSpPr>
        <p:spPr>
          <a:xfrm>
            <a:off x="15254850" y="4660264"/>
            <a:ext cx="607695" cy="598805"/>
          </a:xfrm>
          <a:custGeom>
            <a:avLst/>
            <a:gdLst/>
            <a:ahLst/>
            <a:cxnLst/>
            <a:rect l="l" t="t" r="r" b="b"/>
            <a:pathLst>
              <a:path w="607694" h="598804">
                <a:moveTo>
                  <a:pt x="484154" y="494145"/>
                </a:moveTo>
                <a:lnTo>
                  <a:pt x="439749" y="487873"/>
                </a:lnTo>
                <a:lnTo>
                  <a:pt x="392850" y="464143"/>
                </a:lnTo>
                <a:lnTo>
                  <a:pt x="360639" y="436512"/>
                </a:lnTo>
                <a:lnTo>
                  <a:pt x="65847" y="144767"/>
                </a:lnTo>
                <a:lnTo>
                  <a:pt x="34879" y="110970"/>
                </a:lnTo>
                <a:lnTo>
                  <a:pt x="12816" y="76437"/>
                </a:lnTo>
                <a:lnTo>
                  <a:pt x="0" y="24319"/>
                </a:lnTo>
                <a:lnTo>
                  <a:pt x="226" y="3803"/>
                </a:lnTo>
                <a:lnTo>
                  <a:pt x="348" y="1885"/>
                </a:lnTo>
                <a:lnTo>
                  <a:pt x="1904" y="359"/>
                </a:lnTo>
                <a:lnTo>
                  <a:pt x="3842" y="223"/>
                </a:lnTo>
                <a:lnTo>
                  <a:pt x="24580" y="0"/>
                </a:lnTo>
                <a:lnTo>
                  <a:pt x="43536" y="2092"/>
                </a:lnTo>
                <a:lnTo>
                  <a:pt x="94965" y="22389"/>
                </a:lnTo>
                <a:lnTo>
                  <a:pt x="129095" y="48855"/>
                </a:lnTo>
                <a:lnTo>
                  <a:pt x="441048" y="356930"/>
                </a:lnTo>
                <a:lnTo>
                  <a:pt x="468979" y="388811"/>
                </a:lnTo>
                <a:lnTo>
                  <a:pt x="488325" y="422481"/>
                </a:lnTo>
                <a:lnTo>
                  <a:pt x="499041" y="470738"/>
                </a:lnTo>
                <a:lnTo>
                  <a:pt x="498916" y="490191"/>
                </a:lnTo>
                <a:lnTo>
                  <a:pt x="498794" y="492109"/>
                </a:lnTo>
                <a:lnTo>
                  <a:pt x="497222" y="493665"/>
                </a:lnTo>
                <a:lnTo>
                  <a:pt x="495284" y="493786"/>
                </a:lnTo>
                <a:lnTo>
                  <a:pt x="484154" y="494145"/>
                </a:lnTo>
                <a:close/>
              </a:path>
              <a:path w="607694" h="598804">
                <a:moveTo>
                  <a:pt x="440590" y="93897"/>
                </a:moveTo>
                <a:lnTo>
                  <a:pt x="439461" y="93474"/>
                </a:lnTo>
                <a:lnTo>
                  <a:pt x="436561" y="90589"/>
                </a:lnTo>
                <a:lnTo>
                  <a:pt x="433631" y="87659"/>
                </a:lnTo>
                <a:lnTo>
                  <a:pt x="432151" y="83793"/>
                </a:lnTo>
                <a:lnTo>
                  <a:pt x="432168" y="75999"/>
                </a:lnTo>
                <a:lnTo>
                  <a:pt x="433616" y="72178"/>
                </a:lnTo>
                <a:lnTo>
                  <a:pt x="439537" y="66318"/>
                </a:lnTo>
                <a:lnTo>
                  <a:pt x="443459" y="64852"/>
                </a:lnTo>
                <a:lnTo>
                  <a:pt x="451272" y="64852"/>
                </a:lnTo>
                <a:lnTo>
                  <a:pt x="455194" y="66333"/>
                </a:lnTo>
                <a:lnTo>
                  <a:pt x="476041" y="86980"/>
                </a:lnTo>
                <a:lnTo>
                  <a:pt x="474591" y="90952"/>
                </a:lnTo>
                <a:lnTo>
                  <a:pt x="440590" y="93897"/>
                </a:lnTo>
                <a:close/>
              </a:path>
              <a:path w="607694" h="598804">
                <a:moveTo>
                  <a:pt x="311881" y="105029"/>
                </a:moveTo>
                <a:lnTo>
                  <a:pt x="310736" y="104621"/>
                </a:lnTo>
                <a:lnTo>
                  <a:pt x="304922" y="98851"/>
                </a:lnTo>
                <a:lnTo>
                  <a:pt x="303441" y="94970"/>
                </a:lnTo>
                <a:lnTo>
                  <a:pt x="303441" y="87357"/>
                </a:lnTo>
                <a:lnTo>
                  <a:pt x="304769" y="83672"/>
                </a:lnTo>
                <a:lnTo>
                  <a:pt x="307424" y="80802"/>
                </a:lnTo>
                <a:lnTo>
                  <a:pt x="310797" y="77464"/>
                </a:lnTo>
                <a:lnTo>
                  <a:pt x="314719" y="75999"/>
                </a:lnTo>
                <a:lnTo>
                  <a:pt x="322563" y="75999"/>
                </a:lnTo>
                <a:lnTo>
                  <a:pt x="326485" y="77479"/>
                </a:lnTo>
                <a:lnTo>
                  <a:pt x="347331" y="98126"/>
                </a:lnTo>
                <a:lnTo>
                  <a:pt x="345882" y="102099"/>
                </a:lnTo>
                <a:lnTo>
                  <a:pt x="311881" y="105029"/>
                </a:lnTo>
                <a:close/>
              </a:path>
              <a:path w="607694" h="598804">
                <a:moveTo>
                  <a:pt x="382828" y="262758"/>
                </a:moveTo>
                <a:lnTo>
                  <a:pt x="375930" y="261837"/>
                </a:lnTo>
                <a:lnTo>
                  <a:pt x="358884" y="246280"/>
                </a:lnTo>
                <a:lnTo>
                  <a:pt x="249281" y="136233"/>
                </a:lnTo>
                <a:lnTo>
                  <a:pt x="250731" y="132261"/>
                </a:lnTo>
                <a:lnTo>
                  <a:pt x="552589" y="106131"/>
                </a:lnTo>
                <a:lnTo>
                  <a:pt x="553718" y="106524"/>
                </a:lnTo>
                <a:lnTo>
                  <a:pt x="598233" y="149857"/>
                </a:lnTo>
                <a:lnTo>
                  <a:pt x="597760" y="152998"/>
                </a:lnTo>
                <a:lnTo>
                  <a:pt x="382828" y="262758"/>
                </a:lnTo>
                <a:close/>
              </a:path>
              <a:path w="607694" h="598804">
                <a:moveTo>
                  <a:pt x="150346" y="593109"/>
                </a:moveTo>
                <a:lnTo>
                  <a:pt x="106578" y="549036"/>
                </a:lnTo>
                <a:lnTo>
                  <a:pt x="106166" y="547933"/>
                </a:lnTo>
                <a:lnTo>
                  <a:pt x="132750" y="247292"/>
                </a:lnTo>
                <a:lnTo>
                  <a:pt x="136763" y="245842"/>
                </a:lnTo>
                <a:lnTo>
                  <a:pt x="233166" y="341917"/>
                </a:lnTo>
                <a:lnTo>
                  <a:pt x="263947" y="371792"/>
                </a:lnTo>
                <a:lnTo>
                  <a:pt x="265076" y="378665"/>
                </a:lnTo>
                <a:lnTo>
                  <a:pt x="153520" y="592641"/>
                </a:lnTo>
                <a:lnTo>
                  <a:pt x="150346" y="593109"/>
                </a:lnTo>
                <a:close/>
              </a:path>
              <a:path w="607694" h="598804">
                <a:moveTo>
                  <a:pt x="98077" y="344817"/>
                </a:moveTo>
                <a:lnTo>
                  <a:pt x="79719" y="326662"/>
                </a:lnTo>
                <a:lnTo>
                  <a:pt x="77079" y="323792"/>
                </a:lnTo>
                <a:lnTo>
                  <a:pt x="75736" y="320107"/>
                </a:lnTo>
                <a:lnTo>
                  <a:pt x="75736" y="312510"/>
                </a:lnTo>
                <a:lnTo>
                  <a:pt x="77201" y="308628"/>
                </a:lnTo>
                <a:lnTo>
                  <a:pt x="83122" y="302813"/>
                </a:lnTo>
                <a:lnTo>
                  <a:pt x="87029" y="301348"/>
                </a:lnTo>
                <a:lnTo>
                  <a:pt x="94873" y="301348"/>
                </a:lnTo>
                <a:lnTo>
                  <a:pt x="98795" y="302813"/>
                </a:lnTo>
                <a:lnTo>
                  <a:pt x="104624" y="308583"/>
                </a:lnTo>
                <a:lnTo>
                  <a:pt x="105052" y="309716"/>
                </a:lnTo>
                <a:lnTo>
                  <a:pt x="102076" y="343352"/>
                </a:lnTo>
                <a:lnTo>
                  <a:pt x="98077" y="344817"/>
                </a:lnTo>
                <a:close/>
              </a:path>
              <a:path w="607694" h="598804">
                <a:moveTo>
                  <a:pt x="516375" y="431347"/>
                </a:moveTo>
                <a:lnTo>
                  <a:pt x="514437" y="430169"/>
                </a:lnTo>
                <a:lnTo>
                  <a:pt x="512331" y="423463"/>
                </a:lnTo>
                <a:lnTo>
                  <a:pt x="510606" y="418750"/>
                </a:lnTo>
                <a:lnTo>
                  <a:pt x="493499" y="385612"/>
                </a:lnTo>
                <a:lnTo>
                  <a:pt x="495422" y="382229"/>
                </a:lnTo>
                <a:lnTo>
                  <a:pt x="581065" y="384344"/>
                </a:lnTo>
                <a:lnTo>
                  <a:pt x="582026" y="384752"/>
                </a:lnTo>
                <a:lnTo>
                  <a:pt x="607283" y="409733"/>
                </a:lnTo>
                <a:lnTo>
                  <a:pt x="606138" y="413464"/>
                </a:lnTo>
                <a:lnTo>
                  <a:pt x="516375" y="431347"/>
                </a:lnTo>
                <a:close/>
              </a:path>
              <a:path w="607694" h="598804">
                <a:moveTo>
                  <a:pt x="86830" y="472188"/>
                </a:moveTo>
                <a:lnTo>
                  <a:pt x="65969" y="451526"/>
                </a:lnTo>
                <a:lnTo>
                  <a:pt x="64489" y="447659"/>
                </a:lnTo>
                <a:lnTo>
                  <a:pt x="64489" y="439911"/>
                </a:lnTo>
                <a:lnTo>
                  <a:pt x="65954" y="436044"/>
                </a:lnTo>
                <a:lnTo>
                  <a:pt x="71860" y="430199"/>
                </a:lnTo>
                <a:lnTo>
                  <a:pt x="75797" y="428719"/>
                </a:lnTo>
                <a:lnTo>
                  <a:pt x="83610" y="428719"/>
                </a:lnTo>
                <a:lnTo>
                  <a:pt x="87532" y="430199"/>
                </a:lnTo>
                <a:lnTo>
                  <a:pt x="93408" y="435999"/>
                </a:lnTo>
                <a:lnTo>
                  <a:pt x="93820" y="437132"/>
                </a:lnTo>
                <a:lnTo>
                  <a:pt x="90844" y="470738"/>
                </a:lnTo>
                <a:lnTo>
                  <a:pt x="86830" y="472188"/>
                </a:lnTo>
                <a:close/>
              </a:path>
              <a:path w="607694" h="598804">
                <a:moveTo>
                  <a:pt x="416676" y="598365"/>
                </a:moveTo>
                <a:lnTo>
                  <a:pt x="391420" y="573368"/>
                </a:lnTo>
                <a:lnTo>
                  <a:pt x="391023" y="572432"/>
                </a:lnTo>
                <a:lnTo>
                  <a:pt x="388993" y="492049"/>
                </a:lnTo>
                <a:lnTo>
                  <a:pt x="392351" y="490131"/>
                </a:lnTo>
                <a:lnTo>
                  <a:pt x="395706" y="492109"/>
                </a:lnTo>
                <a:lnTo>
                  <a:pt x="400709" y="494960"/>
                </a:lnTo>
                <a:lnTo>
                  <a:pt x="436653" y="509721"/>
                </a:lnTo>
                <a:lnTo>
                  <a:pt x="437858" y="511654"/>
                </a:lnTo>
                <a:lnTo>
                  <a:pt x="420461" y="597247"/>
                </a:lnTo>
                <a:lnTo>
                  <a:pt x="416676" y="598365"/>
                </a:lnTo>
                <a:close/>
              </a:path>
            </a:pathLst>
          </a:custGeom>
          <a:solidFill>
            <a:srgbClr val="21408B"/>
          </a:solidFill>
        </p:spPr>
        <p:txBody>
          <a:bodyPr wrap="square" lIns="0" tIns="0" rIns="0" bIns="0" rtlCol="0"/>
          <a:lstStyle/>
          <a:p>
            <a:endParaRPr/>
          </a:p>
        </p:txBody>
      </p:sp>
      <p:sp>
        <p:nvSpPr>
          <p:cNvPr id="84" name="object 84"/>
          <p:cNvSpPr txBox="1"/>
          <p:nvPr/>
        </p:nvSpPr>
        <p:spPr>
          <a:xfrm>
            <a:off x="16166349" y="4782053"/>
            <a:ext cx="948055" cy="284480"/>
          </a:xfrm>
          <a:prstGeom prst="rect">
            <a:avLst/>
          </a:prstGeom>
        </p:spPr>
        <p:txBody>
          <a:bodyPr vert="horz" wrap="square" lIns="0" tIns="12700" rIns="0" bIns="0" rtlCol="0">
            <a:spAutoFit/>
          </a:bodyPr>
          <a:lstStyle/>
          <a:p>
            <a:pPr marL="12700">
              <a:lnSpc>
                <a:spcPct val="100000"/>
              </a:lnSpc>
              <a:spcBef>
                <a:spcPts val="100"/>
              </a:spcBef>
            </a:pPr>
            <a:r>
              <a:rPr sz="1700" b="1" spc="-10" dirty="0">
                <a:solidFill>
                  <a:srgbClr val="21408B"/>
                </a:solidFill>
                <a:latin typeface="Roboto"/>
                <a:cs typeface="Roboto"/>
              </a:rPr>
              <a:t>FamTrips</a:t>
            </a:r>
            <a:endParaRPr sz="1700">
              <a:latin typeface="Roboto"/>
              <a:cs typeface="Roboto"/>
            </a:endParaRPr>
          </a:p>
        </p:txBody>
      </p:sp>
      <p:sp>
        <p:nvSpPr>
          <p:cNvPr id="85" name="object 85"/>
          <p:cNvSpPr txBox="1"/>
          <p:nvPr/>
        </p:nvSpPr>
        <p:spPr>
          <a:xfrm>
            <a:off x="14565932" y="4266912"/>
            <a:ext cx="538480" cy="3608070"/>
          </a:xfrm>
          <a:prstGeom prst="rect">
            <a:avLst/>
          </a:prstGeom>
        </p:spPr>
        <p:txBody>
          <a:bodyPr vert="horz" wrap="square" lIns="0" tIns="169545" rIns="0" bIns="0" rtlCol="0">
            <a:spAutoFit/>
          </a:bodyPr>
          <a:lstStyle/>
          <a:p>
            <a:pPr marL="38100">
              <a:lnSpc>
                <a:spcPct val="100000"/>
              </a:lnSpc>
              <a:spcBef>
                <a:spcPts val="1335"/>
              </a:spcBef>
            </a:pPr>
            <a:r>
              <a:rPr sz="6500" b="1" spc="20" dirty="0">
                <a:solidFill>
                  <a:srgbClr val="F5A316"/>
                </a:solidFill>
                <a:latin typeface="OpenSans-ExtraBold"/>
                <a:cs typeface="OpenSans-ExtraBold"/>
              </a:rPr>
              <a:t>3</a:t>
            </a:r>
            <a:endParaRPr sz="6500">
              <a:latin typeface="OpenSans-ExtraBold"/>
              <a:cs typeface="OpenSans-ExtraBold"/>
            </a:endParaRPr>
          </a:p>
          <a:p>
            <a:pPr marL="12700">
              <a:lnSpc>
                <a:spcPct val="100000"/>
              </a:lnSpc>
              <a:spcBef>
                <a:spcPts val="1220"/>
              </a:spcBef>
            </a:pPr>
            <a:r>
              <a:rPr sz="6500" b="1" spc="5" dirty="0">
                <a:solidFill>
                  <a:srgbClr val="F5A316"/>
                </a:solidFill>
                <a:latin typeface="OpenSans-ExtraBold"/>
                <a:cs typeface="OpenSans-ExtraBold"/>
              </a:rPr>
              <a:t>2</a:t>
            </a:r>
            <a:endParaRPr sz="6500">
              <a:latin typeface="OpenSans-ExtraBold"/>
              <a:cs typeface="OpenSans-ExtraBold"/>
            </a:endParaRPr>
          </a:p>
          <a:p>
            <a:pPr marL="12700">
              <a:lnSpc>
                <a:spcPct val="100000"/>
              </a:lnSpc>
              <a:spcBef>
                <a:spcPts val="2350"/>
              </a:spcBef>
            </a:pPr>
            <a:r>
              <a:rPr sz="6500" b="1" dirty="0">
                <a:solidFill>
                  <a:srgbClr val="F5A316"/>
                </a:solidFill>
                <a:latin typeface="OpenSans-ExtraBold"/>
                <a:cs typeface="OpenSans-ExtraBold"/>
              </a:rPr>
              <a:t>1</a:t>
            </a:r>
            <a:endParaRPr sz="6500">
              <a:latin typeface="OpenSans-ExtraBold"/>
              <a:cs typeface="OpenSans-ExtraBold"/>
            </a:endParaRPr>
          </a:p>
        </p:txBody>
      </p:sp>
      <p:grpSp>
        <p:nvGrpSpPr>
          <p:cNvPr id="86" name="object 86"/>
          <p:cNvGrpSpPr/>
          <p:nvPr/>
        </p:nvGrpSpPr>
        <p:grpSpPr>
          <a:xfrm>
            <a:off x="1101000" y="1253323"/>
            <a:ext cx="1175385" cy="1175385"/>
            <a:chOff x="1101000" y="1253323"/>
            <a:chExt cx="1175385" cy="1175385"/>
          </a:xfrm>
        </p:grpSpPr>
        <p:sp>
          <p:nvSpPr>
            <p:cNvPr id="87" name="object 87"/>
            <p:cNvSpPr/>
            <p:nvPr/>
          </p:nvSpPr>
          <p:spPr>
            <a:xfrm>
              <a:off x="1101000" y="1253323"/>
              <a:ext cx="1175385" cy="1175385"/>
            </a:xfrm>
            <a:custGeom>
              <a:avLst/>
              <a:gdLst/>
              <a:ahLst/>
              <a:cxnLst/>
              <a:rect l="l" t="t" r="r" b="b"/>
              <a:pathLst>
                <a:path w="1175385" h="1175385">
                  <a:moveTo>
                    <a:pt x="587691" y="1175381"/>
                  </a:moveTo>
                  <a:lnTo>
                    <a:pt x="539490" y="1173432"/>
                  </a:lnTo>
                  <a:lnTo>
                    <a:pt x="492364" y="1167689"/>
                  </a:lnTo>
                  <a:lnTo>
                    <a:pt x="446461" y="1158301"/>
                  </a:lnTo>
                  <a:lnTo>
                    <a:pt x="401934" y="1145420"/>
                  </a:lnTo>
                  <a:lnTo>
                    <a:pt x="358934" y="1129197"/>
                  </a:lnTo>
                  <a:lnTo>
                    <a:pt x="317612" y="1109784"/>
                  </a:lnTo>
                  <a:lnTo>
                    <a:pt x="278120" y="1087331"/>
                  </a:lnTo>
                  <a:lnTo>
                    <a:pt x="240608" y="1061990"/>
                  </a:lnTo>
                  <a:lnTo>
                    <a:pt x="205227" y="1033913"/>
                  </a:lnTo>
                  <a:lnTo>
                    <a:pt x="172130" y="1003250"/>
                  </a:lnTo>
                  <a:lnTo>
                    <a:pt x="141467" y="970153"/>
                  </a:lnTo>
                  <a:lnTo>
                    <a:pt x="113390" y="934773"/>
                  </a:lnTo>
                  <a:lnTo>
                    <a:pt x="88049" y="897260"/>
                  </a:lnTo>
                  <a:lnTo>
                    <a:pt x="65596" y="857768"/>
                  </a:lnTo>
                  <a:lnTo>
                    <a:pt x="46183" y="816446"/>
                  </a:lnTo>
                  <a:lnTo>
                    <a:pt x="29960" y="773446"/>
                  </a:lnTo>
                  <a:lnTo>
                    <a:pt x="17079" y="728919"/>
                  </a:lnTo>
                  <a:lnTo>
                    <a:pt x="7691" y="683017"/>
                  </a:lnTo>
                  <a:lnTo>
                    <a:pt x="1948" y="635890"/>
                  </a:lnTo>
                  <a:lnTo>
                    <a:pt x="0" y="587690"/>
                  </a:lnTo>
                  <a:lnTo>
                    <a:pt x="1948" y="539490"/>
                  </a:lnTo>
                  <a:lnTo>
                    <a:pt x="7691" y="492364"/>
                  </a:lnTo>
                  <a:lnTo>
                    <a:pt x="17079" y="446461"/>
                  </a:lnTo>
                  <a:lnTo>
                    <a:pt x="29960" y="401934"/>
                  </a:lnTo>
                  <a:lnTo>
                    <a:pt x="46183" y="358934"/>
                  </a:lnTo>
                  <a:lnTo>
                    <a:pt x="65596" y="317612"/>
                  </a:lnTo>
                  <a:lnTo>
                    <a:pt x="88049" y="278120"/>
                  </a:lnTo>
                  <a:lnTo>
                    <a:pt x="113390" y="240608"/>
                  </a:lnTo>
                  <a:lnTo>
                    <a:pt x="141467" y="205227"/>
                  </a:lnTo>
                  <a:lnTo>
                    <a:pt x="172130" y="172130"/>
                  </a:lnTo>
                  <a:lnTo>
                    <a:pt x="205227" y="141467"/>
                  </a:lnTo>
                  <a:lnTo>
                    <a:pt x="240608" y="113390"/>
                  </a:lnTo>
                  <a:lnTo>
                    <a:pt x="278120" y="88049"/>
                  </a:lnTo>
                  <a:lnTo>
                    <a:pt x="317612" y="65596"/>
                  </a:lnTo>
                  <a:lnTo>
                    <a:pt x="358934" y="46183"/>
                  </a:lnTo>
                  <a:lnTo>
                    <a:pt x="401934" y="29960"/>
                  </a:lnTo>
                  <a:lnTo>
                    <a:pt x="446461" y="17079"/>
                  </a:lnTo>
                  <a:lnTo>
                    <a:pt x="492364" y="7691"/>
                  </a:lnTo>
                  <a:lnTo>
                    <a:pt x="539490" y="1948"/>
                  </a:lnTo>
                  <a:lnTo>
                    <a:pt x="587690" y="0"/>
                  </a:lnTo>
                  <a:lnTo>
                    <a:pt x="635890" y="1948"/>
                  </a:lnTo>
                  <a:lnTo>
                    <a:pt x="683016" y="7691"/>
                  </a:lnTo>
                  <a:lnTo>
                    <a:pt x="728919" y="17079"/>
                  </a:lnTo>
                  <a:lnTo>
                    <a:pt x="773446" y="29960"/>
                  </a:lnTo>
                  <a:lnTo>
                    <a:pt x="816446" y="46183"/>
                  </a:lnTo>
                  <a:lnTo>
                    <a:pt x="857768" y="65596"/>
                  </a:lnTo>
                  <a:lnTo>
                    <a:pt x="897260" y="88049"/>
                  </a:lnTo>
                  <a:lnTo>
                    <a:pt x="934772" y="113390"/>
                  </a:lnTo>
                  <a:lnTo>
                    <a:pt x="970153" y="141467"/>
                  </a:lnTo>
                  <a:lnTo>
                    <a:pt x="1003250" y="172130"/>
                  </a:lnTo>
                  <a:lnTo>
                    <a:pt x="1033913" y="205227"/>
                  </a:lnTo>
                  <a:lnTo>
                    <a:pt x="1061990" y="240608"/>
                  </a:lnTo>
                  <a:lnTo>
                    <a:pt x="1087331" y="278120"/>
                  </a:lnTo>
                  <a:lnTo>
                    <a:pt x="1109784" y="317612"/>
                  </a:lnTo>
                  <a:lnTo>
                    <a:pt x="1129197" y="358934"/>
                  </a:lnTo>
                  <a:lnTo>
                    <a:pt x="1145420" y="401934"/>
                  </a:lnTo>
                  <a:lnTo>
                    <a:pt x="1158301" y="446461"/>
                  </a:lnTo>
                  <a:lnTo>
                    <a:pt x="1167689" y="492364"/>
                  </a:lnTo>
                  <a:lnTo>
                    <a:pt x="1173432" y="539490"/>
                  </a:lnTo>
                  <a:lnTo>
                    <a:pt x="1175381" y="587690"/>
                  </a:lnTo>
                  <a:lnTo>
                    <a:pt x="1173432" y="635890"/>
                  </a:lnTo>
                  <a:lnTo>
                    <a:pt x="1167689" y="683017"/>
                  </a:lnTo>
                  <a:lnTo>
                    <a:pt x="1158301" y="728919"/>
                  </a:lnTo>
                  <a:lnTo>
                    <a:pt x="1145420" y="773446"/>
                  </a:lnTo>
                  <a:lnTo>
                    <a:pt x="1129197" y="816446"/>
                  </a:lnTo>
                  <a:lnTo>
                    <a:pt x="1109784" y="857768"/>
                  </a:lnTo>
                  <a:lnTo>
                    <a:pt x="1087331" y="897260"/>
                  </a:lnTo>
                  <a:lnTo>
                    <a:pt x="1061990" y="934773"/>
                  </a:lnTo>
                  <a:lnTo>
                    <a:pt x="1033913" y="970153"/>
                  </a:lnTo>
                  <a:lnTo>
                    <a:pt x="1003250" y="1003250"/>
                  </a:lnTo>
                  <a:lnTo>
                    <a:pt x="970153" y="1033913"/>
                  </a:lnTo>
                  <a:lnTo>
                    <a:pt x="934772" y="1061990"/>
                  </a:lnTo>
                  <a:lnTo>
                    <a:pt x="897260" y="1087331"/>
                  </a:lnTo>
                  <a:lnTo>
                    <a:pt x="857768" y="1109784"/>
                  </a:lnTo>
                  <a:lnTo>
                    <a:pt x="816446" y="1129197"/>
                  </a:lnTo>
                  <a:lnTo>
                    <a:pt x="773446" y="1145420"/>
                  </a:lnTo>
                  <a:lnTo>
                    <a:pt x="728919" y="1158301"/>
                  </a:lnTo>
                  <a:lnTo>
                    <a:pt x="683016" y="1167689"/>
                  </a:lnTo>
                  <a:lnTo>
                    <a:pt x="635890" y="1173432"/>
                  </a:lnTo>
                  <a:lnTo>
                    <a:pt x="587691" y="1175381"/>
                  </a:lnTo>
                  <a:close/>
                </a:path>
              </a:pathLst>
            </a:custGeom>
            <a:solidFill>
              <a:srgbClr val="21408B"/>
            </a:solidFill>
          </p:spPr>
          <p:txBody>
            <a:bodyPr wrap="square" lIns="0" tIns="0" rIns="0" bIns="0" rtlCol="0"/>
            <a:lstStyle/>
            <a:p>
              <a:endParaRPr/>
            </a:p>
          </p:txBody>
        </p:sp>
        <p:sp>
          <p:nvSpPr>
            <p:cNvPr id="88" name="object 88"/>
            <p:cNvSpPr/>
            <p:nvPr/>
          </p:nvSpPr>
          <p:spPr>
            <a:xfrm>
              <a:off x="1320497" y="1470824"/>
              <a:ext cx="738505" cy="740410"/>
            </a:xfrm>
            <a:custGeom>
              <a:avLst/>
              <a:gdLst/>
              <a:ahLst/>
              <a:cxnLst/>
              <a:rect l="l" t="t" r="r" b="b"/>
              <a:pathLst>
                <a:path w="738505" h="740410">
                  <a:moveTo>
                    <a:pt x="374177" y="740409"/>
                  </a:moveTo>
                  <a:lnTo>
                    <a:pt x="332567" y="740409"/>
                  </a:lnTo>
                  <a:lnTo>
                    <a:pt x="310585" y="737869"/>
                  </a:lnTo>
                  <a:lnTo>
                    <a:pt x="307760" y="736599"/>
                  </a:lnTo>
                  <a:lnTo>
                    <a:pt x="298567" y="736599"/>
                  </a:lnTo>
                  <a:lnTo>
                    <a:pt x="282618" y="732789"/>
                  </a:lnTo>
                  <a:lnTo>
                    <a:pt x="256536" y="725169"/>
                  </a:lnTo>
                  <a:lnTo>
                    <a:pt x="230092" y="716279"/>
                  </a:lnTo>
                  <a:lnTo>
                    <a:pt x="213058" y="708659"/>
                  </a:lnTo>
                  <a:lnTo>
                    <a:pt x="199635" y="701039"/>
                  </a:lnTo>
                  <a:lnTo>
                    <a:pt x="182039" y="692149"/>
                  </a:lnTo>
                  <a:lnTo>
                    <a:pt x="131425" y="655319"/>
                  </a:lnTo>
                  <a:lnTo>
                    <a:pt x="83628" y="607059"/>
                  </a:lnTo>
                  <a:lnTo>
                    <a:pt x="46016" y="551179"/>
                  </a:lnTo>
                  <a:lnTo>
                    <a:pt x="22542" y="502919"/>
                  </a:lnTo>
                  <a:lnTo>
                    <a:pt x="21273" y="497839"/>
                  </a:lnTo>
                  <a:lnTo>
                    <a:pt x="19091" y="490219"/>
                  </a:lnTo>
                  <a:lnTo>
                    <a:pt x="5457" y="439419"/>
                  </a:lnTo>
                  <a:lnTo>
                    <a:pt x="996" y="401319"/>
                  </a:lnTo>
                  <a:lnTo>
                    <a:pt x="0" y="360679"/>
                  </a:lnTo>
                  <a:lnTo>
                    <a:pt x="2634" y="320039"/>
                  </a:lnTo>
                  <a:lnTo>
                    <a:pt x="11785" y="274319"/>
                  </a:lnTo>
                  <a:lnTo>
                    <a:pt x="28113" y="226059"/>
                  </a:lnTo>
                  <a:lnTo>
                    <a:pt x="49812" y="181609"/>
                  </a:lnTo>
                  <a:lnTo>
                    <a:pt x="75080" y="144779"/>
                  </a:lnTo>
                  <a:lnTo>
                    <a:pt x="84948" y="133349"/>
                  </a:lnTo>
                  <a:lnTo>
                    <a:pt x="89126" y="128269"/>
                  </a:lnTo>
                  <a:lnTo>
                    <a:pt x="92056" y="124459"/>
                  </a:lnTo>
                  <a:lnTo>
                    <a:pt x="98711" y="116839"/>
                  </a:lnTo>
                  <a:lnTo>
                    <a:pt x="107525" y="107949"/>
                  </a:lnTo>
                  <a:lnTo>
                    <a:pt x="116650" y="99059"/>
                  </a:lnTo>
                  <a:lnTo>
                    <a:pt x="124236" y="91439"/>
                  </a:lnTo>
                  <a:lnTo>
                    <a:pt x="127847" y="88899"/>
                  </a:lnTo>
                  <a:lnTo>
                    <a:pt x="138794" y="80009"/>
                  </a:lnTo>
                  <a:lnTo>
                    <a:pt x="144783" y="74929"/>
                  </a:lnTo>
                  <a:lnTo>
                    <a:pt x="150975" y="69849"/>
                  </a:lnTo>
                  <a:lnTo>
                    <a:pt x="157397" y="64769"/>
                  </a:lnTo>
                  <a:lnTo>
                    <a:pt x="163292" y="60959"/>
                  </a:lnTo>
                  <a:lnTo>
                    <a:pt x="167899" y="57149"/>
                  </a:lnTo>
                  <a:lnTo>
                    <a:pt x="188463" y="45719"/>
                  </a:lnTo>
                  <a:lnTo>
                    <a:pt x="208697" y="35559"/>
                  </a:lnTo>
                  <a:lnTo>
                    <a:pt x="225887" y="26669"/>
                  </a:lnTo>
                  <a:lnTo>
                    <a:pt x="237315" y="21589"/>
                  </a:lnTo>
                  <a:lnTo>
                    <a:pt x="279904" y="10159"/>
                  </a:lnTo>
                  <a:lnTo>
                    <a:pt x="310080" y="2539"/>
                  </a:lnTo>
                  <a:lnTo>
                    <a:pt x="336654" y="0"/>
                  </a:lnTo>
                  <a:lnTo>
                    <a:pt x="396126" y="0"/>
                  </a:lnTo>
                  <a:lnTo>
                    <a:pt x="421865" y="2539"/>
                  </a:lnTo>
                  <a:lnTo>
                    <a:pt x="443702" y="5079"/>
                  </a:lnTo>
                  <a:lnTo>
                    <a:pt x="459690" y="8889"/>
                  </a:lnTo>
                  <a:lnTo>
                    <a:pt x="465210" y="11429"/>
                  </a:lnTo>
                  <a:lnTo>
                    <a:pt x="472627" y="12699"/>
                  </a:lnTo>
                  <a:lnTo>
                    <a:pt x="489271" y="17779"/>
                  </a:lnTo>
                  <a:lnTo>
                    <a:pt x="504791" y="24129"/>
                  </a:lnTo>
                  <a:lnTo>
                    <a:pt x="522293" y="31749"/>
                  </a:lnTo>
                  <a:lnTo>
                    <a:pt x="340222" y="31749"/>
                  </a:lnTo>
                  <a:lnTo>
                    <a:pt x="332737" y="33019"/>
                  </a:lnTo>
                  <a:lnTo>
                    <a:pt x="322519" y="36829"/>
                  </a:lnTo>
                  <a:lnTo>
                    <a:pt x="307956" y="43179"/>
                  </a:lnTo>
                  <a:lnTo>
                    <a:pt x="289391" y="53339"/>
                  </a:lnTo>
                  <a:lnTo>
                    <a:pt x="278182" y="62229"/>
                  </a:lnTo>
                  <a:lnTo>
                    <a:pt x="227635" y="62229"/>
                  </a:lnTo>
                  <a:lnTo>
                    <a:pt x="180275" y="86359"/>
                  </a:lnTo>
                  <a:lnTo>
                    <a:pt x="138819" y="120649"/>
                  </a:lnTo>
                  <a:lnTo>
                    <a:pt x="101957" y="160019"/>
                  </a:lnTo>
                  <a:lnTo>
                    <a:pt x="96906" y="168909"/>
                  </a:lnTo>
                  <a:lnTo>
                    <a:pt x="106805" y="172719"/>
                  </a:lnTo>
                  <a:lnTo>
                    <a:pt x="127198" y="173989"/>
                  </a:lnTo>
                  <a:lnTo>
                    <a:pt x="684505" y="173989"/>
                  </a:lnTo>
                  <a:lnTo>
                    <a:pt x="689561" y="181609"/>
                  </a:lnTo>
                  <a:lnTo>
                    <a:pt x="698330" y="198119"/>
                  </a:lnTo>
                  <a:lnTo>
                    <a:pt x="699021" y="199389"/>
                  </a:lnTo>
                  <a:lnTo>
                    <a:pt x="623172" y="199389"/>
                  </a:lnTo>
                  <a:lnTo>
                    <a:pt x="597183" y="200659"/>
                  </a:lnTo>
                  <a:lnTo>
                    <a:pt x="590597" y="201929"/>
                  </a:lnTo>
                  <a:lnTo>
                    <a:pt x="82930" y="201929"/>
                  </a:lnTo>
                  <a:lnTo>
                    <a:pt x="54333" y="241299"/>
                  </a:lnTo>
                  <a:lnTo>
                    <a:pt x="37744" y="290829"/>
                  </a:lnTo>
                  <a:lnTo>
                    <a:pt x="32317" y="341629"/>
                  </a:lnTo>
                  <a:lnTo>
                    <a:pt x="34281" y="350519"/>
                  </a:lnTo>
                  <a:lnTo>
                    <a:pt x="37566" y="351789"/>
                  </a:lnTo>
                  <a:lnTo>
                    <a:pt x="44675" y="353059"/>
                  </a:lnTo>
                  <a:lnTo>
                    <a:pt x="737670" y="353059"/>
                  </a:lnTo>
                  <a:lnTo>
                    <a:pt x="738021" y="364489"/>
                  </a:lnTo>
                  <a:lnTo>
                    <a:pt x="737818" y="379729"/>
                  </a:lnTo>
                  <a:lnTo>
                    <a:pt x="659422" y="379729"/>
                  </a:lnTo>
                  <a:lnTo>
                    <a:pt x="628185" y="380999"/>
                  </a:lnTo>
                  <a:lnTo>
                    <a:pt x="611969" y="382269"/>
                  </a:lnTo>
                  <a:lnTo>
                    <a:pt x="63137" y="382269"/>
                  </a:lnTo>
                  <a:lnTo>
                    <a:pt x="49141" y="383539"/>
                  </a:lnTo>
                  <a:lnTo>
                    <a:pt x="39032" y="383539"/>
                  </a:lnTo>
                  <a:lnTo>
                    <a:pt x="34293" y="384809"/>
                  </a:lnTo>
                  <a:lnTo>
                    <a:pt x="30988" y="402589"/>
                  </a:lnTo>
                  <a:lnTo>
                    <a:pt x="36085" y="438149"/>
                  </a:lnTo>
                  <a:lnTo>
                    <a:pt x="47234" y="480059"/>
                  </a:lnTo>
                  <a:lnTo>
                    <a:pt x="62084" y="518159"/>
                  </a:lnTo>
                  <a:lnTo>
                    <a:pt x="91852" y="544829"/>
                  </a:lnTo>
                  <a:lnTo>
                    <a:pt x="696813" y="544829"/>
                  </a:lnTo>
                  <a:lnTo>
                    <a:pt x="688434" y="561339"/>
                  </a:lnTo>
                  <a:lnTo>
                    <a:pt x="680489" y="572769"/>
                  </a:lnTo>
                  <a:lnTo>
                    <a:pt x="342846" y="572769"/>
                  </a:lnTo>
                  <a:lnTo>
                    <a:pt x="329222" y="574039"/>
                  </a:lnTo>
                  <a:lnTo>
                    <a:pt x="318758" y="575309"/>
                  </a:lnTo>
                  <a:lnTo>
                    <a:pt x="115954" y="575309"/>
                  </a:lnTo>
                  <a:lnTo>
                    <a:pt x="106686" y="576579"/>
                  </a:lnTo>
                  <a:lnTo>
                    <a:pt x="102218" y="577849"/>
                  </a:lnTo>
                  <a:lnTo>
                    <a:pt x="101060" y="579119"/>
                  </a:lnTo>
                  <a:lnTo>
                    <a:pt x="108484" y="590549"/>
                  </a:lnTo>
                  <a:lnTo>
                    <a:pt x="147834" y="629919"/>
                  </a:lnTo>
                  <a:lnTo>
                    <a:pt x="191234" y="662939"/>
                  </a:lnTo>
                  <a:lnTo>
                    <a:pt x="226354" y="679449"/>
                  </a:lnTo>
                  <a:lnTo>
                    <a:pt x="279139" y="679449"/>
                  </a:lnTo>
                  <a:lnTo>
                    <a:pt x="306028" y="698499"/>
                  </a:lnTo>
                  <a:lnTo>
                    <a:pt x="335019" y="706119"/>
                  </a:lnTo>
                  <a:lnTo>
                    <a:pt x="380211" y="706119"/>
                  </a:lnTo>
                  <a:lnTo>
                    <a:pt x="380402" y="708659"/>
                  </a:lnTo>
                  <a:lnTo>
                    <a:pt x="387301" y="709929"/>
                  </a:lnTo>
                  <a:lnTo>
                    <a:pt x="523621" y="709929"/>
                  </a:lnTo>
                  <a:lnTo>
                    <a:pt x="515186" y="713739"/>
                  </a:lnTo>
                  <a:lnTo>
                    <a:pt x="493868" y="721359"/>
                  </a:lnTo>
                  <a:lnTo>
                    <a:pt x="470341" y="728979"/>
                  </a:lnTo>
                  <a:lnTo>
                    <a:pt x="446847" y="735329"/>
                  </a:lnTo>
                  <a:lnTo>
                    <a:pt x="418056" y="737869"/>
                  </a:lnTo>
                  <a:lnTo>
                    <a:pt x="374177" y="740409"/>
                  </a:lnTo>
                  <a:close/>
                </a:path>
                <a:path w="738505" h="740410">
                  <a:moveTo>
                    <a:pt x="682819" y="171449"/>
                  </a:moveTo>
                  <a:lnTo>
                    <a:pt x="275428" y="171449"/>
                  </a:lnTo>
                  <a:lnTo>
                    <a:pt x="325323" y="170179"/>
                  </a:lnTo>
                  <a:lnTo>
                    <a:pt x="349554" y="167639"/>
                  </a:lnTo>
                  <a:lnTo>
                    <a:pt x="352887" y="125729"/>
                  </a:lnTo>
                  <a:lnTo>
                    <a:pt x="353013" y="34289"/>
                  </a:lnTo>
                  <a:lnTo>
                    <a:pt x="346585" y="31749"/>
                  </a:lnTo>
                  <a:lnTo>
                    <a:pt x="389594" y="31749"/>
                  </a:lnTo>
                  <a:lnTo>
                    <a:pt x="382893" y="100329"/>
                  </a:lnTo>
                  <a:lnTo>
                    <a:pt x="382232" y="149859"/>
                  </a:lnTo>
                  <a:lnTo>
                    <a:pt x="382841" y="161289"/>
                  </a:lnTo>
                  <a:lnTo>
                    <a:pt x="384113" y="167639"/>
                  </a:lnTo>
                  <a:lnTo>
                    <a:pt x="388686" y="168909"/>
                  </a:lnTo>
                  <a:lnTo>
                    <a:pt x="400835" y="170179"/>
                  </a:lnTo>
                  <a:lnTo>
                    <a:pt x="681976" y="170179"/>
                  </a:lnTo>
                  <a:lnTo>
                    <a:pt x="682819" y="171449"/>
                  </a:lnTo>
                  <a:close/>
                </a:path>
                <a:path w="738505" h="740410">
                  <a:moveTo>
                    <a:pt x="587763" y="170179"/>
                  </a:moveTo>
                  <a:lnTo>
                    <a:pt x="511690" y="170179"/>
                  </a:lnTo>
                  <a:lnTo>
                    <a:pt x="527771" y="168909"/>
                  </a:lnTo>
                  <a:lnTo>
                    <a:pt x="534052" y="168909"/>
                  </a:lnTo>
                  <a:lnTo>
                    <a:pt x="531604" y="160019"/>
                  </a:lnTo>
                  <a:lnTo>
                    <a:pt x="511015" y="123189"/>
                  </a:lnTo>
                  <a:lnTo>
                    <a:pt x="482666" y="86359"/>
                  </a:lnTo>
                  <a:lnTo>
                    <a:pt x="446963" y="54609"/>
                  </a:lnTo>
                  <a:lnTo>
                    <a:pt x="413125" y="36829"/>
                  </a:lnTo>
                  <a:lnTo>
                    <a:pt x="395196" y="31749"/>
                  </a:lnTo>
                  <a:lnTo>
                    <a:pt x="522293" y="31749"/>
                  </a:lnTo>
                  <a:lnTo>
                    <a:pt x="541149" y="40639"/>
                  </a:lnTo>
                  <a:lnTo>
                    <a:pt x="560728" y="52069"/>
                  </a:lnTo>
                  <a:lnTo>
                    <a:pt x="565719" y="54609"/>
                  </a:lnTo>
                  <a:lnTo>
                    <a:pt x="501570" y="54609"/>
                  </a:lnTo>
                  <a:lnTo>
                    <a:pt x="501667" y="57149"/>
                  </a:lnTo>
                  <a:lnTo>
                    <a:pt x="505994" y="64769"/>
                  </a:lnTo>
                  <a:lnTo>
                    <a:pt x="513860" y="76199"/>
                  </a:lnTo>
                  <a:lnTo>
                    <a:pt x="524575" y="90169"/>
                  </a:lnTo>
                  <a:lnTo>
                    <a:pt x="531550" y="99059"/>
                  </a:lnTo>
                  <a:lnTo>
                    <a:pt x="539580" y="111759"/>
                  </a:lnTo>
                  <a:lnTo>
                    <a:pt x="547671" y="125729"/>
                  </a:lnTo>
                  <a:lnTo>
                    <a:pt x="554831" y="138429"/>
                  </a:lnTo>
                  <a:lnTo>
                    <a:pt x="561124" y="149859"/>
                  </a:lnTo>
                  <a:lnTo>
                    <a:pt x="566858" y="160019"/>
                  </a:lnTo>
                  <a:lnTo>
                    <a:pt x="571398" y="166369"/>
                  </a:lnTo>
                  <a:lnTo>
                    <a:pt x="574113" y="168909"/>
                  </a:lnTo>
                  <a:lnTo>
                    <a:pt x="587763" y="170179"/>
                  </a:lnTo>
                  <a:close/>
                </a:path>
                <a:path w="738505" h="740410">
                  <a:moveTo>
                    <a:pt x="681976" y="170179"/>
                  </a:moveTo>
                  <a:lnTo>
                    <a:pt x="631931" y="170179"/>
                  </a:lnTo>
                  <a:lnTo>
                    <a:pt x="642039" y="168909"/>
                  </a:lnTo>
                  <a:lnTo>
                    <a:pt x="638178" y="161289"/>
                  </a:lnTo>
                  <a:lnTo>
                    <a:pt x="610391" y="129539"/>
                  </a:lnTo>
                  <a:lnTo>
                    <a:pt x="577783" y="99059"/>
                  </a:lnTo>
                  <a:lnTo>
                    <a:pt x="538624" y="73659"/>
                  </a:lnTo>
                  <a:lnTo>
                    <a:pt x="507110" y="57149"/>
                  </a:lnTo>
                  <a:lnTo>
                    <a:pt x="502583" y="54609"/>
                  </a:lnTo>
                  <a:lnTo>
                    <a:pt x="565719" y="54609"/>
                  </a:lnTo>
                  <a:lnTo>
                    <a:pt x="568214" y="55879"/>
                  </a:lnTo>
                  <a:lnTo>
                    <a:pt x="575027" y="59689"/>
                  </a:lnTo>
                  <a:lnTo>
                    <a:pt x="576712" y="59689"/>
                  </a:lnTo>
                  <a:lnTo>
                    <a:pt x="584470" y="66039"/>
                  </a:lnTo>
                  <a:lnTo>
                    <a:pt x="593111" y="73659"/>
                  </a:lnTo>
                  <a:lnTo>
                    <a:pt x="600180" y="78739"/>
                  </a:lnTo>
                  <a:lnTo>
                    <a:pt x="607814" y="85089"/>
                  </a:lnTo>
                  <a:lnTo>
                    <a:pt x="615096" y="91439"/>
                  </a:lnTo>
                  <a:lnTo>
                    <a:pt x="621105" y="96519"/>
                  </a:lnTo>
                  <a:lnTo>
                    <a:pt x="637035" y="113029"/>
                  </a:lnTo>
                  <a:lnTo>
                    <a:pt x="656964" y="135889"/>
                  </a:lnTo>
                  <a:lnTo>
                    <a:pt x="676077" y="161289"/>
                  </a:lnTo>
                  <a:lnTo>
                    <a:pt x="681976" y="170179"/>
                  </a:lnTo>
                  <a:close/>
                </a:path>
                <a:path w="738505" h="740410">
                  <a:moveTo>
                    <a:pt x="684505" y="173989"/>
                  </a:moveTo>
                  <a:lnTo>
                    <a:pt x="127198" y="173989"/>
                  </a:lnTo>
                  <a:lnTo>
                    <a:pt x="148396" y="172719"/>
                  </a:lnTo>
                  <a:lnTo>
                    <a:pt x="160711" y="170179"/>
                  </a:lnTo>
                  <a:lnTo>
                    <a:pt x="163376" y="166369"/>
                  </a:lnTo>
                  <a:lnTo>
                    <a:pt x="167620" y="160019"/>
                  </a:lnTo>
                  <a:lnTo>
                    <a:pt x="172859" y="149859"/>
                  </a:lnTo>
                  <a:lnTo>
                    <a:pt x="178508" y="139699"/>
                  </a:lnTo>
                  <a:lnTo>
                    <a:pt x="185321" y="126999"/>
                  </a:lnTo>
                  <a:lnTo>
                    <a:pt x="193729" y="113029"/>
                  </a:lnTo>
                  <a:lnTo>
                    <a:pt x="202663" y="100329"/>
                  </a:lnTo>
                  <a:lnTo>
                    <a:pt x="211056" y="88899"/>
                  </a:lnTo>
                  <a:lnTo>
                    <a:pt x="218357" y="78739"/>
                  </a:lnTo>
                  <a:lnTo>
                    <a:pt x="223853" y="69849"/>
                  </a:lnTo>
                  <a:lnTo>
                    <a:pt x="227095" y="64769"/>
                  </a:lnTo>
                  <a:lnTo>
                    <a:pt x="227635" y="62229"/>
                  </a:lnTo>
                  <a:lnTo>
                    <a:pt x="278182" y="62229"/>
                  </a:lnTo>
                  <a:lnTo>
                    <a:pt x="270176" y="68579"/>
                  </a:lnTo>
                  <a:lnTo>
                    <a:pt x="251632" y="86359"/>
                  </a:lnTo>
                  <a:lnTo>
                    <a:pt x="221171" y="125729"/>
                  </a:lnTo>
                  <a:lnTo>
                    <a:pt x="201513" y="162559"/>
                  </a:lnTo>
                  <a:lnTo>
                    <a:pt x="200476" y="170179"/>
                  </a:lnTo>
                  <a:lnTo>
                    <a:pt x="225327" y="171449"/>
                  </a:lnTo>
                  <a:lnTo>
                    <a:pt x="682819" y="171449"/>
                  </a:lnTo>
                  <a:lnTo>
                    <a:pt x="684505" y="173989"/>
                  </a:lnTo>
                  <a:close/>
                </a:path>
                <a:path w="738505" h="740410">
                  <a:moveTo>
                    <a:pt x="737631" y="351789"/>
                  </a:moveTo>
                  <a:lnTo>
                    <a:pt x="657105" y="351789"/>
                  </a:lnTo>
                  <a:lnTo>
                    <a:pt x="688803" y="350519"/>
                  </a:lnTo>
                  <a:lnTo>
                    <a:pt x="705856" y="347979"/>
                  </a:lnTo>
                  <a:lnTo>
                    <a:pt x="707992" y="345439"/>
                  </a:lnTo>
                  <a:lnTo>
                    <a:pt x="708818" y="341629"/>
                  </a:lnTo>
                  <a:lnTo>
                    <a:pt x="708393" y="334009"/>
                  </a:lnTo>
                  <a:lnTo>
                    <a:pt x="699473" y="285749"/>
                  </a:lnTo>
                  <a:lnTo>
                    <a:pt x="687799" y="248919"/>
                  </a:lnTo>
                  <a:lnTo>
                    <a:pt x="663026" y="200659"/>
                  </a:lnTo>
                  <a:lnTo>
                    <a:pt x="649334" y="199389"/>
                  </a:lnTo>
                  <a:lnTo>
                    <a:pt x="699021" y="199389"/>
                  </a:lnTo>
                  <a:lnTo>
                    <a:pt x="720811" y="251459"/>
                  </a:lnTo>
                  <a:lnTo>
                    <a:pt x="733949" y="297179"/>
                  </a:lnTo>
                  <a:lnTo>
                    <a:pt x="736813" y="325119"/>
                  </a:lnTo>
                  <a:lnTo>
                    <a:pt x="737631" y="351789"/>
                  </a:lnTo>
                  <a:close/>
                </a:path>
                <a:path w="738505" h="740410">
                  <a:moveTo>
                    <a:pt x="737670" y="353059"/>
                  </a:moveTo>
                  <a:lnTo>
                    <a:pt x="101913" y="353059"/>
                  </a:lnTo>
                  <a:lnTo>
                    <a:pt x="115140" y="351789"/>
                  </a:lnTo>
                  <a:lnTo>
                    <a:pt x="122037" y="350519"/>
                  </a:lnTo>
                  <a:lnTo>
                    <a:pt x="125109" y="347979"/>
                  </a:lnTo>
                  <a:lnTo>
                    <a:pt x="126804" y="345439"/>
                  </a:lnTo>
                  <a:lnTo>
                    <a:pt x="128513" y="335279"/>
                  </a:lnTo>
                  <a:lnTo>
                    <a:pt x="128906" y="325119"/>
                  </a:lnTo>
                  <a:lnTo>
                    <a:pt x="131704" y="297179"/>
                  </a:lnTo>
                  <a:lnTo>
                    <a:pt x="137328" y="262889"/>
                  </a:lnTo>
                  <a:lnTo>
                    <a:pt x="143905" y="231139"/>
                  </a:lnTo>
                  <a:lnTo>
                    <a:pt x="149562" y="212089"/>
                  </a:lnTo>
                  <a:lnTo>
                    <a:pt x="151266" y="207009"/>
                  </a:lnTo>
                  <a:lnTo>
                    <a:pt x="147404" y="203199"/>
                  </a:lnTo>
                  <a:lnTo>
                    <a:pt x="135655" y="201929"/>
                  </a:lnTo>
                  <a:lnTo>
                    <a:pt x="212076" y="201929"/>
                  </a:lnTo>
                  <a:lnTo>
                    <a:pt x="194284" y="203199"/>
                  </a:lnTo>
                  <a:lnTo>
                    <a:pt x="187004" y="203199"/>
                  </a:lnTo>
                  <a:lnTo>
                    <a:pt x="183088" y="209549"/>
                  </a:lnTo>
                  <a:lnTo>
                    <a:pt x="169027" y="257809"/>
                  </a:lnTo>
                  <a:lnTo>
                    <a:pt x="160491" y="312419"/>
                  </a:lnTo>
                  <a:lnTo>
                    <a:pt x="158474" y="334009"/>
                  </a:lnTo>
                  <a:lnTo>
                    <a:pt x="158573" y="345439"/>
                  </a:lnTo>
                  <a:lnTo>
                    <a:pt x="158628" y="347979"/>
                  </a:lnTo>
                  <a:lnTo>
                    <a:pt x="162833" y="349249"/>
                  </a:lnTo>
                  <a:lnTo>
                    <a:pt x="176935" y="350519"/>
                  </a:lnTo>
                  <a:lnTo>
                    <a:pt x="412598" y="350519"/>
                  </a:lnTo>
                  <a:lnTo>
                    <a:pt x="477317" y="351789"/>
                  </a:lnTo>
                  <a:lnTo>
                    <a:pt x="737631" y="351789"/>
                  </a:lnTo>
                  <a:lnTo>
                    <a:pt x="737670" y="353059"/>
                  </a:lnTo>
                  <a:close/>
                </a:path>
                <a:path w="738505" h="740410">
                  <a:moveTo>
                    <a:pt x="412598" y="350519"/>
                  </a:moveTo>
                  <a:lnTo>
                    <a:pt x="349151" y="350519"/>
                  </a:lnTo>
                  <a:lnTo>
                    <a:pt x="350438" y="279399"/>
                  </a:lnTo>
                  <a:lnTo>
                    <a:pt x="350525" y="271779"/>
                  </a:lnTo>
                  <a:lnTo>
                    <a:pt x="350650" y="226059"/>
                  </a:lnTo>
                  <a:lnTo>
                    <a:pt x="330890" y="201929"/>
                  </a:lnTo>
                  <a:lnTo>
                    <a:pt x="590597" y="201929"/>
                  </a:lnTo>
                  <a:lnTo>
                    <a:pt x="584012" y="203199"/>
                  </a:lnTo>
                  <a:lnTo>
                    <a:pt x="382573" y="203199"/>
                  </a:lnTo>
                  <a:lnTo>
                    <a:pt x="381311" y="271779"/>
                  </a:lnTo>
                  <a:lnTo>
                    <a:pt x="381058" y="292099"/>
                  </a:lnTo>
                  <a:lnTo>
                    <a:pt x="381100" y="328929"/>
                  </a:lnTo>
                  <a:lnTo>
                    <a:pt x="381361" y="340359"/>
                  </a:lnTo>
                  <a:lnTo>
                    <a:pt x="382058" y="347979"/>
                  </a:lnTo>
                  <a:lnTo>
                    <a:pt x="412598" y="350519"/>
                  </a:lnTo>
                  <a:close/>
                </a:path>
                <a:path w="738505" h="740410">
                  <a:moveTo>
                    <a:pt x="657105" y="351789"/>
                  </a:moveTo>
                  <a:lnTo>
                    <a:pt x="477317" y="351789"/>
                  </a:lnTo>
                  <a:lnTo>
                    <a:pt x="542274" y="350519"/>
                  </a:lnTo>
                  <a:lnTo>
                    <a:pt x="573527" y="347979"/>
                  </a:lnTo>
                  <a:lnTo>
                    <a:pt x="571029" y="292099"/>
                  </a:lnTo>
                  <a:lnTo>
                    <a:pt x="563501" y="248919"/>
                  </a:lnTo>
                  <a:lnTo>
                    <a:pt x="549525" y="203199"/>
                  </a:lnTo>
                  <a:lnTo>
                    <a:pt x="584012" y="203199"/>
                  </a:lnTo>
                  <a:lnTo>
                    <a:pt x="581844" y="205739"/>
                  </a:lnTo>
                  <a:lnTo>
                    <a:pt x="582212" y="208279"/>
                  </a:lnTo>
                  <a:lnTo>
                    <a:pt x="585454" y="215899"/>
                  </a:lnTo>
                  <a:lnTo>
                    <a:pt x="587438" y="220979"/>
                  </a:lnTo>
                  <a:lnTo>
                    <a:pt x="589619" y="228599"/>
                  </a:lnTo>
                  <a:lnTo>
                    <a:pt x="591733" y="237489"/>
                  </a:lnTo>
                  <a:lnTo>
                    <a:pt x="593516" y="246379"/>
                  </a:lnTo>
                  <a:lnTo>
                    <a:pt x="595165" y="255269"/>
                  </a:lnTo>
                  <a:lnTo>
                    <a:pt x="596915" y="264159"/>
                  </a:lnTo>
                  <a:lnTo>
                    <a:pt x="598555" y="271779"/>
                  </a:lnTo>
                  <a:lnTo>
                    <a:pt x="599879" y="276859"/>
                  </a:lnTo>
                  <a:lnTo>
                    <a:pt x="601038" y="281939"/>
                  </a:lnTo>
                  <a:lnTo>
                    <a:pt x="602231" y="290829"/>
                  </a:lnTo>
                  <a:lnTo>
                    <a:pt x="603317" y="302259"/>
                  </a:lnTo>
                  <a:lnTo>
                    <a:pt x="605095" y="327659"/>
                  </a:lnTo>
                  <a:lnTo>
                    <a:pt x="606270" y="337819"/>
                  </a:lnTo>
                  <a:lnTo>
                    <a:pt x="607701" y="344169"/>
                  </a:lnTo>
                  <a:lnTo>
                    <a:pt x="609412" y="347979"/>
                  </a:lnTo>
                  <a:lnTo>
                    <a:pt x="625672" y="350519"/>
                  </a:lnTo>
                  <a:lnTo>
                    <a:pt x="657105" y="351789"/>
                  </a:lnTo>
                  <a:close/>
                </a:path>
                <a:path w="738505" h="740410">
                  <a:moveTo>
                    <a:pt x="698102" y="542289"/>
                  </a:moveTo>
                  <a:lnTo>
                    <a:pt x="643901" y="542289"/>
                  </a:lnTo>
                  <a:lnTo>
                    <a:pt x="655925" y="541019"/>
                  </a:lnTo>
                  <a:lnTo>
                    <a:pt x="662068" y="539749"/>
                  </a:lnTo>
                  <a:lnTo>
                    <a:pt x="665801" y="535939"/>
                  </a:lnTo>
                  <a:lnTo>
                    <a:pt x="673328" y="525779"/>
                  </a:lnTo>
                  <a:lnTo>
                    <a:pt x="694650" y="473709"/>
                  </a:lnTo>
                  <a:lnTo>
                    <a:pt x="707629" y="414019"/>
                  </a:lnTo>
                  <a:lnTo>
                    <a:pt x="709547" y="392429"/>
                  </a:lnTo>
                  <a:lnTo>
                    <a:pt x="707460" y="382269"/>
                  </a:lnTo>
                  <a:lnTo>
                    <a:pt x="690806" y="379729"/>
                  </a:lnTo>
                  <a:lnTo>
                    <a:pt x="737818" y="379729"/>
                  </a:lnTo>
                  <a:lnTo>
                    <a:pt x="737479" y="405129"/>
                  </a:lnTo>
                  <a:lnTo>
                    <a:pt x="735092" y="434339"/>
                  </a:lnTo>
                  <a:lnTo>
                    <a:pt x="724635" y="478789"/>
                  </a:lnTo>
                  <a:lnTo>
                    <a:pt x="709058" y="520699"/>
                  </a:lnTo>
                  <a:lnTo>
                    <a:pt x="698102" y="542289"/>
                  </a:lnTo>
                  <a:close/>
                </a:path>
                <a:path w="738505" h="740410">
                  <a:moveTo>
                    <a:pt x="190142" y="383539"/>
                  </a:moveTo>
                  <a:lnTo>
                    <a:pt x="112912" y="383539"/>
                  </a:lnTo>
                  <a:lnTo>
                    <a:pt x="99687" y="382269"/>
                  </a:lnTo>
                  <a:lnTo>
                    <a:pt x="220336" y="382269"/>
                  </a:lnTo>
                  <a:lnTo>
                    <a:pt x="190142" y="383539"/>
                  </a:lnTo>
                  <a:close/>
                </a:path>
                <a:path w="738505" h="740410">
                  <a:moveTo>
                    <a:pt x="696813" y="544829"/>
                  </a:moveTo>
                  <a:lnTo>
                    <a:pt x="345429" y="544829"/>
                  </a:lnTo>
                  <a:lnTo>
                    <a:pt x="347976" y="538479"/>
                  </a:lnTo>
                  <a:lnTo>
                    <a:pt x="348969" y="529589"/>
                  </a:lnTo>
                  <a:lnTo>
                    <a:pt x="349635" y="513079"/>
                  </a:lnTo>
                  <a:lnTo>
                    <a:pt x="349801" y="499109"/>
                  </a:lnTo>
                  <a:lnTo>
                    <a:pt x="349917" y="481329"/>
                  </a:lnTo>
                  <a:lnTo>
                    <a:pt x="349805" y="453389"/>
                  </a:lnTo>
                  <a:lnTo>
                    <a:pt x="349159" y="383539"/>
                  </a:lnTo>
                  <a:lnTo>
                    <a:pt x="256604" y="382269"/>
                  </a:lnTo>
                  <a:lnTo>
                    <a:pt x="413620" y="382269"/>
                  </a:lnTo>
                  <a:lnTo>
                    <a:pt x="383395" y="384809"/>
                  </a:lnTo>
                  <a:lnTo>
                    <a:pt x="381502" y="407669"/>
                  </a:lnTo>
                  <a:lnTo>
                    <a:pt x="379839" y="457199"/>
                  </a:lnTo>
                  <a:lnTo>
                    <a:pt x="379108" y="502919"/>
                  </a:lnTo>
                  <a:lnTo>
                    <a:pt x="379147" y="513079"/>
                  </a:lnTo>
                  <a:lnTo>
                    <a:pt x="379685" y="535939"/>
                  </a:lnTo>
                  <a:lnTo>
                    <a:pt x="381393" y="542289"/>
                  </a:lnTo>
                  <a:lnTo>
                    <a:pt x="698102" y="542289"/>
                  </a:lnTo>
                  <a:lnTo>
                    <a:pt x="696813" y="544829"/>
                  </a:lnTo>
                  <a:close/>
                </a:path>
                <a:path w="738505" h="740410">
                  <a:moveTo>
                    <a:pt x="584405" y="542289"/>
                  </a:moveTo>
                  <a:lnTo>
                    <a:pt x="545718" y="542289"/>
                  </a:lnTo>
                  <a:lnTo>
                    <a:pt x="549344" y="535939"/>
                  </a:lnTo>
                  <a:lnTo>
                    <a:pt x="560532" y="504189"/>
                  </a:lnTo>
                  <a:lnTo>
                    <a:pt x="570584" y="453389"/>
                  </a:lnTo>
                  <a:lnTo>
                    <a:pt x="576026" y="407669"/>
                  </a:lnTo>
                  <a:lnTo>
                    <a:pt x="576056" y="405129"/>
                  </a:lnTo>
                  <a:lnTo>
                    <a:pt x="573992" y="383539"/>
                  </a:lnTo>
                  <a:lnTo>
                    <a:pt x="542945" y="382269"/>
                  </a:lnTo>
                  <a:lnTo>
                    <a:pt x="611969" y="382269"/>
                  </a:lnTo>
                  <a:lnTo>
                    <a:pt x="609780" y="386079"/>
                  </a:lnTo>
                  <a:lnTo>
                    <a:pt x="608039" y="392429"/>
                  </a:lnTo>
                  <a:lnTo>
                    <a:pt x="606535" y="402589"/>
                  </a:lnTo>
                  <a:lnTo>
                    <a:pt x="605057" y="419099"/>
                  </a:lnTo>
                  <a:lnTo>
                    <a:pt x="601969" y="448309"/>
                  </a:lnTo>
                  <a:lnTo>
                    <a:pt x="597563" y="477519"/>
                  </a:lnTo>
                  <a:lnTo>
                    <a:pt x="592636" y="502919"/>
                  </a:lnTo>
                  <a:lnTo>
                    <a:pt x="587986" y="518159"/>
                  </a:lnTo>
                  <a:lnTo>
                    <a:pt x="586016" y="523239"/>
                  </a:lnTo>
                  <a:lnTo>
                    <a:pt x="584405" y="530859"/>
                  </a:lnTo>
                  <a:lnTo>
                    <a:pt x="584405" y="542289"/>
                  </a:lnTo>
                  <a:close/>
                </a:path>
                <a:path w="738505" h="740410">
                  <a:moveTo>
                    <a:pt x="196355" y="543559"/>
                  </a:moveTo>
                  <a:lnTo>
                    <a:pt x="148273" y="543559"/>
                  </a:lnTo>
                  <a:lnTo>
                    <a:pt x="151317" y="542289"/>
                  </a:lnTo>
                  <a:lnTo>
                    <a:pt x="152257" y="541019"/>
                  </a:lnTo>
                  <a:lnTo>
                    <a:pt x="151224" y="534669"/>
                  </a:lnTo>
                  <a:lnTo>
                    <a:pt x="149020" y="528319"/>
                  </a:lnTo>
                  <a:lnTo>
                    <a:pt x="143274" y="506729"/>
                  </a:lnTo>
                  <a:lnTo>
                    <a:pt x="136874" y="474979"/>
                  </a:lnTo>
                  <a:lnTo>
                    <a:pt x="131388" y="441959"/>
                  </a:lnTo>
                  <a:lnTo>
                    <a:pt x="128389" y="415289"/>
                  </a:lnTo>
                  <a:lnTo>
                    <a:pt x="127566" y="405129"/>
                  </a:lnTo>
                  <a:lnTo>
                    <a:pt x="126451" y="396239"/>
                  </a:lnTo>
                  <a:lnTo>
                    <a:pt x="125191" y="388619"/>
                  </a:lnTo>
                  <a:lnTo>
                    <a:pt x="123932" y="386079"/>
                  </a:lnTo>
                  <a:lnTo>
                    <a:pt x="120548" y="383539"/>
                  </a:lnTo>
                  <a:lnTo>
                    <a:pt x="169142" y="383539"/>
                  </a:lnTo>
                  <a:lnTo>
                    <a:pt x="160458" y="384809"/>
                  </a:lnTo>
                  <a:lnTo>
                    <a:pt x="158734" y="387349"/>
                  </a:lnTo>
                  <a:lnTo>
                    <a:pt x="158063" y="392429"/>
                  </a:lnTo>
                  <a:lnTo>
                    <a:pt x="158410" y="402589"/>
                  </a:lnTo>
                  <a:lnTo>
                    <a:pt x="164917" y="461009"/>
                  </a:lnTo>
                  <a:lnTo>
                    <a:pt x="172526" y="499109"/>
                  </a:lnTo>
                  <a:lnTo>
                    <a:pt x="189036" y="542289"/>
                  </a:lnTo>
                  <a:lnTo>
                    <a:pt x="196355" y="543559"/>
                  </a:lnTo>
                  <a:close/>
                </a:path>
                <a:path w="738505" h="740410">
                  <a:moveTo>
                    <a:pt x="238897" y="544829"/>
                  </a:moveTo>
                  <a:lnTo>
                    <a:pt x="129806" y="544829"/>
                  </a:lnTo>
                  <a:lnTo>
                    <a:pt x="140992" y="543559"/>
                  </a:lnTo>
                  <a:lnTo>
                    <a:pt x="213849" y="543559"/>
                  </a:lnTo>
                  <a:lnTo>
                    <a:pt x="238897" y="544829"/>
                  </a:lnTo>
                  <a:close/>
                </a:path>
                <a:path w="738505" h="740410">
                  <a:moveTo>
                    <a:pt x="380211" y="706119"/>
                  </a:moveTo>
                  <a:lnTo>
                    <a:pt x="346588" y="706119"/>
                  </a:lnTo>
                  <a:lnTo>
                    <a:pt x="347873" y="643889"/>
                  </a:lnTo>
                  <a:lnTo>
                    <a:pt x="348004" y="633729"/>
                  </a:lnTo>
                  <a:lnTo>
                    <a:pt x="348094" y="598169"/>
                  </a:lnTo>
                  <a:lnTo>
                    <a:pt x="347706" y="584199"/>
                  </a:lnTo>
                  <a:lnTo>
                    <a:pt x="346953" y="577849"/>
                  </a:lnTo>
                  <a:lnTo>
                    <a:pt x="345024" y="572769"/>
                  </a:lnTo>
                  <a:lnTo>
                    <a:pt x="458000" y="572769"/>
                  </a:lnTo>
                  <a:lnTo>
                    <a:pt x="407053" y="574039"/>
                  </a:lnTo>
                  <a:lnTo>
                    <a:pt x="381798" y="576579"/>
                  </a:lnTo>
                  <a:lnTo>
                    <a:pt x="379718" y="598169"/>
                  </a:lnTo>
                  <a:lnTo>
                    <a:pt x="378724" y="638809"/>
                  </a:lnTo>
                  <a:lnTo>
                    <a:pt x="378778" y="687069"/>
                  </a:lnTo>
                  <a:lnTo>
                    <a:pt x="380211" y="706119"/>
                  </a:lnTo>
                  <a:close/>
                </a:path>
                <a:path w="738505" h="740410">
                  <a:moveTo>
                    <a:pt x="523621" y="709929"/>
                  </a:moveTo>
                  <a:lnTo>
                    <a:pt x="387301" y="709929"/>
                  </a:lnTo>
                  <a:lnTo>
                    <a:pt x="399857" y="707389"/>
                  </a:lnTo>
                  <a:lnTo>
                    <a:pt x="414978" y="703579"/>
                  </a:lnTo>
                  <a:lnTo>
                    <a:pt x="455384" y="680719"/>
                  </a:lnTo>
                  <a:lnTo>
                    <a:pt x="504337" y="628649"/>
                  </a:lnTo>
                  <a:lnTo>
                    <a:pt x="529058" y="588009"/>
                  </a:lnTo>
                  <a:lnTo>
                    <a:pt x="532714" y="579119"/>
                  </a:lnTo>
                  <a:lnTo>
                    <a:pt x="531952" y="576579"/>
                  </a:lnTo>
                  <a:lnTo>
                    <a:pt x="508384" y="574039"/>
                  </a:lnTo>
                  <a:lnTo>
                    <a:pt x="458000" y="572769"/>
                  </a:lnTo>
                  <a:lnTo>
                    <a:pt x="604934" y="572769"/>
                  </a:lnTo>
                  <a:lnTo>
                    <a:pt x="581580" y="574039"/>
                  </a:lnTo>
                  <a:lnTo>
                    <a:pt x="569651" y="576579"/>
                  </a:lnTo>
                  <a:lnTo>
                    <a:pt x="567608" y="579119"/>
                  </a:lnTo>
                  <a:lnTo>
                    <a:pt x="563913" y="586739"/>
                  </a:lnTo>
                  <a:lnTo>
                    <a:pt x="559090" y="595629"/>
                  </a:lnTo>
                  <a:lnTo>
                    <a:pt x="538187" y="632459"/>
                  </a:lnTo>
                  <a:lnTo>
                    <a:pt x="519882" y="657859"/>
                  </a:lnTo>
                  <a:lnTo>
                    <a:pt x="511992" y="668019"/>
                  </a:lnTo>
                  <a:lnTo>
                    <a:pt x="505530" y="676909"/>
                  </a:lnTo>
                  <a:lnTo>
                    <a:pt x="501164" y="683259"/>
                  </a:lnTo>
                  <a:lnTo>
                    <a:pt x="499561" y="685799"/>
                  </a:lnTo>
                  <a:lnTo>
                    <a:pt x="501230" y="687069"/>
                  </a:lnTo>
                  <a:lnTo>
                    <a:pt x="565939" y="687069"/>
                  </a:lnTo>
                  <a:lnTo>
                    <a:pt x="555875" y="693419"/>
                  </a:lnTo>
                  <a:lnTo>
                    <a:pt x="532056" y="706119"/>
                  </a:lnTo>
                  <a:lnTo>
                    <a:pt x="523621" y="709929"/>
                  </a:lnTo>
                  <a:close/>
                </a:path>
                <a:path w="738505" h="740410">
                  <a:moveTo>
                    <a:pt x="565939" y="687069"/>
                  </a:moveTo>
                  <a:lnTo>
                    <a:pt x="501230" y="687069"/>
                  </a:lnTo>
                  <a:lnTo>
                    <a:pt x="505790" y="685799"/>
                  </a:lnTo>
                  <a:lnTo>
                    <a:pt x="512568" y="683259"/>
                  </a:lnTo>
                  <a:lnTo>
                    <a:pt x="520895" y="678179"/>
                  </a:lnTo>
                  <a:lnTo>
                    <a:pt x="527066" y="674369"/>
                  </a:lnTo>
                  <a:lnTo>
                    <a:pt x="573924" y="645159"/>
                  </a:lnTo>
                  <a:lnTo>
                    <a:pt x="605671" y="617219"/>
                  </a:lnTo>
                  <a:lnTo>
                    <a:pt x="639688" y="575309"/>
                  </a:lnTo>
                  <a:lnTo>
                    <a:pt x="628155" y="574039"/>
                  </a:lnTo>
                  <a:lnTo>
                    <a:pt x="604934" y="572769"/>
                  </a:lnTo>
                  <a:lnTo>
                    <a:pt x="680489" y="572769"/>
                  </a:lnTo>
                  <a:lnTo>
                    <a:pt x="632329" y="633729"/>
                  </a:lnTo>
                  <a:lnTo>
                    <a:pt x="596991" y="665479"/>
                  </a:lnTo>
                  <a:lnTo>
                    <a:pt x="571978" y="683259"/>
                  </a:lnTo>
                  <a:lnTo>
                    <a:pt x="565939" y="687069"/>
                  </a:lnTo>
                  <a:close/>
                </a:path>
                <a:path w="738505" h="740410">
                  <a:moveTo>
                    <a:pt x="279139" y="679449"/>
                  </a:moveTo>
                  <a:lnTo>
                    <a:pt x="226354" y="679449"/>
                  </a:lnTo>
                  <a:lnTo>
                    <a:pt x="226709" y="674369"/>
                  </a:lnTo>
                  <a:lnTo>
                    <a:pt x="213862" y="656589"/>
                  </a:lnTo>
                  <a:lnTo>
                    <a:pt x="186326" y="615949"/>
                  </a:lnTo>
                  <a:lnTo>
                    <a:pt x="171201" y="588009"/>
                  </a:lnTo>
                  <a:lnTo>
                    <a:pt x="163331" y="579119"/>
                  </a:lnTo>
                  <a:lnTo>
                    <a:pt x="151880" y="576579"/>
                  </a:lnTo>
                  <a:lnTo>
                    <a:pt x="131513" y="575309"/>
                  </a:lnTo>
                  <a:lnTo>
                    <a:pt x="225989" y="575309"/>
                  </a:lnTo>
                  <a:lnTo>
                    <a:pt x="209202" y="576579"/>
                  </a:lnTo>
                  <a:lnTo>
                    <a:pt x="202521" y="577849"/>
                  </a:lnTo>
                  <a:lnTo>
                    <a:pt x="201322" y="580389"/>
                  </a:lnTo>
                  <a:lnTo>
                    <a:pt x="201322" y="582929"/>
                  </a:lnTo>
                  <a:lnTo>
                    <a:pt x="202353" y="586739"/>
                  </a:lnTo>
                  <a:lnTo>
                    <a:pt x="204872" y="588009"/>
                  </a:lnTo>
                  <a:lnTo>
                    <a:pt x="209058" y="594359"/>
                  </a:lnTo>
                  <a:lnTo>
                    <a:pt x="212915" y="601979"/>
                  </a:lnTo>
                  <a:lnTo>
                    <a:pt x="238909" y="641349"/>
                  </a:lnTo>
                  <a:lnTo>
                    <a:pt x="271969" y="674369"/>
                  </a:lnTo>
                  <a:lnTo>
                    <a:pt x="279139" y="679449"/>
                  </a:lnTo>
                  <a:close/>
                </a:path>
              </a:pathLst>
            </a:custGeom>
            <a:solidFill>
              <a:srgbClr val="FFFFFF"/>
            </a:solidFill>
          </p:spPr>
          <p:txBody>
            <a:bodyPr wrap="square" lIns="0" tIns="0" rIns="0" bIns="0" rtlCol="0"/>
            <a:lstStyle/>
            <a:p>
              <a:endParaRPr/>
            </a:p>
          </p:txBody>
        </p:sp>
      </p:grpSp>
      <p:sp>
        <p:nvSpPr>
          <p:cNvPr id="89" name="object 89"/>
          <p:cNvSpPr txBox="1"/>
          <p:nvPr/>
        </p:nvSpPr>
        <p:spPr>
          <a:xfrm>
            <a:off x="9203949" y="1690461"/>
            <a:ext cx="2227580" cy="361315"/>
          </a:xfrm>
          <a:prstGeom prst="rect">
            <a:avLst/>
          </a:prstGeom>
        </p:spPr>
        <p:txBody>
          <a:bodyPr vert="horz" wrap="square" lIns="0" tIns="12700" rIns="0" bIns="0" rtlCol="0">
            <a:spAutoFit/>
          </a:bodyPr>
          <a:lstStyle/>
          <a:p>
            <a:pPr marL="12700">
              <a:lnSpc>
                <a:spcPct val="100000"/>
              </a:lnSpc>
              <a:spcBef>
                <a:spcPts val="100"/>
              </a:spcBef>
            </a:pPr>
            <a:r>
              <a:rPr sz="2200" b="1" dirty="0">
                <a:solidFill>
                  <a:srgbClr val="737373"/>
                </a:solidFill>
                <a:latin typeface="Roboto"/>
                <a:cs typeface="Roboto"/>
              </a:rPr>
              <a:t>B2B</a:t>
            </a:r>
            <a:r>
              <a:rPr sz="2200" b="1" spc="-20" dirty="0">
                <a:solidFill>
                  <a:srgbClr val="737373"/>
                </a:solidFill>
                <a:latin typeface="Roboto"/>
                <a:cs typeface="Roboto"/>
              </a:rPr>
              <a:t> </a:t>
            </a:r>
            <a:r>
              <a:rPr sz="2200" b="1" dirty="0">
                <a:solidFill>
                  <a:srgbClr val="737373"/>
                </a:solidFill>
                <a:latin typeface="Roboto"/>
                <a:cs typeface="Roboto"/>
              </a:rPr>
              <a:t>·</a:t>
            </a:r>
            <a:r>
              <a:rPr sz="2200" b="1" spc="-15" dirty="0">
                <a:solidFill>
                  <a:srgbClr val="737373"/>
                </a:solidFill>
                <a:latin typeface="Roboto"/>
                <a:cs typeface="Roboto"/>
              </a:rPr>
              <a:t> </a:t>
            </a:r>
            <a:r>
              <a:rPr sz="2200" b="1" dirty="0">
                <a:solidFill>
                  <a:srgbClr val="737373"/>
                </a:solidFill>
                <a:latin typeface="Roboto"/>
                <a:cs typeface="Roboto"/>
              </a:rPr>
              <a:t>B2C</a:t>
            </a:r>
            <a:r>
              <a:rPr sz="2200" b="1" spc="-20" dirty="0">
                <a:solidFill>
                  <a:srgbClr val="737373"/>
                </a:solidFill>
                <a:latin typeface="Roboto"/>
                <a:cs typeface="Roboto"/>
              </a:rPr>
              <a:t> </a:t>
            </a:r>
            <a:r>
              <a:rPr sz="2200" b="1" dirty="0">
                <a:solidFill>
                  <a:srgbClr val="737373"/>
                </a:solidFill>
                <a:latin typeface="Roboto"/>
                <a:cs typeface="Roboto"/>
              </a:rPr>
              <a:t>·</a:t>
            </a:r>
            <a:r>
              <a:rPr sz="2200" b="1" spc="-15" dirty="0">
                <a:solidFill>
                  <a:srgbClr val="737373"/>
                </a:solidFill>
                <a:latin typeface="Roboto"/>
                <a:cs typeface="Roboto"/>
              </a:rPr>
              <a:t> </a:t>
            </a:r>
            <a:r>
              <a:rPr sz="2200" b="1" spc="-20" dirty="0">
                <a:solidFill>
                  <a:srgbClr val="737373"/>
                </a:solidFill>
                <a:latin typeface="Roboto"/>
                <a:cs typeface="Roboto"/>
              </a:rPr>
              <a:t>RRPP</a:t>
            </a:r>
            <a:endParaRPr sz="2200">
              <a:latin typeface="Roboto"/>
              <a:cs typeface="Roboto"/>
            </a:endParaRPr>
          </a:p>
        </p:txBody>
      </p:sp>
      <p:sp>
        <p:nvSpPr>
          <p:cNvPr id="90" name="object 90"/>
          <p:cNvSpPr/>
          <p:nvPr/>
        </p:nvSpPr>
        <p:spPr>
          <a:xfrm>
            <a:off x="8975583" y="1714497"/>
            <a:ext cx="0" cy="362585"/>
          </a:xfrm>
          <a:custGeom>
            <a:avLst/>
            <a:gdLst/>
            <a:ahLst/>
            <a:cxnLst/>
            <a:rect l="l" t="t" r="r" b="b"/>
            <a:pathLst>
              <a:path h="362585">
                <a:moveTo>
                  <a:pt x="0" y="362038"/>
                </a:moveTo>
                <a:lnTo>
                  <a:pt x="0" y="0"/>
                </a:lnTo>
              </a:path>
            </a:pathLst>
          </a:custGeom>
          <a:ln w="19192">
            <a:solidFill>
              <a:srgbClr val="737373"/>
            </a:solidFill>
          </a:ln>
        </p:spPr>
        <p:txBody>
          <a:bodyPr wrap="square" lIns="0" tIns="0" rIns="0" bIns="0" rtlCol="0"/>
          <a:lstStyle/>
          <a:p>
            <a:endParaRPr/>
          </a:p>
        </p:txBody>
      </p:sp>
      <p:pic>
        <p:nvPicPr>
          <p:cNvPr id="91" name="object 91"/>
          <p:cNvPicPr/>
          <p:nvPr/>
        </p:nvPicPr>
        <p:blipFill>
          <a:blip r:embed="rId10" cstate="print"/>
          <a:stretch>
            <a:fillRect/>
          </a:stretch>
        </p:blipFill>
        <p:spPr>
          <a:xfrm>
            <a:off x="17316450" y="237491"/>
            <a:ext cx="742949" cy="819149"/>
          </a:xfrm>
          <a:prstGeom prst="rect">
            <a:avLst/>
          </a:prstGeom>
        </p:spPr>
      </p:pic>
      <p:sp>
        <p:nvSpPr>
          <p:cNvPr id="92" name="object 92"/>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93" name="object 93"/>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39</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02564" y="2819945"/>
            <a:ext cx="5971540" cy="6964045"/>
          </a:xfrm>
          <a:custGeom>
            <a:avLst/>
            <a:gdLst/>
            <a:ahLst/>
            <a:cxnLst/>
            <a:rect l="l" t="t" r="r" b="b"/>
            <a:pathLst>
              <a:path w="5971540" h="6964045">
                <a:moveTo>
                  <a:pt x="5971273" y="0"/>
                </a:moveTo>
                <a:lnTo>
                  <a:pt x="0" y="0"/>
                </a:lnTo>
                <a:lnTo>
                  <a:pt x="0" y="771182"/>
                </a:lnTo>
                <a:lnTo>
                  <a:pt x="0" y="6963918"/>
                </a:lnTo>
                <a:lnTo>
                  <a:pt x="5971273" y="6963918"/>
                </a:lnTo>
                <a:lnTo>
                  <a:pt x="5971273" y="771182"/>
                </a:lnTo>
                <a:lnTo>
                  <a:pt x="5971273" y="0"/>
                </a:lnTo>
                <a:close/>
              </a:path>
            </a:pathLst>
          </a:custGeom>
          <a:solidFill>
            <a:srgbClr val="FFFFFF"/>
          </a:solidFill>
        </p:spPr>
        <p:txBody>
          <a:bodyPr wrap="square" lIns="0" tIns="0" rIns="0" bIns="0" rtlCol="0"/>
          <a:lstStyle/>
          <a:p>
            <a:endParaRPr/>
          </a:p>
        </p:txBody>
      </p:sp>
      <p:sp>
        <p:nvSpPr>
          <p:cNvPr id="3" name="object 3"/>
          <p:cNvSpPr/>
          <p:nvPr/>
        </p:nvSpPr>
        <p:spPr>
          <a:xfrm>
            <a:off x="1101000" y="1253326"/>
            <a:ext cx="1175385" cy="1175385"/>
          </a:xfrm>
          <a:custGeom>
            <a:avLst/>
            <a:gdLst/>
            <a:ahLst/>
            <a:cxnLst/>
            <a:rect l="l" t="t" r="r" b="b"/>
            <a:pathLst>
              <a:path w="1175385" h="1175385">
                <a:moveTo>
                  <a:pt x="587690" y="1175381"/>
                </a:moveTo>
                <a:lnTo>
                  <a:pt x="539490" y="1173432"/>
                </a:lnTo>
                <a:lnTo>
                  <a:pt x="492364" y="1167689"/>
                </a:lnTo>
                <a:lnTo>
                  <a:pt x="446461" y="1158301"/>
                </a:lnTo>
                <a:lnTo>
                  <a:pt x="401934" y="1145420"/>
                </a:lnTo>
                <a:lnTo>
                  <a:pt x="358934" y="1129197"/>
                </a:lnTo>
                <a:lnTo>
                  <a:pt x="317612" y="1109784"/>
                </a:lnTo>
                <a:lnTo>
                  <a:pt x="278120" y="1087331"/>
                </a:lnTo>
                <a:lnTo>
                  <a:pt x="240608" y="1061990"/>
                </a:lnTo>
                <a:lnTo>
                  <a:pt x="205227" y="1033913"/>
                </a:lnTo>
                <a:lnTo>
                  <a:pt x="172130" y="1003250"/>
                </a:lnTo>
                <a:lnTo>
                  <a:pt x="141467" y="970153"/>
                </a:lnTo>
                <a:lnTo>
                  <a:pt x="113390" y="934772"/>
                </a:lnTo>
                <a:lnTo>
                  <a:pt x="88049" y="897260"/>
                </a:lnTo>
                <a:lnTo>
                  <a:pt x="65596" y="857768"/>
                </a:lnTo>
                <a:lnTo>
                  <a:pt x="46183" y="816446"/>
                </a:lnTo>
                <a:lnTo>
                  <a:pt x="29960" y="773446"/>
                </a:lnTo>
                <a:lnTo>
                  <a:pt x="17079" y="728919"/>
                </a:lnTo>
                <a:lnTo>
                  <a:pt x="7691" y="683016"/>
                </a:lnTo>
                <a:lnTo>
                  <a:pt x="1948" y="635890"/>
                </a:lnTo>
                <a:lnTo>
                  <a:pt x="0" y="587690"/>
                </a:lnTo>
                <a:lnTo>
                  <a:pt x="1948" y="539490"/>
                </a:lnTo>
                <a:lnTo>
                  <a:pt x="7691" y="492363"/>
                </a:lnTo>
                <a:lnTo>
                  <a:pt x="17079" y="446461"/>
                </a:lnTo>
                <a:lnTo>
                  <a:pt x="29960" y="401934"/>
                </a:lnTo>
                <a:lnTo>
                  <a:pt x="46183" y="358934"/>
                </a:lnTo>
                <a:lnTo>
                  <a:pt x="65596" y="317612"/>
                </a:lnTo>
                <a:lnTo>
                  <a:pt x="88049" y="278120"/>
                </a:lnTo>
                <a:lnTo>
                  <a:pt x="113390" y="240608"/>
                </a:lnTo>
                <a:lnTo>
                  <a:pt x="141467" y="205227"/>
                </a:lnTo>
                <a:lnTo>
                  <a:pt x="172130" y="172130"/>
                </a:lnTo>
                <a:lnTo>
                  <a:pt x="205227" y="141467"/>
                </a:lnTo>
                <a:lnTo>
                  <a:pt x="240608" y="113390"/>
                </a:lnTo>
                <a:lnTo>
                  <a:pt x="278120" y="88049"/>
                </a:lnTo>
                <a:lnTo>
                  <a:pt x="317612" y="65596"/>
                </a:lnTo>
                <a:lnTo>
                  <a:pt x="358934" y="46183"/>
                </a:lnTo>
                <a:lnTo>
                  <a:pt x="401934" y="29960"/>
                </a:lnTo>
                <a:lnTo>
                  <a:pt x="446461" y="17079"/>
                </a:lnTo>
                <a:lnTo>
                  <a:pt x="492364" y="7691"/>
                </a:lnTo>
                <a:lnTo>
                  <a:pt x="539490" y="1948"/>
                </a:lnTo>
                <a:lnTo>
                  <a:pt x="587694" y="0"/>
                </a:lnTo>
                <a:lnTo>
                  <a:pt x="635890" y="1948"/>
                </a:lnTo>
                <a:lnTo>
                  <a:pt x="683016" y="7691"/>
                </a:lnTo>
                <a:lnTo>
                  <a:pt x="728919" y="17079"/>
                </a:lnTo>
                <a:lnTo>
                  <a:pt x="773446" y="29960"/>
                </a:lnTo>
                <a:lnTo>
                  <a:pt x="816446" y="46183"/>
                </a:lnTo>
                <a:lnTo>
                  <a:pt x="857768" y="65596"/>
                </a:lnTo>
                <a:lnTo>
                  <a:pt x="897260" y="88049"/>
                </a:lnTo>
                <a:lnTo>
                  <a:pt x="934772" y="113390"/>
                </a:lnTo>
                <a:lnTo>
                  <a:pt x="970153" y="141467"/>
                </a:lnTo>
                <a:lnTo>
                  <a:pt x="1003250" y="172130"/>
                </a:lnTo>
                <a:lnTo>
                  <a:pt x="1033913" y="205227"/>
                </a:lnTo>
                <a:lnTo>
                  <a:pt x="1061990" y="240608"/>
                </a:lnTo>
                <a:lnTo>
                  <a:pt x="1087331" y="278120"/>
                </a:lnTo>
                <a:lnTo>
                  <a:pt x="1109784" y="317612"/>
                </a:lnTo>
                <a:lnTo>
                  <a:pt x="1129197" y="358934"/>
                </a:lnTo>
                <a:lnTo>
                  <a:pt x="1145420" y="401934"/>
                </a:lnTo>
                <a:lnTo>
                  <a:pt x="1158301" y="446461"/>
                </a:lnTo>
                <a:lnTo>
                  <a:pt x="1167689" y="492363"/>
                </a:lnTo>
                <a:lnTo>
                  <a:pt x="1173432" y="539490"/>
                </a:lnTo>
                <a:lnTo>
                  <a:pt x="1175381" y="587690"/>
                </a:lnTo>
                <a:lnTo>
                  <a:pt x="1173432" y="635890"/>
                </a:lnTo>
                <a:lnTo>
                  <a:pt x="1167689" y="683016"/>
                </a:lnTo>
                <a:lnTo>
                  <a:pt x="1158301" y="728919"/>
                </a:lnTo>
                <a:lnTo>
                  <a:pt x="1145420" y="773446"/>
                </a:lnTo>
                <a:lnTo>
                  <a:pt x="1129197" y="816446"/>
                </a:lnTo>
                <a:lnTo>
                  <a:pt x="1109784" y="857768"/>
                </a:lnTo>
                <a:lnTo>
                  <a:pt x="1087331" y="897260"/>
                </a:lnTo>
                <a:lnTo>
                  <a:pt x="1061990" y="934772"/>
                </a:lnTo>
                <a:lnTo>
                  <a:pt x="1033913" y="970153"/>
                </a:lnTo>
                <a:lnTo>
                  <a:pt x="1003250" y="1003250"/>
                </a:lnTo>
                <a:lnTo>
                  <a:pt x="970153" y="1033913"/>
                </a:lnTo>
                <a:lnTo>
                  <a:pt x="934772" y="1061990"/>
                </a:lnTo>
                <a:lnTo>
                  <a:pt x="897260" y="1087331"/>
                </a:lnTo>
                <a:lnTo>
                  <a:pt x="857768" y="1109784"/>
                </a:lnTo>
                <a:lnTo>
                  <a:pt x="816446" y="1129197"/>
                </a:lnTo>
                <a:lnTo>
                  <a:pt x="773446" y="1145420"/>
                </a:lnTo>
                <a:lnTo>
                  <a:pt x="728919" y="1158301"/>
                </a:lnTo>
                <a:lnTo>
                  <a:pt x="683016" y="1167689"/>
                </a:lnTo>
                <a:lnTo>
                  <a:pt x="635890" y="1173432"/>
                </a:lnTo>
                <a:lnTo>
                  <a:pt x="587690" y="1175381"/>
                </a:lnTo>
                <a:close/>
              </a:path>
            </a:pathLst>
          </a:custGeom>
          <a:solidFill>
            <a:srgbClr val="21408B"/>
          </a:solidFill>
        </p:spPr>
        <p:txBody>
          <a:bodyPr wrap="square" lIns="0" tIns="0" rIns="0" bIns="0" rtlCol="0"/>
          <a:lstStyle/>
          <a:p>
            <a:endParaRPr/>
          </a:p>
        </p:txBody>
      </p:sp>
      <p:sp>
        <p:nvSpPr>
          <p:cNvPr id="4" name="object 4"/>
          <p:cNvSpPr/>
          <p:nvPr/>
        </p:nvSpPr>
        <p:spPr>
          <a:xfrm>
            <a:off x="1649602" y="4100867"/>
            <a:ext cx="701040" cy="699135"/>
          </a:xfrm>
          <a:custGeom>
            <a:avLst/>
            <a:gdLst/>
            <a:ahLst/>
            <a:cxnLst/>
            <a:rect l="l" t="t" r="r" b="b"/>
            <a:pathLst>
              <a:path w="701039" h="699135">
                <a:moveTo>
                  <a:pt x="378637" y="231787"/>
                </a:moveTo>
                <a:lnTo>
                  <a:pt x="377253" y="214845"/>
                </a:lnTo>
                <a:lnTo>
                  <a:pt x="375323" y="207860"/>
                </a:lnTo>
                <a:lnTo>
                  <a:pt x="373075" y="199720"/>
                </a:lnTo>
                <a:lnTo>
                  <a:pt x="343865" y="165912"/>
                </a:lnTo>
                <a:lnTo>
                  <a:pt x="308851" y="149847"/>
                </a:lnTo>
                <a:lnTo>
                  <a:pt x="308851" y="227241"/>
                </a:lnTo>
                <a:lnTo>
                  <a:pt x="308851" y="233133"/>
                </a:lnTo>
                <a:lnTo>
                  <a:pt x="307454" y="242290"/>
                </a:lnTo>
                <a:lnTo>
                  <a:pt x="303276" y="249809"/>
                </a:lnTo>
                <a:lnTo>
                  <a:pt x="296329" y="255689"/>
                </a:lnTo>
                <a:lnTo>
                  <a:pt x="286588" y="259918"/>
                </a:lnTo>
                <a:lnTo>
                  <a:pt x="286588" y="256882"/>
                </a:lnTo>
                <a:lnTo>
                  <a:pt x="286588" y="208038"/>
                </a:lnTo>
                <a:lnTo>
                  <a:pt x="288112" y="208038"/>
                </a:lnTo>
                <a:lnTo>
                  <a:pt x="288112" y="207860"/>
                </a:lnTo>
                <a:lnTo>
                  <a:pt x="295529" y="210896"/>
                </a:lnTo>
                <a:lnTo>
                  <a:pt x="301421" y="215277"/>
                </a:lnTo>
                <a:lnTo>
                  <a:pt x="304457" y="218313"/>
                </a:lnTo>
                <a:lnTo>
                  <a:pt x="307492" y="222681"/>
                </a:lnTo>
                <a:lnTo>
                  <a:pt x="308851" y="227241"/>
                </a:lnTo>
                <a:lnTo>
                  <a:pt x="308851" y="149847"/>
                </a:lnTo>
                <a:lnTo>
                  <a:pt x="289623" y="144183"/>
                </a:lnTo>
                <a:lnTo>
                  <a:pt x="289623" y="127850"/>
                </a:lnTo>
                <a:lnTo>
                  <a:pt x="289623" y="81864"/>
                </a:lnTo>
                <a:lnTo>
                  <a:pt x="301040" y="85979"/>
                </a:lnTo>
                <a:lnTo>
                  <a:pt x="313016" y="91655"/>
                </a:lnTo>
                <a:lnTo>
                  <a:pt x="325564" y="98755"/>
                </a:lnTo>
                <a:lnTo>
                  <a:pt x="338683" y="107124"/>
                </a:lnTo>
                <a:lnTo>
                  <a:pt x="355854" y="81864"/>
                </a:lnTo>
                <a:lnTo>
                  <a:pt x="357911" y="78828"/>
                </a:lnTo>
                <a:lnTo>
                  <a:pt x="372910" y="56769"/>
                </a:lnTo>
                <a:lnTo>
                  <a:pt x="351764" y="43675"/>
                </a:lnTo>
                <a:lnTo>
                  <a:pt x="330593" y="33540"/>
                </a:lnTo>
                <a:lnTo>
                  <a:pt x="309422" y="26466"/>
                </a:lnTo>
                <a:lnTo>
                  <a:pt x="288277" y="22567"/>
                </a:lnTo>
                <a:lnTo>
                  <a:pt x="288277" y="330"/>
                </a:lnTo>
                <a:lnTo>
                  <a:pt x="243776" y="330"/>
                </a:lnTo>
                <a:lnTo>
                  <a:pt x="243776" y="21056"/>
                </a:lnTo>
                <a:lnTo>
                  <a:pt x="243598" y="21094"/>
                </a:lnTo>
                <a:lnTo>
                  <a:pt x="243598" y="78828"/>
                </a:lnTo>
                <a:lnTo>
                  <a:pt x="243598" y="127850"/>
                </a:lnTo>
                <a:lnTo>
                  <a:pt x="235826" y="123736"/>
                </a:lnTo>
                <a:lnTo>
                  <a:pt x="230238" y="118059"/>
                </a:lnTo>
                <a:lnTo>
                  <a:pt x="226860" y="110959"/>
                </a:lnTo>
                <a:lnTo>
                  <a:pt x="225729" y="102577"/>
                </a:lnTo>
                <a:lnTo>
                  <a:pt x="226847" y="94513"/>
                </a:lnTo>
                <a:lnTo>
                  <a:pt x="230174" y="87922"/>
                </a:lnTo>
                <a:lnTo>
                  <a:pt x="235762" y="82727"/>
                </a:lnTo>
                <a:lnTo>
                  <a:pt x="243598" y="78828"/>
                </a:lnTo>
                <a:lnTo>
                  <a:pt x="243598" y="21094"/>
                </a:lnTo>
                <a:lnTo>
                  <a:pt x="194487" y="38315"/>
                </a:lnTo>
                <a:lnTo>
                  <a:pt x="163372" y="76047"/>
                </a:lnTo>
                <a:lnTo>
                  <a:pt x="157734" y="107124"/>
                </a:lnTo>
                <a:lnTo>
                  <a:pt x="157822" y="110959"/>
                </a:lnTo>
                <a:lnTo>
                  <a:pt x="169506" y="153111"/>
                </a:lnTo>
                <a:lnTo>
                  <a:pt x="204863" y="181190"/>
                </a:lnTo>
                <a:lnTo>
                  <a:pt x="243776" y="194551"/>
                </a:lnTo>
                <a:lnTo>
                  <a:pt x="243776" y="256882"/>
                </a:lnTo>
                <a:lnTo>
                  <a:pt x="230085" y="252183"/>
                </a:lnTo>
                <a:lnTo>
                  <a:pt x="215747" y="244665"/>
                </a:lnTo>
                <a:lnTo>
                  <a:pt x="200571" y="234378"/>
                </a:lnTo>
                <a:lnTo>
                  <a:pt x="184429" y="221335"/>
                </a:lnTo>
                <a:lnTo>
                  <a:pt x="184086" y="221170"/>
                </a:lnTo>
                <a:lnTo>
                  <a:pt x="145491" y="268681"/>
                </a:lnTo>
                <a:lnTo>
                  <a:pt x="168541" y="286778"/>
                </a:lnTo>
                <a:lnTo>
                  <a:pt x="193001" y="300951"/>
                </a:lnTo>
                <a:lnTo>
                  <a:pt x="218579" y="311238"/>
                </a:lnTo>
                <a:lnTo>
                  <a:pt x="244944" y="317690"/>
                </a:lnTo>
                <a:lnTo>
                  <a:pt x="244944" y="348856"/>
                </a:lnTo>
                <a:lnTo>
                  <a:pt x="289458" y="348856"/>
                </a:lnTo>
                <a:lnTo>
                  <a:pt x="289458" y="319214"/>
                </a:lnTo>
                <a:lnTo>
                  <a:pt x="308686" y="315836"/>
                </a:lnTo>
                <a:lnTo>
                  <a:pt x="354863" y="291084"/>
                </a:lnTo>
                <a:lnTo>
                  <a:pt x="374091" y="259918"/>
                </a:lnTo>
                <a:lnTo>
                  <a:pt x="377228" y="248767"/>
                </a:lnTo>
                <a:lnTo>
                  <a:pt x="378637" y="231787"/>
                </a:lnTo>
                <a:close/>
              </a:path>
              <a:path w="701039" h="699135">
                <a:moveTo>
                  <a:pt x="699287" y="669086"/>
                </a:moveTo>
                <a:lnTo>
                  <a:pt x="696950" y="657555"/>
                </a:lnTo>
                <a:lnTo>
                  <a:pt x="690587" y="648131"/>
                </a:lnTo>
                <a:lnTo>
                  <a:pt x="681151" y="641769"/>
                </a:lnTo>
                <a:lnTo>
                  <a:pt x="669620" y="639432"/>
                </a:lnTo>
                <a:lnTo>
                  <a:pt x="59334" y="639610"/>
                </a:lnTo>
                <a:lnTo>
                  <a:pt x="59334" y="29641"/>
                </a:lnTo>
                <a:lnTo>
                  <a:pt x="56997" y="18110"/>
                </a:lnTo>
                <a:lnTo>
                  <a:pt x="50634" y="8686"/>
                </a:lnTo>
                <a:lnTo>
                  <a:pt x="41198" y="2324"/>
                </a:lnTo>
                <a:lnTo>
                  <a:pt x="29667" y="0"/>
                </a:lnTo>
                <a:lnTo>
                  <a:pt x="18135" y="2324"/>
                </a:lnTo>
                <a:lnTo>
                  <a:pt x="8699" y="8686"/>
                </a:lnTo>
                <a:lnTo>
                  <a:pt x="2336" y="18110"/>
                </a:lnTo>
                <a:lnTo>
                  <a:pt x="0" y="29641"/>
                </a:lnTo>
                <a:lnTo>
                  <a:pt x="0" y="669086"/>
                </a:lnTo>
                <a:lnTo>
                  <a:pt x="2336" y="680605"/>
                </a:lnTo>
                <a:lnTo>
                  <a:pt x="8699" y="690041"/>
                </a:lnTo>
                <a:lnTo>
                  <a:pt x="18135" y="696391"/>
                </a:lnTo>
                <a:lnTo>
                  <a:pt x="29667" y="698728"/>
                </a:lnTo>
                <a:lnTo>
                  <a:pt x="669620" y="698728"/>
                </a:lnTo>
                <a:lnTo>
                  <a:pt x="681151" y="696391"/>
                </a:lnTo>
                <a:lnTo>
                  <a:pt x="690587" y="690041"/>
                </a:lnTo>
                <a:lnTo>
                  <a:pt x="696950" y="680605"/>
                </a:lnTo>
                <a:lnTo>
                  <a:pt x="699287" y="669086"/>
                </a:lnTo>
                <a:close/>
              </a:path>
              <a:path w="701039" h="699135">
                <a:moveTo>
                  <a:pt x="700976" y="301015"/>
                </a:moveTo>
                <a:lnTo>
                  <a:pt x="698639" y="289496"/>
                </a:lnTo>
                <a:lnTo>
                  <a:pt x="692277" y="280060"/>
                </a:lnTo>
                <a:lnTo>
                  <a:pt x="682840" y="273710"/>
                </a:lnTo>
                <a:lnTo>
                  <a:pt x="671309" y="271373"/>
                </a:lnTo>
                <a:lnTo>
                  <a:pt x="504913" y="271373"/>
                </a:lnTo>
                <a:lnTo>
                  <a:pt x="493369" y="273710"/>
                </a:lnTo>
                <a:lnTo>
                  <a:pt x="483946" y="280060"/>
                </a:lnTo>
                <a:lnTo>
                  <a:pt x="477570" y="289496"/>
                </a:lnTo>
                <a:lnTo>
                  <a:pt x="475234" y="301015"/>
                </a:lnTo>
                <a:lnTo>
                  <a:pt x="477570" y="312547"/>
                </a:lnTo>
                <a:lnTo>
                  <a:pt x="483946" y="321970"/>
                </a:lnTo>
                <a:lnTo>
                  <a:pt x="493369" y="328333"/>
                </a:lnTo>
                <a:lnTo>
                  <a:pt x="504913" y="330669"/>
                </a:lnTo>
                <a:lnTo>
                  <a:pt x="604380" y="330669"/>
                </a:lnTo>
                <a:lnTo>
                  <a:pt x="454329" y="465759"/>
                </a:lnTo>
                <a:lnTo>
                  <a:pt x="341553" y="366382"/>
                </a:lnTo>
                <a:lnTo>
                  <a:pt x="331774" y="360743"/>
                </a:lnTo>
                <a:lnTo>
                  <a:pt x="320979" y="359308"/>
                </a:lnTo>
                <a:lnTo>
                  <a:pt x="310451" y="361784"/>
                </a:lnTo>
                <a:lnTo>
                  <a:pt x="301421" y="367893"/>
                </a:lnTo>
                <a:lnTo>
                  <a:pt x="135039" y="537019"/>
                </a:lnTo>
                <a:lnTo>
                  <a:pt x="128397" y="546811"/>
                </a:lnTo>
                <a:lnTo>
                  <a:pt x="126187" y="557758"/>
                </a:lnTo>
                <a:lnTo>
                  <a:pt x="128397" y="568731"/>
                </a:lnTo>
                <a:lnTo>
                  <a:pt x="135039" y="578624"/>
                </a:lnTo>
                <a:lnTo>
                  <a:pt x="140931" y="584517"/>
                </a:lnTo>
                <a:lnTo>
                  <a:pt x="148348" y="587552"/>
                </a:lnTo>
                <a:lnTo>
                  <a:pt x="155943" y="587552"/>
                </a:lnTo>
                <a:lnTo>
                  <a:pt x="163360" y="587552"/>
                </a:lnTo>
                <a:lnTo>
                  <a:pt x="170776" y="584517"/>
                </a:lnTo>
                <a:lnTo>
                  <a:pt x="325196" y="428701"/>
                </a:lnTo>
                <a:lnTo>
                  <a:pt x="436638" y="526580"/>
                </a:lnTo>
                <a:lnTo>
                  <a:pt x="445604" y="532447"/>
                </a:lnTo>
                <a:lnTo>
                  <a:pt x="455942" y="534403"/>
                </a:lnTo>
                <a:lnTo>
                  <a:pt x="466267" y="532447"/>
                </a:lnTo>
                <a:lnTo>
                  <a:pt x="475234" y="526580"/>
                </a:lnTo>
                <a:lnTo>
                  <a:pt x="641629" y="375310"/>
                </a:lnTo>
                <a:lnTo>
                  <a:pt x="641629" y="465759"/>
                </a:lnTo>
                <a:lnTo>
                  <a:pt x="643966" y="477291"/>
                </a:lnTo>
                <a:lnTo>
                  <a:pt x="650341" y="486714"/>
                </a:lnTo>
                <a:lnTo>
                  <a:pt x="659765" y="493077"/>
                </a:lnTo>
                <a:lnTo>
                  <a:pt x="671309" y="495414"/>
                </a:lnTo>
                <a:lnTo>
                  <a:pt x="682840" y="493077"/>
                </a:lnTo>
                <a:lnTo>
                  <a:pt x="692277" y="486714"/>
                </a:lnTo>
                <a:lnTo>
                  <a:pt x="698639" y="477291"/>
                </a:lnTo>
                <a:lnTo>
                  <a:pt x="700976" y="465759"/>
                </a:lnTo>
                <a:lnTo>
                  <a:pt x="700976" y="301015"/>
                </a:lnTo>
                <a:close/>
              </a:path>
            </a:pathLst>
          </a:custGeom>
          <a:solidFill>
            <a:srgbClr val="21408B"/>
          </a:solidFill>
        </p:spPr>
        <p:txBody>
          <a:bodyPr wrap="square" lIns="0" tIns="0" rIns="0" bIns="0" rtlCol="0"/>
          <a:lstStyle/>
          <a:p>
            <a:endParaRPr/>
          </a:p>
        </p:txBody>
      </p:sp>
      <p:sp>
        <p:nvSpPr>
          <p:cNvPr id="5" name="object 5"/>
          <p:cNvSpPr/>
          <p:nvPr/>
        </p:nvSpPr>
        <p:spPr>
          <a:xfrm>
            <a:off x="6826394" y="4733945"/>
            <a:ext cx="1675764" cy="905510"/>
          </a:xfrm>
          <a:custGeom>
            <a:avLst/>
            <a:gdLst/>
            <a:ahLst/>
            <a:cxnLst/>
            <a:rect l="l" t="t" r="r" b="b"/>
            <a:pathLst>
              <a:path w="1675765" h="905510">
                <a:moveTo>
                  <a:pt x="0" y="905163"/>
                </a:moveTo>
                <a:lnTo>
                  <a:pt x="1675400" y="905163"/>
                </a:lnTo>
                <a:lnTo>
                  <a:pt x="1675400" y="0"/>
                </a:lnTo>
                <a:lnTo>
                  <a:pt x="0" y="0"/>
                </a:lnTo>
                <a:lnTo>
                  <a:pt x="0" y="905163"/>
                </a:lnTo>
                <a:close/>
              </a:path>
            </a:pathLst>
          </a:custGeom>
          <a:solidFill>
            <a:srgbClr val="ECE4D5"/>
          </a:solidFill>
        </p:spPr>
        <p:txBody>
          <a:bodyPr wrap="square" lIns="0" tIns="0" rIns="0" bIns="0" rtlCol="0"/>
          <a:lstStyle/>
          <a:p>
            <a:endParaRPr/>
          </a:p>
        </p:txBody>
      </p:sp>
      <p:sp>
        <p:nvSpPr>
          <p:cNvPr id="6" name="object 6"/>
          <p:cNvSpPr/>
          <p:nvPr/>
        </p:nvSpPr>
        <p:spPr>
          <a:xfrm>
            <a:off x="10950946" y="7221682"/>
            <a:ext cx="2894965" cy="756920"/>
          </a:xfrm>
          <a:custGeom>
            <a:avLst/>
            <a:gdLst/>
            <a:ahLst/>
            <a:cxnLst/>
            <a:rect l="l" t="t" r="r" b="b"/>
            <a:pathLst>
              <a:path w="2894965" h="756920">
                <a:moveTo>
                  <a:pt x="2894700" y="756481"/>
                </a:moveTo>
                <a:lnTo>
                  <a:pt x="0" y="756481"/>
                </a:lnTo>
                <a:lnTo>
                  <a:pt x="0" y="0"/>
                </a:lnTo>
                <a:lnTo>
                  <a:pt x="2894700" y="0"/>
                </a:lnTo>
                <a:lnTo>
                  <a:pt x="2894700" y="756481"/>
                </a:lnTo>
                <a:close/>
              </a:path>
            </a:pathLst>
          </a:custGeom>
          <a:solidFill>
            <a:srgbClr val="21408B"/>
          </a:solidFill>
        </p:spPr>
        <p:txBody>
          <a:bodyPr wrap="square" lIns="0" tIns="0" rIns="0" bIns="0" rtlCol="0"/>
          <a:lstStyle/>
          <a:p>
            <a:endParaRPr/>
          </a:p>
        </p:txBody>
      </p:sp>
      <p:grpSp>
        <p:nvGrpSpPr>
          <p:cNvPr id="7" name="object 7"/>
          <p:cNvGrpSpPr/>
          <p:nvPr/>
        </p:nvGrpSpPr>
        <p:grpSpPr>
          <a:xfrm>
            <a:off x="6682491" y="7077340"/>
            <a:ext cx="4477385" cy="1044575"/>
            <a:chOff x="6682491" y="7077340"/>
            <a:chExt cx="4477385" cy="1044575"/>
          </a:xfrm>
        </p:grpSpPr>
        <p:sp>
          <p:nvSpPr>
            <p:cNvPr id="8" name="object 8"/>
            <p:cNvSpPr/>
            <p:nvPr/>
          </p:nvSpPr>
          <p:spPr>
            <a:xfrm>
              <a:off x="6682491" y="7077340"/>
              <a:ext cx="1044575" cy="1044575"/>
            </a:xfrm>
            <a:custGeom>
              <a:avLst/>
              <a:gdLst/>
              <a:ahLst/>
              <a:cxnLst/>
              <a:rect l="l" t="t" r="r" b="b"/>
              <a:pathLst>
                <a:path w="1044575" h="1044575">
                  <a:moveTo>
                    <a:pt x="522265" y="1044517"/>
                  </a:moveTo>
                  <a:lnTo>
                    <a:pt x="474722" y="1042383"/>
                  </a:lnTo>
                  <a:lnTo>
                    <a:pt x="428381" y="1036103"/>
                  </a:lnTo>
                  <a:lnTo>
                    <a:pt x="383421" y="1025861"/>
                  </a:lnTo>
                  <a:lnTo>
                    <a:pt x="340025" y="1011843"/>
                  </a:lnTo>
                  <a:lnTo>
                    <a:pt x="298378" y="994232"/>
                  </a:lnTo>
                  <a:lnTo>
                    <a:pt x="258664" y="973213"/>
                  </a:lnTo>
                  <a:lnTo>
                    <a:pt x="221068" y="948971"/>
                  </a:lnTo>
                  <a:lnTo>
                    <a:pt x="185773" y="921688"/>
                  </a:lnTo>
                  <a:lnTo>
                    <a:pt x="152965" y="891551"/>
                  </a:lnTo>
                  <a:lnTo>
                    <a:pt x="122828" y="858743"/>
                  </a:lnTo>
                  <a:lnTo>
                    <a:pt x="95546" y="823449"/>
                  </a:lnTo>
                  <a:lnTo>
                    <a:pt x="71303" y="785852"/>
                  </a:lnTo>
                  <a:lnTo>
                    <a:pt x="50284" y="746138"/>
                  </a:lnTo>
                  <a:lnTo>
                    <a:pt x="32673" y="704491"/>
                  </a:lnTo>
                  <a:lnTo>
                    <a:pt x="18655" y="661095"/>
                  </a:lnTo>
                  <a:lnTo>
                    <a:pt x="8414" y="616135"/>
                  </a:lnTo>
                  <a:lnTo>
                    <a:pt x="2134" y="569794"/>
                  </a:lnTo>
                  <a:lnTo>
                    <a:pt x="0" y="522258"/>
                  </a:lnTo>
                  <a:lnTo>
                    <a:pt x="2134" y="474722"/>
                  </a:lnTo>
                  <a:lnTo>
                    <a:pt x="8414" y="428381"/>
                  </a:lnTo>
                  <a:lnTo>
                    <a:pt x="18655" y="383421"/>
                  </a:lnTo>
                  <a:lnTo>
                    <a:pt x="32673" y="340025"/>
                  </a:lnTo>
                  <a:lnTo>
                    <a:pt x="50284" y="298378"/>
                  </a:lnTo>
                  <a:lnTo>
                    <a:pt x="71303" y="258664"/>
                  </a:lnTo>
                  <a:lnTo>
                    <a:pt x="95546" y="221068"/>
                  </a:lnTo>
                  <a:lnTo>
                    <a:pt x="122828" y="185773"/>
                  </a:lnTo>
                  <a:lnTo>
                    <a:pt x="152965" y="152965"/>
                  </a:lnTo>
                  <a:lnTo>
                    <a:pt x="185773" y="122828"/>
                  </a:lnTo>
                  <a:lnTo>
                    <a:pt x="221068" y="95546"/>
                  </a:lnTo>
                  <a:lnTo>
                    <a:pt x="258664" y="71303"/>
                  </a:lnTo>
                  <a:lnTo>
                    <a:pt x="298378" y="50284"/>
                  </a:lnTo>
                  <a:lnTo>
                    <a:pt x="340025" y="32673"/>
                  </a:lnTo>
                  <a:lnTo>
                    <a:pt x="383421" y="18655"/>
                  </a:lnTo>
                  <a:lnTo>
                    <a:pt x="428381" y="8414"/>
                  </a:lnTo>
                  <a:lnTo>
                    <a:pt x="474722" y="2134"/>
                  </a:lnTo>
                  <a:lnTo>
                    <a:pt x="522258" y="0"/>
                  </a:lnTo>
                  <a:lnTo>
                    <a:pt x="569794" y="2134"/>
                  </a:lnTo>
                  <a:lnTo>
                    <a:pt x="616135" y="8414"/>
                  </a:lnTo>
                  <a:lnTo>
                    <a:pt x="661095" y="18655"/>
                  </a:lnTo>
                  <a:lnTo>
                    <a:pt x="704491" y="32673"/>
                  </a:lnTo>
                  <a:lnTo>
                    <a:pt x="746138" y="50284"/>
                  </a:lnTo>
                  <a:lnTo>
                    <a:pt x="785852" y="71303"/>
                  </a:lnTo>
                  <a:lnTo>
                    <a:pt x="823448" y="95546"/>
                  </a:lnTo>
                  <a:lnTo>
                    <a:pt x="858743" y="122828"/>
                  </a:lnTo>
                  <a:lnTo>
                    <a:pt x="891551" y="152965"/>
                  </a:lnTo>
                  <a:lnTo>
                    <a:pt x="921688" y="185773"/>
                  </a:lnTo>
                  <a:lnTo>
                    <a:pt x="948970" y="221068"/>
                  </a:lnTo>
                  <a:lnTo>
                    <a:pt x="973213" y="258664"/>
                  </a:lnTo>
                  <a:lnTo>
                    <a:pt x="994232" y="298378"/>
                  </a:lnTo>
                  <a:lnTo>
                    <a:pt x="1011843" y="340025"/>
                  </a:lnTo>
                  <a:lnTo>
                    <a:pt x="1025861" y="383421"/>
                  </a:lnTo>
                  <a:lnTo>
                    <a:pt x="1036102" y="428381"/>
                  </a:lnTo>
                  <a:lnTo>
                    <a:pt x="1042382" y="474722"/>
                  </a:lnTo>
                  <a:lnTo>
                    <a:pt x="1044517" y="522258"/>
                  </a:lnTo>
                  <a:lnTo>
                    <a:pt x="1042382" y="569794"/>
                  </a:lnTo>
                  <a:lnTo>
                    <a:pt x="1036102" y="616135"/>
                  </a:lnTo>
                  <a:lnTo>
                    <a:pt x="1025861" y="661095"/>
                  </a:lnTo>
                  <a:lnTo>
                    <a:pt x="1011843" y="704491"/>
                  </a:lnTo>
                  <a:lnTo>
                    <a:pt x="994232" y="746138"/>
                  </a:lnTo>
                  <a:lnTo>
                    <a:pt x="973213" y="785852"/>
                  </a:lnTo>
                  <a:lnTo>
                    <a:pt x="948970" y="823449"/>
                  </a:lnTo>
                  <a:lnTo>
                    <a:pt x="921688" y="858743"/>
                  </a:lnTo>
                  <a:lnTo>
                    <a:pt x="891551" y="891551"/>
                  </a:lnTo>
                  <a:lnTo>
                    <a:pt x="858743" y="921688"/>
                  </a:lnTo>
                  <a:lnTo>
                    <a:pt x="823448" y="948971"/>
                  </a:lnTo>
                  <a:lnTo>
                    <a:pt x="785852" y="973213"/>
                  </a:lnTo>
                  <a:lnTo>
                    <a:pt x="746138" y="994232"/>
                  </a:lnTo>
                  <a:lnTo>
                    <a:pt x="704491" y="1011843"/>
                  </a:lnTo>
                  <a:lnTo>
                    <a:pt x="661095" y="1025861"/>
                  </a:lnTo>
                  <a:lnTo>
                    <a:pt x="616135" y="1036103"/>
                  </a:lnTo>
                  <a:lnTo>
                    <a:pt x="569794" y="1042383"/>
                  </a:lnTo>
                  <a:lnTo>
                    <a:pt x="522265" y="1044517"/>
                  </a:lnTo>
                  <a:close/>
                </a:path>
              </a:pathLst>
            </a:custGeom>
            <a:solidFill>
              <a:srgbClr val="21408B"/>
            </a:solidFill>
          </p:spPr>
          <p:txBody>
            <a:bodyPr wrap="square" lIns="0" tIns="0" rIns="0" bIns="0" rtlCol="0"/>
            <a:lstStyle/>
            <a:p>
              <a:endParaRPr/>
            </a:p>
          </p:txBody>
        </p:sp>
        <p:sp>
          <p:nvSpPr>
            <p:cNvPr id="9" name="object 9"/>
            <p:cNvSpPr/>
            <p:nvPr/>
          </p:nvSpPr>
          <p:spPr>
            <a:xfrm>
              <a:off x="6974636" y="7351814"/>
              <a:ext cx="447675" cy="485775"/>
            </a:xfrm>
            <a:custGeom>
              <a:avLst/>
              <a:gdLst/>
              <a:ahLst/>
              <a:cxnLst/>
              <a:rect l="l" t="t" r="r" b="b"/>
              <a:pathLst>
                <a:path w="447675" h="485775">
                  <a:moveTo>
                    <a:pt x="281305" y="446913"/>
                  </a:moveTo>
                  <a:lnTo>
                    <a:pt x="281101" y="444957"/>
                  </a:lnTo>
                  <a:lnTo>
                    <a:pt x="280111" y="443471"/>
                  </a:lnTo>
                  <a:lnTo>
                    <a:pt x="279006" y="441896"/>
                  </a:lnTo>
                  <a:lnTo>
                    <a:pt x="276821" y="440817"/>
                  </a:lnTo>
                  <a:lnTo>
                    <a:pt x="275424" y="441020"/>
                  </a:lnTo>
                  <a:lnTo>
                    <a:pt x="172554" y="441604"/>
                  </a:lnTo>
                  <a:lnTo>
                    <a:pt x="168859" y="442595"/>
                  </a:lnTo>
                  <a:lnTo>
                    <a:pt x="166865" y="445731"/>
                  </a:lnTo>
                  <a:lnTo>
                    <a:pt x="166662" y="447700"/>
                  </a:lnTo>
                  <a:lnTo>
                    <a:pt x="167462" y="449376"/>
                  </a:lnTo>
                  <a:lnTo>
                    <a:pt x="176961" y="464400"/>
                  </a:lnTo>
                  <a:lnTo>
                    <a:pt x="190182" y="475869"/>
                  </a:lnTo>
                  <a:lnTo>
                    <a:pt x="206146" y="483184"/>
                  </a:lnTo>
                  <a:lnTo>
                    <a:pt x="223888" y="485762"/>
                  </a:lnTo>
                  <a:lnTo>
                    <a:pt x="241858" y="483133"/>
                  </a:lnTo>
                  <a:lnTo>
                    <a:pt x="257924" y="475665"/>
                  </a:lnTo>
                  <a:lnTo>
                    <a:pt x="271157" y="463981"/>
                  </a:lnTo>
                  <a:lnTo>
                    <a:pt x="280606" y="448691"/>
                  </a:lnTo>
                  <a:lnTo>
                    <a:pt x="281305" y="446913"/>
                  </a:lnTo>
                  <a:close/>
                </a:path>
                <a:path w="447675" h="485775">
                  <a:moveTo>
                    <a:pt x="447675" y="394208"/>
                  </a:moveTo>
                  <a:lnTo>
                    <a:pt x="446176" y="391058"/>
                  </a:lnTo>
                  <a:lnTo>
                    <a:pt x="380580" y="337083"/>
                  </a:lnTo>
                  <a:lnTo>
                    <a:pt x="380580" y="198729"/>
                  </a:lnTo>
                  <a:lnTo>
                    <a:pt x="372122" y="148628"/>
                  </a:lnTo>
                  <a:lnTo>
                    <a:pt x="348640" y="105371"/>
                  </a:lnTo>
                  <a:lnTo>
                    <a:pt x="312966" y="71716"/>
                  </a:lnTo>
                  <a:lnTo>
                    <a:pt x="267944" y="50444"/>
                  </a:lnTo>
                  <a:lnTo>
                    <a:pt x="268249" y="48374"/>
                  </a:lnTo>
                  <a:lnTo>
                    <a:pt x="268643" y="46304"/>
                  </a:lnTo>
                  <a:lnTo>
                    <a:pt x="268643" y="45910"/>
                  </a:lnTo>
                  <a:lnTo>
                    <a:pt x="268643" y="44145"/>
                  </a:lnTo>
                  <a:lnTo>
                    <a:pt x="265125" y="26962"/>
                  </a:lnTo>
                  <a:lnTo>
                    <a:pt x="261747" y="22021"/>
                  </a:lnTo>
                  <a:lnTo>
                    <a:pt x="255536" y="12928"/>
                  </a:lnTo>
                  <a:lnTo>
                    <a:pt x="246214" y="6731"/>
                  </a:lnTo>
                  <a:lnTo>
                    <a:pt x="246214" y="44145"/>
                  </a:lnTo>
                  <a:lnTo>
                    <a:pt x="246113" y="45326"/>
                  </a:lnTo>
                  <a:lnTo>
                    <a:pt x="246011" y="45910"/>
                  </a:lnTo>
                  <a:lnTo>
                    <a:pt x="238734" y="44932"/>
                  </a:lnTo>
                  <a:lnTo>
                    <a:pt x="231355" y="44145"/>
                  </a:lnTo>
                  <a:lnTo>
                    <a:pt x="216204" y="44145"/>
                  </a:lnTo>
                  <a:lnTo>
                    <a:pt x="208927" y="44831"/>
                  </a:lnTo>
                  <a:lnTo>
                    <a:pt x="201650" y="45910"/>
                  </a:lnTo>
                  <a:lnTo>
                    <a:pt x="201650" y="45326"/>
                  </a:lnTo>
                  <a:lnTo>
                    <a:pt x="201523" y="44932"/>
                  </a:lnTo>
                  <a:lnTo>
                    <a:pt x="201460" y="44145"/>
                  </a:lnTo>
                  <a:lnTo>
                    <a:pt x="203225" y="35547"/>
                  </a:lnTo>
                  <a:lnTo>
                    <a:pt x="208038" y="28511"/>
                  </a:lnTo>
                  <a:lnTo>
                    <a:pt x="215163" y="23761"/>
                  </a:lnTo>
                  <a:lnTo>
                    <a:pt x="223888" y="22021"/>
                  </a:lnTo>
                  <a:lnTo>
                    <a:pt x="232587" y="23761"/>
                  </a:lnTo>
                  <a:lnTo>
                    <a:pt x="239687" y="28511"/>
                  </a:lnTo>
                  <a:lnTo>
                    <a:pt x="244462" y="35547"/>
                  </a:lnTo>
                  <a:lnTo>
                    <a:pt x="246214" y="44145"/>
                  </a:lnTo>
                  <a:lnTo>
                    <a:pt x="246214" y="6731"/>
                  </a:lnTo>
                  <a:lnTo>
                    <a:pt x="241312" y="3467"/>
                  </a:lnTo>
                  <a:lnTo>
                    <a:pt x="223888" y="0"/>
                  </a:lnTo>
                  <a:lnTo>
                    <a:pt x="206463" y="3467"/>
                  </a:lnTo>
                  <a:lnTo>
                    <a:pt x="192239" y="12928"/>
                  </a:lnTo>
                  <a:lnTo>
                    <a:pt x="182651" y="26962"/>
                  </a:lnTo>
                  <a:lnTo>
                    <a:pt x="179133" y="44145"/>
                  </a:lnTo>
                  <a:lnTo>
                    <a:pt x="179133" y="46304"/>
                  </a:lnTo>
                  <a:lnTo>
                    <a:pt x="179527" y="48374"/>
                  </a:lnTo>
                  <a:lnTo>
                    <a:pt x="179832" y="50444"/>
                  </a:lnTo>
                  <a:lnTo>
                    <a:pt x="134810" y="71704"/>
                  </a:lnTo>
                  <a:lnTo>
                    <a:pt x="99136" y="105333"/>
                  </a:lnTo>
                  <a:lnTo>
                    <a:pt x="75641" y="148590"/>
                  </a:lnTo>
                  <a:lnTo>
                    <a:pt x="67183" y="198729"/>
                  </a:lnTo>
                  <a:lnTo>
                    <a:pt x="67183" y="337083"/>
                  </a:lnTo>
                  <a:lnTo>
                    <a:pt x="3987" y="389001"/>
                  </a:lnTo>
                  <a:lnTo>
                    <a:pt x="1397" y="391058"/>
                  </a:lnTo>
                  <a:lnTo>
                    <a:pt x="0" y="394208"/>
                  </a:lnTo>
                  <a:lnTo>
                    <a:pt x="0" y="414566"/>
                  </a:lnTo>
                  <a:lnTo>
                    <a:pt x="4978" y="419481"/>
                  </a:lnTo>
                  <a:lnTo>
                    <a:pt x="442683" y="419481"/>
                  </a:lnTo>
                  <a:lnTo>
                    <a:pt x="447675" y="414566"/>
                  </a:lnTo>
                  <a:lnTo>
                    <a:pt x="447675" y="394208"/>
                  </a:lnTo>
                  <a:close/>
                </a:path>
              </a:pathLst>
            </a:custGeom>
            <a:solidFill>
              <a:srgbClr val="FFFFFF"/>
            </a:solidFill>
          </p:spPr>
          <p:txBody>
            <a:bodyPr wrap="square" lIns="0" tIns="0" rIns="0" bIns="0" rtlCol="0"/>
            <a:lstStyle/>
            <a:p>
              <a:endParaRPr/>
            </a:p>
          </p:txBody>
        </p:sp>
        <p:sp>
          <p:nvSpPr>
            <p:cNvPr id="10" name="object 10"/>
            <p:cNvSpPr/>
            <p:nvPr/>
          </p:nvSpPr>
          <p:spPr>
            <a:xfrm>
              <a:off x="7452563" y="7077341"/>
              <a:ext cx="3707129" cy="1044575"/>
            </a:xfrm>
            <a:custGeom>
              <a:avLst/>
              <a:gdLst/>
              <a:ahLst/>
              <a:cxnLst/>
              <a:rect l="l" t="t" r="r" b="b"/>
              <a:pathLst>
                <a:path w="3707129" h="1044575">
                  <a:moveTo>
                    <a:pt x="3706914" y="522262"/>
                  </a:moveTo>
                  <a:lnTo>
                    <a:pt x="3704780" y="474726"/>
                  </a:lnTo>
                  <a:lnTo>
                    <a:pt x="3698494" y="428383"/>
                  </a:lnTo>
                  <a:lnTo>
                    <a:pt x="3688257" y="383425"/>
                  </a:lnTo>
                  <a:lnTo>
                    <a:pt x="3674237" y="340029"/>
                  </a:lnTo>
                  <a:lnTo>
                    <a:pt x="3656622" y="298386"/>
                  </a:lnTo>
                  <a:lnTo>
                    <a:pt x="3635603" y="258673"/>
                  </a:lnTo>
                  <a:lnTo>
                    <a:pt x="3611359" y="221068"/>
                  </a:lnTo>
                  <a:lnTo>
                    <a:pt x="3584079" y="185775"/>
                  </a:lnTo>
                  <a:lnTo>
                    <a:pt x="3553942" y="152971"/>
                  </a:lnTo>
                  <a:lnTo>
                    <a:pt x="3521138" y="122834"/>
                  </a:lnTo>
                  <a:lnTo>
                    <a:pt x="3485845" y="95554"/>
                  </a:lnTo>
                  <a:lnTo>
                    <a:pt x="3448240" y="71310"/>
                  </a:lnTo>
                  <a:lnTo>
                    <a:pt x="3408527" y="50292"/>
                  </a:lnTo>
                  <a:lnTo>
                    <a:pt x="3366884" y="32677"/>
                  </a:lnTo>
                  <a:lnTo>
                    <a:pt x="3323488" y="18656"/>
                  </a:lnTo>
                  <a:lnTo>
                    <a:pt x="3278530" y="8420"/>
                  </a:lnTo>
                  <a:lnTo>
                    <a:pt x="3232188" y="2133"/>
                  </a:lnTo>
                  <a:lnTo>
                    <a:pt x="3184652" y="0"/>
                  </a:lnTo>
                  <a:lnTo>
                    <a:pt x="3137116" y="2133"/>
                  </a:lnTo>
                  <a:lnTo>
                    <a:pt x="3090773" y="8420"/>
                  </a:lnTo>
                  <a:lnTo>
                    <a:pt x="3045815" y="18656"/>
                  </a:lnTo>
                  <a:lnTo>
                    <a:pt x="3002419" y="32677"/>
                  </a:lnTo>
                  <a:lnTo>
                    <a:pt x="2960776" y="50292"/>
                  </a:lnTo>
                  <a:lnTo>
                    <a:pt x="2921063" y="71310"/>
                  </a:lnTo>
                  <a:lnTo>
                    <a:pt x="2883458" y="95554"/>
                  </a:lnTo>
                  <a:lnTo>
                    <a:pt x="2848165" y="122834"/>
                  </a:lnTo>
                  <a:lnTo>
                    <a:pt x="2824746" y="144348"/>
                  </a:lnTo>
                  <a:lnTo>
                    <a:pt x="0" y="144348"/>
                  </a:lnTo>
                  <a:lnTo>
                    <a:pt x="0" y="900823"/>
                  </a:lnTo>
                  <a:lnTo>
                    <a:pt x="2825445" y="900823"/>
                  </a:lnTo>
                  <a:lnTo>
                    <a:pt x="2848165" y="921689"/>
                  </a:lnTo>
                  <a:lnTo>
                    <a:pt x="2883458" y="948982"/>
                  </a:lnTo>
                  <a:lnTo>
                    <a:pt x="2921063" y="973213"/>
                  </a:lnTo>
                  <a:lnTo>
                    <a:pt x="2960776" y="994232"/>
                  </a:lnTo>
                  <a:lnTo>
                    <a:pt x="3002419" y="1011847"/>
                  </a:lnTo>
                  <a:lnTo>
                    <a:pt x="3045815" y="1025867"/>
                  </a:lnTo>
                  <a:lnTo>
                    <a:pt x="3090773" y="1036104"/>
                  </a:lnTo>
                  <a:lnTo>
                    <a:pt x="3137116" y="1042390"/>
                  </a:lnTo>
                  <a:lnTo>
                    <a:pt x="3184664" y="1044524"/>
                  </a:lnTo>
                  <a:lnTo>
                    <a:pt x="3232188" y="1042390"/>
                  </a:lnTo>
                  <a:lnTo>
                    <a:pt x="3278530" y="1036104"/>
                  </a:lnTo>
                  <a:lnTo>
                    <a:pt x="3323488" y="1025867"/>
                  </a:lnTo>
                  <a:lnTo>
                    <a:pt x="3366884" y="1011847"/>
                  </a:lnTo>
                  <a:lnTo>
                    <a:pt x="3408527" y="994232"/>
                  </a:lnTo>
                  <a:lnTo>
                    <a:pt x="3448240" y="973213"/>
                  </a:lnTo>
                  <a:lnTo>
                    <a:pt x="3485845" y="948982"/>
                  </a:lnTo>
                  <a:lnTo>
                    <a:pt x="3521138" y="921689"/>
                  </a:lnTo>
                  <a:lnTo>
                    <a:pt x="3553942" y="891552"/>
                  </a:lnTo>
                  <a:lnTo>
                    <a:pt x="3584079" y="858748"/>
                  </a:lnTo>
                  <a:lnTo>
                    <a:pt x="3611359" y="823455"/>
                  </a:lnTo>
                  <a:lnTo>
                    <a:pt x="3635603" y="785863"/>
                  </a:lnTo>
                  <a:lnTo>
                    <a:pt x="3656622" y="746137"/>
                  </a:lnTo>
                  <a:lnTo>
                    <a:pt x="3674237" y="704494"/>
                  </a:lnTo>
                  <a:lnTo>
                    <a:pt x="3688257" y="661098"/>
                  </a:lnTo>
                  <a:lnTo>
                    <a:pt x="3698494" y="616140"/>
                  </a:lnTo>
                  <a:lnTo>
                    <a:pt x="3704780" y="569798"/>
                  </a:lnTo>
                  <a:lnTo>
                    <a:pt x="3706914" y="522262"/>
                  </a:lnTo>
                  <a:close/>
                </a:path>
              </a:pathLst>
            </a:custGeom>
            <a:solidFill>
              <a:srgbClr val="21408B"/>
            </a:solidFill>
          </p:spPr>
          <p:txBody>
            <a:bodyPr wrap="square" lIns="0" tIns="0" rIns="0" bIns="0" rtlCol="0"/>
            <a:lstStyle/>
            <a:p>
              <a:endParaRPr/>
            </a:p>
          </p:txBody>
        </p:sp>
        <p:sp>
          <p:nvSpPr>
            <p:cNvPr id="11" name="object 11"/>
            <p:cNvSpPr/>
            <p:nvPr/>
          </p:nvSpPr>
          <p:spPr>
            <a:xfrm>
              <a:off x="10386563" y="7273250"/>
              <a:ext cx="565150" cy="565150"/>
            </a:xfrm>
            <a:custGeom>
              <a:avLst/>
              <a:gdLst/>
              <a:ahLst/>
              <a:cxnLst/>
              <a:rect l="l" t="t" r="r" b="b"/>
              <a:pathLst>
                <a:path w="565150" h="565150">
                  <a:moveTo>
                    <a:pt x="167329" y="401088"/>
                  </a:moveTo>
                  <a:lnTo>
                    <a:pt x="112021" y="283521"/>
                  </a:lnTo>
                  <a:lnTo>
                    <a:pt x="152445" y="256180"/>
                  </a:lnTo>
                  <a:lnTo>
                    <a:pt x="172096" y="242434"/>
                  </a:lnTo>
                  <a:lnTo>
                    <a:pt x="215969" y="204960"/>
                  </a:lnTo>
                  <a:lnTo>
                    <a:pt x="253535" y="150184"/>
                  </a:lnTo>
                  <a:lnTo>
                    <a:pt x="265681" y="109014"/>
                  </a:lnTo>
                  <a:lnTo>
                    <a:pt x="267000" y="91756"/>
                  </a:lnTo>
                  <a:lnTo>
                    <a:pt x="266948" y="76735"/>
                  </a:lnTo>
                  <a:lnTo>
                    <a:pt x="264810" y="69982"/>
                  </a:lnTo>
                  <a:lnTo>
                    <a:pt x="281319" y="64692"/>
                  </a:lnTo>
                  <a:lnTo>
                    <a:pt x="283350" y="72301"/>
                  </a:lnTo>
                  <a:lnTo>
                    <a:pt x="422853" y="368705"/>
                  </a:lnTo>
                  <a:lnTo>
                    <a:pt x="307896" y="368705"/>
                  </a:lnTo>
                  <a:lnTo>
                    <a:pt x="235257" y="377796"/>
                  </a:lnTo>
                  <a:lnTo>
                    <a:pt x="191776" y="391382"/>
                  </a:lnTo>
                  <a:lnTo>
                    <a:pt x="183859" y="394481"/>
                  </a:lnTo>
                  <a:lnTo>
                    <a:pt x="167329" y="401088"/>
                  </a:lnTo>
                  <a:close/>
                </a:path>
                <a:path w="565150" h="565150">
                  <a:moveTo>
                    <a:pt x="392056" y="256591"/>
                  </a:moveTo>
                  <a:lnTo>
                    <a:pt x="367552" y="204626"/>
                  </a:lnTo>
                  <a:lnTo>
                    <a:pt x="380883" y="202434"/>
                  </a:lnTo>
                  <a:lnTo>
                    <a:pt x="391603" y="203854"/>
                  </a:lnTo>
                  <a:lnTo>
                    <a:pt x="399939" y="208836"/>
                  </a:lnTo>
                  <a:lnTo>
                    <a:pt x="406116" y="217329"/>
                  </a:lnTo>
                  <a:lnTo>
                    <a:pt x="409446" y="227769"/>
                  </a:lnTo>
                  <a:lnTo>
                    <a:pt x="408355" y="237639"/>
                  </a:lnTo>
                  <a:lnTo>
                    <a:pt x="402630" y="247170"/>
                  </a:lnTo>
                  <a:lnTo>
                    <a:pt x="392056" y="256591"/>
                  </a:lnTo>
                  <a:close/>
                </a:path>
                <a:path w="565150" h="565150">
                  <a:moveTo>
                    <a:pt x="65706" y="441884"/>
                  </a:moveTo>
                  <a:lnTo>
                    <a:pt x="28983" y="430658"/>
                  </a:lnTo>
                  <a:lnTo>
                    <a:pt x="5733" y="400444"/>
                  </a:lnTo>
                  <a:lnTo>
                    <a:pt x="2625" y="393295"/>
                  </a:lnTo>
                  <a:lnTo>
                    <a:pt x="857" y="385828"/>
                  </a:lnTo>
                  <a:lnTo>
                    <a:pt x="0" y="370260"/>
                  </a:lnTo>
                  <a:lnTo>
                    <a:pt x="937" y="362645"/>
                  </a:lnTo>
                  <a:lnTo>
                    <a:pt x="18567" y="328570"/>
                  </a:lnTo>
                  <a:lnTo>
                    <a:pt x="60220" y="303950"/>
                  </a:lnTo>
                  <a:lnTo>
                    <a:pt x="91147" y="289403"/>
                  </a:lnTo>
                  <a:lnTo>
                    <a:pt x="148638" y="411465"/>
                  </a:lnTo>
                  <a:lnTo>
                    <a:pt x="98075" y="433218"/>
                  </a:lnTo>
                  <a:lnTo>
                    <a:pt x="73369" y="441371"/>
                  </a:lnTo>
                  <a:lnTo>
                    <a:pt x="65706" y="441884"/>
                  </a:lnTo>
                  <a:close/>
                </a:path>
                <a:path w="565150" h="565150">
                  <a:moveTo>
                    <a:pt x="425050" y="411904"/>
                  </a:moveTo>
                  <a:lnTo>
                    <a:pt x="386664" y="384339"/>
                  </a:lnTo>
                  <a:lnTo>
                    <a:pt x="345086" y="371952"/>
                  </a:lnTo>
                  <a:lnTo>
                    <a:pt x="307896" y="368705"/>
                  </a:lnTo>
                  <a:lnTo>
                    <a:pt x="422853" y="368705"/>
                  </a:lnTo>
                  <a:lnTo>
                    <a:pt x="434722" y="393895"/>
                  </a:lnTo>
                  <a:lnTo>
                    <a:pt x="436033" y="396624"/>
                  </a:lnTo>
                  <a:lnTo>
                    <a:pt x="439762" y="406053"/>
                  </a:lnTo>
                  <a:lnTo>
                    <a:pt x="439118" y="408130"/>
                  </a:lnTo>
                  <a:lnTo>
                    <a:pt x="438853" y="408819"/>
                  </a:lnTo>
                  <a:lnTo>
                    <a:pt x="438155" y="410476"/>
                  </a:lnTo>
                  <a:lnTo>
                    <a:pt x="437213" y="411495"/>
                  </a:lnTo>
                  <a:lnTo>
                    <a:pt x="430947" y="411495"/>
                  </a:lnTo>
                  <a:lnTo>
                    <a:pt x="425050" y="411904"/>
                  </a:lnTo>
                  <a:close/>
                </a:path>
                <a:path w="565150" h="565150">
                  <a:moveTo>
                    <a:pt x="191175" y="450697"/>
                  </a:moveTo>
                  <a:lnTo>
                    <a:pt x="188234" y="445141"/>
                  </a:lnTo>
                  <a:lnTo>
                    <a:pt x="180291" y="430436"/>
                  </a:lnTo>
                  <a:lnTo>
                    <a:pt x="176705" y="423615"/>
                  </a:lnTo>
                  <a:lnTo>
                    <a:pt x="217825" y="405371"/>
                  </a:lnTo>
                  <a:lnTo>
                    <a:pt x="224437" y="420664"/>
                  </a:lnTo>
                  <a:lnTo>
                    <a:pt x="224015" y="432269"/>
                  </a:lnTo>
                  <a:lnTo>
                    <a:pt x="213836" y="441756"/>
                  </a:lnTo>
                  <a:lnTo>
                    <a:pt x="191175" y="450697"/>
                  </a:lnTo>
                  <a:close/>
                </a:path>
                <a:path w="565150" h="565150">
                  <a:moveTo>
                    <a:pt x="435411" y="412541"/>
                  </a:moveTo>
                  <a:lnTo>
                    <a:pt x="430947" y="411495"/>
                  </a:lnTo>
                  <a:lnTo>
                    <a:pt x="437213" y="411495"/>
                  </a:lnTo>
                  <a:lnTo>
                    <a:pt x="437008" y="411716"/>
                  </a:lnTo>
                  <a:lnTo>
                    <a:pt x="435411" y="412541"/>
                  </a:lnTo>
                  <a:close/>
                </a:path>
                <a:path w="565150" h="565150">
                  <a:moveTo>
                    <a:pt x="195836" y="564754"/>
                  </a:moveTo>
                  <a:lnTo>
                    <a:pt x="189765" y="560722"/>
                  </a:lnTo>
                  <a:lnTo>
                    <a:pt x="168273" y="527163"/>
                  </a:lnTo>
                  <a:lnTo>
                    <a:pt x="117805" y="448931"/>
                  </a:lnTo>
                  <a:lnTo>
                    <a:pt x="156900" y="430436"/>
                  </a:lnTo>
                  <a:lnTo>
                    <a:pt x="157012" y="430671"/>
                  </a:lnTo>
                  <a:lnTo>
                    <a:pt x="158461" y="433218"/>
                  </a:lnTo>
                  <a:lnTo>
                    <a:pt x="159992" y="435537"/>
                  </a:lnTo>
                  <a:lnTo>
                    <a:pt x="208722" y="539090"/>
                  </a:lnTo>
                  <a:lnTo>
                    <a:pt x="211257" y="546432"/>
                  </a:lnTo>
                  <a:lnTo>
                    <a:pt x="211454" y="552605"/>
                  </a:lnTo>
                  <a:lnTo>
                    <a:pt x="209286" y="557449"/>
                  </a:lnTo>
                  <a:lnTo>
                    <a:pt x="204727" y="560805"/>
                  </a:lnTo>
                  <a:lnTo>
                    <a:pt x="195836" y="564754"/>
                  </a:lnTo>
                  <a:close/>
                </a:path>
                <a:path w="565150" h="565150">
                  <a:moveTo>
                    <a:pt x="373295" y="58021"/>
                  </a:moveTo>
                  <a:lnTo>
                    <a:pt x="366875" y="55665"/>
                  </a:lnTo>
                  <a:lnTo>
                    <a:pt x="364532" y="53534"/>
                  </a:lnTo>
                  <a:lnTo>
                    <a:pt x="360924" y="45981"/>
                  </a:lnTo>
                  <a:lnTo>
                    <a:pt x="361303" y="41736"/>
                  </a:lnTo>
                  <a:lnTo>
                    <a:pt x="364194" y="37716"/>
                  </a:lnTo>
                  <a:lnTo>
                    <a:pt x="369518" y="29762"/>
                  </a:lnTo>
                  <a:lnTo>
                    <a:pt x="374881" y="21856"/>
                  </a:lnTo>
                  <a:lnTo>
                    <a:pt x="380281" y="13997"/>
                  </a:lnTo>
                  <a:lnTo>
                    <a:pt x="385720" y="6185"/>
                  </a:lnTo>
                  <a:lnTo>
                    <a:pt x="388445" y="2046"/>
                  </a:lnTo>
                  <a:lnTo>
                    <a:pt x="392285" y="0"/>
                  </a:lnTo>
                  <a:lnTo>
                    <a:pt x="397241" y="45"/>
                  </a:lnTo>
                  <a:lnTo>
                    <a:pt x="402363" y="257"/>
                  </a:lnTo>
                  <a:lnTo>
                    <a:pt x="406203" y="2584"/>
                  </a:lnTo>
                  <a:lnTo>
                    <a:pt x="408762" y="7026"/>
                  </a:lnTo>
                  <a:lnTo>
                    <a:pt x="409595" y="8231"/>
                  </a:lnTo>
                  <a:lnTo>
                    <a:pt x="409292" y="9747"/>
                  </a:lnTo>
                  <a:lnTo>
                    <a:pt x="408989" y="11415"/>
                  </a:lnTo>
                  <a:lnTo>
                    <a:pt x="408913" y="12248"/>
                  </a:lnTo>
                  <a:lnTo>
                    <a:pt x="408774" y="14863"/>
                  </a:lnTo>
                  <a:lnTo>
                    <a:pt x="408066" y="17314"/>
                  </a:lnTo>
                  <a:lnTo>
                    <a:pt x="384734" y="52041"/>
                  </a:lnTo>
                  <a:lnTo>
                    <a:pt x="376460" y="57911"/>
                  </a:lnTo>
                  <a:lnTo>
                    <a:pt x="373295" y="58021"/>
                  </a:lnTo>
                  <a:close/>
                </a:path>
                <a:path w="565150" h="565150">
                  <a:moveTo>
                    <a:pt x="469143" y="191089"/>
                  </a:moveTo>
                  <a:lnTo>
                    <a:pt x="461323" y="173782"/>
                  </a:lnTo>
                  <a:lnTo>
                    <a:pt x="463420" y="170069"/>
                  </a:lnTo>
                  <a:lnTo>
                    <a:pt x="467655" y="167562"/>
                  </a:lnTo>
                  <a:lnTo>
                    <a:pt x="475798" y="162519"/>
                  </a:lnTo>
                  <a:lnTo>
                    <a:pt x="492170" y="152575"/>
                  </a:lnTo>
                  <a:lnTo>
                    <a:pt x="500399" y="147703"/>
                  </a:lnTo>
                  <a:lnTo>
                    <a:pt x="504540" y="145044"/>
                  </a:lnTo>
                  <a:lnTo>
                    <a:pt x="521015" y="157935"/>
                  </a:lnTo>
                  <a:lnTo>
                    <a:pt x="521243" y="159451"/>
                  </a:lnTo>
                  <a:lnTo>
                    <a:pt x="520257" y="160664"/>
                  </a:lnTo>
                  <a:lnTo>
                    <a:pt x="519878" y="161346"/>
                  </a:lnTo>
                  <a:lnTo>
                    <a:pt x="519424" y="162028"/>
                  </a:lnTo>
                  <a:lnTo>
                    <a:pt x="518969" y="162786"/>
                  </a:lnTo>
                  <a:lnTo>
                    <a:pt x="517773" y="165109"/>
                  </a:lnTo>
                  <a:lnTo>
                    <a:pt x="516131" y="167054"/>
                  </a:lnTo>
                  <a:lnTo>
                    <a:pt x="480456" y="189017"/>
                  </a:lnTo>
                  <a:lnTo>
                    <a:pt x="478508" y="190292"/>
                  </a:lnTo>
                  <a:lnTo>
                    <a:pt x="476360" y="190949"/>
                  </a:lnTo>
                  <a:lnTo>
                    <a:pt x="469143" y="191089"/>
                  </a:lnTo>
                  <a:close/>
                </a:path>
                <a:path w="565150" h="565150">
                  <a:moveTo>
                    <a:pt x="550507" y="375637"/>
                  </a:moveTo>
                  <a:lnTo>
                    <a:pt x="547923" y="375242"/>
                  </a:lnTo>
                  <a:lnTo>
                    <a:pt x="538219" y="372816"/>
                  </a:lnTo>
                  <a:lnTo>
                    <a:pt x="528680" y="370315"/>
                  </a:lnTo>
                  <a:lnTo>
                    <a:pt x="509949" y="365161"/>
                  </a:lnTo>
                  <a:lnTo>
                    <a:pt x="507705" y="364609"/>
                  </a:lnTo>
                  <a:lnTo>
                    <a:pt x="505760" y="363523"/>
                  </a:lnTo>
                  <a:lnTo>
                    <a:pt x="500645" y="358453"/>
                  </a:lnTo>
                  <a:lnTo>
                    <a:pt x="499609" y="354386"/>
                  </a:lnTo>
                  <a:lnTo>
                    <a:pt x="501005" y="349699"/>
                  </a:lnTo>
                  <a:lnTo>
                    <a:pt x="511871" y="339759"/>
                  </a:lnTo>
                  <a:lnTo>
                    <a:pt x="516619" y="341058"/>
                  </a:lnTo>
                  <a:lnTo>
                    <a:pt x="544417" y="348349"/>
                  </a:lnTo>
                  <a:lnTo>
                    <a:pt x="553607" y="350911"/>
                  </a:lnTo>
                  <a:lnTo>
                    <a:pt x="558370" y="352087"/>
                  </a:lnTo>
                  <a:lnTo>
                    <a:pt x="561554" y="354992"/>
                  </a:lnTo>
                  <a:lnTo>
                    <a:pt x="563158" y="359628"/>
                  </a:lnTo>
                  <a:lnTo>
                    <a:pt x="564702" y="364513"/>
                  </a:lnTo>
                  <a:lnTo>
                    <a:pt x="563818" y="368909"/>
                  </a:lnTo>
                  <a:lnTo>
                    <a:pt x="560491" y="372835"/>
                  </a:lnTo>
                  <a:lnTo>
                    <a:pt x="559595" y="374105"/>
                  </a:lnTo>
                  <a:lnTo>
                    <a:pt x="558004" y="374257"/>
                  </a:lnTo>
                  <a:lnTo>
                    <a:pt x="556412" y="374560"/>
                  </a:lnTo>
                  <a:lnTo>
                    <a:pt x="553059" y="375485"/>
                  </a:lnTo>
                  <a:lnTo>
                    <a:pt x="550507" y="375637"/>
                  </a:lnTo>
                  <a:close/>
                </a:path>
              </a:pathLst>
            </a:custGeom>
            <a:solidFill>
              <a:srgbClr val="FFFFFF"/>
            </a:solidFill>
          </p:spPr>
          <p:txBody>
            <a:bodyPr wrap="square" lIns="0" tIns="0" rIns="0" bIns="0" rtlCol="0"/>
            <a:lstStyle/>
            <a:p>
              <a:endParaRPr/>
            </a:p>
          </p:txBody>
        </p:sp>
      </p:grpSp>
      <p:grpSp>
        <p:nvGrpSpPr>
          <p:cNvPr id="12" name="object 12"/>
          <p:cNvGrpSpPr/>
          <p:nvPr/>
        </p:nvGrpSpPr>
        <p:grpSpPr>
          <a:xfrm>
            <a:off x="16696061" y="1503113"/>
            <a:ext cx="771525" cy="552450"/>
            <a:chOff x="16696061" y="1503113"/>
            <a:chExt cx="771525" cy="552450"/>
          </a:xfrm>
        </p:grpSpPr>
        <p:sp>
          <p:nvSpPr>
            <p:cNvPr id="13" name="object 13"/>
            <p:cNvSpPr/>
            <p:nvPr/>
          </p:nvSpPr>
          <p:spPr>
            <a:xfrm>
              <a:off x="16696061" y="1503113"/>
              <a:ext cx="771525" cy="552450"/>
            </a:xfrm>
            <a:custGeom>
              <a:avLst/>
              <a:gdLst/>
              <a:ahLst/>
              <a:cxnLst/>
              <a:rect l="l" t="t" r="r" b="b"/>
              <a:pathLst>
                <a:path w="771525" h="552450">
                  <a:moveTo>
                    <a:pt x="685799" y="552187"/>
                  </a:moveTo>
                  <a:lnTo>
                    <a:pt x="85724" y="552187"/>
                  </a:lnTo>
                  <a:lnTo>
                    <a:pt x="52358" y="545511"/>
                  </a:lnTo>
                  <a:lnTo>
                    <a:pt x="25109" y="527304"/>
                  </a:lnTo>
                  <a:lnTo>
                    <a:pt x="6737" y="500301"/>
                  </a:lnTo>
                  <a:lnTo>
                    <a:pt x="0" y="467235"/>
                  </a:lnTo>
                  <a:lnTo>
                    <a:pt x="0" y="84951"/>
                  </a:lnTo>
                  <a:lnTo>
                    <a:pt x="6737" y="51886"/>
                  </a:lnTo>
                  <a:lnTo>
                    <a:pt x="25109" y="24882"/>
                  </a:lnTo>
                  <a:lnTo>
                    <a:pt x="52358" y="6676"/>
                  </a:lnTo>
                  <a:lnTo>
                    <a:pt x="85724" y="0"/>
                  </a:lnTo>
                  <a:lnTo>
                    <a:pt x="685799" y="0"/>
                  </a:lnTo>
                  <a:lnTo>
                    <a:pt x="719166" y="6676"/>
                  </a:lnTo>
                  <a:lnTo>
                    <a:pt x="746415" y="24882"/>
                  </a:lnTo>
                  <a:lnTo>
                    <a:pt x="764787" y="51886"/>
                  </a:lnTo>
                  <a:lnTo>
                    <a:pt x="771524" y="84951"/>
                  </a:lnTo>
                  <a:lnTo>
                    <a:pt x="771524" y="467235"/>
                  </a:lnTo>
                  <a:lnTo>
                    <a:pt x="764787" y="500301"/>
                  </a:lnTo>
                  <a:lnTo>
                    <a:pt x="746415" y="527304"/>
                  </a:lnTo>
                  <a:lnTo>
                    <a:pt x="719166" y="545511"/>
                  </a:lnTo>
                  <a:lnTo>
                    <a:pt x="685799" y="552187"/>
                  </a:lnTo>
                  <a:close/>
                </a:path>
              </a:pathLst>
            </a:custGeom>
            <a:solidFill>
              <a:srgbClr val="74AADA"/>
            </a:solidFill>
          </p:spPr>
          <p:txBody>
            <a:bodyPr wrap="square" lIns="0" tIns="0" rIns="0" bIns="0" rtlCol="0"/>
            <a:lstStyle/>
            <a:p>
              <a:endParaRPr/>
            </a:p>
          </p:txBody>
        </p:sp>
        <p:sp>
          <p:nvSpPr>
            <p:cNvPr id="14" name="object 14"/>
            <p:cNvSpPr/>
            <p:nvPr/>
          </p:nvSpPr>
          <p:spPr>
            <a:xfrm>
              <a:off x="16696061" y="1673017"/>
              <a:ext cx="771525" cy="212725"/>
            </a:xfrm>
            <a:custGeom>
              <a:avLst/>
              <a:gdLst/>
              <a:ahLst/>
              <a:cxnLst/>
              <a:rect l="l" t="t" r="r" b="b"/>
              <a:pathLst>
                <a:path w="771525" h="212725">
                  <a:moveTo>
                    <a:pt x="771524" y="212379"/>
                  </a:moveTo>
                  <a:lnTo>
                    <a:pt x="0" y="212379"/>
                  </a:lnTo>
                  <a:lnTo>
                    <a:pt x="0" y="0"/>
                  </a:lnTo>
                  <a:lnTo>
                    <a:pt x="771524" y="0"/>
                  </a:lnTo>
                  <a:lnTo>
                    <a:pt x="771524" y="212379"/>
                  </a:lnTo>
                  <a:close/>
                </a:path>
              </a:pathLst>
            </a:custGeom>
            <a:solidFill>
              <a:srgbClr val="EDEDED"/>
            </a:solidFill>
          </p:spPr>
          <p:txBody>
            <a:bodyPr wrap="square" lIns="0" tIns="0" rIns="0" bIns="0" rtlCol="0"/>
            <a:lstStyle/>
            <a:p>
              <a:endParaRPr/>
            </a:p>
          </p:txBody>
        </p:sp>
        <p:pic>
          <p:nvPicPr>
            <p:cNvPr id="15" name="object 15"/>
            <p:cNvPicPr/>
            <p:nvPr/>
          </p:nvPicPr>
          <p:blipFill>
            <a:blip r:embed="rId2" cstate="print"/>
            <a:stretch>
              <a:fillRect/>
            </a:stretch>
          </p:blipFill>
          <p:spPr>
            <a:xfrm>
              <a:off x="16974667" y="1673017"/>
              <a:ext cx="214312" cy="212379"/>
            </a:xfrm>
            <a:prstGeom prst="rect">
              <a:avLst/>
            </a:prstGeom>
          </p:spPr>
        </p:pic>
      </p:grpSp>
      <p:grpSp>
        <p:nvGrpSpPr>
          <p:cNvPr id="16" name="object 16"/>
          <p:cNvGrpSpPr/>
          <p:nvPr/>
        </p:nvGrpSpPr>
        <p:grpSpPr>
          <a:xfrm>
            <a:off x="15418161" y="1503111"/>
            <a:ext cx="762000" cy="552450"/>
            <a:chOff x="15418161" y="1503111"/>
            <a:chExt cx="762000" cy="552450"/>
          </a:xfrm>
        </p:grpSpPr>
        <p:sp>
          <p:nvSpPr>
            <p:cNvPr id="17" name="object 17"/>
            <p:cNvSpPr/>
            <p:nvPr/>
          </p:nvSpPr>
          <p:spPr>
            <a:xfrm>
              <a:off x="15418161" y="1503111"/>
              <a:ext cx="762000" cy="276225"/>
            </a:xfrm>
            <a:custGeom>
              <a:avLst/>
              <a:gdLst/>
              <a:ahLst/>
              <a:cxnLst/>
              <a:rect l="l" t="t" r="r" b="b"/>
              <a:pathLst>
                <a:path w="762000" h="276225">
                  <a:moveTo>
                    <a:pt x="761999" y="276096"/>
                  </a:moveTo>
                  <a:lnTo>
                    <a:pt x="0" y="276096"/>
                  </a:lnTo>
                  <a:lnTo>
                    <a:pt x="0" y="84952"/>
                  </a:lnTo>
                  <a:lnTo>
                    <a:pt x="6653" y="51886"/>
                  </a:lnTo>
                  <a:lnTo>
                    <a:pt x="24799" y="24883"/>
                  </a:lnTo>
                  <a:lnTo>
                    <a:pt x="51711" y="6676"/>
                  </a:lnTo>
                  <a:lnTo>
                    <a:pt x="84666" y="0"/>
                  </a:lnTo>
                  <a:lnTo>
                    <a:pt x="677333" y="0"/>
                  </a:lnTo>
                  <a:lnTo>
                    <a:pt x="710288" y="6676"/>
                  </a:lnTo>
                  <a:lnTo>
                    <a:pt x="737200" y="24883"/>
                  </a:lnTo>
                  <a:lnTo>
                    <a:pt x="755345" y="51886"/>
                  </a:lnTo>
                  <a:lnTo>
                    <a:pt x="761999" y="84952"/>
                  </a:lnTo>
                  <a:lnTo>
                    <a:pt x="761999" y="276096"/>
                  </a:lnTo>
                  <a:close/>
                </a:path>
              </a:pathLst>
            </a:custGeom>
            <a:solidFill>
              <a:srgbClr val="FAD016"/>
            </a:solidFill>
          </p:spPr>
          <p:txBody>
            <a:bodyPr wrap="square" lIns="0" tIns="0" rIns="0" bIns="0" rtlCol="0"/>
            <a:lstStyle/>
            <a:p>
              <a:endParaRPr/>
            </a:p>
          </p:txBody>
        </p:sp>
        <p:sp>
          <p:nvSpPr>
            <p:cNvPr id="18" name="object 18"/>
            <p:cNvSpPr/>
            <p:nvPr/>
          </p:nvSpPr>
          <p:spPr>
            <a:xfrm>
              <a:off x="15418161" y="1779207"/>
              <a:ext cx="762000" cy="149225"/>
            </a:xfrm>
            <a:custGeom>
              <a:avLst/>
              <a:gdLst/>
              <a:ahLst/>
              <a:cxnLst/>
              <a:rect l="l" t="t" r="r" b="b"/>
              <a:pathLst>
                <a:path w="762000" h="149225">
                  <a:moveTo>
                    <a:pt x="761999" y="148667"/>
                  </a:moveTo>
                  <a:lnTo>
                    <a:pt x="0" y="148667"/>
                  </a:lnTo>
                  <a:lnTo>
                    <a:pt x="0" y="0"/>
                  </a:lnTo>
                  <a:lnTo>
                    <a:pt x="761999" y="0"/>
                  </a:lnTo>
                  <a:lnTo>
                    <a:pt x="761999" y="148667"/>
                  </a:lnTo>
                  <a:close/>
                </a:path>
              </a:pathLst>
            </a:custGeom>
            <a:solidFill>
              <a:srgbClr val="21408B"/>
            </a:solidFill>
          </p:spPr>
          <p:txBody>
            <a:bodyPr wrap="square" lIns="0" tIns="0" rIns="0" bIns="0" rtlCol="0"/>
            <a:lstStyle/>
            <a:p>
              <a:endParaRPr/>
            </a:p>
          </p:txBody>
        </p:sp>
        <p:sp>
          <p:nvSpPr>
            <p:cNvPr id="19" name="object 19"/>
            <p:cNvSpPr/>
            <p:nvPr/>
          </p:nvSpPr>
          <p:spPr>
            <a:xfrm>
              <a:off x="15418161" y="1927874"/>
              <a:ext cx="762000" cy="127635"/>
            </a:xfrm>
            <a:custGeom>
              <a:avLst/>
              <a:gdLst/>
              <a:ahLst/>
              <a:cxnLst/>
              <a:rect l="l" t="t" r="r" b="b"/>
              <a:pathLst>
                <a:path w="762000" h="127635">
                  <a:moveTo>
                    <a:pt x="677333" y="127429"/>
                  </a:moveTo>
                  <a:lnTo>
                    <a:pt x="84666" y="127429"/>
                  </a:lnTo>
                  <a:lnTo>
                    <a:pt x="51711" y="120752"/>
                  </a:lnTo>
                  <a:lnTo>
                    <a:pt x="24799" y="102545"/>
                  </a:lnTo>
                  <a:lnTo>
                    <a:pt x="6653" y="75542"/>
                  </a:lnTo>
                  <a:lnTo>
                    <a:pt x="0" y="42476"/>
                  </a:lnTo>
                  <a:lnTo>
                    <a:pt x="0" y="0"/>
                  </a:lnTo>
                  <a:lnTo>
                    <a:pt x="761999" y="0"/>
                  </a:lnTo>
                  <a:lnTo>
                    <a:pt x="761999" y="42476"/>
                  </a:lnTo>
                  <a:lnTo>
                    <a:pt x="755345" y="75542"/>
                  </a:lnTo>
                  <a:lnTo>
                    <a:pt x="737200" y="102545"/>
                  </a:lnTo>
                  <a:lnTo>
                    <a:pt x="710288" y="120752"/>
                  </a:lnTo>
                  <a:lnTo>
                    <a:pt x="677333" y="127429"/>
                  </a:lnTo>
                  <a:close/>
                </a:path>
              </a:pathLst>
            </a:custGeom>
            <a:solidFill>
              <a:srgbClr val="CD2028"/>
            </a:solidFill>
          </p:spPr>
          <p:txBody>
            <a:bodyPr wrap="square" lIns="0" tIns="0" rIns="0" bIns="0" rtlCol="0"/>
            <a:lstStyle/>
            <a:p>
              <a:endParaRPr/>
            </a:p>
          </p:txBody>
        </p:sp>
      </p:grpSp>
      <p:pic>
        <p:nvPicPr>
          <p:cNvPr id="20" name="object 20"/>
          <p:cNvPicPr/>
          <p:nvPr/>
        </p:nvPicPr>
        <p:blipFill>
          <a:blip r:embed="rId3" cstate="print"/>
          <a:stretch>
            <a:fillRect/>
          </a:stretch>
        </p:blipFill>
        <p:spPr>
          <a:xfrm>
            <a:off x="7161337" y="4456470"/>
            <a:ext cx="942974" cy="942974"/>
          </a:xfrm>
          <a:prstGeom prst="rect">
            <a:avLst/>
          </a:prstGeom>
        </p:spPr>
      </p:pic>
      <p:pic>
        <p:nvPicPr>
          <p:cNvPr id="21" name="object 21"/>
          <p:cNvPicPr/>
          <p:nvPr/>
        </p:nvPicPr>
        <p:blipFill>
          <a:blip r:embed="rId4" cstate="print"/>
          <a:stretch>
            <a:fillRect/>
          </a:stretch>
        </p:blipFill>
        <p:spPr>
          <a:xfrm>
            <a:off x="10839983" y="4456470"/>
            <a:ext cx="1675400" cy="2162977"/>
          </a:xfrm>
          <a:prstGeom prst="rect">
            <a:avLst/>
          </a:prstGeom>
        </p:spPr>
      </p:pic>
      <p:grpSp>
        <p:nvGrpSpPr>
          <p:cNvPr id="22" name="object 22"/>
          <p:cNvGrpSpPr/>
          <p:nvPr/>
        </p:nvGrpSpPr>
        <p:grpSpPr>
          <a:xfrm>
            <a:off x="8661248" y="4456470"/>
            <a:ext cx="1675764" cy="1183005"/>
            <a:chOff x="8661248" y="4456470"/>
            <a:chExt cx="1675764" cy="1183005"/>
          </a:xfrm>
        </p:grpSpPr>
        <p:sp>
          <p:nvSpPr>
            <p:cNvPr id="23" name="object 23"/>
            <p:cNvSpPr/>
            <p:nvPr/>
          </p:nvSpPr>
          <p:spPr>
            <a:xfrm>
              <a:off x="8661248" y="4733942"/>
              <a:ext cx="1675764" cy="905510"/>
            </a:xfrm>
            <a:custGeom>
              <a:avLst/>
              <a:gdLst/>
              <a:ahLst/>
              <a:cxnLst/>
              <a:rect l="l" t="t" r="r" b="b"/>
              <a:pathLst>
                <a:path w="1675765" h="905510">
                  <a:moveTo>
                    <a:pt x="0" y="905166"/>
                  </a:moveTo>
                  <a:lnTo>
                    <a:pt x="1675400" y="905166"/>
                  </a:lnTo>
                  <a:lnTo>
                    <a:pt x="1675400" y="0"/>
                  </a:lnTo>
                  <a:lnTo>
                    <a:pt x="0" y="0"/>
                  </a:lnTo>
                  <a:lnTo>
                    <a:pt x="0" y="905166"/>
                  </a:lnTo>
                  <a:close/>
                </a:path>
              </a:pathLst>
            </a:custGeom>
            <a:solidFill>
              <a:srgbClr val="ECE4D5"/>
            </a:solidFill>
          </p:spPr>
          <p:txBody>
            <a:bodyPr wrap="square" lIns="0" tIns="0" rIns="0" bIns="0" rtlCol="0"/>
            <a:lstStyle/>
            <a:p>
              <a:endParaRPr/>
            </a:p>
          </p:txBody>
        </p:sp>
        <p:sp>
          <p:nvSpPr>
            <p:cNvPr id="24" name="object 24"/>
            <p:cNvSpPr/>
            <p:nvPr/>
          </p:nvSpPr>
          <p:spPr>
            <a:xfrm>
              <a:off x="9028578" y="4456470"/>
              <a:ext cx="933450" cy="933450"/>
            </a:xfrm>
            <a:custGeom>
              <a:avLst/>
              <a:gdLst/>
              <a:ahLst/>
              <a:cxnLst/>
              <a:rect l="l" t="t" r="r" b="b"/>
              <a:pathLst>
                <a:path w="933450" h="933450">
                  <a:moveTo>
                    <a:pt x="466724" y="933449"/>
                  </a:moveTo>
                  <a:lnTo>
                    <a:pt x="414747" y="930588"/>
                  </a:lnTo>
                  <a:lnTo>
                    <a:pt x="364432" y="922205"/>
                  </a:lnTo>
                  <a:lnTo>
                    <a:pt x="316084" y="908605"/>
                  </a:lnTo>
                  <a:lnTo>
                    <a:pt x="270010" y="890092"/>
                  </a:lnTo>
                  <a:lnTo>
                    <a:pt x="226513" y="866969"/>
                  </a:lnTo>
                  <a:lnTo>
                    <a:pt x="185899" y="839541"/>
                  </a:lnTo>
                  <a:lnTo>
                    <a:pt x="148472" y="808110"/>
                  </a:lnTo>
                  <a:lnTo>
                    <a:pt x="114537" y="772980"/>
                  </a:lnTo>
                  <a:lnTo>
                    <a:pt x="84400" y="734456"/>
                  </a:lnTo>
                  <a:lnTo>
                    <a:pt x="58365" y="692841"/>
                  </a:lnTo>
                  <a:lnTo>
                    <a:pt x="38039" y="651505"/>
                  </a:lnTo>
                  <a:lnTo>
                    <a:pt x="21783" y="607959"/>
                  </a:lnTo>
                  <a:lnTo>
                    <a:pt x="9853" y="562469"/>
                  </a:lnTo>
                  <a:lnTo>
                    <a:pt x="2506" y="515302"/>
                  </a:lnTo>
                  <a:lnTo>
                    <a:pt x="0" y="466724"/>
                  </a:lnTo>
                  <a:lnTo>
                    <a:pt x="0" y="459379"/>
                  </a:lnTo>
                  <a:lnTo>
                    <a:pt x="5390" y="396089"/>
                  </a:lnTo>
                  <a:lnTo>
                    <a:pt x="15074" y="348892"/>
                  </a:lnTo>
                  <a:lnTo>
                    <a:pt x="29386" y="303557"/>
                  </a:lnTo>
                  <a:lnTo>
                    <a:pt x="48062" y="260346"/>
                  </a:lnTo>
                  <a:lnTo>
                    <a:pt x="70842" y="219521"/>
                  </a:lnTo>
                  <a:lnTo>
                    <a:pt x="97464" y="181342"/>
                  </a:lnTo>
                  <a:lnTo>
                    <a:pt x="127666" y="146072"/>
                  </a:lnTo>
                  <a:lnTo>
                    <a:pt x="161185" y="113972"/>
                  </a:lnTo>
                  <a:lnTo>
                    <a:pt x="197761" y="85304"/>
                  </a:lnTo>
                  <a:lnTo>
                    <a:pt x="237130" y="60328"/>
                  </a:lnTo>
                  <a:lnTo>
                    <a:pt x="279032" y="39307"/>
                  </a:lnTo>
                  <a:lnTo>
                    <a:pt x="323204" y="22502"/>
                  </a:lnTo>
                  <a:lnTo>
                    <a:pt x="369385" y="10175"/>
                  </a:lnTo>
                  <a:lnTo>
                    <a:pt x="417312" y="2587"/>
                  </a:lnTo>
                  <a:lnTo>
                    <a:pt x="466724" y="0"/>
                  </a:lnTo>
                  <a:lnTo>
                    <a:pt x="516171" y="2587"/>
                  </a:lnTo>
                  <a:lnTo>
                    <a:pt x="564124" y="10175"/>
                  </a:lnTo>
                  <a:lnTo>
                    <a:pt x="610322" y="22502"/>
                  </a:lnTo>
                  <a:lnTo>
                    <a:pt x="654506" y="39307"/>
                  </a:lnTo>
                  <a:lnTo>
                    <a:pt x="696414" y="60328"/>
                  </a:lnTo>
                  <a:lnTo>
                    <a:pt x="735787" y="85304"/>
                  </a:lnTo>
                  <a:lnTo>
                    <a:pt x="772363" y="113972"/>
                  </a:lnTo>
                  <a:lnTo>
                    <a:pt x="805882" y="146072"/>
                  </a:lnTo>
                  <a:lnTo>
                    <a:pt x="836085" y="181342"/>
                  </a:lnTo>
                  <a:lnTo>
                    <a:pt x="862709" y="219521"/>
                  </a:lnTo>
                  <a:lnTo>
                    <a:pt x="885496" y="260346"/>
                  </a:lnTo>
                  <a:lnTo>
                    <a:pt x="904184" y="303557"/>
                  </a:lnTo>
                  <a:lnTo>
                    <a:pt x="918513" y="348892"/>
                  </a:lnTo>
                  <a:lnTo>
                    <a:pt x="928223" y="396089"/>
                  </a:lnTo>
                  <a:lnTo>
                    <a:pt x="933052" y="444887"/>
                  </a:lnTo>
                  <a:lnTo>
                    <a:pt x="933449" y="459379"/>
                  </a:lnTo>
                  <a:lnTo>
                    <a:pt x="933449" y="466724"/>
                  </a:lnTo>
                  <a:lnTo>
                    <a:pt x="930943" y="515283"/>
                  </a:lnTo>
                  <a:lnTo>
                    <a:pt x="923596" y="562412"/>
                  </a:lnTo>
                  <a:lnTo>
                    <a:pt x="911666" y="607874"/>
                  </a:lnTo>
                  <a:lnTo>
                    <a:pt x="895409" y="651429"/>
                  </a:lnTo>
                  <a:lnTo>
                    <a:pt x="875084" y="692841"/>
                  </a:lnTo>
                  <a:lnTo>
                    <a:pt x="849049" y="734456"/>
                  </a:lnTo>
                  <a:lnTo>
                    <a:pt x="818912" y="772980"/>
                  </a:lnTo>
                  <a:lnTo>
                    <a:pt x="784977" y="808110"/>
                  </a:lnTo>
                  <a:lnTo>
                    <a:pt x="747550" y="839541"/>
                  </a:lnTo>
                  <a:lnTo>
                    <a:pt x="706936" y="866969"/>
                  </a:lnTo>
                  <a:lnTo>
                    <a:pt x="663439" y="890092"/>
                  </a:lnTo>
                  <a:lnTo>
                    <a:pt x="617364" y="908605"/>
                  </a:lnTo>
                  <a:lnTo>
                    <a:pt x="569017" y="922205"/>
                  </a:lnTo>
                  <a:lnTo>
                    <a:pt x="518702" y="930588"/>
                  </a:lnTo>
                  <a:lnTo>
                    <a:pt x="466724" y="933449"/>
                  </a:lnTo>
                  <a:close/>
                </a:path>
              </a:pathLst>
            </a:custGeom>
            <a:solidFill>
              <a:srgbClr val="FDD016"/>
            </a:solidFill>
          </p:spPr>
          <p:txBody>
            <a:bodyPr wrap="square" lIns="0" tIns="0" rIns="0" bIns="0" rtlCol="0"/>
            <a:lstStyle/>
            <a:p>
              <a:endParaRPr/>
            </a:p>
          </p:txBody>
        </p:sp>
        <p:sp>
          <p:nvSpPr>
            <p:cNvPr id="25" name="object 25"/>
            <p:cNvSpPr/>
            <p:nvPr/>
          </p:nvSpPr>
          <p:spPr>
            <a:xfrm>
              <a:off x="9028578" y="4901358"/>
              <a:ext cx="933450" cy="488950"/>
            </a:xfrm>
            <a:custGeom>
              <a:avLst/>
              <a:gdLst/>
              <a:ahLst/>
              <a:cxnLst/>
              <a:rect l="l" t="t" r="r" b="b"/>
              <a:pathLst>
                <a:path w="933450" h="488950">
                  <a:moveTo>
                    <a:pt x="466724" y="488562"/>
                  </a:moveTo>
                  <a:lnTo>
                    <a:pt x="414747" y="485700"/>
                  </a:lnTo>
                  <a:lnTo>
                    <a:pt x="364432" y="477318"/>
                  </a:lnTo>
                  <a:lnTo>
                    <a:pt x="316084" y="463718"/>
                  </a:lnTo>
                  <a:lnTo>
                    <a:pt x="270010" y="445205"/>
                  </a:lnTo>
                  <a:lnTo>
                    <a:pt x="226513" y="422082"/>
                  </a:lnTo>
                  <a:lnTo>
                    <a:pt x="185899" y="394653"/>
                  </a:lnTo>
                  <a:lnTo>
                    <a:pt x="148472" y="363222"/>
                  </a:lnTo>
                  <a:lnTo>
                    <a:pt x="114537" y="328093"/>
                  </a:lnTo>
                  <a:lnTo>
                    <a:pt x="84400" y="289568"/>
                  </a:lnTo>
                  <a:lnTo>
                    <a:pt x="58365" y="247953"/>
                  </a:lnTo>
                  <a:lnTo>
                    <a:pt x="38039" y="206618"/>
                  </a:lnTo>
                  <a:lnTo>
                    <a:pt x="21783" y="163072"/>
                  </a:lnTo>
                  <a:lnTo>
                    <a:pt x="9853" y="117582"/>
                  </a:lnTo>
                  <a:lnTo>
                    <a:pt x="2506" y="70414"/>
                  </a:lnTo>
                  <a:lnTo>
                    <a:pt x="0" y="21837"/>
                  </a:lnTo>
                  <a:lnTo>
                    <a:pt x="0" y="14492"/>
                  </a:lnTo>
                  <a:lnTo>
                    <a:pt x="198" y="7345"/>
                  </a:lnTo>
                  <a:lnTo>
                    <a:pt x="595" y="0"/>
                  </a:lnTo>
                  <a:lnTo>
                    <a:pt x="933052" y="0"/>
                  </a:lnTo>
                  <a:lnTo>
                    <a:pt x="933449" y="14492"/>
                  </a:lnTo>
                  <a:lnTo>
                    <a:pt x="933449" y="21837"/>
                  </a:lnTo>
                  <a:lnTo>
                    <a:pt x="930943" y="70395"/>
                  </a:lnTo>
                  <a:lnTo>
                    <a:pt x="923596" y="117524"/>
                  </a:lnTo>
                  <a:lnTo>
                    <a:pt x="911666" y="162986"/>
                  </a:lnTo>
                  <a:lnTo>
                    <a:pt x="895409" y="206542"/>
                  </a:lnTo>
                  <a:lnTo>
                    <a:pt x="875084" y="247953"/>
                  </a:lnTo>
                  <a:lnTo>
                    <a:pt x="849049" y="289568"/>
                  </a:lnTo>
                  <a:lnTo>
                    <a:pt x="818912" y="328093"/>
                  </a:lnTo>
                  <a:lnTo>
                    <a:pt x="784977" y="363222"/>
                  </a:lnTo>
                  <a:lnTo>
                    <a:pt x="747550" y="394653"/>
                  </a:lnTo>
                  <a:lnTo>
                    <a:pt x="706936" y="422082"/>
                  </a:lnTo>
                  <a:lnTo>
                    <a:pt x="663439" y="445205"/>
                  </a:lnTo>
                  <a:lnTo>
                    <a:pt x="617364" y="463718"/>
                  </a:lnTo>
                  <a:lnTo>
                    <a:pt x="569017" y="477318"/>
                  </a:lnTo>
                  <a:lnTo>
                    <a:pt x="518702" y="485700"/>
                  </a:lnTo>
                  <a:lnTo>
                    <a:pt x="466724" y="488562"/>
                  </a:lnTo>
                  <a:close/>
                </a:path>
              </a:pathLst>
            </a:custGeom>
            <a:solidFill>
              <a:srgbClr val="003793"/>
            </a:solidFill>
          </p:spPr>
          <p:txBody>
            <a:bodyPr wrap="square" lIns="0" tIns="0" rIns="0" bIns="0" rtlCol="0"/>
            <a:lstStyle/>
            <a:p>
              <a:endParaRPr/>
            </a:p>
          </p:txBody>
        </p:sp>
        <p:sp>
          <p:nvSpPr>
            <p:cNvPr id="26" name="object 26"/>
            <p:cNvSpPr/>
            <p:nvPr/>
          </p:nvSpPr>
          <p:spPr>
            <a:xfrm>
              <a:off x="9086944" y="5149311"/>
              <a:ext cx="817244" cy="240665"/>
            </a:xfrm>
            <a:custGeom>
              <a:avLst/>
              <a:gdLst/>
              <a:ahLst/>
              <a:cxnLst/>
              <a:rect l="l" t="t" r="r" b="b"/>
              <a:pathLst>
                <a:path w="817245" h="240664">
                  <a:moveTo>
                    <a:pt x="408359" y="240608"/>
                  </a:moveTo>
                  <a:lnTo>
                    <a:pt x="356381" y="237746"/>
                  </a:lnTo>
                  <a:lnTo>
                    <a:pt x="306066" y="229364"/>
                  </a:lnTo>
                  <a:lnTo>
                    <a:pt x="257719" y="215764"/>
                  </a:lnTo>
                  <a:lnTo>
                    <a:pt x="211644" y="197251"/>
                  </a:lnTo>
                  <a:lnTo>
                    <a:pt x="168148" y="174128"/>
                  </a:lnTo>
                  <a:lnTo>
                    <a:pt x="127533" y="146699"/>
                  </a:lnTo>
                  <a:lnTo>
                    <a:pt x="90106" y="115268"/>
                  </a:lnTo>
                  <a:lnTo>
                    <a:pt x="56172" y="80139"/>
                  </a:lnTo>
                  <a:lnTo>
                    <a:pt x="26034" y="41615"/>
                  </a:lnTo>
                  <a:lnTo>
                    <a:pt x="0" y="0"/>
                  </a:lnTo>
                  <a:lnTo>
                    <a:pt x="816719" y="0"/>
                  </a:lnTo>
                  <a:lnTo>
                    <a:pt x="790684" y="41615"/>
                  </a:lnTo>
                  <a:lnTo>
                    <a:pt x="760546" y="80139"/>
                  </a:lnTo>
                  <a:lnTo>
                    <a:pt x="726612" y="115268"/>
                  </a:lnTo>
                  <a:lnTo>
                    <a:pt x="689185" y="146699"/>
                  </a:lnTo>
                  <a:lnTo>
                    <a:pt x="648570" y="174128"/>
                  </a:lnTo>
                  <a:lnTo>
                    <a:pt x="605074" y="197251"/>
                  </a:lnTo>
                  <a:lnTo>
                    <a:pt x="558999" y="215764"/>
                  </a:lnTo>
                  <a:lnTo>
                    <a:pt x="510652" y="229364"/>
                  </a:lnTo>
                  <a:lnTo>
                    <a:pt x="460337" y="237746"/>
                  </a:lnTo>
                  <a:lnTo>
                    <a:pt x="408359" y="240608"/>
                  </a:lnTo>
                  <a:close/>
                </a:path>
              </a:pathLst>
            </a:custGeom>
            <a:solidFill>
              <a:srgbClr val="CD1126"/>
            </a:solidFill>
          </p:spPr>
          <p:txBody>
            <a:bodyPr wrap="square" lIns="0" tIns="0" rIns="0" bIns="0" rtlCol="0"/>
            <a:lstStyle/>
            <a:p>
              <a:endParaRPr/>
            </a:p>
          </p:txBody>
        </p:sp>
      </p:grpSp>
      <p:sp>
        <p:nvSpPr>
          <p:cNvPr id="27" name="object 27"/>
          <p:cNvSpPr txBox="1"/>
          <p:nvPr/>
        </p:nvSpPr>
        <p:spPr>
          <a:xfrm>
            <a:off x="8673514" y="5639109"/>
            <a:ext cx="1652270" cy="980440"/>
          </a:xfrm>
          <a:prstGeom prst="rect">
            <a:avLst/>
          </a:prstGeom>
          <a:solidFill>
            <a:srgbClr val="21408B"/>
          </a:solidFill>
        </p:spPr>
        <p:txBody>
          <a:bodyPr vert="horz" wrap="square" lIns="0" tIns="214629" rIns="0" bIns="0" rtlCol="0">
            <a:spAutoFit/>
          </a:bodyPr>
          <a:lstStyle/>
          <a:p>
            <a:pPr marL="363855">
              <a:lnSpc>
                <a:spcPct val="100000"/>
              </a:lnSpc>
              <a:spcBef>
                <a:spcPts val="1689"/>
              </a:spcBef>
            </a:pPr>
            <a:r>
              <a:rPr sz="1800" b="1" spc="110" dirty="0">
                <a:solidFill>
                  <a:srgbClr val="FFFFFF"/>
                </a:solidFill>
                <a:latin typeface="Arial"/>
                <a:cs typeface="Arial"/>
              </a:rPr>
              <a:t>ANATO</a:t>
            </a:r>
            <a:endParaRPr sz="1800">
              <a:latin typeface="Arial"/>
              <a:cs typeface="Arial"/>
            </a:endParaRPr>
          </a:p>
        </p:txBody>
      </p:sp>
      <p:grpSp>
        <p:nvGrpSpPr>
          <p:cNvPr id="28" name="object 28"/>
          <p:cNvGrpSpPr/>
          <p:nvPr/>
        </p:nvGrpSpPr>
        <p:grpSpPr>
          <a:xfrm>
            <a:off x="15201868" y="5669033"/>
            <a:ext cx="752475" cy="815340"/>
            <a:chOff x="15201868" y="5669033"/>
            <a:chExt cx="752475" cy="815340"/>
          </a:xfrm>
        </p:grpSpPr>
        <p:sp>
          <p:nvSpPr>
            <p:cNvPr id="29" name="object 29"/>
            <p:cNvSpPr/>
            <p:nvPr/>
          </p:nvSpPr>
          <p:spPr>
            <a:xfrm>
              <a:off x="15201868" y="6123897"/>
              <a:ext cx="271145" cy="360680"/>
            </a:xfrm>
            <a:custGeom>
              <a:avLst/>
              <a:gdLst/>
              <a:ahLst/>
              <a:cxnLst/>
              <a:rect l="l" t="t" r="r" b="b"/>
              <a:pathLst>
                <a:path w="271144" h="360679">
                  <a:moveTo>
                    <a:pt x="255377" y="360263"/>
                  </a:moveTo>
                  <a:lnTo>
                    <a:pt x="246685" y="360263"/>
                  </a:lnTo>
                  <a:lnTo>
                    <a:pt x="239994" y="354647"/>
                  </a:lnTo>
                  <a:lnTo>
                    <a:pt x="228641" y="275630"/>
                  </a:lnTo>
                  <a:lnTo>
                    <a:pt x="151244" y="282365"/>
                  </a:lnTo>
                  <a:lnTo>
                    <a:pt x="140854" y="354647"/>
                  </a:lnTo>
                  <a:lnTo>
                    <a:pt x="134163" y="360263"/>
                  </a:lnTo>
                  <a:lnTo>
                    <a:pt x="126510" y="360263"/>
                  </a:lnTo>
                  <a:lnTo>
                    <a:pt x="124457" y="360162"/>
                  </a:lnTo>
                  <a:lnTo>
                    <a:pt x="115182" y="358357"/>
                  </a:lnTo>
                  <a:lnTo>
                    <a:pt x="109860" y="350250"/>
                  </a:lnTo>
                  <a:lnTo>
                    <a:pt x="119515" y="283178"/>
                  </a:lnTo>
                  <a:lnTo>
                    <a:pt x="88555" y="274450"/>
                  </a:lnTo>
                  <a:lnTo>
                    <a:pt x="62206" y="256638"/>
                  </a:lnTo>
                  <a:lnTo>
                    <a:pt x="42591" y="231383"/>
                  </a:lnTo>
                  <a:lnTo>
                    <a:pt x="31830" y="200324"/>
                  </a:lnTo>
                  <a:lnTo>
                    <a:pt x="0" y="10979"/>
                  </a:lnTo>
                  <a:lnTo>
                    <a:pt x="5752" y="2871"/>
                  </a:lnTo>
                  <a:lnTo>
                    <a:pt x="22783" y="0"/>
                  </a:lnTo>
                  <a:lnTo>
                    <a:pt x="30867" y="5769"/>
                  </a:lnTo>
                  <a:lnTo>
                    <a:pt x="62697" y="195088"/>
                  </a:lnTo>
                  <a:lnTo>
                    <a:pt x="71689" y="219219"/>
                  </a:lnTo>
                  <a:lnTo>
                    <a:pt x="88388" y="237907"/>
                  </a:lnTo>
                  <a:lnTo>
                    <a:pt x="110609" y="249457"/>
                  </a:lnTo>
                  <a:lnTo>
                    <a:pt x="136165" y="252172"/>
                  </a:lnTo>
                  <a:lnTo>
                    <a:pt x="257531" y="241624"/>
                  </a:lnTo>
                  <a:lnTo>
                    <a:pt x="260243" y="272885"/>
                  </a:lnTo>
                  <a:lnTo>
                    <a:pt x="259863" y="272936"/>
                  </a:lnTo>
                  <a:lnTo>
                    <a:pt x="270988" y="350250"/>
                  </a:lnTo>
                  <a:lnTo>
                    <a:pt x="265666" y="358357"/>
                  </a:lnTo>
                  <a:lnTo>
                    <a:pt x="257430" y="359958"/>
                  </a:lnTo>
                  <a:lnTo>
                    <a:pt x="255377" y="360263"/>
                  </a:lnTo>
                  <a:close/>
                </a:path>
              </a:pathLst>
            </a:custGeom>
            <a:solidFill>
              <a:srgbClr val="21408B"/>
            </a:solidFill>
          </p:spPr>
          <p:txBody>
            <a:bodyPr wrap="square" lIns="0" tIns="0" rIns="0" bIns="0" rtlCol="0"/>
            <a:lstStyle/>
            <a:p>
              <a:endParaRPr/>
            </a:p>
          </p:txBody>
        </p:sp>
        <p:pic>
          <p:nvPicPr>
            <p:cNvPr id="30" name="object 30"/>
            <p:cNvPicPr/>
            <p:nvPr/>
          </p:nvPicPr>
          <p:blipFill>
            <a:blip r:embed="rId5" cstate="print"/>
            <a:stretch>
              <a:fillRect/>
            </a:stretch>
          </p:blipFill>
          <p:spPr>
            <a:xfrm>
              <a:off x="15309220" y="5933840"/>
              <a:ext cx="109682" cy="109998"/>
            </a:xfrm>
            <a:prstGeom prst="rect">
              <a:avLst/>
            </a:prstGeom>
          </p:spPr>
        </p:pic>
        <p:sp>
          <p:nvSpPr>
            <p:cNvPr id="31" name="object 31"/>
            <p:cNvSpPr/>
            <p:nvPr/>
          </p:nvSpPr>
          <p:spPr>
            <a:xfrm>
              <a:off x="15272944" y="6068961"/>
              <a:ext cx="681355" cy="415290"/>
            </a:xfrm>
            <a:custGeom>
              <a:avLst/>
              <a:gdLst/>
              <a:ahLst/>
              <a:cxnLst/>
              <a:rect l="l" t="t" r="r" b="b"/>
              <a:pathLst>
                <a:path w="681355" h="415289">
                  <a:moveTo>
                    <a:pt x="284937" y="362623"/>
                  </a:moveTo>
                  <a:lnTo>
                    <a:pt x="249072" y="222707"/>
                  </a:lnTo>
                  <a:lnTo>
                    <a:pt x="217957" y="197345"/>
                  </a:lnTo>
                  <a:lnTo>
                    <a:pt x="103962" y="189166"/>
                  </a:lnTo>
                  <a:lnTo>
                    <a:pt x="102425" y="173672"/>
                  </a:lnTo>
                  <a:lnTo>
                    <a:pt x="101422" y="158838"/>
                  </a:lnTo>
                  <a:lnTo>
                    <a:pt x="100901" y="144678"/>
                  </a:lnTo>
                  <a:lnTo>
                    <a:pt x="100812" y="131216"/>
                  </a:lnTo>
                  <a:lnTo>
                    <a:pt x="190449" y="131216"/>
                  </a:lnTo>
                  <a:lnTo>
                    <a:pt x="198005" y="123634"/>
                  </a:lnTo>
                  <a:lnTo>
                    <a:pt x="198005" y="104965"/>
                  </a:lnTo>
                  <a:lnTo>
                    <a:pt x="190449" y="97409"/>
                  </a:lnTo>
                  <a:lnTo>
                    <a:pt x="181152" y="97409"/>
                  </a:lnTo>
                  <a:lnTo>
                    <a:pt x="121475" y="90093"/>
                  </a:lnTo>
                  <a:lnTo>
                    <a:pt x="109347" y="38925"/>
                  </a:lnTo>
                  <a:lnTo>
                    <a:pt x="103238" y="22085"/>
                  </a:lnTo>
                  <a:lnTo>
                    <a:pt x="93040" y="8407"/>
                  </a:lnTo>
                  <a:lnTo>
                    <a:pt x="76441" y="0"/>
                  </a:lnTo>
                  <a:lnTo>
                    <a:pt x="42557" y="3797"/>
                  </a:lnTo>
                  <a:lnTo>
                    <a:pt x="20256" y="28181"/>
                  </a:lnTo>
                  <a:lnTo>
                    <a:pt x="7289" y="62395"/>
                  </a:lnTo>
                  <a:lnTo>
                    <a:pt x="1422" y="95707"/>
                  </a:lnTo>
                  <a:lnTo>
                    <a:pt x="0" y="132753"/>
                  </a:lnTo>
                  <a:lnTo>
                    <a:pt x="2857" y="169773"/>
                  </a:lnTo>
                  <a:lnTo>
                    <a:pt x="17716" y="242506"/>
                  </a:lnTo>
                  <a:lnTo>
                    <a:pt x="41668" y="272605"/>
                  </a:lnTo>
                  <a:lnTo>
                    <a:pt x="58369" y="278828"/>
                  </a:lnTo>
                  <a:lnTo>
                    <a:pt x="201079" y="268554"/>
                  </a:lnTo>
                  <a:lnTo>
                    <a:pt x="235966" y="367906"/>
                  </a:lnTo>
                  <a:lnTo>
                    <a:pt x="240830" y="376186"/>
                  </a:lnTo>
                  <a:lnTo>
                    <a:pt x="248170" y="381952"/>
                  </a:lnTo>
                  <a:lnTo>
                    <a:pt x="257086" y="384695"/>
                  </a:lnTo>
                  <a:lnTo>
                    <a:pt x="266712" y="383895"/>
                  </a:lnTo>
                  <a:lnTo>
                    <a:pt x="275640" y="379285"/>
                  </a:lnTo>
                  <a:lnTo>
                    <a:pt x="281901" y="371856"/>
                  </a:lnTo>
                  <a:lnTo>
                    <a:pt x="284937" y="362623"/>
                  </a:lnTo>
                  <a:close/>
                </a:path>
                <a:path w="681355" h="415289">
                  <a:moveTo>
                    <a:pt x="680986" y="65925"/>
                  </a:moveTo>
                  <a:lnTo>
                    <a:pt x="675233" y="57810"/>
                  </a:lnTo>
                  <a:lnTo>
                    <a:pt x="666724" y="56388"/>
                  </a:lnTo>
                  <a:lnTo>
                    <a:pt x="658177" y="54940"/>
                  </a:lnTo>
                  <a:lnTo>
                    <a:pt x="650125" y="60706"/>
                  </a:lnTo>
                  <a:lnTo>
                    <a:pt x="618286" y="250024"/>
                  </a:lnTo>
                  <a:lnTo>
                    <a:pt x="609295" y="274167"/>
                  </a:lnTo>
                  <a:lnTo>
                    <a:pt x="592594" y="292849"/>
                  </a:lnTo>
                  <a:lnTo>
                    <a:pt x="570382" y="304393"/>
                  </a:lnTo>
                  <a:lnTo>
                    <a:pt x="544817" y="307111"/>
                  </a:lnTo>
                  <a:lnTo>
                    <a:pt x="423456" y="296570"/>
                  </a:lnTo>
                  <a:lnTo>
                    <a:pt x="420763" y="327825"/>
                  </a:lnTo>
                  <a:lnTo>
                    <a:pt x="421093" y="327875"/>
                  </a:lnTo>
                  <a:lnTo>
                    <a:pt x="409994" y="405193"/>
                  </a:lnTo>
                  <a:lnTo>
                    <a:pt x="415315" y="413296"/>
                  </a:lnTo>
                  <a:lnTo>
                    <a:pt x="424573" y="415099"/>
                  </a:lnTo>
                  <a:lnTo>
                    <a:pt x="426643" y="415201"/>
                  </a:lnTo>
                  <a:lnTo>
                    <a:pt x="434301" y="415201"/>
                  </a:lnTo>
                  <a:lnTo>
                    <a:pt x="440994" y="409587"/>
                  </a:lnTo>
                  <a:lnTo>
                    <a:pt x="452348" y="330568"/>
                  </a:lnTo>
                  <a:lnTo>
                    <a:pt x="529717" y="337312"/>
                  </a:lnTo>
                  <a:lnTo>
                    <a:pt x="540131" y="409587"/>
                  </a:lnTo>
                  <a:lnTo>
                    <a:pt x="546823" y="415201"/>
                  </a:lnTo>
                  <a:lnTo>
                    <a:pt x="555485" y="415201"/>
                  </a:lnTo>
                  <a:lnTo>
                    <a:pt x="557568" y="414896"/>
                  </a:lnTo>
                  <a:lnTo>
                    <a:pt x="565785" y="413296"/>
                  </a:lnTo>
                  <a:lnTo>
                    <a:pt x="571106" y="405193"/>
                  </a:lnTo>
                  <a:lnTo>
                    <a:pt x="561467" y="338124"/>
                  </a:lnTo>
                  <a:lnTo>
                    <a:pt x="592429" y="329387"/>
                  </a:lnTo>
                  <a:lnTo>
                    <a:pt x="618782" y="311581"/>
                  </a:lnTo>
                  <a:lnTo>
                    <a:pt x="638390" y="286321"/>
                  </a:lnTo>
                  <a:lnTo>
                    <a:pt x="649160" y="255270"/>
                  </a:lnTo>
                  <a:lnTo>
                    <a:pt x="680986" y="65925"/>
                  </a:lnTo>
                  <a:close/>
                </a:path>
              </a:pathLst>
            </a:custGeom>
            <a:solidFill>
              <a:srgbClr val="21408B"/>
            </a:solidFill>
          </p:spPr>
          <p:txBody>
            <a:bodyPr wrap="square" lIns="0" tIns="0" rIns="0" bIns="0" rtlCol="0"/>
            <a:lstStyle/>
            <a:p>
              <a:endParaRPr/>
            </a:p>
          </p:txBody>
        </p:sp>
        <p:pic>
          <p:nvPicPr>
            <p:cNvPr id="32" name="object 32"/>
            <p:cNvPicPr/>
            <p:nvPr/>
          </p:nvPicPr>
          <p:blipFill>
            <a:blip r:embed="rId5" cstate="print"/>
            <a:stretch>
              <a:fillRect/>
            </a:stretch>
          </p:blipFill>
          <p:spPr>
            <a:xfrm>
              <a:off x="15736902" y="5933840"/>
              <a:ext cx="109682" cy="109998"/>
            </a:xfrm>
            <a:prstGeom prst="rect">
              <a:avLst/>
            </a:prstGeom>
          </p:spPr>
        </p:pic>
        <p:sp>
          <p:nvSpPr>
            <p:cNvPr id="33" name="object 33"/>
            <p:cNvSpPr/>
            <p:nvPr/>
          </p:nvSpPr>
          <p:spPr>
            <a:xfrm>
              <a:off x="15597916" y="6068949"/>
              <a:ext cx="285115" cy="384810"/>
            </a:xfrm>
            <a:custGeom>
              <a:avLst/>
              <a:gdLst/>
              <a:ahLst/>
              <a:cxnLst/>
              <a:rect l="l" t="t" r="r" b="b"/>
              <a:pathLst>
                <a:path w="285115" h="384810">
                  <a:moveTo>
                    <a:pt x="27850" y="384701"/>
                  </a:moveTo>
                  <a:lnTo>
                    <a:pt x="18228" y="383900"/>
                  </a:lnTo>
                  <a:lnTo>
                    <a:pt x="9288" y="379293"/>
                  </a:lnTo>
                  <a:lnTo>
                    <a:pt x="3026" y="371866"/>
                  </a:lnTo>
                  <a:lnTo>
                    <a:pt x="0" y="362627"/>
                  </a:lnTo>
                  <a:lnTo>
                    <a:pt x="767" y="352588"/>
                  </a:lnTo>
                  <a:lnTo>
                    <a:pt x="35867" y="222715"/>
                  </a:lnTo>
                  <a:lnTo>
                    <a:pt x="66988" y="197350"/>
                  </a:lnTo>
                  <a:lnTo>
                    <a:pt x="180979" y="189167"/>
                  </a:lnTo>
                  <a:lnTo>
                    <a:pt x="182510" y="173672"/>
                  </a:lnTo>
                  <a:lnTo>
                    <a:pt x="183519" y="158840"/>
                  </a:lnTo>
                  <a:lnTo>
                    <a:pt x="184044" y="144684"/>
                  </a:lnTo>
                  <a:lnTo>
                    <a:pt x="184121" y="131219"/>
                  </a:lnTo>
                  <a:lnTo>
                    <a:pt x="94459" y="131219"/>
                  </a:lnTo>
                  <a:lnTo>
                    <a:pt x="86932" y="123646"/>
                  </a:lnTo>
                  <a:lnTo>
                    <a:pt x="86932" y="104965"/>
                  </a:lnTo>
                  <a:lnTo>
                    <a:pt x="94459" y="97417"/>
                  </a:lnTo>
                  <a:lnTo>
                    <a:pt x="103785" y="97417"/>
                  </a:lnTo>
                  <a:lnTo>
                    <a:pt x="163467" y="90097"/>
                  </a:lnTo>
                  <a:lnTo>
                    <a:pt x="175596" y="38935"/>
                  </a:lnTo>
                  <a:lnTo>
                    <a:pt x="181704" y="22086"/>
                  </a:lnTo>
                  <a:lnTo>
                    <a:pt x="191903" y="8419"/>
                  </a:lnTo>
                  <a:lnTo>
                    <a:pt x="208501" y="0"/>
                  </a:lnTo>
                  <a:lnTo>
                    <a:pt x="242378" y="3804"/>
                  </a:lnTo>
                  <a:lnTo>
                    <a:pt x="264682" y="28185"/>
                  </a:lnTo>
                  <a:lnTo>
                    <a:pt x="277649" y="62402"/>
                  </a:lnTo>
                  <a:lnTo>
                    <a:pt x="283515" y="95714"/>
                  </a:lnTo>
                  <a:lnTo>
                    <a:pt x="284935" y="132755"/>
                  </a:lnTo>
                  <a:lnTo>
                    <a:pt x="282086" y="169781"/>
                  </a:lnTo>
                  <a:lnTo>
                    <a:pt x="267220" y="242514"/>
                  </a:lnTo>
                  <a:lnTo>
                    <a:pt x="242054" y="273190"/>
                  </a:lnTo>
                  <a:lnTo>
                    <a:pt x="226570" y="278832"/>
                  </a:lnTo>
                  <a:lnTo>
                    <a:pt x="83866" y="268565"/>
                  </a:lnTo>
                  <a:lnTo>
                    <a:pt x="48969" y="367914"/>
                  </a:lnTo>
                  <a:lnTo>
                    <a:pt x="44109" y="376191"/>
                  </a:lnTo>
                  <a:lnTo>
                    <a:pt x="36773" y="381959"/>
                  </a:lnTo>
                  <a:lnTo>
                    <a:pt x="27850" y="384701"/>
                  </a:lnTo>
                  <a:close/>
                </a:path>
              </a:pathLst>
            </a:custGeom>
            <a:solidFill>
              <a:srgbClr val="21408B"/>
            </a:solidFill>
          </p:spPr>
          <p:txBody>
            <a:bodyPr wrap="square" lIns="0" tIns="0" rIns="0" bIns="0" rtlCol="0"/>
            <a:lstStyle/>
            <a:p>
              <a:endParaRPr/>
            </a:p>
          </p:txBody>
        </p:sp>
        <p:pic>
          <p:nvPicPr>
            <p:cNvPr id="34" name="object 34"/>
            <p:cNvPicPr/>
            <p:nvPr/>
          </p:nvPicPr>
          <p:blipFill>
            <a:blip r:embed="rId6" cstate="print"/>
            <a:stretch>
              <a:fillRect/>
            </a:stretch>
          </p:blipFill>
          <p:spPr>
            <a:xfrm>
              <a:off x="15416140" y="5669033"/>
              <a:ext cx="368744" cy="252021"/>
            </a:xfrm>
            <a:prstGeom prst="rect">
              <a:avLst/>
            </a:prstGeom>
          </p:spPr>
        </p:pic>
      </p:grpSp>
      <p:grpSp>
        <p:nvGrpSpPr>
          <p:cNvPr id="35" name="object 35"/>
          <p:cNvGrpSpPr/>
          <p:nvPr/>
        </p:nvGrpSpPr>
        <p:grpSpPr>
          <a:xfrm>
            <a:off x="15210107" y="7171553"/>
            <a:ext cx="740410" cy="560070"/>
            <a:chOff x="15210107" y="7171553"/>
            <a:chExt cx="740410" cy="560070"/>
          </a:xfrm>
        </p:grpSpPr>
        <p:sp>
          <p:nvSpPr>
            <p:cNvPr id="36" name="object 36"/>
            <p:cNvSpPr/>
            <p:nvPr/>
          </p:nvSpPr>
          <p:spPr>
            <a:xfrm>
              <a:off x="15210104" y="7171562"/>
              <a:ext cx="740410" cy="560070"/>
            </a:xfrm>
            <a:custGeom>
              <a:avLst/>
              <a:gdLst/>
              <a:ahLst/>
              <a:cxnLst/>
              <a:rect l="l" t="t" r="r" b="b"/>
              <a:pathLst>
                <a:path w="740409" h="560070">
                  <a:moveTo>
                    <a:pt x="680072" y="51727"/>
                  </a:moveTo>
                  <a:lnTo>
                    <a:pt x="661238" y="13690"/>
                  </a:lnTo>
                  <a:lnTo>
                    <a:pt x="628205" y="0"/>
                  </a:lnTo>
                  <a:lnTo>
                    <a:pt x="610425" y="0"/>
                  </a:lnTo>
                  <a:lnTo>
                    <a:pt x="610425" y="75196"/>
                  </a:lnTo>
                  <a:lnTo>
                    <a:pt x="610425" y="402005"/>
                  </a:lnTo>
                  <a:lnTo>
                    <a:pt x="609625" y="403936"/>
                  </a:lnTo>
                  <a:lnTo>
                    <a:pt x="606399" y="407136"/>
                  </a:lnTo>
                  <a:lnTo>
                    <a:pt x="604456" y="407949"/>
                  </a:lnTo>
                  <a:lnTo>
                    <a:pt x="135991" y="407949"/>
                  </a:lnTo>
                  <a:lnTo>
                    <a:pt x="134048" y="407136"/>
                  </a:lnTo>
                  <a:lnTo>
                    <a:pt x="130835" y="403936"/>
                  </a:lnTo>
                  <a:lnTo>
                    <a:pt x="130022" y="402005"/>
                  </a:lnTo>
                  <a:lnTo>
                    <a:pt x="130035" y="75196"/>
                  </a:lnTo>
                  <a:lnTo>
                    <a:pt x="130835" y="73279"/>
                  </a:lnTo>
                  <a:lnTo>
                    <a:pt x="134061" y="70091"/>
                  </a:lnTo>
                  <a:lnTo>
                    <a:pt x="136004" y="69303"/>
                  </a:lnTo>
                  <a:lnTo>
                    <a:pt x="138264" y="69329"/>
                  </a:lnTo>
                  <a:lnTo>
                    <a:pt x="602183" y="69329"/>
                  </a:lnTo>
                  <a:lnTo>
                    <a:pt x="604443" y="69303"/>
                  </a:lnTo>
                  <a:lnTo>
                    <a:pt x="606386" y="70091"/>
                  </a:lnTo>
                  <a:lnTo>
                    <a:pt x="609612" y="73279"/>
                  </a:lnTo>
                  <a:lnTo>
                    <a:pt x="610425" y="75196"/>
                  </a:lnTo>
                  <a:lnTo>
                    <a:pt x="610425" y="0"/>
                  </a:lnTo>
                  <a:lnTo>
                    <a:pt x="112268" y="0"/>
                  </a:lnTo>
                  <a:lnTo>
                    <a:pt x="108699" y="355"/>
                  </a:lnTo>
                  <a:lnTo>
                    <a:pt x="74104" y="18821"/>
                  </a:lnTo>
                  <a:lnTo>
                    <a:pt x="60426" y="51727"/>
                  </a:lnTo>
                  <a:lnTo>
                    <a:pt x="60426" y="439089"/>
                  </a:lnTo>
                  <a:lnTo>
                    <a:pt x="680072" y="439089"/>
                  </a:lnTo>
                  <a:lnTo>
                    <a:pt x="680072" y="407949"/>
                  </a:lnTo>
                  <a:lnTo>
                    <a:pt x="680072" y="69303"/>
                  </a:lnTo>
                  <a:lnTo>
                    <a:pt x="680072" y="51727"/>
                  </a:lnTo>
                  <a:close/>
                </a:path>
                <a:path w="740409" h="560070">
                  <a:moveTo>
                    <a:pt x="740410" y="484974"/>
                  </a:moveTo>
                  <a:lnTo>
                    <a:pt x="739660" y="475513"/>
                  </a:lnTo>
                  <a:lnTo>
                    <a:pt x="738174" y="471144"/>
                  </a:lnTo>
                  <a:lnTo>
                    <a:pt x="737273" y="469760"/>
                  </a:lnTo>
                  <a:lnTo>
                    <a:pt x="735558" y="467156"/>
                  </a:lnTo>
                  <a:lnTo>
                    <a:pt x="732993" y="463181"/>
                  </a:lnTo>
                  <a:lnTo>
                    <a:pt x="729627" y="460070"/>
                  </a:lnTo>
                  <a:lnTo>
                    <a:pt x="721283" y="455549"/>
                  </a:lnTo>
                  <a:lnTo>
                    <a:pt x="716864" y="454418"/>
                  </a:lnTo>
                  <a:lnTo>
                    <a:pt x="712050" y="454418"/>
                  </a:lnTo>
                  <a:lnTo>
                    <a:pt x="446620" y="454418"/>
                  </a:lnTo>
                  <a:lnTo>
                    <a:pt x="446620" y="469760"/>
                  </a:lnTo>
                  <a:lnTo>
                    <a:pt x="439762" y="481888"/>
                  </a:lnTo>
                  <a:lnTo>
                    <a:pt x="437807" y="485813"/>
                  </a:lnTo>
                  <a:lnTo>
                    <a:pt x="434670" y="488238"/>
                  </a:lnTo>
                  <a:lnTo>
                    <a:pt x="429628" y="489318"/>
                  </a:lnTo>
                  <a:lnTo>
                    <a:pt x="428879" y="489394"/>
                  </a:lnTo>
                  <a:lnTo>
                    <a:pt x="428129" y="489394"/>
                  </a:lnTo>
                  <a:lnTo>
                    <a:pt x="312216" y="489394"/>
                  </a:lnTo>
                  <a:lnTo>
                    <a:pt x="306857" y="488988"/>
                  </a:lnTo>
                  <a:lnTo>
                    <a:pt x="302958" y="486410"/>
                  </a:lnTo>
                  <a:lnTo>
                    <a:pt x="300621" y="481888"/>
                  </a:lnTo>
                  <a:lnTo>
                    <a:pt x="293801" y="469760"/>
                  </a:lnTo>
                  <a:lnTo>
                    <a:pt x="446620" y="469760"/>
                  </a:lnTo>
                  <a:lnTo>
                    <a:pt x="446620" y="454418"/>
                  </a:lnTo>
                  <a:lnTo>
                    <a:pt x="23609" y="454418"/>
                  </a:lnTo>
                  <a:lnTo>
                    <a:pt x="0" y="484974"/>
                  </a:lnTo>
                  <a:lnTo>
                    <a:pt x="774" y="489508"/>
                  </a:lnTo>
                  <a:lnTo>
                    <a:pt x="16611" y="524471"/>
                  </a:lnTo>
                  <a:lnTo>
                    <a:pt x="45567" y="552081"/>
                  </a:lnTo>
                  <a:lnTo>
                    <a:pt x="78155" y="559727"/>
                  </a:lnTo>
                  <a:lnTo>
                    <a:pt x="662114" y="559727"/>
                  </a:lnTo>
                  <a:lnTo>
                    <a:pt x="706043" y="544753"/>
                  </a:lnTo>
                  <a:lnTo>
                    <a:pt x="726389" y="518312"/>
                  </a:lnTo>
                  <a:lnTo>
                    <a:pt x="737641" y="493928"/>
                  </a:lnTo>
                  <a:lnTo>
                    <a:pt x="739609" y="489508"/>
                  </a:lnTo>
                  <a:lnTo>
                    <a:pt x="740410" y="484974"/>
                  </a:lnTo>
                  <a:close/>
                </a:path>
              </a:pathLst>
            </a:custGeom>
            <a:solidFill>
              <a:srgbClr val="21408B"/>
            </a:solidFill>
          </p:spPr>
          <p:txBody>
            <a:bodyPr wrap="square" lIns="0" tIns="0" rIns="0" bIns="0" rtlCol="0"/>
            <a:lstStyle/>
            <a:p>
              <a:endParaRPr/>
            </a:p>
          </p:txBody>
        </p:sp>
        <p:pic>
          <p:nvPicPr>
            <p:cNvPr id="37" name="object 37"/>
            <p:cNvPicPr/>
            <p:nvPr/>
          </p:nvPicPr>
          <p:blipFill>
            <a:blip r:embed="rId7" cstate="print"/>
            <a:stretch>
              <a:fillRect/>
            </a:stretch>
          </p:blipFill>
          <p:spPr>
            <a:xfrm>
              <a:off x="15477702" y="7293954"/>
              <a:ext cx="205172" cy="242596"/>
            </a:xfrm>
            <a:prstGeom prst="rect">
              <a:avLst/>
            </a:prstGeom>
          </p:spPr>
        </p:pic>
      </p:grpSp>
      <p:grpSp>
        <p:nvGrpSpPr>
          <p:cNvPr id="38" name="object 38"/>
          <p:cNvGrpSpPr/>
          <p:nvPr/>
        </p:nvGrpSpPr>
        <p:grpSpPr>
          <a:xfrm>
            <a:off x="14873045" y="8368993"/>
            <a:ext cx="762000" cy="681355"/>
            <a:chOff x="14873045" y="8368993"/>
            <a:chExt cx="762000" cy="681355"/>
          </a:xfrm>
        </p:grpSpPr>
        <p:sp>
          <p:nvSpPr>
            <p:cNvPr id="39" name="object 39"/>
            <p:cNvSpPr/>
            <p:nvPr/>
          </p:nvSpPr>
          <p:spPr>
            <a:xfrm>
              <a:off x="14873045" y="8368993"/>
              <a:ext cx="762000" cy="681355"/>
            </a:xfrm>
            <a:custGeom>
              <a:avLst/>
              <a:gdLst/>
              <a:ahLst/>
              <a:cxnLst/>
              <a:rect l="l" t="t" r="r" b="b"/>
              <a:pathLst>
                <a:path w="762000" h="681354">
                  <a:moveTo>
                    <a:pt x="128188" y="681177"/>
                  </a:moveTo>
                  <a:lnTo>
                    <a:pt x="121441" y="679156"/>
                  </a:lnTo>
                  <a:lnTo>
                    <a:pt x="154857" y="638116"/>
                  </a:lnTo>
                  <a:lnTo>
                    <a:pt x="179662" y="596466"/>
                  </a:lnTo>
                  <a:lnTo>
                    <a:pt x="195101" y="564170"/>
                  </a:lnTo>
                  <a:lnTo>
                    <a:pt x="200416" y="551190"/>
                  </a:lnTo>
                  <a:lnTo>
                    <a:pt x="72717" y="551190"/>
                  </a:lnTo>
                  <a:lnTo>
                    <a:pt x="44415" y="545483"/>
                  </a:lnTo>
                  <a:lnTo>
                    <a:pt x="21300" y="529919"/>
                  </a:lnTo>
                  <a:lnTo>
                    <a:pt x="5715" y="506835"/>
                  </a:lnTo>
                  <a:lnTo>
                    <a:pt x="0" y="478568"/>
                  </a:lnTo>
                  <a:lnTo>
                    <a:pt x="0" y="72622"/>
                  </a:lnTo>
                  <a:lnTo>
                    <a:pt x="5715" y="44355"/>
                  </a:lnTo>
                  <a:lnTo>
                    <a:pt x="21300" y="21271"/>
                  </a:lnTo>
                  <a:lnTo>
                    <a:pt x="44415" y="5707"/>
                  </a:lnTo>
                  <a:lnTo>
                    <a:pt x="72717" y="0"/>
                  </a:lnTo>
                  <a:lnTo>
                    <a:pt x="688684" y="0"/>
                  </a:lnTo>
                  <a:lnTo>
                    <a:pt x="717004" y="5707"/>
                  </a:lnTo>
                  <a:lnTo>
                    <a:pt x="740119" y="21271"/>
                  </a:lnTo>
                  <a:lnTo>
                    <a:pt x="755699" y="44355"/>
                  </a:lnTo>
                  <a:lnTo>
                    <a:pt x="761410" y="72622"/>
                  </a:lnTo>
                  <a:lnTo>
                    <a:pt x="761410" y="478568"/>
                  </a:lnTo>
                  <a:lnTo>
                    <a:pt x="755699" y="506835"/>
                  </a:lnTo>
                  <a:lnTo>
                    <a:pt x="740119" y="529919"/>
                  </a:lnTo>
                  <a:lnTo>
                    <a:pt x="717004" y="545483"/>
                  </a:lnTo>
                  <a:lnTo>
                    <a:pt x="688684" y="551190"/>
                  </a:lnTo>
                  <a:lnTo>
                    <a:pt x="427217" y="551190"/>
                  </a:lnTo>
                  <a:lnTo>
                    <a:pt x="401210" y="577496"/>
                  </a:lnTo>
                  <a:lnTo>
                    <a:pt x="359230" y="603058"/>
                  </a:lnTo>
                  <a:lnTo>
                    <a:pt x="307519" y="626776"/>
                  </a:lnTo>
                  <a:lnTo>
                    <a:pt x="252318" y="647547"/>
                  </a:lnTo>
                  <a:lnTo>
                    <a:pt x="199868" y="664272"/>
                  </a:lnTo>
                  <a:lnTo>
                    <a:pt x="156411" y="675849"/>
                  </a:lnTo>
                  <a:lnTo>
                    <a:pt x="128188" y="681177"/>
                  </a:lnTo>
                  <a:close/>
                </a:path>
              </a:pathLst>
            </a:custGeom>
            <a:solidFill>
              <a:srgbClr val="21408B"/>
            </a:solidFill>
          </p:spPr>
          <p:txBody>
            <a:bodyPr wrap="square" lIns="0" tIns="0" rIns="0" bIns="0" rtlCol="0"/>
            <a:lstStyle/>
            <a:p>
              <a:endParaRPr/>
            </a:p>
          </p:txBody>
        </p:sp>
        <p:pic>
          <p:nvPicPr>
            <p:cNvPr id="40" name="object 40"/>
            <p:cNvPicPr/>
            <p:nvPr/>
          </p:nvPicPr>
          <p:blipFill>
            <a:blip r:embed="rId8" cstate="print"/>
            <a:stretch>
              <a:fillRect/>
            </a:stretch>
          </p:blipFill>
          <p:spPr>
            <a:xfrm>
              <a:off x="15018699" y="8596338"/>
              <a:ext cx="99371" cy="99229"/>
            </a:xfrm>
            <a:prstGeom prst="rect">
              <a:avLst/>
            </a:prstGeom>
          </p:spPr>
        </p:pic>
        <p:pic>
          <p:nvPicPr>
            <p:cNvPr id="41" name="object 41"/>
            <p:cNvPicPr/>
            <p:nvPr/>
          </p:nvPicPr>
          <p:blipFill>
            <a:blip r:embed="rId9" cstate="print"/>
            <a:stretch>
              <a:fillRect/>
            </a:stretch>
          </p:blipFill>
          <p:spPr>
            <a:xfrm>
              <a:off x="15204075" y="8596338"/>
              <a:ext cx="99371" cy="99229"/>
            </a:xfrm>
            <a:prstGeom prst="rect">
              <a:avLst/>
            </a:prstGeom>
          </p:spPr>
        </p:pic>
        <p:pic>
          <p:nvPicPr>
            <p:cNvPr id="42" name="object 42"/>
            <p:cNvPicPr/>
            <p:nvPr/>
          </p:nvPicPr>
          <p:blipFill>
            <a:blip r:embed="rId10" cstate="print"/>
            <a:stretch>
              <a:fillRect/>
            </a:stretch>
          </p:blipFill>
          <p:spPr>
            <a:xfrm>
              <a:off x="15389451" y="8596338"/>
              <a:ext cx="99371" cy="99229"/>
            </a:xfrm>
            <a:prstGeom prst="rect">
              <a:avLst/>
            </a:prstGeom>
          </p:spPr>
        </p:pic>
      </p:grpSp>
      <p:sp>
        <p:nvSpPr>
          <p:cNvPr id="43" name="object 43"/>
          <p:cNvSpPr/>
          <p:nvPr/>
        </p:nvSpPr>
        <p:spPr>
          <a:xfrm>
            <a:off x="15254850" y="4660264"/>
            <a:ext cx="607695" cy="598805"/>
          </a:xfrm>
          <a:custGeom>
            <a:avLst/>
            <a:gdLst/>
            <a:ahLst/>
            <a:cxnLst/>
            <a:rect l="l" t="t" r="r" b="b"/>
            <a:pathLst>
              <a:path w="607694" h="598804">
                <a:moveTo>
                  <a:pt x="484154" y="494145"/>
                </a:moveTo>
                <a:lnTo>
                  <a:pt x="439749" y="487873"/>
                </a:lnTo>
                <a:lnTo>
                  <a:pt x="392850" y="464143"/>
                </a:lnTo>
                <a:lnTo>
                  <a:pt x="360639" y="436512"/>
                </a:lnTo>
                <a:lnTo>
                  <a:pt x="65847" y="144767"/>
                </a:lnTo>
                <a:lnTo>
                  <a:pt x="34879" y="110970"/>
                </a:lnTo>
                <a:lnTo>
                  <a:pt x="12816" y="76437"/>
                </a:lnTo>
                <a:lnTo>
                  <a:pt x="0" y="24319"/>
                </a:lnTo>
                <a:lnTo>
                  <a:pt x="226" y="3803"/>
                </a:lnTo>
                <a:lnTo>
                  <a:pt x="348" y="1885"/>
                </a:lnTo>
                <a:lnTo>
                  <a:pt x="1904" y="359"/>
                </a:lnTo>
                <a:lnTo>
                  <a:pt x="3842" y="223"/>
                </a:lnTo>
                <a:lnTo>
                  <a:pt x="24580" y="0"/>
                </a:lnTo>
                <a:lnTo>
                  <a:pt x="43536" y="2092"/>
                </a:lnTo>
                <a:lnTo>
                  <a:pt x="94965" y="22389"/>
                </a:lnTo>
                <a:lnTo>
                  <a:pt x="129095" y="48855"/>
                </a:lnTo>
                <a:lnTo>
                  <a:pt x="441048" y="356930"/>
                </a:lnTo>
                <a:lnTo>
                  <a:pt x="468979" y="388811"/>
                </a:lnTo>
                <a:lnTo>
                  <a:pt x="488325" y="422481"/>
                </a:lnTo>
                <a:lnTo>
                  <a:pt x="499041" y="470738"/>
                </a:lnTo>
                <a:lnTo>
                  <a:pt x="498916" y="490191"/>
                </a:lnTo>
                <a:lnTo>
                  <a:pt x="498794" y="492109"/>
                </a:lnTo>
                <a:lnTo>
                  <a:pt x="497222" y="493665"/>
                </a:lnTo>
                <a:lnTo>
                  <a:pt x="495284" y="493786"/>
                </a:lnTo>
                <a:lnTo>
                  <a:pt x="484154" y="494145"/>
                </a:lnTo>
                <a:close/>
              </a:path>
              <a:path w="607694" h="598804">
                <a:moveTo>
                  <a:pt x="440590" y="93897"/>
                </a:moveTo>
                <a:lnTo>
                  <a:pt x="439461" y="93474"/>
                </a:lnTo>
                <a:lnTo>
                  <a:pt x="436561" y="90589"/>
                </a:lnTo>
                <a:lnTo>
                  <a:pt x="433631" y="87659"/>
                </a:lnTo>
                <a:lnTo>
                  <a:pt x="432151" y="83793"/>
                </a:lnTo>
                <a:lnTo>
                  <a:pt x="432168" y="75999"/>
                </a:lnTo>
                <a:lnTo>
                  <a:pt x="433616" y="72178"/>
                </a:lnTo>
                <a:lnTo>
                  <a:pt x="439537" y="66318"/>
                </a:lnTo>
                <a:lnTo>
                  <a:pt x="443459" y="64852"/>
                </a:lnTo>
                <a:lnTo>
                  <a:pt x="451272" y="64852"/>
                </a:lnTo>
                <a:lnTo>
                  <a:pt x="455194" y="66333"/>
                </a:lnTo>
                <a:lnTo>
                  <a:pt x="476041" y="86980"/>
                </a:lnTo>
                <a:lnTo>
                  <a:pt x="474591" y="90952"/>
                </a:lnTo>
                <a:lnTo>
                  <a:pt x="440590" y="93897"/>
                </a:lnTo>
                <a:close/>
              </a:path>
              <a:path w="607694" h="598804">
                <a:moveTo>
                  <a:pt x="311881" y="105029"/>
                </a:moveTo>
                <a:lnTo>
                  <a:pt x="310736" y="104621"/>
                </a:lnTo>
                <a:lnTo>
                  <a:pt x="304922" y="98851"/>
                </a:lnTo>
                <a:lnTo>
                  <a:pt x="303441" y="94970"/>
                </a:lnTo>
                <a:lnTo>
                  <a:pt x="303441" y="87357"/>
                </a:lnTo>
                <a:lnTo>
                  <a:pt x="304769" y="83672"/>
                </a:lnTo>
                <a:lnTo>
                  <a:pt x="307424" y="80802"/>
                </a:lnTo>
                <a:lnTo>
                  <a:pt x="310797" y="77464"/>
                </a:lnTo>
                <a:lnTo>
                  <a:pt x="314719" y="75999"/>
                </a:lnTo>
                <a:lnTo>
                  <a:pt x="322563" y="75999"/>
                </a:lnTo>
                <a:lnTo>
                  <a:pt x="326485" y="77479"/>
                </a:lnTo>
                <a:lnTo>
                  <a:pt x="347331" y="98126"/>
                </a:lnTo>
                <a:lnTo>
                  <a:pt x="345882" y="102099"/>
                </a:lnTo>
                <a:lnTo>
                  <a:pt x="311881" y="105029"/>
                </a:lnTo>
                <a:close/>
              </a:path>
              <a:path w="607694" h="598804">
                <a:moveTo>
                  <a:pt x="382828" y="262758"/>
                </a:moveTo>
                <a:lnTo>
                  <a:pt x="375930" y="261837"/>
                </a:lnTo>
                <a:lnTo>
                  <a:pt x="358884" y="246280"/>
                </a:lnTo>
                <a:lnTo>
                  <a:pt x="249281" y="136233"/>
                </a:lnTo>
                <a:lnTo>
                  <a:pt x="250731" y="132261"/>
                </a:lnTo>
                <a:lnTo>
                  <a:pt x="552589" y="106131"/>
                </a:lnTo>
                <a:lnTo>
                  <a:pt x="553718" y="106524"/>
                </a:lnTo>
                <a:lnTo>
                  <a:pt x="598233" y="149857"/>
                </a:lnTo>
                <a:lnTo>
                  <a:pt x="597760" y="152998"/>
                </a:lnTo>
                <a:lnTo>
                  <a:pt x="382828" y="262758"/>
                </a:lnTo>
                <a:close/>
              </a:path>
              <a:path w="607694" h="598804">
                <a:moveTo>
                  <a:pt x="150346" y="593109"/>
                </a:moveTo>
                <a:lnTo>
                  <a:pt x="106578" y="549036"/>
                </a:lnTo>
                <a:lnTo>
                  <a:pt x="106166" y="547933"/>
                </a:lnTo>
                <a:lnTo>
                  <a:pt x="132750" y="247292"/>
                </a:lnTo>
                <a:lnTo>
                  <a:pt x="136763" y="245842"/>
                </a:lnTo>
                <a:lnTo>
                  <a:pt x="233166" y="341917"/>
                </a:lnTo>
                <a:lnTo>
                  <a:pt x="263947" y="371792"/>
                </a:lnTo>
                <a:lnTo>
                  <a:pt x="265076" y="378665"/>
                </a:lnTo>
                <a:lnTo>
                  <a:pt x="153520" y="592641"/>
                </a:lnTo>
                <a:lnTo>
                  <a:pt x="150346" y="593109"/>
                </a:lnTo>
                <a:close/>
              </a:path>
              <a:path w="607694" h="598804">
                <a:moveTo>
                  <a:pt x="98077" y="344817"/>
                </a:moveTo>
                <a:lnTo>
                  <a:pt x="79719" y="326662"/>
                </a:lnTo>
                <a:lnTo>
                  <a:pt x="77079" y="323792"/>
                </a:lnTo>
                <a:lnTo>
                  <a:pt x="75736" y="320107"/>
                </a:lnTo>
                <a:lnTo>
                  <a:pt x="75736" y="312510"/>
                </a:lnTo>
                <a:lnTo>
                  <a:pt x="77201" y="308628"/>
                </a:lnTo>
                <a:lnTo>
                  <a:pt x="83122" y="302813"/>
                </a:lnTo>
                <a:lnTo>
                  <a:pt x="87029" y="301348"/>
                </a:lnTo>
                <a:lnTo>
                  <a:pt x="94873" y="301348"/>
                </a:lnTo>
                <a:lnTo>
                  <a:pt x="98795" y="302813"/>
                </a:lnTo>
                <a:lnTo>
                  <a:pt x="104624" y="308583"/>
                </a:lnTo>
                <a:lnTo>
                  <a:pt x="105052" y="309716"/>
                </a:lnTo>
                <a:lnTo>
                  <a:pt x="102076" y="343352"/>
                </a:lnTo>
                <a:lnTo>
                  <a:pt x="98077" y="344817"/>
                </a:lnTo>
                <a:close/>
              </a:path>
              <a:path w="607694" h="598804">
                <a:moveTo>
                  <a:pt x="516375" y="431347"/>
                </a:moveTo>
                <a:lnTo>
                  <a:pt x="514437" y="430169"/>
                </a:lnTo>
                <a:lnTo>
                  <a:pt x="512331" y="423463"/>
                </a:lnTo>
                <a:lnTo>
                  <a:pt x="510606" y="418750"/>
                </a:lnTo>
                <a:lnTo>
                  <a:pt x="493499" y="385612"/>
                </a:lnTo>
                <a:lnTo>
                  <a:pt x="495422" y="382229"/>
                </a:lnTo>
                <a:lnTo>
                  <a:pt x="581065" y="384344"/>
                </a:lnTo>
                <a:lnTo>
                  <a:pt x="582026" y="384752"/>
                </a:lnTo>
                <a:lnTo>
                  <a:pt x="607283" y="409733"/>
                </a:lnTo>
                <a:lnTo>
                  <a:pt x="606138" y="413464"/>
                </a:lnTo>
                <a:lnTo>
                  <a:pt x="516375" y="431347"/>
                </a:lnTo>
                <a:close/>
              </a:path>
              <a:path w="607694" h="598804">
                <a:moveTo>
                  <a:pt x="86830" y="472188"/>
                </a:moveTo>
                <a:lnTo>
                  <a:pt x="65969" y="451526"/>
                </a:lnTo>
                <a:lnTo>
                  <a:pt x="64489" y="447659"/>
                </a:lnTo>
                <a:lnTo>
                  <a:pt x="64489" y="439911"/>
                </a:lnTo>
                <a:lnTo>
                  <a:pt x="65954" y="436044"/>
                </a:lnTo>
                <a:lnTo>
                  <a:pt x="71860" y="430199"/>
                </a:lnTo>
                <a:lnTo>
                  <a:pt x="75797" y="428719"/>
                </a:lnTo>
                <a:lnTo>
                  <a:pt x="83610" y="428719"/>
                </a:lnTo>
                <a:lnTo>
                  <a:pt x="87532" y="430199"/>
                </a:lnTo>
                <a:lnTo>
                  <a:pt x="93408" y="435999"/>
                </a:lnTo>
                <a:lnTo>
                  <a:pt x="93820" y="437132"/>
                </a:lnTo>
                <a:lnTo>
                  <a:pt x="90844" y="470738"/>
                </a:lnTo>
                <a:lnTo>
                  <a:pt x="86830" y="472188"/>
                </a:lnTo>
                <a:close/>
              </a:path>
              <a:path w="607694" h="598804">
                <a:moveTo>
                  <a:pt x="416676" y="598365"/>
                </a:moveTo>
                <a:lnTo>
                  <a:pt x="391420" y="573368"/>
                </a:lnTo>
                <a:lnTo>
                  <a:pt x="391023" y="572432"/>
                </a:lnTo>
                <a:lnTo>
                  <a:pt x="388993" y="492049"/>
                </a:lnTo>
                <a:lnTo>
                  <a:pt x="392351" y="490131"/>
                </a:lnTo>
                <a:lnTo>
                  <a:pt x="395706" y="492109"/>
                </a:lnTo>
                <a:lnTo>
                  <a:pt x="400709" y="494960"/>
                </a:lnTo>
                <a:lnTo>
                  <a:pt x="436653" y="509721"/>
                </a:lnTo>
                <a:lnTo>
                  <a:pt x="437858" y="511654"/>
                </a:lnTo>
                <a:lnTo>
                  <a:pt x="420461" y="597247"/>
                </a:lnTo>
                <a:lnTo>
                  <a:pt x="416676" y="598365"/>
                </a:lnTo>
                <a:close/>
              </a:path>
            </a:pathLst>
          </a:custGeom>
          <a:solidFill>
            <a:srgbClr val="21408B"/>
          </a:solidFill>
        </p:spPr>
        <p:txBody>
          <a:bodyPr wrap="square" lIns="0" tIns="0" rIns="0" bIns="0" rtlCol="0"/>
          <a:lstStyle/>
          <a:p>
            <a:endParaRPr/>
          </a:p>
        </p:txBody>
      </p:sp>
      <p:sp>
        <p:nvSpPr>
          <p:cNvPr id="44" name="object 44"/>
          <p:cNvSpPr/>
          <p:nvPr/>
        </p:nvSpPr>
        <p:spPr>
          <a:xfrm>
            <a:off x="4266552" y="4132706"/>
            <a:ext cx="676275" cy="676275"/>
          </a:xfrm>
          <a:custGeom>
            <a:avLst/>
            <a:gdLst/>
            <a:ahLst/>
            <a:cxnLst/>
            <a:rect l="l" t="t" r="r" b="b"/>
            <a:pathLst>
              <a:path w="676275" h="676275">
                <a:moveTo>
                  <a:pt x="581215" y="338035"/>
                </a:moveTo>
                <a:lnTo>
                  <a:pt x="576262" y="289090"/>
                </a:lnTo>
                <a:lnTo>
                  <a:pt x="572109" y="275755"/>
                </a:lnTo>
                <a:lnTo>
                  <a:pt x="562076" y="243471"/>
                </a:lnTo>
                <a:lnTo>
                  <a:pt x="539623" y="202171"/>
                </a:lnTo>
                <a:lnTo>
                  <a:pt x="510311" y="166649"/>
                </a:lnTo>
                <a:lnTo>
                  <a:pt x="473900" y="136448"/>
                </a:lnTo>
                <a:lnTo>
                  <a:pt x="458139" y="127889"/>
                </a:lnTo>
                <a:lnTo>
                  <a:pt x="458139" y="388937"/>
                </a:lnTo>
                <a:lnTo>
                  <a:pt x="450799" y="423354"/>
                </a:lnTo>
                <a:lnTo>
                  <a:pt x="431393" y="448665"/>
                </a:lnTo>
                <a:lnTo>
                  <a:pt x="403821" y="465048"/>
                </a:lnTo>
                <a:lnTo>
                  <a:pt x="371995" y="472732"/>
                </a:lnTo>
                <a:lnTo>
                  <a:pt x="371995" y="509422"/>
                </a:lnTo>
                <a:lnTo>
                  <a:pt x="317512" y="509422"/>
                </a:lnTo>
                <a:lnTo>
                  <a:pt x="317512" y="474497"/>
                </a:lnTo>
                <a:lnTo>
                  <a:pt x="285419" y="467410"/>
                </a:lnTo>
                <a:lnTo>
                  <a:pt x="258470" y="454088"/>
                </a:lnTo>
                <a:lnTo>
                  <a:pt x="237223" y="434898"/>
                </a:lnTo>
                <a:lnTo>
                  <a:pt x="222237" y="410210"/>
                </a:lnTo>
                <a:lnTo>
                  <a:pt x="220599" y="406387"/>
                </a:lnTo>
                <a:lnTo>
                  <a:pt x="271170" y="384937"/>
                </a:lnTo>
                <a:lnTo>
                  <a:pt x="272783" y="388772"/>
                </a:lnTo>
                <a:lnTo>
                  <a:pt x="282803" y="402920"/>
                </a:lnTo>
                <a:lnTo>
                  <a:pt x="298805" y="414223"/>
                </a:lnTo>
                <a:lnTo>
                  <a:pt x="318922" y="421703"/>
                </a:lnTo>
                <a:lnTo>
                  <a:pt x="341299" y="424421"/>
                </a:lnTo>
                <a:lnTo>
                  <a:pt x="356285" y="423506"/>
                </a:lnTo>
                <a:lnTo>
                  <a:pt x="375831" y="419023"/>
                </a:lnTo>
                <a:lnTo>
                  <a:pt x="392798" y="408368"/>
                </a:lnTo>
                <a:lnTo>
                  <a:pt x="400037" y="388937"/>
                </a:lnTo>
                <a:lnTo>
                  <a:pt x="398792" y="384937"/>
                </a:lnTo>
                <a:lnTo>
                  <a:pt x="396405" y="377215"/>
                </a:lnTo>
                <a:lnTo>
                  <a:pt x="385318" y="367957"/>
                </a:lnTo>
                <a:lnTo>
                  <a:pt x="366509" y="361061"/>
                </a:lnTo>
                <a:lnTo>
                  <a:pt x="339725" y="356336"/>
                </a:lnTo>
                <a:lnTo>
                  <a:pt x="304101" y="351307"/>
                </a:lnTo>
                <a:lnTo>
                  <a:pt x="269570" y="340067"/>
                </a:lnTo>
                <a:lnTo>
                  <a:pt x="243471" y="317119"/>
                </a:lnTo>
                <a:lnTo>
                  <a:pt x="233146" y="276961"/>
                </a:lnTo>
                <a:lnTo>
                  <a:pt x="238887" y="248234"/>
                </a:lnTo>
                <a:lnTo>
                  <a:pt x="255485" y="225069"/>
                </a:lnTo>
                <a:lnTo>
                  <a:pt x="282003" y="208305"/>
                </a:lnTo>
                <a:lnTo>
                  <a:pt x="317512" y="198793"/>
                </a:lnTo>
                <a:lnTo>
                  <a:pt x="317512" y="166649"/>
                </a:lnTo>
                <a:lnTo>
                  <a:pt x="371995" y="166649"/>
                </a:lnTo>
                <a:lnTo>
                  <a:pt x="371995" y="198894"/>
                </a:lnTo>
                <a:lnTo>
                  <a:pt x="391490" y="203504"/>
                </a:lnTo>
                <a:lnTo>
                  <a:pt x="411949" y="212344"/>
                </a:lnTo>
                <a:lnTo>
                  <a:pt x="431228" y="227355"/>
                </a:lnTo>
                <a:lnTo>
                  <a:pt x="447167" y="250418"/>
                </a:lnTo>
                <a:lnTo>
                  <a:pt x="449046" y="254241"/>
                </a:lnTo>
                <a:lnTo>
                  <a:pt x="402564" y="275755"/>
                </a:lnTo>
                <a:lnTo>
                  <a:pt x="400634" y="272567"/>
                </a:lnTo>
                <a:lnTo>
                  <a:pt x="391274" y="262509"/>
                </a:lnTo>
                <a:lnTo>
                  <a:pt x="377342" y="254368"/>
                </a:lnTo>
                <a:lnTo>
                  <a:pt x="360591" y="248920"/>
                </a:lnTo>
                <a:lnTo>
                  <a:pt x="342722" y="246938"/>
                </a:lnTo>
                <a:lnTo>
                  <a:pt x="327533" y="247827"/>
                </a:lnTo>
                <a:lnTo>
                  <a:pt x="309854" y="251790"/>
                </a:lnTo>
                <a:lnTo>
                  <a:pt x="295186" y="260845"/>
                </a:lnTo>
                <a:lnTo>
                  <a:pt x="289077" y="276961"/>
                </a:lnTo>
                <a:lnTo>
                  <a:pt x="293331" y="289090"/>
                </a:lnTo>
                <a:lnTo>
                  <a:pt x="305066" y="296875"/>
                </a:lnTo>
                <a:lnTo>
                  <a:pt x="322707" y="301663"/>
                </a:lnTo>
                <a:lnTo>
                  <a:pt x="382612" y="310603"/>
                </a:lnTo>
                <a:lnTo>
                  <a:pt x="419366" y="322795"/>
                </a:lnTo>
                <a:lnTo>
                  <a:pt x="447141" y="347040"/>
                </a:lnTo>
                <a:lnTo>
                  <a:pt x="458139" y="388937"/>
                </a:lnTo>
                <a:lnTo>
                  <a:pt x="458139" y="127889"/>
                </a:lnTo>
                <a:lnTo>
                  <a:pt x="432600" y="114007"/>
                </a:lnTo>
                <a:lnTo>
                  <a:pt x="386981" y="99809"/>
                </a:lnTo>
                <a:lnTo>
                  <a:pt x="338023" y="94869"/>
                </a:lnTo>
                <a:lnTo>
                  <a:pt x="289077" y="99809"/>
                </a:lnTo>
                <a:lnTo>
                  <a:pt x="243471" y="114007"/>
                </a:lnTo>
                <a:lnTo>
                  <a:pt x="202171" y="136448"/>
                </a:lnTo>
                <a:lnTo>
                  <a:pt x="166166" y="166166"/>
                </a:lnTo>
                <a:lnTo>
                  <a:pt x="136448" y="202171"/>
                </a:lnTo>
                <a:lnTo>
                  <a:pt x="113995" y="243471"/>
                </a:lnTo>
                <a:lnTo>
                  <a:pt x="99809" y="289090"/>
                </a:lnTo>
                <a:lnTo>
                  <a:pt x="94856" y="338035"/>
                </a:lnTo>
                <a:lnTo>
                  <a:pt x="99809" y="386981"/>
                </a:lnTo>
                <a:lnTo>
                  <a:pt x="113995" y="432600"/>
                </a:lnTo>
                <a:lnTo>
                  <a:pt x="136448" y="473913"/>
                </a:lnTo>
                <a:lnTo>
                  <a:pt x="166166" y="509917"/>
                </a:lnTo>
                <a:lnTo>
                  <a:pt x="202171" y="539635"/>
                </a:lnTo>
                <a:lnTo>
                  <a:pt x="243471" y="562076"/>
                </a:lnTo>
                <a:lnTo>
                  <a:pt x="289077" y="576262"/>
                </a:lnTo>
                <a:lnTo>
                  <a:pt x="338023" y="581215"/>
                </a:lnTo>
                <a:lnTo>
                  <a:pt x="386981" y="576262"/>
                </a:lnTo>
                <a:lnTo>
                  <a:pt x="432600" y="562076"/>
                </a:lnTo>
                <a:lnTo>
                  <a:pt x="473900" y="539635"/>
                </a:lnTo>
                <a:lnTo>
                  <a:pt x="509905" y="509917"/>
                </a:lnTo>
                <a:lnTo>
                  <a:pt x="510311" y="509422"/>
                </a:lnTo>
                <a:lnTo>
                  <a:pt x="539623" y="473913"/>
                </a:lnTo>
                <a:lnTo>
                  <a:pt x="562076" y="432600"/>
                </a:lnTo>
                <a:lnTo>
                  <a:pt x="576262" y="386981"/>
                </a:lnTo>
                <a:lnTo>
                  <a:pt x="581215" y="338035"/>
                </a:lnTo>
                <a:close/>
              </a:path>
              <a:path w="676275" h="676275">
                <a:moveTo>
                  <a:pt x="676071" y="338035"/>
                </a:moveTo>
                <a:lnTo>
                  <a:pt x="672985" y="292176"/>
                </a:lnTo>
                <a:lnTo>
                  <a:pt x="663994" y="248170"/>
                </a:lnTo>
                <a:lnTo>
                  <a:pt x="649516" y="206463"/>
                </a:lnTo>
                <a:lnTo>
                  <a:pt x="631063" y="169710"/>
                </a:lnTo>
                <a:lnTo>
                  <a:pt x="631063" y="338035"/>
                </a:lnTo>
                <a:lnTo>
                  <a:pt x="627214" y="385495"/>
                </a:lnTo>
                <a:lnTo>
                  <a:pt x="616102" y="430555"/>
                </a:lnTo>
                <a:lnTo>
                  <a:pt x="598309" y="472579"/>
                </a:lnTo>
                <a:lnTo>
                  <a:pt x="574446" y="510971"/>
                </a:lnTo>
                <a:lnTo>
                  <a:pt x="545134" y="545134"/>
                </a:lnTo>
                <a:lnTo>
                  <a:pt x="510984" y="574446"/>
                </a:lnTo>
                <a:lnTo>
                  <a:pt x="472579" y="598297"/>
                </a:lnTo>
                <a:lnTo>
                  <a:pt x="430555" y="616089"/>
                </a:lnTo>
                <a:lnTo>
                  <a:pt x="385495" y="627214"/>
                </a:lnTo>
                <a:lnTo>
                  <a:pt x="338023" y="631050"/>
                </a:lnTo>
                <a:lnTo>
                  <a:pt x="290563" y="627214"/>
                </a:lnTo>
                <a:lnTo>
                  <a:pt x="245516" y="616089"/>
                </a:lnTo>
                <a:lnTo>
                  <a:pt x="203492" y="598297"/>
                </a:lnTo>
                <a:lnTo>
                  <a:pt x="165087" y="574446"/>
                </a:lnTo>
                <a:lnTo>
                  <a:pt x="130937" y="545134"/>
                </a:lnTo>
                <a:lnTo>
                  <a:pt x="101625" y="510971"/>
                </a:lnTo>
                <a:lnTo>
                  <a:pt x="77762" y="472579"/>
                </a:lnTo>
                <a:lnTo>
                  <a:pt x="59982" y="430555"/>
                </a:lnTo>
                <a:lnTo>
                  <a:pt x="48856" y="385495"/>
                </a:lnTo>
                <a:lnTo>
                  <a:pt x="45008" y="338035"/>
                </a:lnTo>
                <a:lnTo>
                  <a:pt x="48856" y="290563"/>
                </a:lnTo>
                <a:lnTo>
                  <a:pt x="59982" y="245516"/>
                </a:lnTo>
                <a:lnTo>
                  <a:pt x="77762" y="203479"/>
                </a:lnTo>
                <a:lnTo>
                  <a:pt x="101625" y="165087"/>
                </a:lnTo>
                <a:lnTo>
                  <a:pt x="130937" y="130924"/>
                </a:lnTo>
                <a:lnTo>
                  <a:pt x="165087" y="101612"/>
                </a:lnTo>
                <a:lnTo>
                  <a:pt x="203492" y="77762"/>
                </a:lnTo>
                <a:lnTo>
                  <a:pt x="245516" y="59969"/>
                </a:lnTo>
                <a:lnTo>
                  <a:pt x="290563" y="48844"/>
                </a:lnTo>
                <a:lnTo>
                  <a:pt x="338023" y="45008"/>
                </a:lnTo>
                <a:lnTo>
                  <a:pt x="385495" y="48844"/>
                </a:lnTo>
                <a:lnTo>
                  <a:pt x="430555" y="59969"/>
                </a:lnTo>
                <a:lnTo>
                  <a:pt x="472579" y="77762"/>
                </a:lnTo>
                <a:lnTo>
                  <a:pt x="510984" y="101612"/>
                </a:lnTo>
                <a:lnTo>
                  <a:pt x="545134" y="130924"/>
                </a:lnTo>
                <a:lnTo>
                  <a:pt x="574446" y="165087"/>
                </a:lnTo>
                <a:lnTo>
                  <a:pt x="598309" y="203479"/>
                </a:lnTo>
                <a:lnTo>
                  <a:pt x="616102" y="245516"/>
                </a:lnTo>
                <a:lnTo>
                  <a:pt x="627214" y="290563"/>
                </a:lnTo>
                <a:lnTo>
                  <a:pt x="631063" y="338035"/>
                </a:lnTo>
                <a:lnTo>
                  <a:pt x="631063" y="169710"/>
                </a:lnTo>
                <a:lnTo>
                  <a:pt x="605637" y="131470"/>
                </a:lnTo>
                <a:lnTo>
                  <a:pt x="577062" y="99009"/>
                </a:lnTo>
                <a:lnTo>
                  <a:pt x="544601" y="70434"/>
                </a:lnTo>
                <a:lnTo>
                  <a:pt x="508647" y="46151"/>
                </a:lnTo>
                <a:lnTo>
                  <a:pt x="506361" y="45008"/>
                </a:lnTo>
                <a:lnTo>
                  <a:pt x="469607" y="26568"/>
                </a:lnTo>
                <a:lnTo>
                  <a:pt x="427901" y="12077"/>
                </a:lnTo>
                <a:lnTo>
                  <a:pt x="383895" y="3086"/>
                </a:lnTo>
                <a:lnTo>
                  <a:pt x="338023" y="0"/>
                </a:lnTo>
                <a:lnTo>
                  <a:pt x="292163" y="3086"/>
                </a:lnTo>
                <a:lnTo>
                  <a:pt x="248170" y="12077"/>
                </a:lnTo>
                <a:lnTo>
                  <a:pt x="206451" y="26568"/>
                </a:lnTo>
                <a:lnTo>
                  <a:pt x="167424" y="46151"/>
                </a:lnTo>
                <a:lnTo>
                  <a:pt x="131470" y="70434"/>
                </a:lnTo>
                <a:lnTo>
                  <a:pt x="99009" y="99009"/>
                </a:lnTo>
                <a:lnTo>
                  <a:pt x="70434" y="131470"/>
                </a:lnTo>
                <a:lnTo>
                  <a:pt x="46151" y="167424"/>
                </a:lnTo>
                <a:lnTo>
                  <a:pt x="26568" y="206463"/>
                </a:lnTo>
                <a:lnTo>
                  <a:pt x="12077" y="248170"/>
                </a:lnTo>
                <a:lnTo>
                  <a:pt x="3086" y="292176"/>
                </a:lnTo>
                <a:lnTo>
                  <a:pt x="0" y="338035"/>
                </a:lnTo>
                <a:lnTo>
                  <a:pt x="3086" y="383908"/>
                </a:lnTo>
                <a:lnTo>
                  <a:pt x="12077" y="427913"/>
                </a:lnTo>
                <a:lnTo>
                  <a:pt x="26568" y="469620"/>
                </a:lnTo>
                <a:lnTo>
                  <a:pt x="46151" y="508660"/>
                </a:lnTo>
                <a:lnTo>
                  <a:pt x="70434" y="544614"/>
                </a:lnTo>
                <a:lnTo>
                  <a:pt x="99009" y="577075"/>
                </a:lnTo>
                <a:lnTo>
                  <a:pt x="131470" y="605650"/>
                </a:lnTo>
                <a:lnTo>
                  <a:pt x="167424" y="629932"/>
                </a:lnTo>
                <a:lnTo>
                  <a:pt x="206451" y="649516"/>
                </a:lnTo>
                <a:lnTo>
                  <a:pt x="248170" y="664006"/>
                </a:lnTo>
                <a:lnTo>
                  <a:pt x="292163" y="672985"/>
                </a:lnTo>
                <a:lnTo>
                  <a:pt x="338023" y="676071"/>
                </a:lnTo>
                <a:lnTo>
                  <a:pt x="383895" y="672985"/>
                </a:lnTo>
                <a:lnTo>
                  <a:pt x="427901" y="664006"/>
                </a:lnTo>
                <a:lnTo>
                  <a:pt x="469620" y="649516"/>
                </a:lnTo>
                <a:lnTo>
                  <a:pt x="506399" y="631050"/>
                </a:lnTo>
                <a:lnTo>
                  <a:pt x="508647" y="629932"/>
                </a:lnTo>
                <a:lnTo>
                  <a:pt x="544601" y="605650"/>
                </a:lnTo>
                <a:lnTo>
                  <a:pt x="577062" y="577075"/>
                </a:lnTo>
                <a:lnTo>
                  <a:pt x="605637" y="544614"/>
                </a:lnTo>
                <a:lnTo>
                  <a:pt x="629920" y="508660"/>
                </a:lnTo>
                <a:lnTo>
                  <a:pt x="649516" y="469620"/>
                </a:lnTo>
                <a:lnTo>
                  <a:pt x="663994" y="427913"/>
                </a:lnTo>
                <a:lnTo>
                  <a:pt x="672985" y="383908"/>
                </a:lnTo>
                <a:lnTo>
                  <a:pt x="676071" y="338035"/>
                </a:lnTo>
                <a:close/>
              </a:path>
            </a:pathLst>
          </a:custGeom>
          <a:solidFill>
            <a:srgbClr val="21408B"/>
          </a:solidFill>
        </p:spPr>
        <p:txBody>
          <a:bodyPr wrap="square" lIns="0" tIns="0" rIns="0" bIns="0" rtlCol="0"/>
          <a:lstStyle/>
          <a:p>
            <a:endParaRPr/>
          </a:p>
        </p:txBody>
      </p:sp>
      <p:sp>
        <p:nvSpPr>
          <p:cNvPr id="45" name="object 45"/>
          <p:cNvSpPr/>
          <p:nvPr/>
        </p:nvSpPr>
        <p:spPr>
          <a:xfrm>
            <a:off x="4229224" y="5955928"/>
            <a:ext cx="752475" cy="752475"/>
          </a:xfrm>
          <a:custGeom>
            <a:avLst/>
            <a:gdLst/>
            <a:ahLst/>
            <a:cxnLst/>
            <a:rect l="l" t="t" r="r" b="b"/>
            <a:pathLst>
              <a:path w="752475" h="752475">
                <a:moveTo>
                  <a:pt x="235147" y="752473"/>
                </a:moveTo>
                <a:lnTo>
                  <a:pt x="0" y="752473"/>
                </a:lnTo>
                <a:lnTo>
                  <a:pt x="0" y="188118"/>
                </a:lnTo>
                <a:lnTo>
                  <a:pt x="235147" y="188118"/>
                </a:lnTo>
                <a:lnTo>
                  <a:pt x="235147" y="235147"/>
                </a:lnTo>
                <a:lnTo>
                  <a:pt x="47029" y="235147"/>
                </a:lnTo>
                <a:lnTo>
                  <a:pt x="47029" y="282177"/>
                </a:lnTo>
                <a:lnTo>
                  <a:pt x="235147" y="282177"/>
                </a:lnTo>
                <a:lnTo>
                  <a:pt x="235147" y="329207"/>
                </a:lnTo>
                <a:lnTo>
                  <a:pt x="47029" y="329207"/>
                </a:lnTo>
                <a:lnTo>
                  <a:pt x="47029" y="376236"/>
                </a:lnTo>
                <a:lnTo>
                  <a:pt x="235147" y="376236"/>
                </a:lnTo>
                <a:lnTo>
                  <a:pt x="235147" y="423266"/>
                </a:lnTo>
                <a:lnTo>
                  <a:pt x="47029" y="423266"/>
                </a:lnTo>
                <a:lnTo>
                  <a:pt x="47029" y="470296"/>
                </a:lnTo>
                <a:lnTo>
                  <a:pt x="235147" y="470296"/>
                </a:lnTo>
                <a:lnTo>
                  <a:pt x="235147" y="517325"/>
                </a:lnTo>
                <a:lnTo>
                  <a:pt x="47029" y="517325"/>
                </a:lnTo>
                <a:lnTo>
                  <a:pt x="47029" y="564355"/>
                </a:lnTo>
                <a:lnTo>
                  <a:pt x="235147" y="564355"/>
                </a:lnTo>
                <a:lnTo>
                  <a:pt x="235147" y="611384"/>
                </a:lnTo>
                <a:lnTo>
                  <a:pt x="47029" y="611384"/>
                </a:lnTo>
                <a:lnTo>
                  <a:pt x="47029" y="658414"/>
                </a:lnTo>
                <a:lnTo>
                  <a:pt x="235147" y="658414"/>
                </a:lnTo>
                <a:lnTo>
                  <a:pt x="235147" y="752473"/>
                </a:lnTo>
                <a:close/>
              </a:path>
              <a:path w="752475" h="752475">
                <a:moveTo>
                  <a:pt x="141088" y="282177"/>
                </a:moveTo>
                <a:lnTo>
                  <a:pt x="94059" y="282177"/>
                </a:lnTo>
                <a:lnTo>
                  <a:pt x="94059" y="235147"/>
                </a:lnTo>
                <a:lnTo>
                  <a:pt x="188118" y="235147"/>
                </a:lnTo>
                <a:lnTo>
                  <a:pt x="141088" y="235147"/>
                </a:lnTo>
                <a:lnTo>
                  <a:pt x="141088" y="282177"/>
                </a:lnTo>
                <a:close/>
              </a:path>
              <a:path w="752475" h="752475">
                <a:moveTo>
                  <a:pt x="235147" y="282177"/>
                </a:moveTo>
                <a:lnTo>
                  <a:pt x="188118" y="282177"/>
                </a:lnTo>
                <a:lnTo>
                  <a:pt x="188118" y="235147"/>
                </a:lnTo>
                <a:lnTo>
                  <a:pt x="235147" y="235147"/>
                </a:lnTo>
                <a:lnTo>
                  <a:pt x="235147" y="282177"/>
                </a:lnTo>
                <a:close/>
              </a:path>
              <a:path w="752475" h="752475">
                <a:moveTo>
                  <a:pt x="141088" y="376236"/>
                </a:moveTo>
                <a:lnTo>
                  <a:pt x="94059" y="376236"/>
                </a:lnTo>
                <a:lnTo>
                  <a:pt x="94059" y="329207"/>
                </a:lnTo>
                <a:lnTo>
                  <a:pt x="141088" y="329207"/>
                </a:lnTo>
                <a:lnTo>
                  <a:pt x="141088" y="376236"/>
                </a:lnTo>
                <a:close/>
              </a:path>
              <a:path w="752475" h="752475">
                <a:moveTo>
                  <a:pt x="235147" y="376236"/>
                </a:moveTo>
                <a:lnTo>
                  <a:pt x="188118" y="376236"/>
                </a:lnTo>
                <a:lnTo>
                  <a:pt x="188118" y="329207"/>
                </a:lnTo>
                <a:lnTo>
                  <a:pt x="235147" y="329207"/>
                </a:lnTo>
                <a:lnTo>
                  <a:pt x="235147" y="376236"/>
                </a:lnTo>
                <a:close/>
              </a:path>
              <a:path w="752475" h="752475">
                <a:moveTo>
                  <a:pt x="141088" y="470296"/>
                </a:moveTo>
                <a:lnTo>
                  <a:pt x="94059" y="470296"/>
                </a:lnTo>
                <a:lnTo>
                  <a:pt x="94059" y="423266"/>
                </a:lnTo>
                <a:lnTo>
                  <a:pt x="141088" y="423266"/>
                </a:lnTo>
                <a:lnTo>
                  <a:pt x="141088" y="470296"/>
                </a:lnTo>
                <a:close/>
              </a:path>
              <a:path w="752475" h="752475">
                <a:moveTo>
                  <a:pt x="235147" y="470296"/>
                </a:moveTo>
                <a:lnTo>
                  <a:pt x="188118" y="470296"/>
                </a:lnTo>
                <a:lnTo>
                  <a:pt x="188118" y="423266"/>
                </a:lnTo>
                <a:lnTo>
                  <a:pt x="235147" y="423266"/>
                </a:lnTo>
                <a:lnTo>
                  <a:pt x="235147" y="470296"/>
                </a:lnTo>
                <a:close/>
              </a:path>
              <a:path w="752475" h="752475">
                <a:moveTo>
                  <a:pt x="141088" y="564355"/>
                </a:moveTo>
                <a:lnTo>
                  <a:pt x="94059" y="564355"/>
                </a:lnTo>
                <a:lnTo>
                  <a:pt x="94059" y="517325"/>
                </a:lnTo>
                <a:lnTo>
                  <a:pt x="141088" y="517325"/>
                </a:lnTo>
                <a:lnTo>
                  <a:pt x="141088" y="564355"/>
                </a:lnTo>
                <a:close/>
              </a:path>
              <a:path w="752475" h="752475">
                <a:moveTo>
                  <a:pt x="235147" y="564355"/>
                </a:moveTo>
                <a:lnTo>
                  <a:pt x="188118" y="564355"/>
                </a:lnTo>
                <a:lnTo>
                  <a:pt x="188118" y="517325"/>
                </a:lnTo>
                <a:lnTo>
                  <a:pt x="235147" y="517325"/>
                </a:lnTo>
                <a:lnTo>
                  <a:pt x="235147" y="564355"/>
                </a:lnTo>
                <a:close/>
              </a:path>
              <a:path w="752475" h="752475">
                <a:moveTo>
                  <a:pt x="141088" y="658414"/>
                </a:moveTo>
                <a:lnTo>
                  <a:pt x="94059" y="658414"/>
                </a:lnTo>
                <a:lnTo>
                  <a:pt x="94059" y="611384"/>
                </a:lnTo>
                <a:lnTo>
                  <a:pt x="141088" y="611384"/>
                </a:lnTo>
                <a:lnTo>
                  <a:pt x="141088" y="658414"/>
                </a:lnTo>
                <a:close/>
              </a:path>
              <a:path w="752475" h="752475">
                <a:moveTo>
                  <a:pt x="235147" y="658414"/>
                </a:moveTo>
                <a:lnTo>
                  <a:pt x="188118" y="658414"/>
                </a:lnTo>
                <a:lnTo>
                  <a:pt x="188118" y="611384"/>
                </a:lnTo>
                <a:lnTo>
                  <a:pt x="235147" y="611384"/>
                </a:lnTo>
                <a:lnTo>
                  <a:pt x="235147" y="658414"/>
                </a:lnTo>
                <a:close/>
              </a:path>
              <a:path w="752475" h="752475">
                <a:moveTo>
                  <a:pt x="752473" y="752473"/>
                </a:moveTo>
                <a:lnTo>
                  <a:pt x="517325" y="752473"/>
                </a:lnTo>
                <a:lnTo>
                  <a:pt x="517325" y="178712"/>
                </a:lnTo>
                <a:lnTo>
                  <a:pt x="564355" y="112871"/>
                </a:lnTo>
                <a:lnTo>
                  <a:pt x="620790" y="75247"/>
                </a:lnTo>
                <a:lnTo>
                  <a:pt x="630196" y="65841"/>
                </a:lnTo>
                <a:lnTo>
                  <a:pt x="630196" y="0"/>
                </a:lnTo>
                <a:lnTo>
                  <a:pt x="639602" y="0"/>
                </a:lnTo>
                <a:lnTo>
                  <a:pt x="639602" y="65841"/>
                </a:lnTo>
                <a:lnTo>
                  <a:pt x="649008" y="75247"/>
                </a:lnTo>
                <a:lnTo>
                  <a:pt x="705443" y="112871"/>
                </a:lnTo>
                <a:lnTo>
                  <a:pt x="725599" y="141088"/>
                </a:lnTo>
                <a:lnTo>
                  <a:pt x="611384" y="141088"/>
                </a:lnTo>
                <a:lnTo>
                  <a:pt x="564355" y="188118"/>
                </a:lnTo>
                <a:lnTo>
                  <a:pt x="752473" y="188118"/>
                </a:lnTo>
                <a:lnTo>
                  <a:pt x="752473" y="235147"/>
                </a:lnTo>
                <a:lnTo>
                  <a:pt x="564355" y="235147"/>
                </a:lnTo>
                <a:lnTo>
                  <a:pt x="564355" y="282177"/>
                </a:lnTo>
                <a:lnTo>
                  <a:pt x="752473" y="282177"/>
                </a:lnTo>
                <a:lnTo>
                  <a:pt x="752473" y="329207"/>
                </a:lnTo>
                <a:lnTo>
                  <a:pt x="564355" y="329207"/>
                </a:lnTo>
                <a:lnTo>
                  <a:pt x="564355" y="376236"/>
                </a:lnTo>
                <a:lnTo>
                  <a:pt x="752473" y="376236"/>
                </a:lnTo>
                <a:lnTo>
                  <a:pt x="752473" y="423266"/>
                </a:lnTo>
                <a:lnTo>
                  <a:pt x="563094" y="423266"/>
                </a:lnTo>
                <a:lnTo>
                  <a:pt x="563094" y="470296"/>
                </a:lnTo>
                <a:lnTo>
                  <a:pt x="752473" y="470296"/>
                </a:lnTo>
                <a:lnTo>
                  <a:pt x="752473" y="517325"/>
                </a:lnTo>
                <a:lnTo>
                  <a:pt x="564355" y="517325"/>
                </a:lnTo>
                <a:lnTo>
                  <a:pt x="564355" y="564355"/>
                </a:lnTo>
                <a:lnTo>
                  <a:pt x="752473" y="564355"/>
                </a:lnTo>
                <a:lnTo>
                  <a:pt x="752473" y="611384"/>
                </a:lnTo>
                <a:lnTo>
                  <a:pt x="564355" y="611384"/>
                </a:lnTo>
                <a:lnTo>
                  <a:pt x="564355" y="658414"/>
                </a:lnTo>
                <a:lnTo>
                  <a:pt x="752473" y="658414"/>
                </a:lnTo>
                <a:lnTo>
                  <a:pt x="752473" y="752473"/>
                </a:lnTo>
                <a:close/>
              </a:path>
              <a:path w="752475" h="752475">
                <a:moveTo>
                  <a:pt x="658414" y="188118"/>
                </a:moveTo>
                <a:lnTo>
                  <a:pt x="611384" y="188118"/>
                </a:lnTo>
                <a:lnTo>
                  <a:pt x="611384" y="141088"/>
                </a:lnTo>
                <a:lnTo>
                  <a:pt x="658414" y="141088"/>
                </a:lnTo>
                <a:lnTo>
                  <a:pt x="658414" y="188118"/>
                </a:lnTo>
                <a:close/>
              </a:path>
              <a:path w="752475" h="752475">
                <a:moveTo>
                  <a:pt x="752473" y="188118"/>
                </a:moveTo>
                <a:lnTo>
                  <a:pt x="705443" y="188118"/>
                </a:lnTo>
                <a:lnTo>
                  <a:pt x="658414" y="141088"/>
                </a:lnTo>
                <a:lnTo>
                  <a:pt x="725599" y="141088"/>
                </a:lnTo>
                <a:lnTo>
                  <a:pt x="752473" y="178712"/>
                </a:lnTo>
                <a:lnTo>
                  <a:pt x="752473" y="188118"/>
                </a:lnTo>
                <a:close/>
              </a:path>
              <a:path w="752475" h="752475">
                <a:moveTo>
                  <a:pt x="658414" y="282177"/>
                </a:moveTo>
                <a:lnTo>
                  <a:pt x="611384" y="282177"/>
                </a:lnTo>
                <a:lnTo>
                  <a:pt x="611384" y="235147"/>
                </a:lnTo>
                <a:lnTo>
                  <a:pt x="705443" y="235147"/>
                </a:lnTo>
                <a:lnTo>
                  <a:pt x="658414" y="235147"/>
                </a:lnTo>
                <a:lnTo>
                  <a:pt x="658414" y="282177"/>
                </a:lnTo>
                <a:close/>
              </a:path>
              <a:path w="752475" h="752475">
                <a:moveTo>
                  <a:pt x="752473" y="282177"/>
                </a:moveTo>
                <a:lnTo>
                  <a:pt x="705443" y="282177"/>
                </a:lnTo>
                <a:lnTo>
                  <a:pt x="705443" y="235147"/>
                </a:lnTo>
                <a:lnTo>
                  <a:pt x="752473" y="235147"/>
                </a:lnTo>
                <a:lnTo>
                  <a:pt x="752473" y="282177"/>
                </a:lnTo>
                <a:close/>
              </a:path>
              <a:path w="752475" h="752475">
                <a:moveTo>
                  <a:pt x="658414" y="376236"/>
                </a:moveTo>
                <a:lnTo>
                  <a:pt x="611384" y="376236"/>
                </a:lnTo>
                <a:lnTo>
                  <a:pt x="611384" y="329207"/>
                </a:lnTo>
                <a:lnTo>
                  <a:pt x="658414" y="329207"/>
                </a:lnTo>
                <a:lnTo>
                  <a:pt x="658414" y="376236"/>
                </a:lnTo>
                <a:close/>
              </a:path>
              <a:path w="752475" h="752475">
                <a:moveTo>
                  <a:pt x="752473" y="376236"/>
                </a:moveTo>
                <a:lnTo>
                  <a:pt x="705443" y="376236"/>
                </a:lnTo>
                <a:lnTo>
                  <a:pt x="705443" y="329207"/>
                </a:lnTo>
                <a:lnTo>
                  <a:pt x="752473" y="329207"/>
                </a:lnTo>
                <a:lnTo>
                  <a:pt x="752473" y="376236"/>
                </a:lnTo>
                <a:close/>
              </a:path>
              <a:path w="752475" h="752475">
                <a:moveTo>
                  <a:pt x="658414" y="470296"/>
                </a:moveTo>
                <a:lnTo>
                  <a:pt x="610124" y="470296"/>
                </a:lnTo>
                <a:lnTo>
                  <a:pt x="610124" y="423266"/>
                </a:lnTo>
                <a:lnTo>
                  <a:pt x="658414" y="423266"/>
                </a:lnTo>
                <a:lnTo>
                  <a:pt x="658414" y="470296"/>
                </a:lnTo>
                <a:close/>
              </a:path>
              <a:path w="752475" h="752475">
                <a:moveTo>
                  <a:pt x="752473" y="470296"/>
                </a:moveTo>
                <a:lnTo>
                  <a:pt x="705443" y="470296"/>
                </a:lnTo>
                <a:lnTo>
                  <a:pt x="705443" y="423266"/>
                </a:lnTo>
                <a:lnTo>
                  <a:pt x="752473" y="423266"/>
                </a:lnTo>
                <a:lnTo>
                  <a:pt x="752473" y="470296"/>
                </a:lnTo>
                <a:close/>
              </a:path>
              <a:path w="752475" h="752475">
                <a:moveTo>
                  <a:pt x="658414" y="564355"/>
                </a:moveTo>
                <a:lnTo>
                  <a:pt x="611384" y="564355"/>
                </a:lnTo>
                <a:lnTo>
                  <a:pt x="611384" y="517325"/>
                </a:lnTo>
                <a:lnTo>
                  <a:pt x="658414" y="517325"/>
                </a:lnTo>
                <a:lnTo>
                  <a:pt x="658414" y="564355"/>
                </a:lnTo>
                <a:close/>
              </a:path>
              <a:path w="752475" h="752475">
                <a:moveTo>
                  <a:pt x="752473" y="564355"/>
                </a:moveTo>
                <a:lnTo>
                  <a:pt x="705443" y="564355"/>
                </a:lnTo>
                <a:lnTo>
                  <a:pt x="705443" y="517325"/>
                </a:lnTo>
                <a:lnTo>
                  <a:pt x="752473" y="517325"/>
                </a:lnTo>
                <a:lnTo>
                  <a:pt x="752473" y="564355"/>
                </a:lnTo>
                <a:close/>
              </a:path>
              <a:path w="752475" h="752475">
                <a:moveTo>
                  <a:pt x="658414" y="658414"/>
                </a:moveTo>
                <a:lnTo>
                  <a:pt x="611384" y="658414"/>
                </a:lnTo>
                <a:lnTo>
                  <a:pt x="611384" y="611384"/>
                </a:lnTo>
                <a:lnTo>
                  <a:pt x="658414" y="611384"/>
                </a:lnTo>
                <a:lnTo>
                  <a:pt x="658414" y="658414"/>
                </a:lnTo>
                <a:close/>
              </a:path>
              <a:path w="752475" h="752475">
                <a:moveTo>
                  <a:pt x="752473" y="658414"/>
                </a:moveTo>
                <a:lnTo>
                  <a:pt x="705443" y="658414"/>
                </a:lnTo>
                <a:lnTo>
                  <a:pt x="705443" y="611384"/>
                </a:lnTo>
                <a:lnTo>
                  <a:pt x="752473" y="611384"/>
                </a:lnTo>
                <a:lnTo>
                  <a:pt x="752473" y="658414"/>
                </a:lnTo>
                <a:close/>
              </a:path>
              <a:path w="752475" h="752475">
                <a:moveTo>
                  <a:pt x="498513" y="752473"/>
                </a:moveTo>
                <a:lnTo>
                  <a:pt x="253959" y="752473"/>
                </a:lnTo>
                <a:lnTo>
                  <a:pt x="253959" y="0"/>
                </a:lnTo>
                <a:lnTo>
                  <a:pt x="498513" y="94059"/>
                </a:lnTo>
                <a:lnTo>
                  <a:pt x="498513" y="141088"/>
                </a:lnTo>
                <a:lnTo>
                  <a:pt x="282177" y="141088"/>
                </a:lnTo>
                <a:lnTo>
                  <a:pt x="282177" y="188118"/>
                </a:lnTo>
                <a:lnTo>
                  <a:pt x="498513" y="188118"/>
                </a:lnTo>
                <a:lnTo>
                  <a:pt x="498513" y="235148"/>
                </a:lnTo>
                <a:lnTo>
                  <a:pt x="282177" y="235148"/>
                </a:lnTo>
                <a:lnTo>
                  <a:pt x="282177" y="282177"/>
                </a:lnTo>
                <a:lnTo>
                  <a:pt x="498513" y="282177"/>
                </a:lnTo>
                <a:lnTo>
                  <a:pt x="498513" y="329207"/>
                </a:lnTo>
                <a:lnTo>
                  <a:pt x="282177" y="329207"/>
                </a:lnTo>
                <a:lnTo>
                  <a:pt x="282177" y="376236"/>
                </a:lnTo>
                <a:lnTo>
                  <a:pt x="498513" y="376236"/>
                </a:lnTo>
                <a:lnTo>
                  <a:pt x="498513" y="423266"/>
                </a:lnTo>
                <a:lnTo>
                  <a:pt x="282177" y="423266"/>
                </a:lnTo>
                <a:lnTo>
                  <a:pt x="282177" y="470296"/>
                </a:lnTo>
                <a:lnTo>
                  <a:pt x="498513" y="470296"/>
                </a:lnTo>
                <a:lnTo>
                  <a:pt x="498513" y="517325"/>
                </a:lnTo>
                <a:lnTo>
                  <a:pt x="282177" y="517325"/>
                </a:lnTo>
                <a:lnTo>
                  <a:pt x="282177" y="564355"/>
                </a:lnTo>
                <a:lnTo>
                  <a:pt x="498513" y="564355"/>
                </a:lnTo>
                <a:lnTo>
                  <a:pt x="498513" y="611384"/>
                </a:lnTo>
                <a:lnTo>
                  <a:pt x="282177" y="611384"/>
                </a:lnTo>
                <a:lnTo>
                  <a:pt x="282177" y="658414"/>
                </a:lnTo>
                <a:lnTo>
                  <a:pt x="498513" y="658414"/>
                </a:lnTo>
                <a:lnTo>
                  <a:pt x="498513" y="752473"/>
                </a:lnTo>
                <a:close/>
              </a:path>
              <a:path w="752475" h="752475">
                <a:moveTo>
                  <a:pt x="357424" y="188118"/>
                </a:moveTo>
                <a:lnTo>
                  <a:pt x="329207" y="188118"/>
                </a:lnTo>
                <a:lnTo>
                  <a:pt x="329207" y="141088"/>
                </a:lnTo>
                <a:lnTo>
                  <a:pt x="357424" y="141088"/>
                </a:lnTo>
                <a:lnTo>
                  <a:pt x="357424" y="188118"/>
                </a:lnTo>
                <a:close/>
              </a:path>
              <a:path w="752475" h="752475">
                <a:moveTo>
                  <a:pt x="423266" y="188118"/>
                </a:moveTo>
                <a:lnTo>
                  <a:pt x="395048" y="188118"/>
                </a:lnTo>
                <a:lnTo>
                  <a:pt x="395048" y="141088"/>
                </a:lnTo>
                <a:lnTo>
                  <a:pt x="423266" y="141088"/>
                </a:lnTo>
                <a:lnTo>
                  <a:pt x="423266" y="188118"/>
                </a:lnTo>
                <a:close/>
              </a:path>
              <a:path w="752475" h="752475">
                <a:moveTo>
                  <a:pt x="498513" y="188118"/>
                </a:moveTo>
                <a:lnTo>
                  <a:pt x="470295" y="188118"/>
                </a:lnTo>
                <a:lnTo>
                  <a:pt x="470295" y="141088"/>
                </a:lnTo>
                <a:lnTo>
                  <a:pt x="498513" y="141088"/>
                </a:lnTo>
                <a:lnTo>
                  <a:pt x="498513" y="188118"/>
                </a:lnTo>
                <a:close/>
              </a:path>
              <a:path w="752475" h="752475">
                <a:moveTo>
                  <a:pt x="357424" y="282177"/>
                </a:moveTo>
                <a:lnTo>
                  <a:pt x="329207" y="282177"/>
                </a:lnTo>
                <a:lnTo>
                  <a:pt x="329207" y="235148"/>
                </a:lnTo>
                <a:lnTo>
                  <a:pt x="395048" y="235148"/>
                </a:lnTo>
                <a:lnTo>
                  <a:pt x="357424" y="235148"/>
                </a:lnTo>
                <a:lnTo>
                  <a:pt x="357424" y="282177"/>
                </a:lnTo>
                <a:close/>
              </a:path>
              <a:path w="752475" h="752475">
                <a:moveTo>
                  <a:pt x="423266" y="282177"/>
                </a:moveTo>
                <a:lnTo>
                  <a:pt x="395048" y="282177"/>
                </a:lnTo>
                <a:lnTo>
                  <a:pt x="395048" y="235148"/>
                </a:lnTo>
                <a:lnTo>
                  <a:pt x="470295" y="235148"/>
                </a:lnTo>
                <a:lnTo>
                  <a:pt x="423266" y="235148"/>
                </a:lnTo>
                <a:lnTo>
                  <a:pt x="423266" y="282177"/>
                </a:lnTo>
                <a:close/>
              </a:path>
              <a:path w="752475" h="752475">
                <a:moveTo>
                  <a:pt x="498513" y="282177"/>
                </a:moveTo>
                <a:lnTo>
                  <a:pt x="470295" y="282177"/>
                </a:lnTo>
                <a:lnTo>
                  <a:pt x="470295" y="235148"/>
                </a:lnTo>
                <a:lnTo>
                  <a:pt x="498513" y="235148"/>
                </a:lnTo>
                <a:lnTo>
                  <a:pt x="498513" y="282177"/>
                </a:lnTo>
                <a:close/>
              </a:path>
              <a:path w="752475" h="752475">
                <a:moveTo>
                  <a:pt x="357424" y="376236"/>
                </a:moveTo>
                <a:lnTo>
                  <a:pt x="329207" y="376236"/>
                </a:lnTo>
                <a:lnTo>
                  <a:pt x="329207" y="329207"/>
                </a:lnTo>
                <a:lnTo>
                  <a:pt x="357424" y="329207"/>
                </a:lnTo>
                <a:lnTo>
                  <a:pt x="357424" y="376236"/>
                </a:lnTo>
                <a:close/>
              </a:path>
              <a:path w="752475" h="752475">
                <a:moveTo>
                  <a:pt x="423266" y="376236"/>
                </a:moveTo>
                <a:lnTo>
                  <a:pt x="395048" y="376236"/>
                </a:lnTo>
                <a:lnTo>
                  <a:pt x="395048" y="329207"/>
                </a:lnTo>
                <a:lnTo>
                  <a:pt x="423266" y="329207"/>
                </a:lnTo>
                <a:lnTo>
                  <a:pt x="423266" y="376236"/>
                </a:lnTo>
                <a:close/>
              </a:path>
              <a:path w="752475" h="752475">
                <a:moveTo>
                  <a:pt x="498513" y="376236"/>
                </a:moveTo>
                <a:lnTo>
                  <a:pt x="470295" y="376236"/>
                </a:lnTo>
                <a:lnTo>
                  <a:pt x="470295" y="329207"/>
                </a:lnTo>
                <a:lnTo>
                  <a:pt x="498513" y="329207"/>
                </a:lnTo>
                <a:lnTo>
                  <a:pt x="498513" y="376236"/>
                </a:lnTo>
                <a:close/>
              </a:path>
              <a:path w="752475" h="752475">
                <a:moveTo>
                  <a:pt x="357424" y="470296"/>
                </a:moveTo>
                <a:lnTo>
                  <a:pt x="329207" y="470296"/>
                </a:lnTo>
                <a:lnTo>
                  <a:pt x="329207" y="423266"/>
                </a:lnTo>
                <a:lnTo>
                  <a:pt x="357424" y="423266"/>
                </a:lnTo>
                <a:lnTo>
                  <a:pt x="357424" y="470296"/>
                </a:lnTo>
                <a:close/>
              </a:path>
              <a:path w="752475" h="752475">
                <a:moveTo>
                  <a:pt x="423266" y="470296"/>
                </a:moveTo>
                <a:lnTo>
                  <a:pt x="395048" y="470296"/>
                </a:lnTo>
                <a:lnTo>
                  <a:pt x="395048" y="423266"/>
                </a:lnTo>
                <a:lnTo>
                  <a:pt x="423266" y="423266"/>
                </a:lnTo>
                <a:lnTo>
                  <a:pt x="423266" y="470296"/>
                </a:lnTo>
                <a:close/>
              </a:path>
              <a:path w="752475" h="752475">
                <a:moveTo>
                  <a:pt x="498513" y="470296"/>
                </a:moveTo>
                <a:lnTo>
                  <a:pt x="470295" y="470296"/>
                </a:lnTo>
                <a:lnTo>
                  <a:pt x="470295" y="423266"/>
                </a:lnTo>
                <a:lnTo>
                  <a:pt x="498513" y="423266"/>
                </a:lnTo>
                <a:lnTo>
                  <a:pt x="498513" y="470296"/>
                </a:lnTo>
                <a:close/>
              </a:path>
              <a:path w="752475" h="752475">
                <a:moveTo>
                  <a:pt x="357424" y="564355"/>
                </a:moveTo>
                <a:lnTo>
                  <a:pt x="329207" y="564355"/>
                </a:lnTo>
                <a:lnTo>
                  <a:pt x="329207" y="517325"/>
                </a:lnTo>
                <a:lnTo>
                  <a:pt x="357424" y="517325"/>
                </a:lnTo>
                <a:lnTo>
                  <a:pt x="357424" y="564355"/>
                </a:lnTo>
                <a:close/>
              </a:path>
              <a:path w="752475" h="752475">
                <a:moveTo>
                  <a:pt x="423266" y="564355"/>
                </a:moveTo>
                <a:lnTo>
                  <a:pt x="395048" y="564355"/>
                </a:lnTo>
                <a:lnTo>
                  <a:pt x="395048" y="517325"/>
                </a:lnTo>
                <a:lnTo>
                  <a:pt x="423266" y="517325"/>
                </a:lnTo>
                <a:lnTo>
                  <a:pt x="423266" y="564355"/>
                </a:lnTo>
                <a:close/>
              </a:path>
              <a:path w="752475" h="752475">
                <a:moveTo>
                  <a:pt x="498513" y="564355"/>
                </a:moveTo>
                <a:lnTo>
                  <a:pt x="470295" y="564355"/>
                </a:lnTo>
                <a:lnTo>
                  <a:pt x="470295" y="517325"/>
                </a:lnTo>
                <a:lnTo>
                  <a:pt x="498513" y="517325"/>
                </a:lnTo>
                <a:lnTo>
                  <a:pt x="498513" y="564355"/>
                </a:lnTo>
                <a:close/>
              </a:path>
              <a:path w="752475" h="752475">
                <a:moveTo>
                  <a:pt x="357424" y="658414"/>
                </a:moveTo>
                <a:lnTo>
                  <a:pt x="329207" y="658414"/>
                </a:lnTo>
                <a:lnTo>
                  <a:pt x="329207" y="611384"/>
                </a:lnTo>
                <a:lnTo>
                  <a:pt x="357424" y="611384"/>
                </a:lnTo>
                <a:lnTo>
                  <a:pt x="357424" y="658414"/>
                </a:lnTo>
                <a:close/>
              </a:path>
              <a:path w="752475" h="752475">
                <a:moveTo>
                  <a:pt x="423266" y="658414"/>
                </a:moveTo>
                <a:lnTo>
                  <a:pt x="395048" y="658414"/>
                </a:lnTo>
                <a:lnTo>
                  <a:pt x="395048" y="611384"/>
                </a:lnTo>
                <a:lnTo>
                  <a:pt x="423266" y="611384"/>
                </a:lnTo>
                <a:lnTo>
                  <a:pt x="423266" y="658414"/>
                </a:lnTo>
                <a:close/>
              </a:path>
              <a:path w="752475" h="752475">
                <a:moveTo>
                  <a:pt x="498513" y="658414"/>
                </a:moveTo>
                <a:lnTo>
                  <a:pt x="470295" y="658414"/>
                </a:lnTo>
                <a:lnTo>
                  <a:pt x="470295" y="611384"/>
                </a:lnTo>
                <a:lnTo>
                  <a:pt x="498513" y="611384"/>
                </a:lnTo>
                <a:lnTo>
                  <a:pt x="498513" y="658414"/>
                </a:lnTo>
                <a:close/>
              </a:path>
            </a:pathLst>
          </a:custGeom>
          <a:solidFill>
            <a:srgbClr val="21408B"/>
          </a:solidFill>
        </p:spPr>
        <p:txBody>
          <a:bodyPr wrap="square" lIns="0" tIns="0" rIns="0" bIns="0" rtlCol="0"/>
          <a:lstStyle/>
          <a:p>
            <a:endParaRPr/>
          </a:p>
        </p:txBody>
      </p:sp>
      <p:sp>
        <p:nvSpPr>
          <p:cNvPr id="46" name="object 46"/>
          <p:cNvSpPr/>
          <p:nvPr/>
        </p:nvSpPr>
        <p:spPr>
          <a:xfrm>
            <a:off x="1581205" y="7778239"/>
            <a:ext cx="836930" cy="835660"/>
          </a:xfrm>
          <a:custGeom>
            <a:avLst/>
            <a:gdLst/>
            <a:ahLst/>
            <a:cxnLst/>
            <a:rect l="l" t="t" r="r" b="b"/>
            <a:pathLst>
              <a:path w="836930" h="835659">
                <a:moveTo>
                  <a:pt x="559411" y="1269"/>
                </a:moveTo>
                <a:lnTo>
                  <a:pt x="546580" y="1269"/>
                </a:lnTo>
                <a:lnTo>
                  <a:pt x="549692" y="0"/>
                </a:lnTo>
                <a:lnTo>
                  <a:pt x="556300" y="0"/>
                </a:lnTo>
                <a:lnTo>
                  <a:pt x="559411" y="1269"/>
                </a:lnTo>
                <a:close/>
              </a:path>
              <a:path w="836930" h="835659">
                <a:moveTo>
                  <a:pt x="661332" y="234949"/>
                </a:moveTo>
                <a:lnTo>
                  <a:pt x="409074" y="234949"/>
                </a:lnTo>
                <a:lnTo>
                  <a:pt x="410934" y="233679"/>
                </a:lnTo>
                <a:lnTo>
                  <a:pt x="414499" y="232409"/>
                </a:lnTo>
                <a:lnTo>
                  <a:pt x="416061" y="231139"/>
                </a:lnTo>
                <a:lnTo>
                  <a:pt x="418768" y="228599"/>
                </a:lnTo>
                <a:lnTo>
                  <a:pt x="419819" y="227329"/>
                </a:lnTo>
                <a:lnTo>
                  <a:pt x="421296" y="223519"/>
                </a:lnTo>
                <a:lnTo>
                  <a:pt x="421665" y="222249"/>
                </a:lnTo>
                <a:lnTo>
                  <a:pt x="421665" y="218439"/>
                </a:lnTo>
                <a:lnTo>
                  <a:pt x="421296" y="215899"/>
                </a:lnTo>
                <a:lnTo>
                  <a:pt x="419819" y="212089"/>
                </a:lnTo>
                <a:lnTo>
                  <a:pt x="418768" y="210819"/>
                </a:lnTo>
                <a:lnTo>
                  <a:pt x="386559" y="179069"/>
                </a:lnTo>
                <a:lnTo>
                  <a:pt x="385491" y="176529"/>
                </a:lnTo>
                <a:lnTo>
                  <a:pt x="383992" y="173989"/>
                </a:lnTo>
                <a:lnTo>
                  <a:pt x="383617" y="171449"/>
                </a:lnTo>
                <a:lnTo>
                  <a:pt x="383617" y="167639"/>
                </a:lnTo>
                <a:lnTo>
                  <a:pt x="383992" y="166369"/>
                </a:lnTo>
                <a:lnTo>
                  <a:pt x="385491" y="162559"/>
                </a:lnTo>
                <a:lnTo>
                  <a:pt x="386559" y="160019"/>
                </a:lnTo>
                <a:lnTo>
                  <a:pt x="545207" y="1269"/>
                </a:lnTo>
                <a:lnTo>
                  <a:pt x="560783" y="1269"/>
                </a:lnTo>
                <a:lnTo>
                  <a:pt x="608669" y="49529"/>
                </a:lnTo>
                <a:lnTo>
                  <a:pt x="610794" y="52069"/>
                </a:lnTo>
                <a:lnTo>
                  <a:pt x="611987" y="54609"/>
                </a:lnTo>
                <a:lnTo>
                  <a:pt x="612506" y="60959"/>
                </a:lnTo>
                <a:lnTo>
                  <a:pt x="611775" y="63499"/>
                </a:lnTo>
                <a:lnTo>
                  <a:pt x="610052" y="66039"/>
                </a:lnTo>
                <a:lnTo>
                  <a:pt x="606541" y="71119"/>
                </a:lnTo>
                <a:lnTo>
                  <a:pt x="603519" y="77469"/>
                </a:lnTo>
                <a:lnTo>
                  <a:pt x="592554" y="115569"/>
                </a:lnTo>
                <a:lnTo>
                  <a:pt x="591780" y="128269"/>
                </a:lnTo>
                <a:lnTo>
                  <a:pt x="591946" y="134619"/>
                </a:lnTo>
                <a:lnTo>
                  <a:pt x="600563" y="172719"/>
                </a:lnTo>
                <a:lnTo>
                  <a:pt x="621327" y="205739"/>
                </a:lnTo>
                <a:lnTo>
                  <a:pt x="630589" y="214629"/>
                </a:lnTo>
                <a:lnTo>
                  <a:pt x="635576" y="219709"/>
                </a:lnTo>
                <a:lnTo>
                  <a:pt x="646263" y="227329"/>
                </a:lnTo>
                <a:lnTo>
                  <a:pt x="651886" y="229869"/>
                </a:lnTo>
                <a:lnTo>
                  <a:pt x="661332" y="234949"/>
                </a:lnTo>
                <a:close/>
              </a:path>
              <a:path w="836930" h="835659">
                <a:moveTo>
                  <a:pt x="61349" y="612139"/>
                </a:moveTo>
                <a:lnTo>
                  <a:pt x="2526" y="560069"/>
                </a:lnTo>
                <a:lnTo>
                  <a:pt x="0" y="553719"/>
                </a:lnTo>
                <a:lnTo>
                  <a:pt x="0" y="551179"/>
                </a:lnTo>
                <a:lnTo>
                  <a:pt x="347902" y="199389"/>
                </a:lnTo>
                <a:lnTo>
                  <a:pt x="353119" y="196849"/>
                </a:lnTo>
                <a:lnTo>
                  <a:pt x="360806" y="196849"/>
                </a:lnTo>
                <a:lnTo>
                  <a:pt x="364426" y="198119"/>
                </a:lnTo>
                <a:lnTo>
                  <a:pt x="366024" y="199389"/>
                </a:lnTo>
                <a:lnTo>
                  <a:pt x="396869" y="229869"/>
                </a:lnTo>
                <a:lnTo>
                  <a:pt x="398212" y="231139"/>
                </a:lnTo>
                <a:lnTo>
                  <a:pt x="399775" y="232409"/>
                </a:lnTo>
                <a:lnTo>
                  <a:pt x="403340" y="233679"/>
                </a:lnTo>
                <a:lnTo>
                  <a:pt x="405200" y="234949"/>
                </a:lnTo>
                <a:lnTo>
                  <a:pt x="661332" y="234949"/>
                </a:lnTo>
                <a:lnTo>
                  <a:pt x="663693" y="236219"/>
                </a:lnTo>
                <a:lnTo>
                  <a:pt x="669792" y="237489"/>
                </a:lnTo>
                <a:lnTo>
                  <a:pt x="682383" y="241299"/>
                </a:lnTo>
                <a:lnTo>
                  <a:pt x="439654" y="241299"/>
                </a:lnTo>
                <a:lnTo>
                  <a:pt x="436086" y="243839"/>
                </a:lnTo>
                <a:lnTo>
                  <a:pt x="434511" y="243839"/>
                </a:lnTo>
                <a:lnTo>
                  <a:pt x="431780" y="247649"/>
                </a:lnTo>
                <a:lnTo>
                  <a:pt x="430728" y="248919"/>
                </a:lnTo>
                <a:lnTo>
                  <a:pt x="429250" y="252729"/>
                </a:lnTo>
                <a:lnTo>
                  <a:pt x="428880" y="253999"/>
                </a:lnTo>
                <a:lnTo>
                  <a:pt x="428880" y="257809"/>
                </a:lnTo>
                <a:lnTo>
                  <a:pt x="429250" y="260349"/>
                </a:lnTo>
                <a:lnTo>
                  <a:pt x="430728" y="262889"/>
                </a:lnTo>
                <a:lnTo>
                  <a:pt x="431780" y="265429"/>
                </a:lnTo>
                <a:lnTo>
                  <a:pt x="433145" y="266699"/>
                </a:lnTo>
                <a:lnTo>
                  <a:pt x="484691" y="317499"/>
                </a:lnTo>
                <a:lnTo>
                  <a:pt x="486266" y="318769"/>
                </a:lnTo>
                <a:lnTo>
                  <a:pt x="489832" y="320039"/>
                </a:lnTo>
                <a:lnTo>
                  <a:pt x="491689" y="321309"/>
                </a:lnTo>
                <a:lnTo>
                  <a:pt x="803860" y="321309"/>
                </a:lnTo>
                <a:lnTo>
                  <a:pt x="797514" y="327659"/>
                </a:lnTo>
                <a:lnTo>
                  <a:pt x="528011" y="327659"/>
                </a:lnTo>
                <a:lnTo>
                  <a:pt x="526155" y="328929"/>
                </a:lnTo>
                <a:lnTo>
                  <a:pt x="326983" y="328929"/>
                </a:lnTo>
                <a:lnTo>
                  <a:pt x="323099" y="330199"/>
                </a:lnTo>
                <a:lnTo>
                  <a:pt x="320259" y="335279"/>
                </a:lnTo>
                <a:lnTo>
                  <a:pt x="317298" y="339089"/>
                </a:lnTo>
                <a:lnTo>
                  <a:pt x="316569" y="342899"/>
                </a:lnTo>
                <a:lnTo>
                  <a:pt x="341868" y="421639"/>
                </a:lnTo>
                <a:lnTo>
                  <a:pt x="184686" y="421639"/>
                </a:lnTo>
                <a:lnTo>
                  <a:pt x="180705" y="422909"/>
                </a:lnTo>
                <a:lnTo>
                  <a:pt x="177819" y="427989"/>
                </a:lnTo>
                <a:lnTo>
                  <a:pt x="174881" y="431799"/>
                </a:lnTo>
                <a:lnTo>
                  <a:pt x="174347" y="436879"/>
                </a:lnTo>
                <a:lnTo>
                  <a:pt x="176217" y="440689"/>
                </a:lnTo>
                <a:lnTo>
                  <a:pt x="194714" y="488949"/>
                </a:lnTo>
                <a:lnTo>
                  <a:pt x="176217" y="537209"/>
                </a:lnTo>
                <a:lnTo>
                  <a:pt x="175377" y="539749"/>
                </a:lnTo>
                <a:lnTo>
                  <a:pt x="175100" y="542289"/>
                </a:lnTo>
                <a:lnTo>
                  <a:pt x="175672" y="546099"/>
                </a:lnTo>
                <a:lnTo>
                  <a:pt x="187373" y="557529"/>
                </a:lnTo>
                <a:lnTo>
                  <a:pt x="341888" y="557529"/>
                </a:lnTo>
                <a:lnTo>
                  <a:pt x="330856" y="591819"/>
                </a:lnTo>
                <a:lnTo>
                  <a:pt x="117417" y="591819"/>
                </a:lnTo>
                <a:lnTo>
                  <a:pt x="102189" y="594359"/>
                </a:lnTo>
                <a:lnTo>
                  <a:pt x="87371" y="599439"/>
                </a:lnTo>
                <a:lnTo>
                  <a:pt x="80256" y="601979"/>
                </a:lnTo>
                <a:lnTo>
                  <a:pt x="73360" y="605789"/>
                </a:lnTo>
                <a:lnTo>
                  <a:pt x="66682" y="609599"/>
                </a:lnTo>
                <a:lnTo>
                  <a:pt x="64144" y="610869"/>
                </a:lnTo>
                <a:lnTo>
                  <a:pt x="61349" y="612139"/>
                </a:lnTo>
                <a:close/>
              </a:path>
              <a:path w="836930" h="835659">
                <a:moveTo>
                  <a:pt x="803860" y="321309"/>
                </a:moveTo>
                <a:lnTo>
                  <a:pt x="495548" y="321309"/>
                </a:lnTo>
                <a:lnTo>
                  <a:pt x="497403" y="320039"/>
                </a:lnTo>
                <a:lnTo>
                  <a:pt x="500968" y="318769"/>
                </a:lnTo>
                <a:lnTo>
                  <a:pt x="502541" y="317499"/>
                </a:lnTo>
                <a:lnTo>
                  <a:pt x="508172" y="304799"/>
                </a:lnTo>
                <a:lnTo>
                  <a:pt x="507805" y="302259"/>
                </a:lnTo>
                <a:lnTo>
                  <a:pt x="506332" y="298449"/>
                </a:lnTo>
                <a:lnTo>
                  <a:pt x="505282" y="297179"/>
                </a:lnTo>
                <a:lnTo>
                  <a:pt x="452375" y="243839"/>
                </a:lnTo>
                <a:lnTo>
                  <a:pt x="721389" y="243839"/>
                </a:lnTo>
                <a:lnTo>
                  <a:pt x="758868" y="232409"/>
                </a:lnTo>
                <a:lnTo>
                  <a:pt x="770167" y="226059"/>
                </a:lnTo>
                <a:lnTo>
                  <a:pt x="772705" y="224789"/>
                </a:lnTo>
                <a:lnTo>
                  <a:pt x="775500" y="223519"/>
                </a:lnTo>
                <a:lnTo>
                  <a:pt x="781608" y="224789"/>
                </a:lnTo>
                <a:lnTo>
                  <a:pt x="784238" y="224789"/>
                </a:lnTo>
                <a:lnTo>
                  <a:pt x="786444" y="227329"/>
                </a:lnTo>
                <a:lnTo>
                  <a:pt x="834323" y="275589"/>
                </a:lnTo>
                <a:lnTo>
                  <a:pt x="835240" y="276859"/>
                </a:lnTo>
                <a:lnTo>
                  <a:pt x="836528" y="279399"/>
                </a:lnTo>
                <a:lnTo>
                  <a:pt x="836849" y="281939"/>
                </a:lnTo>
                <a:lnTo>
                  <a:pt x="836849" y="284479"/>
                </a:lnTo>
                <a:lnTo>
                  <a:pt x="836528" y="287019"/>
                </a:lnTo>
                <a:lnTo>
                  <a:pt x="835240" y="289559"/>
                </a:lnTo>
                <a:lnTo>
                  <a:pt x="834323" y="290829"/>
                </a:lnTo>
                <a:lnTo>
                  <a:pt x="803860" y="321309"/>
                </a:lnTo>
                <a:close/>
              </a:path>
              <a:path w="836930" h="835659">
                <a:moveTo>
                  <a:pt x="701799" y="243839"/>
                </a:moveTo>
                <a:lnTo>
                  <a:pt x="450800" y="243839"/>
                </a:lnTo>
                <a:lnTo>
                  <a:pt x="447232" y="241299"/>
                </a:lnTo>
                <a:lnTo>
                  <a:pt x="682383" y="241299"/>
                </a:lnTo>
                <a:lnTo>
                  <a:pt x="688784" y="242569"/>
                </a:lnTo>
                <a:lnTo>
                  <a:pt x="701799" y="243839"/>
                </a:lnTo>
                <a:close/>
              </a:path>
              <a:path w="836930" h="835659">
                <a:moveTo>
                  <a:pt x="717550" y="407669"/>
                </a:moveTo>
                <a:lnTo>
                  <a:pt x="582039" y="407669"/>
                </a:lnTo>
                <a:lnTo>
                  <a:pt x="583894" y="406399"/>
                </a:lnTo>
                <a:lnTo>
                  <a:pt x="587459" y="405129"/>
                </a:lnTo>
                <a:lnTo>
                  <a:pt x="589032" y="403859"/>
                </a:lnTo>
                <a:lnTo>
                  <a:pt x="594663" y="391159"/>
                </a:lnTo>
                <a:lnTo>
                  <a:pt x="594296" y="388619"/>
                </a:lnTo>
                <a:lnTo>
                  <a:pt x="592823" y="384809"/>
                </a:lnTo>
                <a:lnTo>
                  <a:pt x="591773" y="383539"/>
                </a:lnTo>
                <a:lnTo>
                  <a:pt x="590411" y="382269"/>
                </a:lnTo>
                <a:lnTo>
                  <a:pt x="538865" y="331469"/>
                </a:lnTo>
                <a:lnTo>
                  <a:pt x="537290" y="330199"/>
                </a:lnTo>
                <a:lnTo>
                  <a:pt x="533724" y="328929"/>
                </a:lnTo>
                <a:lnTo>
                  <a:pt x="531868" y="327659"/>
                </a:lnTo>
                <a:lnTo>
                  <a:pt x="797514" y="327659"/>
                </a:lnTo>
                <a:lnTo>
                  <a:pt x="717550" y="407669"/>
                </a:lnTo>
                <a:close/>
              </a:path>
              <a:path w="836930" h="835659">
                <a:moveTo>
                  <a:pt x="474477" y="650239"/>
                </a:moveTo>
                <a:lnTo>
                  <a:pt x="359132" y="650239"/>
                </a:lnTo>
                <a:lnTo>
                  <a:pt x="373409" y="645159"/>
                </a:lnTo>
                <a:lnTo>
                  <a:pt x="380133" y="642619"/>
                </a:lnTo>
                <a:lnTo>
                  <a:pt x="412517" y="613409"/>
                </a:lnTo>
                <a:lnTo>
                  <a:pt x="449883" y="538479"/>
                </a:lnTo>
                <a:lnTo>
                  <a:pt x="467551" y="534669"/>
                </a:lnTo>
                <a:lnTo>
                  <a:pt x="484485" y="528319"/>
                </a:lnTo>
                <a:lnTo>
                  <a:pt x="500685" y="521969"/>
                </a:lnTo>
                <a:lnTo>
                  <a:pt x="516153" y="511809"/>
                </a:lnTo>
                <a:lnTo>
                  <a:pt x="532319" y="501649"/>
                </a:lnTo>
                <a:lnTo>
                  <a:pt x="536498" y="497839"/>
                </a:lnTo>
                <a:lnTo>
                  <a:pt x="538585" y="494029"/>
                </a:lnTo>
                <a:lnTo>
                  <a:pt x="538618" y="483869"/>
                </a:lnTo>
                <a:lnTo>
                  <a:pt x="536530" y="480059"/>
                </a:lnTo>
                <a:lnTo>
                  <a:pt x="500545" y="457199"/>
                </a:lnTo>
                <a:lnTo>
                  <a:pt x="449301" y="440689"/>
                </a:lnTo>
                <a:lnTo>
                  <a:pt x="415803" y="373379"/>
                </a:lnTo>
                <a:lnTo>
                  <a:pt x="380132" y="336549"/>
                </a:lnTo>
                <a:lnTo>
                  <a:pt x="351853" y="328929"/>
                </a:lnTo>
                <a:lnTo>
                  <a:pt x="526155" y="328929"/>
                </a:lnTo>
                <a:lnTo>
                  <a:pt x="515388" y="344169"/>
                </a:lnTo>
                <a:lnTo>
                  <a:pt x="515755" y="346709"/>
                </a:lnTo>
                <a:lnTo>
                  <a:pt x="571182" y="403859"/>
                </a:lnTo>
                <a:lnTo>
                  <a:pt x="576323" y="406399"/>
                </a:lnTo>
                <a:lnTo>
                  <a:pt x="578180" y="407669"/>
                </a:lnTo>
                <a:lnTo>
                  <a:pt x="717550" y="407669"/>
                </a:lnTo>
                <a:lnTo>
                  <a:pt x="711203" y="414019"/>
                </a:lnTo>
                <a:lnTo>
                  <a:pt x="614502" y="414019"/>
                </a:lnTo>
                <a:lnTo>
                  <a:pt x="612650" y="415289"/>
                </a:lnTo>
                <a:lnTo>
                  <a:pt x="601901" y="426719"/>
                </a:lnTo>
                <a:lnTo>
                  <a:pt x="601901" y="430529"/>
                </a:lnTo>
                <a:lnTo>
                  <a:pt x="602270" y="433069"/>
                </a:lnTo>
                <a:lnTo>
                  <a:pt x="603746" y="436879"/>
                </a:lnTo>
                <a:lnTo>
                  <a:pt x="604797" y="438149"/>
                </a:lnTo>
                <a:lnTo>
                  <a:pt x="637007" y="469899"/>
                </a:lnTo>
                <a:lnTo>
                  <a:pt x="638074" y="471169"/>
                </a:lnTo>
                <a:lnTo>
                  <a:pt x="639573" y="474979"/>
                </a:lnTo>
                <a:lnTo>
                  <a:pt x="639948" y="477519"/>
                </a:lnTo>
                <a:lnTo>
                  <a:pt x="639948" y="481329"/>
                </a:lnTo>
                <a:lnTo>
                  <a:pt x="639573" y="482599"/>
                </a:lnTo>
                <a:lnTo>
                  <a:pt x="638074" y="486409"/>
                </a:lnTo>
                <a:lnTo>
                  <a:pt x="637007" y="487679"/>
                </a:lnTo>
                <a:lnTo>
                  <a:pt x="474477" y="650239"/>
                </a:lnTo>
                <a:close/>
              </a:path>
              <a:path w="836930" h="835659">
                <a:moveTo>
                  <a:pt x="484448" y="481329"/>
                </a:moveTo>
                <a:lnTo>
                  <a:pt x="245253" y="481329"/>
                </a:lnTo>
                <a:lnTo>
                  <a:pt x="369488" y="471169"/>
                </a:lnTo>
                <a:lnTo>
                  <a:pt x="374193" y="471169"/>
                </a:lnTo>
                <a:lnTo>
                  <a:pt x="377834" y="468629"/>
                </a:lnTo>
                <a:lnTo>
                  <a:pt x="380412" y="464819"/>
                </a:lnTo>
                <a:lnTo>
                  <a:pt x="383039" y="461009"/>
                </a:lnTo>
                <a:lnTo>
                  <a:pt x="383671" y="457199"/>
                </a:lnTo>
                <a:lnTo>
                  <a:pt x="382305" y="452119"/>
                </a:lnTo>
                <a:lnTo>
                  <a:pt x="355599" y="369569"/>
                </a:lnTo>
                <a:lnTo>
                  <a:pt x="354796" y="367029"/>
                </a:lnTo>
                <a:lnTo>
                  <a:pt x="355301" y="364489"/>
                </a:lnTo>
                <a:lnTo>
                  <a:pt x="358928" y="360679"/>
                </a:lnTo>
                <a:lnTo>
                  <a:pt x="361038" y="360679"/>
                </a:lnTo>
                <a:lnTo>
                  <a:pt x="363443" y="361949"/>
                </a:lnTo>
                <a:lnTo>
                  <a:pt x="371776" y="365759"/>
                </a:lnTo>
                <a:lnTo>
                  <a:pt x="426726" y="459739"/>
                </a:lnTo>
                <a:lnTo>
                  <a:pt x="429112" y="464819"/>
                </a:lnTo>
                <a:lnTo>
                  <a:pt x="432995" y="467359"/>
                </a:lnTo>
                <a:lnTo>
                  <a:pt x="438378" y="468629"/>
                </a:lnTo>
                <a:lnTo>
                  <a:pt x="451715" y="469899"/>
                </a:lnTo>
                <a:lnTo>
                  <a:pt x="477175" y="477519"/>
                </a:lnTo>
                <a:lnTo>
                  <a:pt x="484448" y="481329"/>
                </a:lnTo>
                <a:close/>
              </a:path>
              <a:path w="836930" h="835659">
                <a:moveTo>
                  <a:pt x="670446" y="452119"/>
                </a:moveTo>
                <a:lnTo>
                  <a:pt x="662760" y="452119"/>
                </a:lnTo>
                <a:lnTo>
                  <a:pt x="659140" y="450849"/>
                </a:lnTo>
                <a:lnTo>
                  <a:pt x="657542" y="449579"/>
                </a:lnTo>
                <a:lnTo>
                  <a:pt x="625336" y="417829"/>
                </a:lnTo>
                <a:lnTo>
                  <a:pt x="623766" y="416559"/>
                </a:lnTo>
                <a:lnTo>
                  <a:pt x="620208" y="415289"/>
                </a:lnTo>
                <a:lnTo>
                  <a:pt x="618355" y="414019"/>
                </a:lnTo>
                <a:lnTo>
                  <a:pt x="711203" y="414019"/>
                </a:lnTo>
                <a:lnTo>
                  <a:pt x="675664" y="449579"/>
                </a:lnTo>
                <a:lnTo>
                  <a:pt x="674066" y="450849"/>
                </a:lnTo>
                <a:lnTo>
                  <a:pt x="670446" y="452119"/>
                </a:lnTo>
                <a:close/>
              </a:path>
              <a:path w="836930" h="835659">
                <a:moveTo>
                  <a:pt x="253554" y="450849"/>
                </a:moveTo>
                <a:lnTo>
                  <a:pt x="252826" y="449579"/>
                </a:lnTo>
                <a:lnTo>
                  <a:pt x="249711" y="443229"/>
                </a:lnTo>
                <a:lnTo>
                  <a:pt x="245836" y="438149"/>
                </a:lnTo>
                <a:lnTo>
                  <a:pt x="217209" y="421639"/>
                </a:lnTo>
                <a:lnTo>
                  <a:pt x="341868" y="421639"/>
                </a:lnTo>
                <a:lnTo>
                  <a:pt x="348805" y="443229"/>
                </a:lnTo>
                <a:lnTo>
                  <a:pt x="253554" y="450849"/>
                </a:lnTo>
                <a:close/>
              </a:path>
              <a:path w="836930" h="835659">
                <a:moveTo>
                  <a:pt x="214315" y="528319"/>
                </a:moveTo>
                <a:lnTo>
                  <a:pt x="211026" y="528319"/>
                </a:lnTo>
                <a:lnTo>
                  <a:pt x="225347" y="491489"/>
                </a:lnTo>
                <a:lnTo>
                  <a:pt x="225345" y="487679"/>
                </a:lnTo>
                <a:lnTo>
                  <a:pt x="211026" y="450849"/>
                </a:lnTo>
                <a:lnTo>
                  <a:pt x="214313" y="450849"/>
                </a:lnTo>
                <a:lnTo>
                  <a:pt x="217315" y="452119"/>
                </a:lnTo>
                <a:lnTo>
                  <a:pt x="222753" y="454659"/>
                </a:lnTo>
                <a:lnTo>
                  <a:pt x="224751" y="457199"/>
                </a:lnTo>
                <a:lnTo>
                  <a:pt x="226027" y="461009"/>
                </a:lnTo>
                <a:lnTo>
                  <a:pt x="232065" y="474979"/>
                </a:lnTo>
                <a:lnTo>
                  <a:pt x="234001" y="477519"/>
                </a:lnTo>
                <a:lnTo>
                  <a:pt x="239285" y="480059"/>
                </a:lnTo>
                <a:lnTo>
                  <a:pt x="242155" y="481329"/>
                </a:lnTo>
                <a:lnTo>
                  <a:pt x="484448" y="481329"/>
                </a:lnTo>
                <a:lnTo>
                  <a:pt x="489297" y="483869"/>
                </a:lnTo>
                <a:lnTo>
                  <a:pt x="491336" y="485139"/>
                </a:lnTo>
                <a:lnTo>
                  <a:pt x="492357" y="486409"/>
                </a:lnTo>
                <a:lnTo>
                  <a:pt x="492363" y="491489"/>
                </a:lnTo>
                <a:lnTo>
                  <a:pt x="491347" y="492759"/>
                </a:lnTo>
                <a:lnTo>
                  <a:pt x="489311" y="494029"/>
                </a:lnTo>
                <a:lnTo>
                  <a:pt x="482116" y="497839"/>
                </a:lnTo>
                <a:lnTo>
                  <a:pt x="241325" y="497839"/>
                </a:lnTo>
                <a:lnTo>
                  <a:pt x="238654" y="499109"/>
                </a:lnTo>
                <a:lnTo>
                  <a:pt x="233782" y="501649"/>
                </a:lnTo>
                <a:lnTo>
                  <a:pt x="231987" y="504189"/>
                </a:lnTo>
                <a:lnTo>
                  <a:pt x="226027" y="518159"/>
                </a:lnTo>
                <a:lnTo>
                  <a:pt x="224734" y="520699"/>
                </a:lnTo>
                <a:lnTo>
                  <a:pt x="222732" y="523239"/>
                </a:lnTo>
                <a:lnTo>
                  <a:pt x="217313" y="527049"/>
                </a:lnTo>
                <a:lnTo>
                  <a:pt x="214315" y="528319"/>
                </a:lnTo>
                <a:close/>
              </a:path>
              <a:path w="836930" h="835659">
                <a:moveTo>
                  <a:pt x="363494" y="618489"/>
                </a:moveTo>
                <a:lnTo>
                  <a:pt x="358972" y="618489"/>
                </a:lnTo>
                <a:lnTo>
                  <a:pt x="355324" y="614679"/>
                </a:lnTo>
                <a:lnTo>
                  <a:pt x="354814" y="612139"/>
                </a:lnTo>
                <a:lnTo>
                  <a:pt x="355617" y="610869"/>
                </a:lnTo>
                <a:lnTo>
                  <a:pt x="382596" y="525779"/>
                </a:lnTo>
                <a:lnTo>
                  <a:pt x="384000" y="521969"/>
                </a:lnTo>
                <a:lnTo>
                  <a:pt x="383418" y="516889"/>
                </a:lnTo>
                <a:lnTo>
                  <a:pt x="380848" y="513079"/>
                </a:lnTo>
                <a:lnTo>
                  <a:pt x="378178" y="509269"/>
                </a:lnTo>
                <a:lnTo>
                  <a:pt x="374488" y="506729"/>
                </a:lnTo>
                <a:lnTo>
                  <a:pt x="369779" y="506729"/>
                </a:lnTo>
                <a:lnTo>
                  <a:pt x="245253" y="497839"/>
                </a:lnTo>
                <a:lnTo>
                  <a:pt x="482116" y="497839"/>
                </a:lnTo>
                <a:lnTo>
                  <a:pt x="477320" y="500379"/>
                </a:lnTo>
                <a:lnTo>
                  <a:pt x="452144" y="507999"/>
                </a:lnTo>
                <a:lnTo>
                  <a:pt x="438960" y="510539"/>
                </a:lnTo>
                <a:lnTo>
                  <a:pt x="433632" y="510539"/>
                </a:lnTo>
                <a:lnTo>
                  <a:pt x="429748" y="513079"/>
                </a:lnTo>
                <a:lnTo>
                  <a:pt x="389733" y="593089"/>
                </a:lnTo>
                <a:lnTo>
                  <a:pt x="371802" y="613409"/>
                </a:lnTo>
                <a:lnTo>
                  <a:pt x="363494" y="618489"/>
                </a:lnTo>
                <a:close/>
              </a:path>
              <a:path w="836930" h="835659">
                <a:moveTo>
                  <a:pt x="341888" y="557529"/>
                </a:moveTo>
                <a:lnTo>
                  <a:pt x="214959" y="557529"/>
                </a:lnTo>
                <a:lnTo>
                  <a:pt x="228031" y="553719"/>
                </a:lnTo>
                <a:lnTo>
                  <a:pt x="232079" y="552449"/>
                </a:lnTo>
                <a:lnTo>
                  <a:pt x="239616" y="547369"/>
                </a:lnTo>
                <a:lnTo>
                  <a:pt x="242946" y="543559"/>
                </a:lnTo>
                <a:lnTo>
                  <a:pt x="248729" y="537209"/>
                </a:lnTo>
                <a:lnTo>
                  <a:pt x="251058" y="533399"/>
                </a:lnTo>
                <a:lnTo>
                  <a:pt x="252826" y="529589"/>
                </a:lnTo>
                <a:lnTo>
                  <a:pt x="253554" y="527049"/>
                </a:lnTo>
                <a:lnTo>
                  <a:pt x="349243" y="534669"/>
                </a:lnTo>
                <a:lnTo>
                  <a:pt x="341888" y="557529"/>
                </a:lnTo>
                <a:close/>
              </a:path>
              <a:path w="836930" h="835659">
                <a:moveTo>
                  <a:pt x="287150" y="835659"/>
                </a:moveTo>
                <a:lnTo>
                  <a:pt x="280547" y="835659"/>
                </a:lnTo>
                <a:lnTo>
                  <a:pt x="277438" y="834389"/>
                </a:lnTo>
                <a:lnTo>
                  <a:pt x="228196" y="786129"/>
                </a:lnTo>
                <a:lnTo>
                  <a:pt x="224151" y="775969"/>
                </a:lnTo>
                <a:lnTo>
                  <a:pt x="224737" y="773429"/>
                </a:lnTo>
                <a:lnTo>
                  <a:pt x="226271" y="770889"/>
                </a:lnTo>
                <a:lnTo>
                  <a:pt x="234474" y="755649"/>
                </a:lnTo>
                <a:lnTo>
                  <a:pt x="240299" y="740409"/>
                </a:lnTo>
                <a:lnTo>
                  <a:pt x="243747" y="723899"/>
                </a:lnTo>
                <a:lnTo>
                  <a:pt x="244816" y="707389"/>
                </a:lnTo>
                <a:lnTo>
                  <a:pt x="244564" y="699769"/>
                </a:lnTo>
                <a:lnTo>
                  <a:pt x="235657" y="661669"/>
                </a:lnTo>
                <a:lnTo>
                  <a:pt x="232408" y="655319"/>
                </a:lnTo>
                <a:lnTo>
                  <a:pt x="228681" y="647699"/>
                </a:lnTo>
                <a:lnTo>
                  <a:pt x="224511" y="641349"/>
                </a:lnTo>
                <a:lnTo>
                  <a:pt x="219934" y="634999"/>
                </a:lnTo>
                <a:lnTo>
                  <a:pt x="214948" y="629919"/>
                </a:lnTo>
                <a:lnTo>
                  <a:pt x="209555" y="623569"/>
                </a:lnTo>
                <a:lnTo>
                  <a:pt x="177779" y="601979"/>
                </a:lnTo>
                <a:lnTo>
                  <a:pt x="140629" y="591819"/>
                </a:lnTo>
                <a:lnTo>
                  <a:pt x="330856" y="591819"/>
                </a:lnTo>
                <a:lnTo>
                  <a:pt x="316555" y="636269"/>
                </a:lnTo>
                <a:lnTo>
                  <a:pt x="317284" y="641349"/>
                </a:lnTo>
                <a:lnTo>
                  <a:pt x="320259" y="645159"/>
                </a:lnTo>
                <a:lnTo>
                  <a:pt x="323099" y="648969"/>
                </a:lnTo>
                <a:lnTo>
                  <a:pt x="326983" y="650239"/>
                </a:lnTo>
                <a:lnTo>
                  <a:pt x="474477" y="650239"/>
                </a:lnTo>
                <a:lnTo>
                  <a:pt x="291632" y="833119"/>
                </a:lnTo>
                <a:lnTo>
                  <a:pt x="290260" y="834389"/>
                </a:lnTo>
                <a:lnTo>
                  <a:pt x="287150" y="835659"/>
                </a:lnTo>
                <a:close/>
              </a:path>
            </a:pathLst>
          </a:custGeom>
          <a:solidFill>
            <a:srgbClr val="21408B"/>
          </a:solidFill>
        </p:spPr>
        <p:txBody>
          <a:bodyPr wrap="square" lIns="0" tIns="0" rIns="0" bIns="0" rtlCol="0"/>
          <a:lstStyle/>
          <a:p>
            <a:endParaRPr/>
          </a:p>
        </p:txBody>
      </p:sp>
      <p:sp>
        <p:nvSpPr>
          <p:cNvPr id="47" name="object 47"/>
          <p:cNvSpPr/>
          <p:nvPr/>
        </p:nvSpPr>
        <p:spPr>
          <a:xfrm>
            <a:off x="1657578" y="5918948"/>
            <a:ext cx="683895" cy="287020"/>
          </a:xfrm>
          <a:custGeom>
            <a:avLst/>
            <a:gdLst/>
            <a:ahLst/>
            <a:cxnLst/>
            <a:rect l="l" t="t" r="r" b="b"/>
            <a:pathLst>
              <a:path w="683894" h="287020">
                <a:moveTo>
                  <a:pt x="427101" y="128905"/>
                </a:moveTo>
                <a:lnTo>
                  <a:pt x="120294" y="128905"/>
                </a:lnTo>
                <a:lnTo>
                  <a:pt x="113957" y="122567"/>
                </a:lnTo>
                <a:lnTo>
                  <a:pt x="113957" y="89471"/>
                </a:lnTo>
                <a:lnTo>
                  <a:pt x="110667" y="87528"/>
                </a:lnTo>
                <a:lnTo>
                  <a:pt x="109220" y="86868"/>
                </a:lnTo>
                <a:lnTo>
                  <a:pt x="108496" y="86588"/>
                </a:lnTo>
                <a:lnTo>
                  <a:pt x="107391" y="86194"/>
                </a:lnTo>
                <a:lnTo>
                  <a:pt x="104660" y="86194"/>
                </a:lnTo>
                <a:lnTo>
                  <a:pt x="102946" y="86690"/>
                </a:lnTo>
                <a:lnTo>
                  <a:pt x="330" y="181902"/>
                </a:lnTo>
                <a:lnTo>
                  <a:pt x="0" y="184518"/>
                </a:lnTo>
                <a:lnTo>
                  <a:pt x="0" y="187236"/>
                </a:lnTo>
                <a:lnTo>
                  <a:pt x="330" y="189915"/>
                </a:lnTo>
                <a:lnTo>
                  <a:pt x="2565" y="191973"/>
                </a:lnTo>
                <a:lnTo>
                  <a:pt x="104330" y="286397"/>
                </a:lnTo>
                <a:lnTo>
                  <a:pt x="107556" y="285623"/>
                </a:lnTo>
                <a:lnTo>
                  <a:pt x="110667" y="284289"/>
                </a:lnTo>
                <a:lnTo>
                  <a:pt x="113957" y="282333"/>
                </a:lnTo>
                <a:lnTo>
                  <a:pt x="113957" y="249250"/>
                </a:lnTo>
                <a:lnTo>
                  <a:pt x="120294" y="242849"/>
                </a:lnTo>
                <a:lnTo>
                  <a:pt x="427101" y="242849"/>
                </a:lnTo>
                <a:lnTo>
                  <a:pt x="427101" y="128905"/>
                </a:lnTo>
                <a:close/>
              </a:path>
              <a:path w="683894" h="287020">
                <a:moveTo>
                  <a:pt x="683412" y="99098"/>
                </a:moveTo>
                <a:lnTo>
                  <a:pt x="683031" y="96481"/>
                </a:lnTo>
                <a:lnTo>
                  <a:pt x="582142" y="2832"/>
                </a:lnTo>
                <a:lnTo>
                  <a:pt x="579031" y="0"/>
                </a:lnTo>
                <a:lnTo>
                  <a:pt x="575805" y="774"/>
                </a:lnTo>
                <a:lnTo>
                  <a:pt x="572744" y="2108"/>
                </a:lnTo>
                <a:lnTo>
                  <a:pt x="569468" y="4051"/>
                </a:lnTo>
                <a:lnTo>
                  <a:pt x="569468" y="37147"/>
                </a:lnTo>
                <a:lnTo>
                  <a:pt x="563067" y="43535"/>
                </a:lnTo>
                <a:lnTo>
                  <a:pt x="256260" y="43535"/>
                </a:lnTo>
                <a:lnTo>
                  <a:pt x="256260" y="100431"/>
                </a:lnTo>
                <a:lnTo>
                  <a:pt x="427101" y="100431"/>
                </a:lnTo>
                <a:lnTo>
                  <a:pt x="438162" y="102679"/>
                </a:lnTo>
                <a:lnTo>
                  <a:pt x="447217" y="108788"/>
                </a:lnTo>
                <a:lnTo>
                  <a:pt x="453326" y="117843"/>
                </a:lnTo>
                <a:lnTo>
                  <a:pt x="455574" y="128905"/>
                </a:lnTo>
                <a:lnTo>
                  <a:pt x="455574" y="157429"/>
                </a:lnTo>
                <a:lnTo>
                  <a:pt x="563067" y="157429"/>
                </a:lnTo>
                <a:lnTo>
                  <a:pt x="569468" y="163830"/>
                </a:lnTo>
                <a:lnTo>
                  <a:pt x="569468" y="196862"/>
                </a:lnTo>
                <a:lnTo>
                  <a:pt x="574192" y="199478"/>
                </a:lnTo>
                <a:lnTo>
                  <a:pt x="575805" y="200139"/>
                </a:lnTo>
                <a:lnTo>
                  <a:pt x="579031" y="200977"/>
                </a:lnTo>
                <a:lnTo>
                  <a:pt x="683031" y="104495"/>
                </a:lnTo>
                <a:lnTo>
                  <a:pt x="683412" y="99098"/>
                </a:lnTo>
                <a:close/>
              </a:path>
            </a:pathLst>
          </a:custGeom>
          <a:solidFill>
            <a:srgbClr val="21408B"/>
          </a:solidFill>
        </p:spPr>
        <p:txBody>
          <a:bodyPr wrap="square" lIns="0" tIns="0" rIns="0" bIns="0" rtlCol="0"/>
          <a:lstStyle/>
          <a:p>
            <a:endParaRPr/>
          </a:p>
        </p:txBody>
      </p:sp>
      <p:grpSp>
        <p:nvGrpSpPr>
          <p:cNvPr id="48" name="object 48"/>
          <p:cNvGrpSpPr/>
          <p:nvPr/>
        </p:nvGrpSpPr>
        <p:grpSpPr>
          <a:xfrm>
            <a:off x="1600640" y="6290622"/>
            <a:ext cx="797560" cy="428625"/>
            <a:chOff x="1600640" y="6290622"/>
            <a:chExt cx="797560" cy="428625"/>
          </a:xfrm>
        </p:grpSpPr>
        <p:sp>
          <p:nvSpPr>
            <p:cNvPr id="49" name="object 49"/>
            <p:cNvSpPr/>
            <p:nvPr/>
          </p:nvSpPr>
          <p:spPr>
            <a:xfrm>
              <a:off x="1600631" y="6290626"/>
              <a:ext cx="797560" cy="426720"/>
            </a:xfrm>
            <a:custGeom>
              <a:avLst/>
              <a:gdLst/>
              <a:ahLst/>
              <a:cxnLst/>
              <a:rect l="l" t="t" r="r" b="b"/>
              <a:pathLst>
                <a:path w="797560" h="426720">
                  <a:moveTo>
                    <a:pt x="42710" y="42011"/>
                  </a:moveTo>
                  <a:lnTo>
                    <a:pt x="0" y="42011"/>
                  </a:lnTo>
                  <a:lnTo>
                    <a:pt x="0" y="227088"/>
                  </a:lnTo>
                  <a:lnTo>
                    <a:pt x="42710" y="227088"/>
                  </a:lnTo>
                  <a:lnTo>
                    <a:pt x="42710" y="42011"/>
                  </a:lnTo>
                  <a:close/>
                </a:path>
                <a:path w="797560" h="426720">
                  <a:moveTo>
                    <a:pt x="640651" y="240830"/>
                  </a:moveTo>
                  <a:lnTo>
                    <a:pt x="637476" y="234492"/>
                  </a:lnTo>
                  <a:lnTo>
                    <a:pt x="631977" y="230428"/>
                  </a:lnTo>
                  <a:lnTo>
                    <a:pt x="428434" y="88734"/>
                  </a:lnTo>
                  <a:lnTo>
                    <a:pt x="356362" y="155625"/>
                  </a:lnTo>
                  <a:lnTo>
                    <a:pt x="348716" y="161925"/>
                  </a:lnTo>
                  <a:lnTo>
                    <a:pt x="340093" y="166446"/>
                  </a:lnTo>
                  <a:lnTo>
                    <a:pt x="330809" y="169176"/>
                  </a:lnTo>
                  <a:lnTo>
                    <a:pt x="321157" y="170091"/>
                  </a:lnTo>
                  <a:lnTo>
                    <a:pt x="313207" y="169468"/>
                  </a:lnTo>
                  <a:lnTo>
                    <a:pt x="275780" y="142125"/>
                  </a:lnTo>
                  <a:lnTo>
                    <a:pt x="270497" y="119595"/>
                  </a:lnTo>
                  <a:lnTo>
                    <a:pt x="271348" y="110312"/>
                  </a:lnTo>
                  <a:lnTo>
                    <a:pt x="273837" y="101434"/>
                  </a:lnTo>
                  <a:lnTo>
                    <a:pt x="277888" y="93192"/>
                  </a:lnTo>
                  <a:lnTo>
                    <a:pt x="283400" y="85775"/>
                  </a:lnTo>
                  <a:lnTo>
                    <a:pt x="350469" y="15100"/>
                  </a:lnTo>
                  <a:lnTo>
                    <a:pt x="332447" y="13944"/>
                  </a:lnTo>
                  <a:lnTo>
                    <a:pt x="279133" y="18135"/>
                  </a:lnTo>
                  <a:lnTo>
                    <a:pt x="223570" y="43942"/>
                  </a:lnTo>
                  <a:lnTo>
                    <a:pt x="204762" y="57861"/>
                  </a:lnTo>
                  <a:lnTo>
                    <a:pt x="196761" y="63284"/>
                  </a:lnTo>
                  <a:lnTo>
                    <a:pt x="187985" y="67246"/>
                  </a:lnTo>
                  <a:lnTo>
                    <a:pt x="178663" y="69659"/>
                  </a:lnTo>
                  <a:lnTo>
                    <a:pt x="169011" y="70485"/>
                  </a:lnTo>
                  <a:lnTo>
                    <a:pt x="71183" y="70485"/>
                  </a:lnTo>
                  <a:lnTo>
                    <a:pt x="71183" y="201015"/>
                  </a:lnTo>
                  <a:lnTo>
                    <a:pt x="93687" y="206298"/>
                  </a:lnTo>
                  <a:lnTo>
                    <a:pt x="121170" y="214858"/>
                  </a:lnTo>
                  <a:lnTo>
                    <a:pt x="150444" y="227203"/>
                  </a:lnTo>
                  <a:lnTo>
                    <a:pt x="178295" y="243890"/>
                  </a:lnTo>
                  <a:lnTo>
                    <a:pt x="187299" y="228930"/>
                  </a:lnTo>
                  <a:lnTo>
                    <a:pt x="218109" y="206349"/>
                  </a:lnTo>
                  <a:lnTo>
                    <a:pt x="227838" y="204965"/>
                  </a:lnTo>
                  <a:lnTo>
                    <a:pt x="237528" y="205498"/>
                  </a:lnTo>
                  <a:lnTo>
                    <a:pt x="272122" y="228320"/>
                  </a:lnTo>
                  <a:lnTo>
                    <a:pt x="275666" y="235153"/>
                  </a:lnTo>
                  <a:lnTo>
                    <a:pt x="279006" y="233426"/>
                  </a:lnTo>
                  <a:lnTo>
                    <a:pt x="282562" y="231990"/>
                  </a:lnTo>
                  <a:lnTo>
                    <a:pt x="286346" y="231101"/>
                  </a:lnTo>
                  <a:lnTo>
                    <a:pt x="296113" y="229666"/>
                  </a:lnTo>
                  <a:lnTo>
                    <a:pt x="305803" y="230187"/>
                  </a:lnTo>
                  <a:lnTo>
                    <a:pt x="341604" y="255181"/>
                  </a:lnTo>
                  <a:lnTo>
                    <a:pt x="347853" y="279031"/>
                  </a:lnTo>
                  <a:lnTo>
                    <a:pt x="355587" y="278993"/>
                  </a:lnTo>
                  <a:lnTo>
                    <a:pt x="394373" y="302971"/>
                  </a:lnTo>
                  <a:lnTo>
                    <a:pt x="401243" y="325196"/>
                  </a:lnTo>
                  <a:lnTo>
                    <a:pt x="409524" y="324853"/>
                  </a:lnTo>
                  <a:lnTo>
                    <a:pt x="444119" y="357466"/>
                  </a:lnTo>
                  <a:lnTo>
                    <a:pt x="445020" y="373684"/>
                  </a:lnTo>
                  <a:lnTo>
                    <a:pt x="439508" y="389534"/>
                  </a:lnTo>
                  <a:lnTo>
                    <a:pt x="489661" y="426186"/>
                  </a:lnTo>
                  <a:lnTo>
                    <a:pt x="498678" y="424675"/>
                  </a:lnTo>
                  <a:lnTo>
                    <a:pt x="507733" y="412165"/>
                  </a:lnTo>
                  <a:lnTo>
                    <a:pt x="506463" y="403275"/>
                  </a:lnTo>
                  <a:lnTo>
                    <a:pt x="499122" y="397764"/>
                  </a:lnTo>
                  <a:lnTo>
                    <a:pt x="469366" y="376415"/>
                  </a:lnTo>
                  <a:lnTo>
                    <a:pt x="467918" y="367512"/>
                  </a:lnTo>
                  <a:lnTo>
                    <a:pt x="477100" y="354723"/>
                  </a:lnTo>
                  <a:lnTo>
                    <a:pt x="485990" y="353326"/>
                  </a:lnTo>
                  <a:lnTo>
                    <a:pt x="522528" y="379691"/>
                  </a:lnTo>
                  <a:lnTo>
                    <a:pt x="530225" y="383311"/>
                  </a:lnTo>
                  <a:lnTo>
                    <a:pt x="557237" y="364845"/>
                  </a:lnTo>
                  <a:lnTo>
                    <a:pt x="555510" y="353720"/>
                  </a:lnTo>
                  <a:lnTo>
                    <a:pt x="552564" y="348830"/>
                  </a:lnTo>
                  <a:lnTo>
                    <a:pt x="492887" y="305117"/>
                  </a:lnTo>
                  <a:lnTo>
                    <a:pt x="491553" y="296214"/>
                  </a:lnTo>
                  <a:lnTo>
                    <a:pt x="500837" y="283540"/>
                  </a:lnTo>
                  <a:lnTo>
                    <a:pt x="509739" y="282143"/>
                  </a:lnTo>
                  <a:lnTo>
                    <a:pt x="580758" y="334149"/>
                  </a:lnTo>
                  <a:lnTo>
                    <a:pt x="586435" y="335483"/>
                  </a:lnTo>
                  <a:lnTo>
                    <a:pt x="597662" y="333705"/>
                  </a:lnTo>
                  <a:lnTo>
                    <a:pt x="602615" y="330758"/>
                  </a:lnTo>
                  <a:lnTo>
                    <a:pt x="608736" y="322414"/>
                  </a:lnTo>
                  <a:lnTo>
                    <a:pt x="610171" y="318020"/>
                  </a:lnTo>
                  <a:lnTo>
                    <a:pt x="610171" y="306730"/>
                  </a:lnTo>
                  <a:lnTo>
                    <a:pt x="606894" y="300278"/>
                  </a:lnTo>
                  <a:lnTo>
                    <a:pt x="540499" y="251726"/>
                  </a:lnTo>
                  <a:lnTo>
                    <a:pt x="539102" y="242824"/>
                  </a:lnTo>
                  <a:lnTo>
                    <a:pt x="548386" y="230149"/>
                  </a:lnTo>
                  <a:lnTo>
                    <a:pt x="557288" y="228765"/>
                  </a:lnTo>
                  <a:lnTo>
                    <a:pt x="605510" y="264020"/>
                  </a:lnTo>
                  <a:lnTo>
                    <a:pt x="611911" y="267449"/>
                  </a:lnTo>
                  <a:lnTo>
                    <a:pt x="618604" y="268871"/>
                  </a:lnTo>
                  <a:lnTo>
                    <a:pt x="625119" y="268312"/>
                  </a:lnTo>
                  <a:lnTo>
                    <a:pt x="630923" y="265747"/>
                  </a:lnTo>
                  <a:lnTo>
                    <a:pt x="637095" y="261518"/>
                  </a:lnTo>
                  <a:lnTo>
                    <a:pt x="640651" y="254952"/>
                  </a:lnTo>
                  <a:lnTo>
                    <a:pt x="640651" y="240830"/>
                  </a:lnTo>
                  <a:close/>
                </a:path>
                <a:path w="797560" h="426720">
                  <a:moveTo>
                    <a:pt x="726071" y="56248"/>
                  </a:moveTo>
                  <a:lnTo>
                    <a:pt x="554456" y="56248"/>
                  </a:lnTo>
                  <a:lnTo>
                    <a:pt x="547776" y="54698"/>
                  </a:lnTo>
                  <a:lnTo>
                    <a:pt x="541997" y="51638"/>
                  </a:lnTo>
                  <a:lnTo>
                    <a:pt x="448462" y="4648"/>
                  </a:lnTo>
                  <a:lnTo>
                    <a:pt x="433539" y="0"/>
                  </a:lnTo>
                  <a:lnTo>
                    <a:pt x="417791" y="330"/>
                  </a:lnTo>
                  <a:lnTo>
                    <a:pt x="402767" y="5359"/>
                  </a:lnTo>
                  <a:lnTo>
                    <a:pt x="390004" y="14820"/>
                  </a:lnTo>
                  <a:lnTo>
                    <a:pt x="304304" y="105079"/>
                  </a:lnTo>
                  <a:lnTo>
                    <a:pt x="299974" y="109969"/>
                  </a:lnTo>
                  <a:lnTo>
                    <a:pt x="298970" y="115697"/>
                  </a:lnTo>
                  <a:lnTo>
                    <a:pt x="298970" y="126542"/>
                  </a:lnTo>
                  <a:lnTo>
                    <a:pt x="302196" y="133057"/>
                  </a:lnTo>
                  <a:lnTo>
                    <a:pt x="307873" y="137337"/>
                  </a:lnTo>
                  <a:lnTo>
                    <a:pt x="314947" y="140804"/>
                  </a:lnTo>
                  <a:lnTo>
                    <a:pt x="322618" y="141579"/>
                  </a:lnTo>
                  <a:lnTo>
                    <a:pt x="330085" y="139700"/>
                  </a:lnTo>
                  <a:lnTo>
                    <a:pt x="336562" y="135216"/>
                  </a:lnTo>
                  <a:lnTo>
                    <a:pt x="409028" y="67868"/>
                  </a:lnTo>
                  <a:lnTo>
                    <a:pt x="417156" y="62560"/>
                  </a:lnTo>
                  <a:lnTo>
                    <a:pt x="426389" y="60325"/>
                  </a:lnTo>
                  <a:lnTo>
                    <a:pt x="435825" y="61239"/>
                  </a:lnTo>
                  <a:lnTo>
                    <a:pt x="444614" y="65366"/>
                  </a:lnTo>
                  <a:lnTo>
                    <a:pt x="648487" y="207289"/>
                  </a:lnTo>
                  <a:lnTo>
                    <a:pt x="649655" y="208127"/>
                  </a:lnTo>
                  <a:lnTo>
                    <a:pt x="650494" y="209181"/>
                  </a:lnTo>
                  <a:lnTo>
                    <a:pt x="651548" y="210134"/>
                  </a:lnTo>
                  <a:lnTo>
                    <a:pt x="666394" y="207149"/>
                  </a:lnTo>
                  <a:lnTo>
                    <a:pt x="684199" y="204114"/>
                  </a:lnTo>
                  <a:lnTo>
                    <a:pt x="704316" y="201383"/>
                  </a:lnTo>
                  <a:lnTo>
                    <a:pt x="726071" y="199339"/>
                  </a:lnTo>
                  <a:lnTo>
                    <a:pt x="726071" y="60325"/>
                  </a:lnTo>
                  <a:lnTo>
                    <a:pt x="726071" y="56248"/>
                  </a:lnTo>
                  <a:close/>
                </a:path>
                <a:path w="797560" h="426720">
                  <a:moveTo>
                    <a:pt x="797255" y="27774"/>
                  </a:moveTo>
                  <a:lnTo>
                    <a:pt x="754545" y="27774"/>
                  </a:lnTo>
                  <a:lnTo>
                    <a:pt x="754545" y="227088"/>
                  </a:lnTo>
                  <a:lnTo>
                    <a:pt x="797255" y="227088"/>
                  </a:lnTo>
                  <a:lnTo>
                    <a:pt x="797255" y="27774"/>
                  </a:lnTo>
                  <a:close/>
                </a:path>
              </a:pathLst>
            </a:custGeom>
            <a:solidFill>
              <a:srgbClr val="21408B"/>
            </a:solidFill>
          </p:spPr>
          <p:txBody>
            <a:bodyPr wrap="square" lIns="0" tIns="0" rIns="0" bIns="0" rtlCol="0"/>
            <a:lstStyle/>
            <a:p>
              <a:endParaRPr/>
            </a:p>
          </p:txBody>
        </p:sp>
        <p:pic>
          <p:nvPicPr>
            <p:cNvPr id="50" name="object 50"/>
            <p:cNvPicPr/>
            <p:nvPr/>
          </p:nvPicPr>
          <p:blipFill>
            <a:blip r:embed="rId11" cstate="print"/>
            <a:stretch>
              <a:fillRect/>
            </a:stretch>
          </p:blipFill>
          <p:spPr>
            <a:xfrm>
              <a:off x="1782753" y="6524313"/>
              <a:ext cx="236866" cy="194713"/>
            </a:xfrm>
            <a:prstGeom prst="rect">
              <a:avLst/>
            </a:prstGeom>
          </p:spPr>
        </p:pic>
      </p:grpSp>
      <p:sp>
        <p:nvSpPr>
          <p:cNvPr id="51" name="object 51"/>
          <p:cNvSpPr/>
          <p:nvPr/>
        </p:nvSpPr>
        <p:spPr>
          <a:xfrm>
            <a:off x="1320497" y="1470827"/>
            <a:ext cx="738505" cy="740410"/>
          </a:xfrm>
          <a:custGeom>
            <a:avLst/>
            <a:gdLst/>
            <a:ahLst/>
            <a:cxnLst/>
            <a:rect l="l" t="t" r="r" b="b"/>
            <a:pathLst>
              <a:path w="738505" h="740410">
                <a:moveTo>
                  <a:pt x="374177" y="740409"/>
                </a:moveTo>
                <a:lnTo>
                  <a:pt x="332567" y="740409"/>
                </a:lnTo>
                <a:lnTo>
                  <a:pt x="310585" y="737869"/>
                </a:lnTo>
                <a:lnTo>
                  <a:pt x="307760" y="736599"/>
                </a:lnTo>
                <a:lnTo>
                  <a:pt x="298567" y="736599"/>
                </a:lnTo>
                <a:lnTo>
                  <a:pt x="282618" y="732789"/>
                </a:lnTo>
                <a:lnTo>
                  <a:pt x="256536" y="725169"/>
                </a:lnTo>
                <a:lnTo>
                  <a:pt x="230092" y="716279"/>
                </a:lnTo>
                <a:lnTo>
                  <a:pt x="213058" y="708659"/>
                </a:lnTo>
                <a:lnTo>
                  <a:pt x="199635" y="701039"/>
                </a:lnTo>
                <a:lnTo>
                  <a:pt x="182039" y="692149"/>
                </a:lnTo>
                <a:lnTo>
                  <a:pt x="131425" y="655319"/>
                </a:lnTo>
                <a:lnTo>
                  <a:pt x="83628" y="607059"/>
                </a:lnTo>
                <a:lnTo>
                  <a:pt x="46016" y="551179"/>
                </a:lnTo>
                <a:lnTo>
                  <a:pt x="22542" y="502919"/>
                </a:lnTo>
                <a:lnTo>
                  <a:pt x="21273" y="497839"/>
                </a:lnTo>
                <a:lnTo>
                  <a:pt x="19091" y="490219"/>
                </a:lnTo>
                <a:lnTo>
                  <a:pt x="5457" y="439419"/>
                </a:lnTo>
                <a:lnTo>
                  <a:pt x="996" y="401319"/>
                </a:lnTo>
                <a:lnTo>
                  <a:pt x="0" y="360679"/>
                </a:lnTo>
                <a:lnTo>
                  <a:pt x="2634" y="320039"/>
                </a:lnTo>
                <a:lnTo>
                  <a:pt x="11785" y="274319"/>
                </a:lnTo>
                <a:lnTo>
                  <a:pt x="28113" y="226059"/>
                </a:lnTo>
                <a:lnTo>
                  <a:pt x="49812" y="181609"/>
                </a:lnTo>
                <a:lnTo>
                  <a:pt x="75080" y="144779"/>
                </a:lnTo>
                <a:lnTo>
                  <a:pt x="84948" y="133349"/>
                </a:lnTo>
                <a:lnTo>
                  <a:pt x="89126" y="128269"/>
                </a:lnTo>
                <a:lnTo>
                  <a:pt x="92056" y="124459"/>
                </a:lnTo>
                <a:lnTo>
                  <a:pt x="98711" y="116839"/>
                </a:lnTo>
                <a:lnTo>
                  <a:pt x="107525" y="107949"/>
                </a:lnTo>
                <a:lnTo>
                  <a:pt x="116650" y="99059"/>
                </a:lnTo>
                <a:lnTo>
                  <a:pt x="124236" y="91439"/>
                </a:lnTo>
                <a:lnTo>
                  <a:pt x="127847" y="88899"/>
                </a:lnTo>
                <a:lnTo>
                  <a:pt x="138794" y="80009"/>
                </a:lnTo>
                <a:lnTo>
                  <a:pt x="144783" y="74929"/>
                </a:lnTo>
                <a:lnTo>
                  <a:pt x="150975" y="69849"/>
                </a:lnTo>
                <a:lnTo>
                  <a:pt x="157397" y="64769"/>
                </a:lnTo>
                <a:lnTo>
                  <a:pt x="163292" y="60959"/>
                </a:lnTo>
                <a:lnTo>
                  <a:pt x="167899" y="57149"/>
                </a:lnTo>
                <a:lnTo>
                  <a:pt x="188463" y="45719"/>
                </a:lnTo>
                <a:lnTo>
                  <a:pt x="208697" y="35559"/>
                </a:lnTo>
                <a:lnTo>
                  <a:pt x="225887" y="26669"/>
                </a:lnTo>
                <a:lnTo>
                  <a:pt x="237315" y="21589"/>
                </a:lnTo>
                <a:lnTo>
                  <a:pt x="279904" y="10159"/>
                </a:lnTo>
                <a:lnTo>
                  <a:pt x="310080" y="2539"/>
                </a:lnTo>
                <a:lnTo>
                  <a:pt x="336654" y="0"/>
                </a:lnTo>
                <a:lnTo>
                  <a:pt x="396126" y="0"/>
                </a:lnTo>
                <a:lnTo>
                  <a:pt x="421865" y="2539"/>
                </a:lnTo>
                <a:lnTo>
                  <a:pt x="443702" y="5079"/>
                </a:lnTo>
                <a:lnTo>
                  <a:pt x="459690" y="8889"/>
                </a:lnTo>
                <a:lnTo>
                  <a:pt x="465210" y="11429"/>
                </a:lnTo>
                <a:lnTo>
                  <a:pt x="472627" y="12699"/>
                </a:lnTo>
                <a:lnTo>
                  <a:pt x="489271" y="17779"/>
                </a:lnTo>
                <a:lnTo>
                  <a:pt x="504791" y="24129"/>
                </a:lnTo>
                <a:lnTo>
                  <a:pt x="522293" y="31749"/>
                </a:lnTo>
                <a:lnTo>
                  <a:pt x="340222" y="31749"/>
                </a:lnTo>
                <a:lnTo>
                  <a:pt x="332737" y="33019"/>
                </a:lnTo>
                <a:lnTo>
                  <a:pt x="322519" y="36829"/>
                </a:lnTo>
                <a:lnTo>
                  <a:pt x="307956" y="43179"/>
                </a:lnTo>
                <a:lnTo>
                  <a:pt x="289391" y="53339"/>
                </a:lnTo>
                <a:lnTo>
                  <a:pt x="278182" y="62229"/>
                </a:lnTo>
                <a:lnTo>
                  <a:pt x="227635" y="62229"/>
                </a:lnTo>
                <a:lnTo>
                  <a:pt x="180275" y="86359"/>
                </a:lnTo>
                <a:lnTo>
                  <a:pt x="138819" y="120649"/>
                </a:lnTo>
                <a:lnTo>
                  <a:pt x="101957" y="160019"/>
                </a:lnTo>
                <a:lnTo>
                  <a:pt x="96906" y="168909"/>
                </a:lnTo>
                <a:lnTo>
                  <a:pt x="106805" y="172719"/>
                </a:lnTo>
                <a:lnTo>
                  <a:pt x="127198" y="173989"/>
                </a:lnTo>
                <a:lnTo>
                  <a:pt x="684505" y="173989"/>
                </a:lnTo>
                <a:lnTo>
                  <a:pt x="689561" y="181609"/>
                </a:lnTo>
                <a:lnTo>
                  <a:pt x="698330" y="198119"/>
                </a:lnTo>
                <a:lnTo>
                  <a:pt x="699021" y="199389"/>
                </a:lnTo>
                <a:lnTo>
                  <a:pt x="623172" y="199389"/>
                </a:lnTo>
                <a:lnTo>
                  <a:pt x="597183" y="200659"/>
                </a:lnTo>
                <a:lnTo>
                  <a:pt x="590597" y="201929"/>
                </a:lnTo>
                <a:lnTo>
                  <a:pt x="82930" y="201929"/>
                </a:lnTo>
                <a:lnTo>
                  <a:pt x="54333" y="241299"/>
                </a:lnTo>
                <a:lnTo>
                  <a:pt x="37744" y="290829"/>
                </a:lnTo>
                <a:lnTo>
                  <a:pt x="32317" y="341629"/>
                </a:lnTo>
                <a:lnTo>
                  <a:pt x="34281" y="350519"/>
                </a:lnTo>
                <a:lnTo>
                  <a:pt x="37566" y="351789"/>
                </a:lnTo>
                <a:lnTo>
                  <a:pt x="44675" y="353059"/>
                </a:lnTo>
                <a:lnTo>
                  <a:pt x="737670" y="353059"/>
                </a:lnTo>
                <a:lnTo>
                  <a:pt x="738021" y="364489"/>
                </a:lnTo>
                <a:lnTo>
                  <a:pt x="737818" y="379729"/>
                </a:lnTo>
                <a:lnTo>
                  <a:pt x="659422" y="379729"/>
                </a:lnTo>
                <a:lnTo>
                  <a:pt x="628185" y="380999"/>
                </a:lnTo>
                <a:lnTo>
                  <a:pt x="611969" y="382269"/>
                </a:lnTo>
                <a:lnTo>
                  <a:pt x="63137" y="382269"/>
                </a:lnTo>
                <a:lnTo>
                  <a:pt x="49141" y="383539"/>
                </a:lnTo>
                <a:lnTo>
                  <a:pt x="39032" y="383539"/>
                </a:lnTo>
                <a:lnTo>
                  <a:pt x="34293" y="384809"/>
                </a:lnTo>
                <a:lnTo>
                  <a:pt x="30988" y="402589"/>
                </a:lnTo>
                <a:lnTo>
                  <a:pt x="36085" y="438149"/>
                </a:lnTo>
                <a:lnTo>
                  <a:pt x="47234" y="480059"/>
                </a:lnTo>
                <a:lnTo>
                  <a:pt x="62084" y="518159"/>
                </a:lnTo>
                <a:lnTo>
                  <a:pt x="91852" y="544829"/>
                </a:lnTo>
                <a:lnTo>
                  <a:pt x="696813" y="544829"/>
                </a:lnTo>
                <a:lnTo>
                  <a:pt x="688434" y="561339"/>
                </a:lnTo>
                <a:lnTo>
                  <a:pt x="680489" y="572769"/>
                </a:lnTo>
                <a:lnTo>
                  <a:pt x="342846" y="572769"/>
                </a:lnTo>
                <a:lnTo>
                  <a:pt x="329222" y="574039"/>
                </a:lnTo>
                <a:lnTo>
                  <a:pt x="318758" y="575309"/>
                </a:lnTo>
                <a:lnTo>
                  <a:pt x="115954" y="575309"/>
                </a:lnTo>
                <a:lnTo>
                  <a:pt x="106686" y="576579"/>
                </a:lnTo>
                <a:lnTo>
                  <a:pt x="102218" y="577849"/>
                </a:lnTo>
                <a:lnTo>
                  <a:pt x="101060" y="579119"/>
                </a:lnTo>
                <a:lnTo>
                  <a:pt x="108484" y="590549"/>
                </a:lnTo>
                <a:lnTo>
                  <a:pt x="147834" y="629919"/>
                </a:lnTo>
                <a:lnTo>
                  <a:pt x="191234" y="662939"/>
                </a:lnTo>
                <a:lnTo>
                  <a:pt x="226354" y="679449"/>
                </a:lnTo>
                <a:lnTo>
                  <a:pt x="279139" y="679449"/>
                </a:lnTo>
                <a:lnTo>
                  <a:pt x="306028" y="698499"/>
                </a:lnTo>
                <a:lnTo>
                  <a:pt x="335019" y="706119"/>
                </a:lnTo>
                <a:lnTo>
                  <a:pt x="380211" y="706119"/>
                </a:lnTo>
                <a:lnTo>
                  <a:pt x="380402" y="708659"/>
                </a:lnTo>
                <a:lnTo>
                  <a:pt x="387301" y="709929"/>
                </a:lnTo>
                <a:lnTo>
                  <a:pt x="523621" y="709929"/>
                </a:lnTo>
                <a:lnTo>
                  <a:pt x="515186" y="713739"/>
                </a:lnTo>
                <a:lnTo>
                  <a:pt x="493868" y="721359"/>
                </a:lnTo>
                <a:lnTo>
                  <a:pt x="470341" y="728979"/>
                </a:lnTo>
                <a:lnTo>
                  <a:pt x="446847" y="735329"/>
                </a:lnTo>
                <a:lnTo>
                  <a:pt x="418056" y="737869"/>
                </a:lnTo>
                <a:lnTo>
                  <a:pt x="374177" y="740409"/>
                </a:lnTo>
                <a:close/>
              </a:path>
              <a:path w="738505" h="740410">
                <a:moveTo>
                  <a:pt x="682819" y="171449"/>
                </a:moveTo>
                <a:lnTo>
                  <a:pt x="275428" y="171449"/>
                </a:lnTo>
                <a:lnTo>
                  <a:pt x="325323" y="170179"/>
                </a:lnTo>
                <a:lnTo>
                  <a:pt x="349554" y="167639"/>
                </a:lnTo>
                <a:lnTo>
                  <a:pt x="352887" y="125729"/>
                </a:lnTo>
                <a:lnTo>
                  <a:pt x="353013" y="34289"/>
                </a:lnTo>
                <a:lnTo>
                  <a:pt x="346585" y="31749"/>
                </a:lnTo>
                <a:lnTo>
                  <a:pt x="389594" y="31749"/>
                </a:lnTo>
                <a:lnTo>
                  <a:pt x="382893" y="100329"/>
                </a:lnTo>
                <a:lnTo>
                  <a:pt x="382232" y="149859"/>
                </a:lnTo>
                <a:lnTo>
                  <a:pt x="382841" y="161289"/>
                </a:lnTo>
                <a:lnTo>
                  <a:pt x="384113" y="167639"/>
                </a:lnTo>
                <a:lnTo>
                  <a:pt x="388686" y="168909"/>
                </a:lnTo>
                <a:lnTo>
                  <a:pt x="400835" y="170179"/>
                </a:lnTo>
                <a:lnTo>
                  <a:pt x="681976" y="170179"/>
                </a:lnTo>
                <a:lnTo>
                  <a:pt x="682819" y="171449"/>
                </a:lnTo>
                <a:close/>
              </a:path>
              <a:path w="738505" h="740410">
                <a:moveTo>
                  <a:pt x="587763" y="170179"/>
                </a:moveTo>
                <a:lnTo>
                  <a:pt x="511690" y="170179"/>
                </a:lnTo>
                <a:lnTo>
                  <a:pt x="527771" y="168909"/>
                </a:lnTo>
                <a:lnTo>
                  <a:pt x="534052" y="168909"/>
                </a:lnTo>
                <a:lnTo>
                  <a:pt x="531604" y="160019"/>
                </a:lnTo>
                <a:lnTo>
                  <a:pt x="511015" y="123189"/>
                </a:lnTo>
                <a:lnTo>
                  <a:pt x="482666" y="86359"/>
                </a:lnTo>
                <a:lnTo>
                  <a:pt x="446963" y="54609"/>
                </a:lnTo>
                <a:lnTo>
                  <a:pt x="413125" y="36829"/>
                </a:lnTo>
                <a:lnTo>
                  <a:pt x="395196" y="31749"/>
                </a:lnTo>
                <a:lnTo>
                  <a:pt x="522293" y="31749"/>
                </a:lnTo>
                <a:lnTo>
                  <a:pt x="541149" y="40639"/>
                </a:lnTo>
                <a:lnTo>
                  <a:pt x="560728" y="52069"/>
                </a:lnTo>
                <a:lnTo>
                  <a:pt x="565719" y="54609"/>
                </a:lnTo>
                <a:lnTo>
                  <a:pt x="501570" y="54609"/>
                </a:lnTo>
                <a:lnTo>
                  <a:pt x="501667" y="57149"/>
                </a:lnTo>
                <a:lnTo>
                  <a:pt x="505994" y="64769"/>
                </a:lnTo>
                <a:lnTo>
                  <a:pt x="513860" y="76199"/>
                </a:lnTo>
                <a:lnTo>
                  <a:pt x="524575" y="90169"/>
                </a:lnTo>
                <a:lnTo>
                  <a:pt x="531550" y="99059"/>
                </a:lnTo>
                <a:lnTo>
                  <a:pt x="539580" y="111759"/>
                </a:lnTo>
                <a:lnTo>
                  <a:pt x="547671" y="125729"/>
                </a:lnTo>
                <a:lnTo>
                  <a:pt x="554831" y="138429"/>
                </a:lnTo>
                <a:lnTo>
                  <a:pt x="561124" y="149859"/>
                </a:lnTo>
                <a:lnTo>
                  <a:pt x="566858" y="160019"/>
                </a:lnTo>
                <a:lnTo>
                  <a:pt x="571398" y="166369"/>
                </a:lnTo>
                <a:lnTo>
                  <a:pt x="574113" y="168909"/>
                </a:lnTo>
                <a:lnTo>
                  <a:pt x="587763" y="170179"/>
                </a:lnTo>
                <a:close/>
              </a:path>
              <a:path w="738505" h="740410">
                <a:moveTo>
                  <a:pt x="681976" y="170179"/>
                </a:moveTo>
                <a:lnTo>
                  <a:pt x="631931" y="170179"/>
                </a:lnTo>
                <a:lnTo>
                  <a:pt x="642039" y="168909"/>
                </a:lnTo>
                <a:lnTo>
                  <a:pt x="638178" y="161289"/>
                </a:lnTo>
                <a:lnTo>
                  <a:pt x="610391" y="129539"/>
                </a:lnTo>
                <a:lnTo>
                  <a:pt x="577783" y="99059"/>
                </a:lnTo>
                <a:lnTo>
                  <a:pt x="538624" y="73659"/>
                </a:lnTo>
                <a:lnTo>
                  <a:pt x="507110" y="57149"/>
                </a:lnTo>
                <a:lnTo>
                  <a:pt x="502583" y="54609"/>
                </a:lnTo>
                <a:lnTo>
                  <a:pt x="565719" y="54609"/>
                </a:lnTo>
                <a:lnTo>
                  <a:pt x="568214" y="55879"/>
                </a:lnTo>
                <a:lnTo>
                  <a:pt x="575027" y="59689"/>
                </a:lnTo>
                <a:lnTo>
                  <a:pt x="576712" y="59689"/>
                </a:lnTo>
                <a:lnTo>
                  <a:pt x="584470" y="66039"/>
                </a:lnTo>
                <a:lnTo>
                  <a:pt x="593111" y="73659"/>
                </a:lnTo>
                <a:lnTo>
                  <a:pt x="600180" y="78739"/>
                </a:lnTo>
                <a:lnTo>
                  <a:pt x="607814" y="85089"/>
                </a:lnTo>
                <a:lnTo>
                  <a:pt x="615096" y="91439"/>
                </a:lnTo>
                <a:lnTo>
                  <a:pt x="621105" y="96519"/>
                </a:lnTo>
                <a:lnTo>
                  <a:pt x="637035" y="113029"/>
                </a:lnTo>
                <a:lnTo>
                  <a:pt x="656964" y="135889"/>
                </a:lnTo>
                <a:lnTo>
                  <a:pt x="676077" y="161289"/>
                </a:lnTo>
                <a:lnTo>
                  <a:pt x="681976" y="170179"/>
                </a:lnTo>
                <a:close/>
              </a:path>
              <a:path w="738505" h="740410">
                <a:moveTo>
                  <a:pt x="684505" y="173989"/>
                </a:moveTo>
                <a:lnTo>
                  <a:pt x="127198" y="173989"/>
                </a:lnTo>
                <a:lnTo>
                  <a:pt x="148396" y="172719"/>
                </a:lnTo>
                <a:lnTo>
                  <a:pt x="160711" y="170179"/>
                </a:lnTo>
                <a:lnTo>
                  <a:pt x="163376" y="166369"/>
                </a:lnTo>
                <a:lnTo>
                  <a:pt x="167620" y="160019"/>
                </a:lnTo>
                <a:lnTo>
                  <a:pt x="172859" y="149859"/>
                </a:lnTo>
                <a:lnTo>
                  <a:pt x="178508" y="139699"/>
                </a:lnTo>
                <a:lnTo>
                  <a:pt x="185321" y="126999"/>
                </a:lnTo>
                <a:lnTo>
                  <a:pt x="193729" y="113029"/>
                </a:lnTo>
                <a:lnTo>
                  <a:pt x="202663" y="100329"/>
                </a:lnTo>
                <a:lnTo>
                  <a:pt x="211056" y="88899"/>
                </a:lnTo>
                <a:lnTo>
                  <a:pt x="218357" y="78739"/>
                </a:lnTo>
                <a:lnTo>
                  <a:pt x="223853" y="69849"/>
                </a:lnTo>
                <a:lnTo>
                  <a:pt x="227095" y="64769"/>
                </a:lnTo>
                <a:lnTo>
                  <a:pt x="227635" y="62229"/>
                </a:lnTo>
                <a:lnTo>
                  <a:pt x="278182" y="62229"/>
                </a:lnTo>
                <a:lnTo>
                  <a:pt x="270176" y="68579"/>
                </a:lnTo>
                <a:lnTo>
                  <a:pt x="251632" y="86359"/>
                </a:lnTo>
                <a:lnTo>
                  <a:pt x="221171" y="125729"/>
                </a:lnTo>
                <a:lnTo>
                  <a:pt x="201513" y="162559"/>
                </a:lnTo>
                <a:lnTo>
                  <a:pt x="200476" y="170179"/>
                </a:lnTo>
                <a:lnTo>
                  <a:pt x="225327" y="171449"/>
                </a:lnTo>
                <a:lnTo>
                  <a:pt x="682819" y="171449"/>
                </a:lnTo>
                <a:lnTo>
                  <a:pt x="684505" y="173989"/>
                </a:lnTo>
                <a:close/>
              </a:path>
              <a:path w="738505" h="740410">
                <a:moveTo>
                  <a:pt x="737631" y="351789"/>
                </a:moveTo>
                <a:lnTo>
                  <a:pt x="657105" y="351789"/>
                </a:lnTo>
                <a:lnTo>
                  <a:pt x="688803" y="350519"/>
                </a:lnTo>
                <a:lnTo>
                  <a:pt x="705856" y="347979"/>
                </a:lnTo>
                <a:lnTo>
                  <a:pt x="707992" y="345439"/>
                </a:lnTo>
                <a:lnTo>
                  <a:pt x="708818" y="341629"/>
                </a:lnTo>
                <a:lnTo>
                  <a:pt x="708393" y="334009"/>
                </a:lnTo>
                <a:lnTo>
                  <a:pt x="699473" y="285749"/>
                </a:lnTo>
                <a:lnTo>
                  <a:pt x="687799" y="248919"/>
                </a:lnTo>
                <a:lnTo>
                  <a:pt x="663026" y="200659"/>
                </a:lnTo>
                <a:lnTo>
                  <a:pt x="649334" y="199389"/>
                </a:lnTo>
                <a:lnTo>
                  <a:pt x="699021" y="199389"/>
                </a:lnTo>
                <a:lnTo>
                  <a:pt x="720811" y="251459"/>
                </a:lnTo>
                <a:lnTo>
                  <a:pt x="733949" y="297179"/>
                </a:lnTo>
                <a:lnTo>
                  <a:pt x="736813" y="325119"/>
                </a:lnTo>
                <a:lnTo>
                  <a:pt x="737631" y="351789"/>
                </a:lnTo>
                <a:close/>
              </a:path>
              <a:path w="738505" h="740410">
                <a:moveTo>
                  <a:pt x="737670" y="353059"/>
                </a:moveTo>
                <a:lnTo>
                  <a:pt x="101913" y="353059"/>
                </a:lnTo>
                <a:lnTo>
                  <a:pt x="115140" y="351789"/>
                </a:lnTo>
                <a:lnTo>
                  <a:pt x="122037" y="350519"/>
                </a:lnTo>
                <a:lnTo>
                  <a:pt x="125109" y="347979"/>
                </a:lnTo>
                <a:lnTo>
                  <a:pt x="126804" y="345439"/>
                </a:lnTo>
                <a:lnTo>
                  <a:pt x="128513" y="335279"/>
                </a:lnTo>
                <a:lnTo>
                  <a:pt x="128906" y="325119"/>
                </a:lnTo>
                <a:lnTo>
                  <a:pt x="131704" y="297179"/>
                </a:lnTo>
                <a:lnTo>
                  <a:pt x="137328" y="262889"/>
                </a:lnTo>
                <a:lnTo>
                  <a:pt x="143905" y="231139"/>
                </a:lnTo>
                <a:lnTo>
                  <a:pt x="149562" y="212089"/>
                </a:lnTo>
                <a:lnTo>
                  <a:pt x="151266" y="207009"/>
                </a:lnTo>
                <a:lnTo>
                  <a:pt x="147404" y="203199"/>
                </a:lnTo>
                <a:lnTo>
                  <a:pt x="135655" y="201929"/>
                </a:lnTo>
                <a:lnTo>
                  <a:pt x="212076" y="201929"/>
                </a:lnTo>
                <a:lnTo>
                  <a:pt x="194284" y="203199"/>
                </a:lnTo>
                <a:lnTo>
                  <a:pt x="187004" y="203199"/>
                </a:lnTo>
                <a:lnTo>
                  <a:pt x="183088" y="209549"/>
                </a:lnTo>
                <a:lnTo>
                  <a:pt x="169027" y="257809"/>
                </a:lnTo>
                <a:lnTo>
                  <a:pt x="160491" y="312419"/>
                </a:lnTo>
                <a:lnTo>
                  <a:pt x="158474" y="334009"/>
                </a:lnTo>
                <a:lnTo>
                  <a:pt x="158573" y="345439"/>
                </a:lnTo>
                <a:lnTo>
                  <a:pt x="158628" y="347979"/>
                </a:lnTo>
                <a:lnTo>
                  <a:pt x="162833" y="349249"/>
                </a:lnTo>
                <a:lnTo>
                  <a:pt x="176935" y="350519"/>
                </a:lnTo>
                <a:lnTo>
                  <a:pt x="412598" y="350519"/>
                </a:lnTo>
                <a:lnTo>
                  <a:pt x="477317" y="351789"/>
                </a:lnTo>
                <a:lnTo>
                  <a:pt x="737631" y="351789"/>
                </a:lnTo>
                <a:lnTo>
                  <a:pt x="737670" y="353059"/>
                </a:lnTo>
                <a:close/>
              </a:path>
              <a:path w="738505" h="740410">
                <a:moveTo>
                  <a:pt x="412598" y="350519"/>
                </a:moveTo>
                <a:lnTo>
                  <a:pt x="349151" y="350519"/>
                </a:lnTo>
                <a:lnTo>
                  <a:pt x="350438" y="279399"/>
                </a:lnTo>
                <a:lnTo>
                  <a:pt x="350525" y="271779"/>
                </a:lnTo>
                <a:lnTo>
                  <a:pt x="350650" y="226059"/>
                </a:lnTo>
                <a:lnTo>
                  <a:pt x="330890" y="201929"/>
                </a:lnTo>
                <a:lnTo>
                  <a:pt x="590597" y="201929"/>
                </a:lnTo>
                <a:lnTo>
                  <a:pt x="584012" y="203199"/>
                </a:lnTo>
                <a:lnTo>
                  <a:pt x="382573" y="203199"/>
                </a:lnTo>
                <a:lnTo>
                  <a:pt x="381311" y="271779"/>
                </a:lnTo>
                <a:lnTo>
                  <a:pt x="381058" y="292099"/>
                </a:lnTo>
                <a:lnTo>
                  <a:pt x="381100" y="328929"/>
                </a:lnTo>
                <a:lnTo>
                  <a:pt x="381361" y="340359"/>
                </a:lnTo>
                <a:lnTo>
                  <a:pt x="382058" y="347979"/>
                </a:lnTo>
                <a:lnTo>
                  <a:pt x="412598" y="350519"/>
                </a:lnTo>
                <a:close/>
              </a:path>
              <a:path w="738505" h="740410">
                <a:moveTo>
                  <a:pt x="657105" y="351789"/>
                </a:moveTo>
                <a:lnTo>
                  <a:pt x="477317" y="351789"/>
                </a:lnTo>
                <a:lnTo>
                  <a:pt x="542274" y="350519"/>
                </a:lnTo>
                <a:lnTo>
                  <a:pt x="573527" y="347979"/>
                </a:lnTo>
                <a:lnTo>
                  <a:pt x="571029" y="292099"/>
                </a:lnTo>
                <a:lnTo>
                  <a:pt x="563501" y="248919"/>
                </a:lnTo>
                <a:lnTo>
                  <a:pt x="549525" y="203199"/>
                </a:lnTo>
                <a:lnTo>
                  <a:pt x="584012" y="203199"/>
                </a:lnTo>
                <a:lnTo>
                  <a:pt x="581844" y="205739"/>
                </a:lnTo>
                <a:lnTo>
                  <a:pt x="582212" y="208279"/>
                </a:lnTo>
                <a:lnTo>
                  <a:pt x="585454" y="215899"/>
                </a:lnTo>
                <a:lnTo>
                  <a:pt x="587438" y="220979"/>
                </a:lnTo>
                <a:lnTo>
                  <a:pt x="589619" y="228599"/>
                </a:lnTo>
                <a:lnTo>
                  <a:pt x="591733" y="237489"/>
                </a:lnTo>
                <a:lnTo>
                  <a:pt x="593516" y="246379"/>
                </a:lnTo>
                <a:lnTo>
                  <a:pt x="595165" y="255269"/>
                </a:lnTo>
                <a:lnTo>
                  <a:pt x="596915" y="264159"/>
                </a:lnTo>
                <a:lnTo>
                  <a:pt x="598555" y="271779"/>
                </a:lnTo>
                <a:lnTo>
                  <a:pt x="599879" y="276859"/>
                </a:lnTo>
                <a:lnTo>
                  <a:pt x="601038" y="281939"/>
                </a:lnTo>
                <a:lnTo>
                  <a:pt x="602231" y="290829"/>
                </a:lnTo>
                <a:lnTo>
                  <a:pt x="603317" y="302259"/>
                </a:lnTo>
                <a:lnTo>
                  <a:pt x="605095" y="327659"/>
                </a:lnTo>
                <a:lnTo>
                  <a:pt x="606270" y="337819"/>
                </a:lnTo>
                <a:lnTo>
                  <a:pt x="607701" y="344169"/>
                </a:lnTo>
                <a:lnTo>
                  <a:pt x="609412" y="347979"/>
                </a:lnTo>
                <a:lnTo>
                  <a:pt x="625672" y="350519"/>
                </a:lnTo>
                <a:lnTo>
                  <a:pt x="657105" y="351789"/>
                </a:lnTo>
                <a:close/>
              </a:path>
              <a:path w="738505" h="740410">
                <a:moveTo>
                  <a:pt x="698102" y="542289"/>
                </a:moveTo>
                <a:lnTo>
                  <a:pt x="643901" y="542289"/>
                </a:lnTo>
                <a:lnTo>
                  <a:pt x="655925" y="541019"/>
                </a:lnTo>
                <a:lnTo>
                  <a:pt x="662068" y="539749"/>
                </a:lnTo>
                <a:lnTo>
                  <a:pt x="665801" y="535939"/>
                </a:lnTo>
                <a:lnTo>
                  <a:pt x="673328" y="525779"/>
                </a:lnTo>
                <a:lnTo>
                  <a:pt x="694650" y="473709"/>
                </a:lnTo>
                <a:lnTo>
                  <a:pt x="707629" y="414019"/>
                </a:lnTo>
                <a:lnTo>
                  <a:pt x="709547" y="392429"/>
                </a:lnTo>
                <a:lnTo>
                  <a:pt x="707460" y="382269"/>
                </a:lnTo>
                <a:lnTo>
                  <a:pt x="690806" y="379729"/>
                </a:lnTo>
                <a:lnTo>
                  <a:pt x="737818" y="379729"/>
                </a:lnTo>
                <a:lnTo>
                  <a:pt x="737479" y="405129"/>
                </a:lnTo>
                <a:lnTo>
                  <a:pt x="735092" y="434339"/>
                </a:lnTo>
                <a:lnTo>
                  <a:pt x="724635" y="478789"/>
                </a:lnTo>
                <a:lnTo>
                  <a:pt x="709058" y="520699"/>
                </a:lnTo>
                <a:lnTo>
                  <a:pt x="698102" y="542289"/>
                </a:lnTo>
                <a:close/>
              </a:path>
              <a:path w="738505" h="740410">
                <a:moveTo>
                  <a:pt x="190142" y="383539"/>
                </a:moveTo>
                <a:lnTo>
                  <a:pt x="112912" y="383539"/>
                </a:lnTo>
                <a:lnTo>
                  <a:pt x="99687" y="382269"/>
                </a:lnTo>
                <a:lnTo>
                  <a:pt x="220336" y="382269"/>
                </a:lnTo>
                <a:lnTo>
                  <a:pt x="190142" y="383539"/>
                </a:lnTo>
                <a:close/>
              </a:path>
              <a:path w="738505" h="740410">
                <a:moveTo>
                  <a:pt x="696813" y="544829"/>
                </a:moveTo>
                <a:lnTo>
                  <a:pt x="345429" y="544829"/>
                </a:lnTo>
                <a:lnTo>
                  <a:pt x="347976" y="538479"/>
                </a:lnTo>
                <a:lnTo>
                  <a:pt x="348969" y="529589"/>
                </a:lnTo>
                <a:lnTo>
                  <a:pt x="349635" y="513079"/>
                </a:lnTo>
                <a:lnTo>
                  <a:pt x="349801" y="499109"/>
                </a:lnTo>
                <a:lnTo>
                  <a:pt x="349917" y="481329"/>
                </a:lnTo>
                <a:lnTo>
                  <a:pt x="349805" y="453389"/>
                </a:lnTo>
                <a:lnTo>
                  <a:pt x="349159" y="383539"/>
                </a:lnTo>
                <a:lnTo>
                  <a:pt x="256604" y="382269"/>
                </a:lnTo>
                <a:lnTo>
                  <a:pt x="413620" y="382269"/>
                </a:lnTo>
                <a:lnTo>
                  <a:pt x="383395" y="384809"/>
                </a:lnTo>
                <a:lnTo>
                  <a:pt x="381502" y="407669"/>
                </a:lnTo>
                <a:lnTo>
                  <a:pt x="379839" y="457199"/>
                </a:lnTo>
                <a:lnTo>
                  <a:pt x="379108" y="502919"/>
                </a:lnTo>
                <a:lnTo>
                  <a:pt x="379147" y="513079"/>
                </a:lnTo>
                <a:lnTo>
                  <a:pt x="379685" y="535939"/>
                </a:lnTo>
                <a:lnTo>
                  <a:pt x="381393" y="542289"/>
                </a:lnTo>
                <a:lnTo>
                  <a:pt x="698102" y="542289"/>
                </a:lnTo>
                <a:lnTo>
                  <a:pt x="696813" y="544829"/>
                </a:lnTo>
                <a:close/>
              </a:path>
              <a:path w="738505" h="740410">
                <a:moveTo>
                  <a:pt x="584405" y="542289"/>
                </a:moveTo>
                <a:lnTo>
                  <a:pt x="545718" y="542289"/>
                </a:lnTo>
                <a:lnTo>
                  <a:pt x="549344" y="535939"/>
                </a:lnTo>
                <a:lnTo>
                  <a:pt x="560532" y="504189"/>
                </a:lnTo>
                <a:lnTo>
                  <a:pt x="570584" y="453389"/>
                </a:lnTo>
                <a:lnTo>
                  <a:pt x="576026" y="407669"/>
                </a:lnTo>
                <a:lnTo>
                  <a:pt x="576056" y="405129"/>
                </a:lnTo>
                <a:lnTo>
                  <a:pt x="573992" y="383539"/>
                </a:lnTo>
                <a:lnTo>
                  <a:pt x="542945" y="382269"/>
                </a:lnTo>
                <a:lnTo>
                  <a:pt x="611969" y="382269"/>
                </a:lnTo>
                <a:lnTo>
                  <a:pt x="609780" y="386079"/>
                </a:lnTo>
                <a:lnTo>
                  <a:pt x="608039" y="392429"/>
                </a:lnTo>
                <a:lnTo>
                  <a:pt x="606535" y="402589"/>
                </a:lnTo>
                <a:lnTo>
                  <a:pt x="605057" y="419099"/>
                </a:lnTo>
                <a:lnTo>
                  <a:pt x="601969" y="448309"/>
                </a:lnTo>
                <a:lnTo>
                  <a:pt x="597563" y="477519"/>
                </a:lnTo>
                <a:lnTo>
                  <a:pt x="592636" y="502919"/>
                </a:lnTo>
                <a:lnTo>
                  <a:pt x="587986" y="518159"/>
                </a:lnTo>
                <a:lnTo>
                  <a:pt x="586016" y="523239"/>
                </a:lnTo>
                <a:lnTo>
                  <a:pt x="584405" y="530859"/>
                </a:lnTo>
                <a:lnTo>
                  <a:pt x="584405" y="542289"/>
                </a:lnTo>
                <a:close/>
              </a:path>
              <a:path w="738505" h="740410">
                <a:moveTo>
                  <a:pt x="196355" y="543559"/>
                </a:moveTo>
                <a:lnTo>
                  <a:pt x="148273" y="543559"/>
                </a:lnTo>
                <a:lnTo>
                  <a:pt x="151317" y="542289"/>
                </a:lnTo>
                <a:lnTo>
                  <a:pt x="152257" y="541019"/>
                </a:lnTo>
                <a:lnTo>
                  <a:pt x="151224" y="534669"/>
                </a:lnTo>
                <a:lnTo>
                  <a:pt x="149020" y="528319"/>
                </a:lnTo>
                <a:lnTo>
                  <a:pt x="143274" y="506729"/>
                </a:lnTo>
                <a:lnTo>
                  <a:pt x="136874" y="474979"/>
                </a:lnTo>
                <a:lnTo>
                  <a:pt x="131388" y="441959"/>
                </a:lnTo>
                <a:lnTo>
                  <a:pt x="128389" y="415289"/>
                </a:lnTo>
                <a:lnTo>
                  <a:pt x="127566" y="405129"/>
                </a:lnTo>
                <a:lnTo>
                  <a:pt x="126451" y="396239"/>
                </a:lnTo>
                <a:lnTo>
                  <a:pt x="125191" y="388619"/>
                </a:lnTo>
                <a:lnTo>
                  <a:pt x="123932" y="386079"/>
                </a:lnTo>
                <a:lnTo>
                  <a:pt x="120548" y="383539"/>
                </a:lnTo>
                <a:lnTo>
                  <a:pt x="169142" y="383539"/>
                </a:lnTo>
                <a:lnTo>
                  <a:pt x="160458" y="384809"/>
                </a:lnTo>
                <a:lnTo>
                  <a:pt x="158734" y="387349"/>
                </a:lnTo>
                <a:lnTo>
                  <a:pt x="158063" y="392429"/>
                </a:lnTo>
                <a:lnTo>
                  <a:pt x="158410" y="402589"/>
                </a:lnTo>
                <a:lnTo>
                  <a:pt x="164917" y="461009"/>
                </a:lnTo>
                <a:lnTo>
                  <a:pt x="172526" y="499109"/>
                </a:lnTo>
                <a:lnTo>
                  <a:pt x="189036" y="542289"/>
                </a:lnTo>
                <a:lnTo>
                  <a:pt x="196355" y="543559"/>
                </a:lnTo>
                <a:close/>
              </a:path>
              <a:path w="738505" h="740410">
                <a:moveTo>
                  <a:pt x="238897" y="544829"/>
                </a:moveTo>
                <a:lnTo>
                  <a:pt x="129806" y="544829"/>
                </a:lnTo>
                <a:lnTo>
                  <a:pt x="140992" y="543559"/>
                </a:lnTo>
                <a:lnTo>
                  <a:pt x="213849" y="543559"/>
                </a:lnTo>
                <a:lnTo>
                  <a:pt x="238897" y="544829"/>
                </a:lnTo>
                <a:close/>
              </a:path>
              <a:path w="738505" h="740410">
                <a:moveTo>
                  <a:pt x="380211" y="706119"/>
                </a:moveTo>
                <a:lnTo>
                  <a:pt x="346588" y="706119"/>
                </a:lnTo>
                <a:lnTo>
                  <a:pt x="347873" y="643889"/>
                </a:lnTo>
                <a:lnTo>
                  <a:pt x="348004" y="633729"/>
                </a:lnTo>
                <a:lnTo>
                  <a:pt x="348094" y="598169"/>
                </a:lnTo>
                <a:lnTo>
                  <a:pt x="347706" y="584199"/>
                </a:lnTo>
                <a:lnTo>
                  <a:pt x="346953" y="577849"/>
                </a:lnTo>
                <a:lnTo>
                  <a:pt x="345024" y="572769"/>
                </a:lnTo>
                <a:lnTo>
                  <a:pt x="458000" y="572769"/>
                </a:lnTo>
                <a:lnTo>
                  <a:pt x="407053" y="574039"/>
                </a:lnTo>
                <a:lnTo>
                  <a:pt x="381798" y="576579"/>
                </a:lnTo>
                <a:lnTo>
                  <a:pt x="379718" y="598169"/>
                </a:lnTo>
                <a:lnTo>
                  <a:pt x="378724" y="638809"/>
                </a:lnTo>
                <a:lnTo>
                  <a:pt x="378778" y="687069"/>
                </a:lnTo>
                <a:lnTo>
                  <a:pt x="380211" y="706119"/>
                </a:lnTo>
                <a:close/>
              </a:path>
              <a:path w="738505" h="740410">
                <a:moveTo>
                  <a:pt x="523621" y="709929"/>
                </a:moveTo>
                <a:lnTo>
                  <a:pt x="387301" y="709929"/>
                </a:lnTo>
                <a:lnTo>
                  <a:pt x="399857" y="707389"/>
                </a:lnTo>
                <a:lnTo>
                  <a:pt x="414978" y="703579"/>
                </a:lnTo>
                <a:lnTo>
                  <a:pt x="455384" y="680719"/>
                </a:lnTo>
                <a:lnTo>
                  <a:pt x="504337" y="628649"/>
                </a:lnTo>
                <a:lnTo>
                  <a:pt x="529058" y="588009"/>
                </a:lnTo>
                <a:lnTo>
                  <a:pt x="532714" y="579119"/>
                </a:lnTo>
                <a:lnTo>
                  <a:pt x="531952" y="576579"/>
                </a:lnTo>
                <a:lnTo>
                  <a:pt x="508384" y="574039"/>
                </a:lnTo>
                <a:lnTo>
                  <a:pt x="458000" y="572769"/>
                </a:lnTo>
                <a:lnTo>
                  <a:pt x="604934" y="572769"/>
                </a:lnTo>
                <a:lnTo>
                  <a:pt x="581580" y="574039"/>
                </a:lnTo>
                <a:lnTo>
                  <a:pt x="569651" y="576579"/>
                </a:lnTo>
                <a:lnTo>
                  <a:pt x="567608" y="579119"/>
                </a:lnTo>
                <a:lnTo>
                  <a:pt x="563913" y="586739"/>
                </a:lnTo>
                <a:lnTo>
                  <a:pt x="559090" y="595629"/>
                </a:lnTo>
                <a:lnTo>
                  <a:pt x="538187" y="632459"/>
                </a:lnTo>
                <a:lnTo>
                  <a:pt x="519882" y="657859"/>
                </a:lnTo>
                <a:lnTo>
                  <a:pt x="511992" y="668019"/>
                </a:lnTo>
                <a:lnTo>
                  <a:pt x="505530" y="676909"/>
                </a:lnTo>
                <a:lnTo>
                  <a:pt x="501164" y="683259"/>
                </a:lnTo>
                <a:lnTo>
                  <a:pt x="499561" y="685799"/>
                </a:lnTo>
                <a:lnTo>
                  <a:pt x="501230" y="687069"/>
                </a:lnTo>
                <a:lnTo>
                  <a:pt x="565939" y="687069"/>
                </a:lnTo>
                <a:lnTo>
                  <a:pt x="555875" y="693419"/>
                </a:lnTo>
                <a:lnTo>
                  <a:pt x="532056" y="706119"/>
                </a:lnTo>
                <a:lnTo>
                  <a:pt x="523621" y="709929"/>
                </a:lnTo>
                <a:close/>
              </a:path>
              <a:path w="738505" h="740410">
                <a:moveTo>
                  <a:pt x="565939" y="687069"/>
                </a:moveTo>
                <a:lnTo>
                  <a:pt x="501230" y="687069"/>
                </a:lnTo>
                <a:lnTo>
                  <a:pt x="505790" y="685799"/>
                </a:lnTo>
                <a:lnTo>
                  <a:pt x="512568" y="683259"/>
                </a:lnTo>
                <a:lnTo>
                  <a:pt x="520895" y="678179"/>
                </a:lnTo>
                <a:lnTo>
                  <a:pt x="527066" y="674369"/>
                </a:lnTo>
                <a:lnTo>
                  <a:pt x="573924" y="645159"/>
                </a:lnTo>
                <a:lnTo>
                  <a:pt x="605671" y="617219"/>
                </a:lnTo>
                <a:lnTo>
                  <a:pt x="639688" y="575309"/>
                </a:lnTo>
                <a:lnTo>
                  <a:pt x="628155" y="574039"/>
                </a:lnTo>
                <a:lnTo>
                  <a:pt x="604934" y="572769"/>
                </a:lnTo>
                <a:lnTo>
                  <a:pt x="680489" y="572769"/>
                </a:lnTo>
                <a:lnTo>
                  <a:pt x="632329" y="633729"/>
                </a:lnTo>
                <a:lnTo>
                  <a:pt x="596991" y="665479"/>
                </a:lnTo>
                <a:lnTo>
                  <a:pt x="571978" y="683259"/>
                </a:lnTo>
                <a:lnTo>
                  <a:pt x="565939" y="687069"/>
                </a:lnTo>
                <a:close/>
              </a:path>
              <a:path w="738505" h="740410">
                <a:moveTo>
                  <a:pt x="279139" y="679449"/>
                </a:moveTo>
                <a:lnTo>
                  <a:pt x="226354" y="679449"/>
                </a:lnTo>
                <a:lnTo>
                  <a:pt x="226709" y="674369"/>
                </a:lnTo>
                <a:lnTo>
                  <a:pt x="213862" y="656589"/>
                </a:lnTo>
                <a:lnTo>
                  <a:pt x="186326" y="615949"/>
                </a:lnTo>
                <a:lnTo>
                  <a:pt x="171201" y="588009"/>
                </a:lnTo>
                <a:lnTo>
                  <a:pt x="163331" y="579119"/>
                </a:lnTo>
                <a:lnTo>
                  <a:pt x="151880" y="576579"/>
                </a:lnTo>
                <a:lnTo>
                  <a:pt x="131513" y="575309"/>
                </a:lnTo>
                <a:lnTo>
                  <a:pt x="225989" y="575309"/>
                </a:lnTo>
                <a:lnTo>
                  <a:pt x="209202" y="576579"/>
                </a:lnTo>
                <a:lnTo>
                  <a:pt x="202521" y="577849"/>
                </a:lnTo>
                <a:lnTo>
                  <a:pt x="201322" y="580389"/>
                </a:lnTo>
                <a:lnTo>
                  <a:pt x="201322" y="582929"/>
                </a:lnTo>
                <a:lnTo>
                  <a:pt x="202353" y="586739"/>
                </a:lnTo>
                <a:lnTo>
                  <a:pt x="204872" y="588009"/>
                </a:lnTo>
                <a:lnTo>
                  <a:pt x="209058" y="594359"/>
                </a:lnTo>
                <a:lnTo>
                  <a:pt x="212915" y="601979"/>
                </a:lnTo>
                <a:lnTo>
                  <a:pt x="238909" y="641349"/>
                </a:lnTo>
                <a:lnTo>
                  <a:pt x="271969" y="674369"/>
                </a:lnTo>
                <a:lnTo>
                  <a:pt x="279139" y="679449"/>
                </a:lnTo>
                <a:close/>
              </a:path>
            </a:pathLst>
          </a:custGeom>
          <a:solidFill>
            <a:srgbClr val="FFFFFF"/>
          </a:solidFill>
        </p:spPr>
        <p:txBody>
          <a:bodyPr wrap="square" lIns="0" tIns="0" rIns="0" bIns="0" rtlCol="0"/>
          <a:lstStyle/>
          <a:p>
            <a:endParaRPr/>
          </a:p>
        </p:txBody>
      </p:sp>
      <p:sp>
        <p:nvSpPr>
          <p:cNvPr id="52" name="object 52"/>
          <p:cNvSpPr txBox="1"/>
          <p:nvPr/>
        </p:nvSpPr>
        <p:spPr>
          <a:xfrm>
            <a:off x="15405461" y="2154192"/>
            <a:ext cx="781685" cy="237490"/>
          </a:xfrm>
          <a:prstGeom prst="rect">
            <a:avLst/>
          </a:prstGeom>
        </p:spPr>
        <p:txBody>
          <a:bodyPr vert="horz" wrap="square" lIns="0" tIns="11430" rIns="0" bIns="0" rtlCol="0">
            <a:spAutoFit/>
          </a:bodyPr>
          <a:lstStyle/>
          <a:p>
            <a:pPr marL="12700">
              <a:lnSpc>
                <a:spcPct val="100000"/>
              </a:lnSpc>
              <a:spcBef>
                <a:spcPts val="90"/>
              </a:spcBef>
            </a:pPr>
            <a:r>
              <a:rPr sz="1400" b="1" spc="-10" dirty="0">
                <a:solidFill>
                  <a:srgbClr val="737373"/>
                </a:solidFill>
                <a:latin typeface="Roboto"/>
                <a:cs typeface="Roboto"/>
              </a:rPr>
              <a:t>Colombia</a:t>
            </a:r>
            <a:endParaRPr sz="1400">
              <a:latin typeface="Roboto"/>
              <a:cs typeface="Roboto"/>
            </a:endParaRPr>
          </a:p>
        </p:txBody>
      </p:sp>
      <p:sp>
        <p:nvSpPr>
          <p:cNvPr id="53" name="object 53"/>
          <p:cNvSpPr txBox="1"/>
          <p:nvPr/>
        </p:nvSpPr>
        <p:spPr>
          <a:xfrm>
            <a:off x="16810873" y="2145596"/>
            <a:ext cx="491490" cy="237490"/>
          </a:xfrm>
          <a:prstGeom prst="rect">
            <a:avLst/>
          </a:prstGeom>
        </p:spPr>
        <p:txBody>
          <a:bodyPr vert="horz" wrap="square" lIns="0" tIns="11430" rIns="0" bIns="0" rtlCol="0">
            <a:spAutoFit/>
          </a:bodyPr>
          <a:lstStyle/>
          <a:p>
            <a:pPr marL="12700">
              <a:lnSpc>
                <a:spcPct val="100000"/>
              </a:lnSpc>
              <a:spcBef>
                <a:spcPts val="90"/>
              </a:spcBef>
            </a:pPr>
            <a:r>
              <a:rPr sz="1400" b="1" spc="-20" dirty="0">
                <a:solidFill>
                  <a:srgbClr val="737373"/>
                </a:solidFill>
                <a:latin typeface="Roboto"/>
                <a:cs typeface="Roboto"/>
              </a:rPr>
              <a:t>CABA</a:t>
            </a:r>
            <a:endParaRPr sz="1400">
              <a:latin typeface="Roboto"/>
              <a:cs typeface="Roboto"/>
            </a:endParaRPr>
          </a:p>
        </p:txBody>
      </p:sp>
      <p:sp>
        <p:nvSpPr>
          <p:cNvPr id="54" name="object 54"/>
          <p:cNvSpPr txBox="1"/>
          <p:nvPr/>
        </p:nvSpPr>
        <p:spPr>
          <a:xfrm>
            <a:off x="637985" y="384153"/>
            <a:ext cx="8619490"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4.</a:t>
            </a:r>
            <a:r>
              <a:rPr sz="3000" spc="-95" dirty="0">
                <a:solidFill>
                  <a:srgbClr val="FFFFFF"/>
                </a:solidFill>
                <a:latin typeface="Roboto"/>
                <a:cs typeface="Roboto"/>
              </a:rPr>
              <a:t> </a:t>
            </a:r>
            <a:r>
              <a:rPr sz="3000" spc="-20" dirty="0">
                <a:solidFill>
                  <a:srgbClr val="FFFFFF"/>
                </a:solidFill>
                <a:latin typeface="Roboto"/>
                <a:cs typeface="Roboto"/>
              </a:rPr>
              <a:t>Propuesta</a:t>
            </a:r>
            <a:r>
              <a:rPr sz="3000" spc="-90" dirty="0">
                <a:solidFill>
                  <a:srgbClr val="FFFFFF"/>
                </a:solidFill>
                <a:latin typeface="Roboto"/>
                <a:cs typeface="Roboto"/>
              </a:rPr>
              <a:t> </a:t>
            </a:r>
            <a:r>
              <a:rPr sz="3000" dirty="0">
                <a:solidFill>
                  <a:srgbClr val="FFFFFF"/>
                </a:solidFill>
                <a:latin typeface="Roboto"/>
                <a:cs typeface="Roboto"/>
              </a:rPr>
              <a:t>de</a:t>
            </a:r>
            <a:r>
              <a:rPr sz="3000" spc="-90" dirty="0">
                <a:solidFill>
                  <a:srgbClr val="FFFFFF"/>
                </a:solidFill>
                <a:latin typeface="Roboto"/>
                <a:cs typeface="Roboto"/>
              </a:rPr>
              <a:t> </a:t>
            </a:r>
            <a:r>
              <a:rPr sz="3000" spc="-20" dirty="0">
                <a:solidFill>
                  <a:srgbClr val="FFFFFF"/>
                </a:solidFill>
                <a:latin typeface="Roboto"/>
                <a:cs typeface="Roboto"/>
              </a:rPr>
              <a:t>marketing</a:t>
            </a:r>
            <a:r>
              <a:rPr sz="3000" spc="-95" dirty="0">
                <a:solidFill>
                  <a:srgbClr val="FFFFFF"/>
                </a:solidFill>
                <a:latin typeface="Roboto"/>
                <a:cs typeface="Roboto"/>
              </a:rPr>
              <a:t> </a:t>
            </a:r>
            <a:r>
              <a:rPr sz="3000" dirty="0">
                <a:solidFill>
                  <a:srgbClr val="FFFFFF"/>
                </a:solidFill>
                <a:latin typeface="Roboto"/>
                <a:cs typeface="Roboto"/>
              </a:rPr>
              <a:t>para</a:t>
            </a:r>
            <a:r>
              <a:rPr sz="3000" spc="-90" dirty="0">
                <a:solidFill>
                  <a:srgbClr val="FFFFFF"/>
                </a:solidFill>
                <a:latin typeface="Roboto"/>
                <a:cs typeface="Roboto"/>
              </a:rPr>
              <a:t> </a:t>
            </a:r>
            <a:r>
              <a:rPr sz="3000" dirty="0">
                <a:solidFill>
                  <a:srgbClr val="FFFFFF"/>
                </a:solidFill>
                <a:latin typeface="Roboto"/>
                <a:cs typeface="Roboto"/>
              </a:rPr>
              <a:t>Colombia</a:t>
            </a:r>
            <a:r>
              <a:rPr sz="3000" spc="-90" dirty="0">
                <a:solidFill>
                  <a:srgbClr val="FFFFFF"/>
                </a:solidFill>
                <a:latin typeface="Roboto"/>
                <a:cs typeface="Roboto"/>
              </a:rPr>
              <a:t> </a:t>
            </a:r>
            <a:r>
              <a:rPr sz="3000" dirty="0">
                <a:solidFill>
                  <a:srgbClr val="FFFFFF"/>
                </a:solidFill>
                <a:latin typeface="Roboto"/>
                <a:cs typeface="Roboto"/>
              </a:rPr>
              <a:t>y</a:t>
            </a:r>
            <a:r>
              <a:rPr sz="3000" spc="-90" dirty="0">
                <a:solidFill>
                  <a:srgbClr val="FFFFFF"/>
                </a:solidFill>
                <a:latin typeface="Roboto"/>
                <a:cs typeface="Roboto"/>
              </a:rPr>
              <a:t> </a:t>
            </a:r>
            <a:r>
              <a:rPr sz="3000" spc="-20" dirty="0">
                <a:solidFill>
                  <a:srgbClr val="FFFFFF"/>
                </a:solidFill>
                <a:latin typeface="Roboto"/>
                <a:cs typeface="Roboto"/>
              </a:rPr>
              <a:t>CABA</a:t>
            </a:r>
            <a:endParaRPr sz="3000">
              <a:latin typeface="Roboto"/>
              <a:cs typeface="Roboto"/>
            </a:endParaRPr>
          </a:p>
        </p:txBody>
      </p:sp>
      <p:sp>
        <p:nvSpPr>
          <p:cNvPr id="55" name="object 55"/>
          <p:cNvSpPr txBox="1"/>
          <p:nvPr/>
        </p:nvSpPr>
        <p:spPr>
          <a:xfrm>
            <a:off x="2438692" y="1604064"/>
            <a:ext cx="6142355" cy="482600"/>
          </a:xfrm>
          <a:prstGeom prst="rect">
            <a:avLst/>
          </a:prstGeom>
        </p:spPr>
        <p:txBody>
          <a:bodyPr vert="horz" wrap="square" lIns="0" tIns="12700" rIns="0" bIns="0" rtlCol="0">
            <a:spAutoFit/>
          </a:bodyPr>
          <a:lstStyle/>
          <a:p>
            <a:pPr marL="12700">
              <a:lnSpc>
                <a:spcPct val="100000"/>
              </a:lnSpc>
              <a:spcBef>
                <a:spcPts val="100"/>
              </a:spcBef>
            </a:pPr>
            <a:r>
              <a:rPr sz="3000" spc="-10" dirty="0">
                <a:solidFill>
                  <a:srgbClr val="737373"/>
                </a:solidFill>
                <a:latin typeface="Roboto"/>
                <a:cs typeface="Roboto"/>
              </a:rPr>
              <a:t>Paquete</a:t>
            </a:r>
            <a:r>
              <a:rPr sz="3000" spc="-160" dirty="0">
                <a:solidFill>
                  <a:srgbClr val="737373"/>
                </a:solidFill>
                <a:latin typeface="Roboto"/>
                <a:cs typeface="Roboto"/>
              </a:rPr>
              <a:t> </a:t>
            </a:r>
            <a:r>
              <a:rPr sz="3000" dirty="0">
                <a:solidFill>
                  <a:srgbClr val="737373"/>
                </a:solidFill>
                <a:latin typeface="Roboto"/>
                <a:cs typeface="Roboto"/>
              </a:rPr>
              <a:t>promocional</a:t>
            </a:r>
            <a:r>
              <a:rPr sz="3000" spc="-160" dirty="0">
                <a:solidFill>
                  <a:srgbClr val="737373"/>
                </a:solidFill>
                <a:latin typeface="Roboto"/>
                <a:cs typeface="Roboto"/>
              </a:rPr>
              <a:t> </a:t>
            </a:r>
            <a:r>
              <a:rPr sz="3000" dirty="0">
                <a:solidFill>
                  <a:srgbClr val="737373"/>
                </a:solidFill>
                <a:latin typeface="Roboto"/>
                <a:cs typeface="Roboto"/>
              </a:rPr>
              <a:t>mercados</a:t>
            </a:r>
            <a:r>
              <a:rPr sz="3000" spc="-155" dirty="0">
                <a:solidFill>
                  <a:srgbClr val="737373"/>
                </a:solidFill>
                <a:latin typeface="Roboto"/>
                <a:cs typeface="Roboto"/>
              </a:rPr>
              <a:t> </a:t>
            </a:r>
            <a:r>
              <a:rPr sz="3000" spc="-25" dirty="0">
                <a:solidFill>
                  <a:srgbClr val="737373"/>
                </a:solidFill>
                <a:latin typeface="Roboto"/>
                <a:cs typeface="Roboto"/>
              </a:rPr>
              <a:t>90º</a:t>
            </a:r>
            <a:endParaRPr sz="3000">
              <a:latin typeface="Roboto"/>
              <a:cs typeface="Roboto"/>
            </a:endParaRPr>
          </a:p>
        </p:txBody>
      </p:sp>
      <p:sp>
        <p:nvSpPr>
          <p:cNvPr id="56" name="object 56"/>
          <p:cNvSpPr/>
          <p:nvPr/>
        </p:nvSpPr>
        <p:spPr>
          <a:xfrm>
            <a:off x="6437706" y="2807029"/>
            <a:ext cx="11651615" cy="1224280"/>
          </a:xfrm>
          <a:custGeom>
            <a:avLst/>
            <a:gdLst/>
            <a:ahLst/>
            <a:cxnLst/>
            <a:rect l="l" t="t" r="r" b="b"/>
            <a:pathLst>
              <a:path w="11651615" h="1224279">
                <a:moveTo>
                  <a:pt x="11651526" y="0"/>
                </a:moveTo>
                <a:lnTo>
                  <a:pt x="0" y="0"/>
                </a:lnTo>
                <a:lnTo>
                  <a:pt x="0" y="784098"/>
                </a:lnTo>
                <a:lnTo>
                  <a:pt x="255663" y="784098"/>
                </a:lnTo>
                <a:lnTo>
                  <a:pt x="507034" y="1224013"/>
                </a:lnTo>
                <a:lnTo>
                  <a:pt x="758405" y="784098"/>
                </a:lnTo>
                <a:lnTo>
                  <a:pt x="11651526" y="784098"/>
                </a:lnTo>
                <a:lnTo>
                  <a:pt x="11651526" y="0"/>
                </a:lnTo>
                <a:close/>
              </a:path>
            </a:pathLst>
          </a:custGeom>
          <a:solidFill>
            <a:srgbClr val="E3112B"/>
          </a:solidFill>
        </p:spPr>
        <p:txBody>
          <a:bodyPr wrap="square" lIns="0" tIns="0" rIns="0" bIns="0" rtlCol="0"/>
          <a:lstStyle/>
          <a:p>
            <a:endParaRPr/>
          </a:p>
        </p:txBody>
      </p:sp>
      <p:sp>
        <p:nvSpPr>
          <p:cNvPr id="57" name="object 57"/>
          <p:cNvSpPr txBox="1"/>
          <p:nvPr/>
        </p:nvSpPr>
        <p:spPr>
          <a:xfrm>
            <a:off x="6932053" y="2957778"/>
            <a:ext cx="387096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Acciones</a:t>
            </a:r>
            <a:r>
              <a:rPr sz="2400" b="1" spc="10" dirty="0">
                <a:solidFill>
                  <a:srgbClr val="FFFFFF"/>
                </a:solidFill>
                <a:latin typeface="Arial"/>
                <a:cs typeface="Arial"/>
              </a:rPr>
              <a:t> </a:t>
            </a:r>
            <a:r>
              <a:rPr sz="2400" b="1" spc="90" dirty="0">
                <a:solidFill>
                  <a:srgbClr val="FFFFFF"/>
                </a:solidFill>
                <a:latin typeface="Arial"/>
                <a:cs typeface="Arial"/>
              </a:rPr>
              <a:t>clave</a:t>
            </a:r>
            <a:r>
              <a:rPr sz="2400" b="1" spc="15" dirty="0">
                <a:solidFill>
                  <a:srgbClr val="FFFFFF"/>
                </a:solidFill>
                <a:latin typeface="Arial"/>
                <a:cs typeface="Arial"/>
              </a:rPr>
              <a:t> </a:t>
            </a:r>
            <a:r>
              <a:rPr sz="2400" b="1" spc="114" dirty="0">
                <a:solidFill>
                  <a:srgbClr val="FFFFFF"/>
                </a:solidFill>
                <a:latin typeface="Arial"/>
                <a:cs typeface="Arial"/>
              </a:rPr>
              <a:t>(anuales)</a:t>
            </a:r>
            <a:endParaRPr sz="2400">
              <a:latin typeface="Arial"/>
              <a:cs typeface="Arial"/>
            </a:endParaRPr>
          </a:p>
        </p:txBody>
      </p:sp>
      <p:sp>
        <p:nvSpPr>
          <p:cNvPr id="58" name="object 58"/>
          <p:cNvSpPr/>
          <p:nvPr/>
        </p:nvSpPr>
        <p:spPr>
          <a:xfrm>
            <a:off x="196380" y="2807029"/>
            <a:ext cx="6019800" cy="1224280"/>
          </a:xfrm>
          <a:custGeom>
            <a:avLst/>
            <a:gdLst/>
            <a:ahLst/>
            <a:cxnLst/>
            <a:rect l="l" t="t" r="r" b="b"/>
            <a:pathLst>
              <a:path w="6019800" h="1224279">
                <a:moveTo>
                  <a:pt x="6019508" y="0"/>
                </a:moveTo>
                <a:lnTo>
                  <a:pt x="0" y="0"/>
                </a:lnTo>
                <a:lnTo>
                  <a:pt x="0" y="784098"/>
                </a:lnTo>
                <a:lnTo>
                  <a:pt x="255663" y="784098"/>
                </a:lnTo>
                <a:lnTo>
                  <a:pt x="507034" y="1224013"/>
                </a:lnTo>
                <a:lnTo>
                  <a:pt x="758405" y="784098"/>
                </a:lnTo>
                <a:lnTo>
                  <a:pt x="6019508" y="784098"/>
                </a:lnTo>
                <a:lnTo>
                  <a:pt x="6019508" y="0"/>
                </a:lnTo>
                <a:close/>
              </a:path>
            </a:pathLst>
          </a:custGeom>
          <a:solidFill>
            <a:srgbClr val="E3112B"/>
          </a:solidFill>
        </p:spPr>
        <p:txBody>
          <a:bodyPr wrap="square" lIns="0" tIns="0" rIns="0" bIns="0" rtlCol="0"/>
          <a:lstStyle/>
          <a:p>
            <a:endParaRPr/>
          </a:p>
        </p:txBody>
      </p:sp>
      <p:sp>
        <p:nvSpPr>
          <p:cNvPr id="59" name="object 59"/>
          <p:cNvSpPr txBox="1"/>
          <p:nvPr/>
        </p:nvSpPr>
        <p:spPr>
          <a:xfrm>
            <a:off x="1896142" y="2957778"/>
            <a:ext cx="249809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Foco</a:t>
            </a:r>
            <a:r>
              <a:rPr sz="2400" b="1" spc="-35" dirty="0">
                <a:solidFill>
                  <a:srgbClr val="FFFFFF"/>
                </a:solidFill>
                <a:latin typeface="Arial"/>
                <a:cs typeface="Arial"/>
              </a:rPr>
              <a:t> </a:t>
            </a:r>
            <a:r>
              <a:rPr sz="2400" b="1" spc="130" dirty="0">
                <a:solidFill>
                  <a:srgbClr val="FFFFFF"/>
                </a:solidFill>
                <a:latin typeface="Arial"/>
                <a:cs typeface="Arial"/>
              </a:rPr>
              <a:t>de</a:t>
            </a:r>
            <a:r>
              <a:rPr sz="2400" b="1" spc="-30" dirty="0">
                <a:solidFill>
                  <a:srgbClr val="FFFFFF"/>
                </a:solidFill>
                <a:latin typeface="Arial"/>
                <a:cs typeface="Arial"/>
              </a:rPr>
              <a:t> </a:t>
            </a:r>
            <a:r>
              <a:rPr sz="2400" b="1" spc="175" dirty="0">
                <a:solidFill>
                  <a:srgbClr val="FFFFFF"/>
                </a:solidFill>
                <a:latin typeface="Arial"/>
                <a:cs typeface="Arial"/>
              </a:rPr>
              <a:t>trabajo</a:t>
            </a:r>
            <a:endParaRPr sz="2400">
              <a:latin typeface="Arial"/>
              <a:cs typeface="Arial"/>
            </a:endParaRPr>
          </a:p>
        </p:txBody>
      </p:sp>
      <p:sp>
        <p:nvSpPr>
          <p:cNvPr id="60" name="object 60"/>
          <p:cNvSpPr txBox="1"/>
          <p:nvPr/>
        </p:nvSpPr>
        <p:spPr>
          <a:xfrm>
            <a:off x="1171593" y="8669125"/>
            <a:ext cx="1657350" cy="983615"/>
          </a:xfrm>
          <a:prstGeom prst="rect">
            <a:avLst/>
          </a:prstGeom>
        </p:spPr>
        <p:txBody>
          <a:bodyPr vert="horz" wrap="square" lIns="0" tIns="24765" rIns="0" bIns="0" rtlCol="0">
            <a:spAutoFit/>
          </a:bodyPr>
          <a:lstStyle/>
          <a:p>
            <a:pPr marL="259715" marR="252095" algn="ctr">
              <a:lnSpc>
                <a:spcPts val="1880"/>
              </a:lnSpc>
              <a:spcBef>
                <a:spcPts val="195"/>
              </a:spcBef>
            </a:pPr>
            <a:r>
              <a:rPr sz="1600" spc="-10" dirty="0">
                <a:solidFill>
                  <a:srgbClr val="737373"/>
                </a:solidFill>
                <a:latin typeface="Roboto"/>
                <a:cs typeface="Roboto"/>
              </a:rPr>
              <a:t>Trabajar</a:t>
            </a:r>
            <a:r>
              <a:rPr sz="1600" spc="-70" dirty="0">
                <a:solidFill>
                  <a:srgbClr val="737373"/>
                </a:solidFill>
                <a:latin typeface="Roboto"/>
                <a:cs typeface="Roboto"/>
              </a:rPr>
              <a:t> </a:t>
            </a:r>
            <a:r>
              <a:rPr sz="1600" spc="-25" dirty="0">
                <a:solidFill>
                  <a:srgbClr val="737373"/>
                </a:solidFill>
                <a:latin typeface="Roboto"/>
                <a:cs typeface="Roboto"/>
              </a:rPr>
              <a:t>con </a:t>
            </a:r>
            <a:r>
              <a:rPr sz="1600" dirty="0">
                <a:solidFill>
                  <a:srgbClr val="737373"/>
                </a:solidFill>
                <a:latin typeface="Roboto"/>
                <a:cs typeface="Roboto"/>
              </a:rPr>
              <a:t>OTAs</a:t>
            </a:r>
            <a:r>
              <a:rPr sz="1600" spc="-30" dirty="0">
                <a:solidFill>
                  <a:srgbClr val="737373"/>
                </a:solidFill>
                <a:latin typeface="Roboto"/>
                <a:cs typeface="Roboto"/>
              </a:rPr>
              <a:t> </a:t>
            </a:r>
            <a:r>
              <a:rPr sz="1600" spc="-20" dirty="0">
                <a:solidFill>
                  <a:srgbClr val="737373"/>
                </a:solidFill>
                <a:latin typeface="Roboto"/>
                <a:cs typeface="Roboto"/>
              </a:rPr>
              <a:t>para</a:t>
            </a:r>
            <a:endParaRPr sz="1600">
              <a:latin typeface="Roboto"/>
              <a:cs typeface="Roboto"/>
            </a:endParaRPr>
          </a:p>
          <a:p>
            <a:pPr algn="ctr">
              <a:lnSpc>
                <a:spcPts val="1789"/>
              </a:lnSpc>
            </a:pPr>
            <a:r>
              <a:rPr sz="1600" dirty="0">
                <a:solidFill>
                  <a:srgbClr val="737373"/>
                </a:solidFill>
                <a:latin typeface="Roboto"/>
                <a:cs typeface="Roboto"/>
              </a:rPr>
              <a:t>crear</a:t>
            </a:r>
            <a:r>
              <a:rPr sz="1600" spc="-70" dirty="0">
                <a:solidFill>
                  <a:srgbClr val="737373"/>
                </a:solidFill>
                <a:latin typeface="Roboto"/>
                <a:cs typeface="Roboto"/>
              </a:rPr>
              <a:t> </a:t>
            </a:r>
            <a:r>
              <a:rPr sz="1600" b="1" dirty="0">
                <a:solidFill>
                  <a:srgbClr val="E3112B"/>
                </a:solidFill>
                <a:latin typeface="Roboto"/>
                <a:cs typeface="Roboto"/>
              </a:rPr>
              <a:t>paquetes</a:t>
            </a:r>
            <a:r>
              <a:rPr sz="1600" b="1" spc="-65" dirty="0">
                <a:solidFill>
                  <a:srgbClr val="E3112B"/>
                </a:solidFill>
                <a:latin typeface="Roboto"/>
                <a:cs typeface="Roboto"/>
              </a:rPr>
              <a:t> </a:t>
            </a:r>
            <a:r>
              <a:rPr sz="1600" b="1" spc="-25" dirty="0">
                <a:solidFill>
                  <a:srgbClr val="E3112B"/>
                </a:solidFill>
                <a:latin typeface="Roboto"/>
                <a:cs typeface="Roboto"/>
              </a:rPr>
              <a:t>de</a:t>
            </a:r>
            <a:endParaRPr sz="1600">
              <a:latin typeface="Roboto"/>
              <a:cs typeface="Roboto"/>
            </a:endParaRPr>
          </a:p>
          <a:p>
            <a:pPr algn="ctr">
              <a:lnSpc>
                <a:spcPts val="1900"/>
              </a:lnSpc>
            </a:pPr>
            <a:r>
              <a:rPr sz="1600" b="1" spc="-10" dirty="0">
                <a:solidFill>
                  <a:srgbClr val="E3112B"/>
                </a:solidFill>
                <a:latin typeface="Roboto"/>
                <a:cs typeface="Roboto"/>
              </a:rPr>
              <a:t>viaje</a:t>
            </a:r>
            <a:endParaRPr sz="1600">
              <a:latin typeface="Roboto"/>
              <a:cs typeface="Roboto"/>
            </a:endParaRPr>
          </a:p>
        </p:txBody>
      </p:sp>
      <p:sp>
        <p:nvSpPr>
          <p:cNvPr id="61" name="object 61"/>
          <p:cNvSpPr txBox="1"/>
          <p:nvPr/>
        </p:nvSpPr>
        <p:spPr>
          <a:xfrm>
            <a:off x="3890117" y="5025185"/>
            <a:ext cx="1432560" cy="507365"/>
          </a:xfrm>
          <a:prstGeom prst="rect">
            <a:avLst/>
          </a:prstGeom>
        </p:spPr>
        <p:txBody>
          <a:bodyPr vert="horz" wrap="square" lIns="0" tIns="12700" rIns="0" bIns="0" rtlCol="0">
            <a:spAutoFit/>
          </a:bodyPr>
          <a:lstStyle/>
          <a:p>
            <a:pPr algn="ctr">
              <a:lnSpc>
                <a:spcPts val="1900"/>
              </a:lnSpc>
              <a:spcBef>
                <a:spcPts val="100"/>
              </a:spcBef>
            </a:pPr>
            <a:r>
              <a:rPr sz="1600" dirty="0">
                <a:solidFill>
                  <a:srgbClr val="737373"/>
                </a:solidFill>
                <a:latin typeface="Roboto"/>
                <a:cs typeface="Roboto"/>
              </a:rPr>
              <a:t>Foco</a:t>
            </a:r>
            <a:r>
              <a:rPr sz="1600" spc="-95" dirty="0">
                <a:solidFill>
                  <a:srgbClr val="737373"/>
                </a:solidFill>
                <a:latin typeface="Roboto"/>
                <a:cs typeface="Roboto"/>
              </a:rPr>
              <a:t> </a:t>
            </a:r>
            <a:r>
              <a:rPr sz="1600" spc="-10" dirty="0">
                <a:solidFill>
                  <a:srgbClr val="737373"/>
                </a:solidFill>
                <a:latin typeface="Roboto"/>
                <a:cs typeface="Roboto"/>
              </a:rPr>
              <a:t>segmento</a:t>
            </a:r>
            <a:endParaRPr sz="1600">
              <a:latin typeface="Roboto"/>
              <a:cs typeface="Roboto"/>
            </a:endParaRPr>
          </a:p>
          <a:p>
            <a:pPr algn="ctr">
              <a:lnSpc>
                <a:spcPts val="1895"/>
              </a:lnSpc>
            </a:pPr>
            <a:r>
              <a:rPr sz="1600" b="1" spc="-10" dirty="0">
                <a:solidFill>
                  <a:srgbClr val="E3112B"/>
                </a:solidFill>
                <a:latin typeface="Roboto"/>
                <a:cs typeface="Roboto"/>
              </a:rPr>
              <a:t>"upscale"</a:t>
            </a:r>
            <a:endParaRPr sz="1600">
              <a:latin typeface="Roboto"/>
              <a:cs typeface="Roboto"/>
            </a:endParaRPr>
          </a:p>
        </p:txBody>
      </p:sp>
      <p:sp>
        <p:nvSpPr>
          <p:cNvPr id="62" name="object 62"/>
          <p:cNvSpPr txBox="1"/>
          <p:nvPr/>
        </p:nvSpPr>
        <p:spPr>
          <a:xfrm>
            <a:off x="877828" y="5025185"/>
            <a:ext cx="2244725" cy="507365"/>
          </a:xfrm>
          <a:prstGeom prst="rect">
            <a:avLst/>
          </a:prstGeom>
        </p:spPr>
        <p:txBody>
          <a:bodyPr vert="horz" wrap="square" lIns="0" tIns="12700" rIns="0" bIns="0" rtlCol="0">
            <a:spAutoFit/>
          </a:bodyPr>
          <a:lstStyle/>
          <a:p>
            <a:pPr marR="41910" algn="ctr">
              <a:lnSpc>
                <a:spcPts val="1900"/>
              </a:lnSpc>
              <a:spcBef>
                <a:spcPts val="100"/>
              </a:spcBef>
            </a:pPr>
            <a:r>
              <a:rPr sz="1600" spc="-10" dirty="0">
                <a:solidFill>
                  <a:srgbClr val="737373"/>
                </a:solidFill>
                <a:latin typeface="Roboto"/>
                <a:cs typeface="Roboto"/>
              </a:rPr>
              <a:t>Incrementar</a:t>
            </a:r>
            <a:endParaRPr sz="1600">
              <a:latin typeface="Roboto"/>
              <a:cs typeface="Roboto"/>
            </a:endParaRPr>
          </a:p>
          <a:p>
            <a:pPr algn="ctr">
              <a:lnSpc>
                <a:spcPts val="1895"/>
              </a:lnSpc>
            </a:pPr>
            <a:r>
              <a:rPr sz="1600" b="1" dirty="0">
                <a:solidFill>
                  <a:srgbClr val="E3112B"/>
                </a:solidFill>
                <a:latin typeface="Roboto"/>
                <a:cs typeface="Roboto"/>
              </a:rPr>
              <a:t>llegadas</a:t>
            </a:r>
            <a:r>
              <a:rPr sz="1600" b="1" spc="-50" dirty="0">
                <a:solidFill>
                  <a:srgbClr val="E3112B"/>
                </a:solidFill>
                <a:latin typeface="Roboto"/>
                <a:cs typeface="Roboto"/>
              </a:rPr>
              <a:t> </a:t>
            </a:r>
            <a:r>
              <a:rPr sz="1600" dirty="0">
                <a:solidFill>
                  <a:srgbClr val="737373"/>
                </a:solidFill>
                <a:latin typeface="Roboto"/>
                <a:cs typeface="Roboto"/>
              </a:rPr>
              <a:t>y</a:t>
            </a:r>
            <a:r>
              <a:rPr sz="1600" spc="-45" dirty="0">
                <a:solidFill>
                  <a:srgbClr val="737373"/>
                </a:solidFill>
                <a:latin typeface="Roboto"/>
                <a:cs typeface="Roboto"/>
              </a:rPr>
              <a:t> </a:t>
            </a:r>
            <a:r>
              <a:rPr sz="1600" spc="-10" dirty="0">
                <a:solidFill>
                  <a:srgbClr val="737373"/>
                </a:solidFill>
                <a:latin typeface="Roboto"/>
                <a:cs typeface="Roboto"/>
              </a:rPr>
              <a:t>nivel</a:t>
            </a:r>
            <a:r>
              <a:rPr sz="1600" spc="-45" dirty="0">
                <a:solidFill>
                  <a:srgbClr val="737373"/>
                </a:solidFill>
                <a:latin typeface="Roboto"/>
                <a:cs typeface="Roboto"/>
              </a:rPr>
              <a:t> </a:t>
            </a:r>
            <a:r>
              <a:rPr sz="1600" dirty="0">
                <a:solidFill>
                  <a:srgbClr val="737373"/>
                </a:solidFill>
                <a:latin typeface="Roboto"/>
                <a:cs typeface="Roboto"/>
              </a:rPr>
              <a:t>de</a:t>
            </a:r>
            <a:r>
              <a:rPr sz="1600" spc="-45" dirty="0">
                <a:solidFill>
                  <a:srgbClr val="737373"/>
                </a:solidFill>
                <a:latin typeface="Roboto"/>
                <a:cs typeface="Roboto"/>
              </a:rPr>
              <a:t> </a:t>
            </a:r>
            <a:r>
              <a:rPr sz="1600" b="1" spc="-20" dirty="0">
                <a:solidFill>
                  <a:srgbClr val="E3112B"/>
                </a:solidFill>
                <a:latin typeface="Roboto"/>
                <a:cs typeface="Roboto"/>
              </a:rPr>
              <a:t>gasto</a:t>
            </a:r>
            <a:endParaRPr sz="1600">
              <a:latin typeface="Roboto"/>
              <a:cs typeface="Roboto"/>
            </a:endParaRPr>
          </a:p>
        </p:txBody>
      </p:sp>
      <p:sp>
        <p:nvSpPr>
          <p:cNvPr id="63" name="object 63"/>
          <p:cNvSpPr txBox="1"/>
          <p:nvPr/>
        </p:nvSpPr>
        <p:spPr>
          <a:xfrm>
            <a:off x="3688476" y="6846299"/>
            <a:ext cx="1835785" cy="745490"/>
          </a:xfrm>
          <a:prstGeom prst="rect">
            <a:avLst/>
          </a:prstGeom>
        </p:spPr>
        <p:txBody>
          <a:bodyPr vert="horz" wrap="square" lIns="0" tIns="24765" rIns="0" bIns="0" rtlCol="0">
            <a:spAutoFit/>
          </a:bodyPr>
          <a:lstStyle/>
          <a:p>
            <a:pPr marL="12700" marR="5080" algn="ctr">
              <a:lnSpc>
                <a:spcPts val="1880"/>
              </a:lnSpc>
              <a:spcBef>
                <a:spcPts val="195"/>
              </a:spcBef>
            </a:pPr>
            <a:r>
              <a:rPr sz="1600" spc="-10" dirty="0">
                <a:solidFill>
                  <a:srgbClr val="737373"/>
                </a:solidFill>
                <a:latin typeface="Roboto"/>
                <a:cs typeface="Roboto"/>
              </a:rPr>
              <a:t>Posicionar</a:t>
            </a:r>
            <a:r>
              <a:rPr sz="1600" spc="-85" dirty="0">
                <a:solidFill>
                  <a:srgbClr val="737373"/>
                </a:solidFill>
                <a:latin typeface="Roboto"/>
                <a:cs typeface="Roboto"/>
              </a:rPr>
              <a:t> </a:t>
            </a:r>
            <a:r>
              <a:rPr sz="1600" spc="-20" dirty="0">
                <a:solidFill>
                  <a:srgbClr val="737373"/>
                </a:solidFill>
                <a:latin typeface="Roboto"/>
                <a:cs typeface="Roboto"/>
              </a:rPr>
              <a:t>Santiago </a:t>
            </a:r>
            <a:r>
              <a:rPr sz="1600" dirty="0">
                <a:solidFill>
                  <a:srgbClr val="737373"/>
                </a:solidFill>
                <a:latin typeface="Roboto"/>
                <a:cs typeface="Roboto"/>
              </a:rPr>
              <a:t>como</a:t>
            </a:r>
            <a:r>
              <a:rPr sz="1600" spc="-60" dirty="0">
                <a:solidFill>
                  <a:srgbClr val="737373"/>
                </a:solidFill>
                <a:latin typeface="Roboto"/>
                <a:cs typeface="Roboto"/>
              </a:rPr>
              <a:t> </a:t>
            </a:r>
            <a:r>
              <a:rPr sz="1600" b="1" dirty="0">
                <a:solidFill>
                  <a:srgbClr val="E3112B"/>
                </a:solidFill>
                <a:latin typeface="Roboto"/>
                <a:cs typeface="Roboto"/>
              </a:rPr>
              <a:t>escapada</a:t>
            </a:r>
            <a:r>
              <a:rPr sz="1600" b="1" spc="-55" dirty="0">
                <a:solidFill>
                  <a:srgbClr val="E3112B"/>
                </a:solidFill>
                <a:latin typeface="Roboto"/>
                <a:cs typeface="Roboto"/>
              </a:rPr>
              <a:t> </a:t>
            </a:r>
            <a:r>
              <a:rPr sz="1600" b="1" spc="-25" dirty="0">
                <a:solidFill>
                  <a:srgbClr val="E3112B"/>
                </a:solidFill>
                <a:latin typeface="Roboto"/>
                <a:cs typeface="Roboto"/>
              </a:rPr>
              <a:t>de </a:t>
            </a:r>
            <a:r>
              <a:rPr sz="1600" b="1" dirty="0">
                <a:solidFill>
                  <a:srgbClr val="E3112B"/>
                </a:solidFill>
                <a:latin typeface="Roboto"/>
                <a:cs typeface="Roboto"/>
              </a:rPr>
              <a:t>fin</a:t>
            </a:r>
            <a:r>
              <a:rPr sz="1600" b="1" spc="-15" dirty="0">
                <a:solidFill>
                  <a:srgbClr val="E3112B"/>
                </a:solidFill>
                <a:latin typeface="Roboto"/>
                <a:cs typeface="Roboto"/>
              </a:rPr>
              <a:t> </a:t>
            </a:r>
            <a:r>
              <a:rPr sz="1600" b="1" dirty="0">
                <a:solidFill>
                  <a:srgbClr val="E3112B"/>
                </a:solidFill>
                <a:latin typeface="Roboto"/>
                <a:cs typeface="Roboto"/>
              </a:rPr>
              <a:t>de</a:t>
            </a:r>
            <a:r>
              <a:rPr sz="1600" b="1" spc="-15" dirty="0">
                <a:solidFill>
                  <a:srgbClr val="E3112B"/>
                </a:solidFill>
                <a:latin typeface="Roboto"/>
                <a:cs typeface="Roboto"/>
              </a:rPr>
              <a:t> </a:t>
            </a:r>
            <a:r>
              <a:rPr sz="1600" b="1" spc="-10" dirty="0">
                <a:solidFill>
                  <a:srgbClr val="E3112B"/>
                </a:solidFill>
                <a:latin typeface="Roboto"/>
                <a:cs typeface="Roboto"/>
              </a:rPr>
              <a:t>semana</a:t>
            </a:r>
            <a:endParaRPr sz="1600">
              <a:latin typeface="Roboto"/>
              <a:cs typeface="Roboto"/>
            </a:endParaRPr>
          </a:p>
        </p:txBody>
      </p:sp>
      <p:sp>
        <p:nvSpPr>
          <p:cNvPr id="64" name="object 64"/>
          <p:cNvSpPr txBox="1"/>
          <p:nvPr/>
        </p:nvSpPr>
        <p:spPr>
          <a:xfrm>
            <a:off x="1127617" y="6846299"/>
            <a:ext cx="1744980" cy="745490"/>
          </a:xfrm>
          <a:prstGeom prst="rect">
            <a:avLst/>
          </a:prstGeom>
        </p:spPr>
        <p:txBody>
          <a:bodyPr vert="horz" wrap="square" lIns="0" tIns="24765" rIns="0" bIns="0" rtlCol="0">
            <a:spAutoFit/>
          </a:bodyPr>
          <a:lstStyle/>
          <a:p>
            <a:pPr marL="12700" marR="5080" algn="ctr">
              <a:lnSpc>
                <a:spcPts val="1880"/>
              </a:lnSpc>
              <a:spcBef>
                <a:spcPts val="195"/>
              </a:spcBef>
            </a:pPr>
            <a:r>
              <a:rPr sz="1600" dirty="0">
                <a:solidFill>
                  <a:srgbClr val="737373"/>
                </a:solidFill>
                <a:latin typeface="Roboto"/>
                <a:cs typeface="Roboto"/>
              </a:rPr>
              <a:t>Foco</a:t>
            </a:r>
            <a:r>
              <a:rPr sz="1600" spc="-50" dirty="0">
                <a:solidFill>
                  <a:srgbClr val="737373"/>
                </a:solidFill>
                <a:latin typeface="Roboto"/>
                <a:cs typeface="Roboto"/>
              </a:rPr>
              <a:t> </a:t>
            </a:r>
            <a:r>
              <a:rPr sz="1600" dirty="0">
                <a:solidFill>
                  <a:srgbClr val="737373"/>
                </a:solidFill>
                <a:latin typeface="Roboto"/>
                <a:cs typeface="Roboto"/>
              </a:rPr>
              <a:t>en</a:t>
            </a:r>
            <a:r>
              <a:rPr sz="1600" spc="-50" dirty="0">
                <a:solidFill>
                  <a:srgbClr val="737373"/>
                </a:solidFill>
                <a:latin typeface="Roboto"/>
                <a:cs typeface="Roboto"/>
              </a:rPr>
              <a:t> </a:t>
            </a:r>
            <a:r>
              <a:rPr sz="1600" b="1" dirty="0">
                <a:solidFill>
                  <a:srgbClr val="E3112B"/>
                </a:solidFill>
                <a:latin typeface="Roboto"/>
                <a:cs typeface="Roboto"/>
              </a:rPr>
              <a:t>trade</a:t>
            </a:r>
            <a:r>
              <a:rPr sz="1600" b="1" spc="-50" dirty="0">
                <a:solidFill>
                  <a:srgbClr val="E3112B"/>
                </a:solidFill>
                <a:latin typeface="Roboto"/>
                <a:cs typeface="Roboto"/>
              </a:rPr>
              <a:t> y </a:t>
            </a:r>
            <a:r>
              <a:rPr sz="1600" b="1" dirty="0">
                <a:solidFill>
                  <a:srgbClr val="E3112B"/>
                </a:solidFill>
                <a:latin typeface="Roboto"/>
                <a:cs typeface="Roboto"/>
              </a:rPr>
              <a:t>cooperación</a:t>
            </a:r>
            <a:r>
              <a:rPr sz="1600" dirty="0">
                <a:solidFill>
                  <a:srgbClr val="737373"/>
                </a:solidFill>
                <a:latin typeface="Roboto"/>
                <a:cs typeface="Roboto"/>
              </a:rPr>
              <a:t>,</a:t>
            </a:r>
            <a:r>
              <a:rPr sz="1600" spc="-45" dirty="0">
                <a:solidFill>
                  <a:srgbClr val="737373"/>
                </a:solidFill>
                <a:latin typeface="Roboto"/>
                <a:cs typeface="Roboto"/>
              </a:rPr>
              <a:t> </a:t>
            </a:r>
            <a:r>
              <a:rPr sz="1600" dirty="0">
                <a:solidFill>
                  <a:srgbClr val="737373"/>
                </a:solidFill>
                <a:latin typeface="Roboto"/>
                <a:cs typeface="Roboto"/>
              </a:rPr>
              <a:t>no</a:t>
            </a:r>
            <a:r>
              <a:rPr sz="1600" spc="-45" dirty="0">
                <a:solidFill>
                  <a:srgbClr val="737373"/>
                </a:solidFill>
                <a:latin typeface="Roboto"/>
                <a:cs typeface="Roboto"/>
              </a:rPr>
              <a:t> </a:t>
            </a:r>
            <a:r>
              <a:rPr sz="1600" spc="-25" dirty="0">
                <a:solidFill>
                  <a:srgbClr val="737373"/>
                </a:solidFill>
                <a:latin typeface="Roboto"/>
                <a:cs typeface="Roboto"/>
              </a:rPr>
              <a:t>en </a:t>
            </a:r>
            <a:r>
              <a:rPr sz="1600" spc="-10" dirty="0">
                <a:solidFill>
                  <a:srgbClr val="737373"/>
                </a:solidFill>
                <a:latin typeface="Roboto"/>
                <a:cs typeface="Roboto"/>
              </a:rPr>
              <a:t>"awareness"</a:t>
            </a:r>
            <a:endParaRPr sz="1600">
              <a:latin typeface="Roboto"/>
              <a:cs typeface="Roboto"/>
            </a:endParaRPr>
          </a:p>
        </p:txBody>
      </p:sp>
      <p:sp>
        <p:nvSpPr>
          <p:cNvPr id="65" name="object 65"/>
          <p:cNvSpPr txBox="1"/>
          <p:nvPr/>
        </p:nvSpPr>
        <p:spPr>
          <a:xfrm>
            <a:off x="6826394" y="5639109"/>
            <a:ext cx="1675130" cy="980440"/>
          </a:xfrm>
          <a:prstGeom prst="rect">
            <a:avLst/>
          </a:prstGeom>
          <a:solidFill>
            <a:srgbClr val="21408B"/>
          </a:solidFill>
        </p:spPr>
        <p:txBody>
          <a:bodyPr vert="horz" wrap="square" lIns="0" tIns="241300" rIns="0" bIns="0" rtlCol="0">
            <a:spAutoFit/>
          </a:bodyPr>
          <a:lstStyle/>
          <a:p>
            <a:pPr marR="1270" algn="ctr">
              <a:lnSpc>
                <a:spcPct val="100000"/>
              </a:lnSpc>
              <a:spcBef>
                <a:spcPts val="1900"/>
              </a:spcBef>
            </a:pPr>
            <a:r>
              <a:rPr sz="1800" b="1" spc="-25" dirty="0">
                <a:solidFill>
                  <a:srgbClr val="FFFFFF"/>
                </a:solidFill>
                <a:latin typeface="Arial"/>
                <a:cs typeface="Arial"/>
              </a:rPr>
              <a:t>FIT</a:t>
            </a:r>
            <a:endParaRPr sz="1800">
              <a:latin typeface="Arial"/>
              <a:cs typeface="Arial"/>
            </a:endParaRPr>
          </a:p>
        </p:txBody>
      </p:sp>
      <p:sp>
        <p:nvSpPr>
          <p:cNvPr id="66" name="object 66"/>
          <p:cNvSpPr txBox="1"/>
          <p:nvPr/>
        </p:nvSpPr>
        <p:spPr>
          <a:xfrm>
            <a:off x="11047652" y="5822542"/>
            <a:ext cx="1295400" cy="666115"/>
          </a:xfrm>
          <a:prstGeom prst="rect">
            <a:avLst/>
          </a:prstGeom>
        </p:spPr>
        <p:txBody>
          <a:bodyPr vert="horz" wrap="square" lIns="0" tIns="12065" rIns="0" bIns="0" rtlCol="0">
            <a:spAutoFit/>
          </a:bodyPr>
          <a:lstStyle/>
          <a:p>
            <a:pPr marL="159385" marR="5080" indent="-147320">
              <a:lnSpc>
                <a:spcPct val="116700"/>
              </a:lnSpc>
              <a:spcBef>
                <a:spcPts val="95"/>
              </a:spcBef>
            </a:pPr>
            <a:r>
              <a:rPr sz="1800" b="1" spc="90" dirty="0">
                <a:solidFill>
                  <a:srgbClr val="FFFFFF"/>
                </a:solidFill>
                <a:latin typeface="Arial"/>
                <a:cs typeface="Arial"/>
              </a:rPr>
              <a:t>ALMUNDO </a:t>
            </a:r>
            <a:r>
              <a:rPr sz="1800" b="1" spc="80" dirty="0">
                <a:solidFill>
                  <a:srgbClr val="FFFFFF"/>
                </a:solidFill>
                <a:latin typeface="Arial"/>
                <a:cs typeface="Arial"/>
              </a:rPr>
              <a:t>SUMMIT</a:t>
            </a:r>
            <a:endParaRPr sz="1800">
              <a:latin typeface="Arial"/>
              <a:cs typeface="Arial"/>
            </a:endParaRPr>
          </a:p>
        </p:txBody>
      </p:sp>
      <p:sp>
        <p:nvSpPr>
          <p:cNvPr id="67" name="object 67"/>
          <p:cNvSpPr txBox="1"/>
          <p:nvPr/>
        </p:nvSpPr>
        <p:spPr>
          <a:xfrm>
            <a:off x="12198377" y="7423778"/>
            <a:ext cx="1219835" cy="303530"/>
          </a:xfrm>
          <a:prstGeom prst="rect">
            <a:avLst/>
          </a:prstGeom>
        </p:spPr>
        <p:txBody>
          <a:bodyPr vert="horz" wrap="square" lIns="0" tIns="15875" rIns="0" bIns="0" rtlCol="0">
            <a:spAutoFit/>
          </a:bodyPr>
          <a:lstStyle/>
          <a:p>
            <a:pPr marL="12700">
              <a:lnSpc>
                <a:spcPct val="100000"/>
              </a:lnSpc>
              <a:spcBef>
                <a:spcPts val="125"/>
              </a:spcBef>
            </a:pPr>
            <a:r>
              <a:rPr sz="1800" b="1" dirty="0">
                <a:solidFill>
                  <a:srgbClr val="FFFFFF"/>
                </a:solidFill>
                <a:latin typeface="Roboto"/>
                <a:cs typeface="Roboto"/>
              </a:rPr>
              <a:t>Press</a:t>
            </a:r>
            <a:r>
              <a:rPr sz="1800" b="1" spc="65" dirty="0">
                <a:solidFill>
                  <a:srgbClr val="FFFFFF"/>
                </a:solidFill>
                <a:latin typeface="Roboto"/>
                <a:cs typeface="Roboto"/>
              </a:rPr>
              <a:t> </a:t>
            </a:r>
            <a:r>
              <a:rPr sz="1800" b="1" spc="-20" dirty="0">
                <a:solidFill>
                  <a:srgbClr val="FFFFFF"/>
                </a:solidFill>
                <a:latin typeface="Roboto"/>
                <a:cs typeface="Roboto"/>
              </a:rPr>
              <a:t>Trips</a:t>
            </a:r>
            <a:endParaRPr sz="1800">
              <a:latin typeface="Roboto"/>
              <a:cs typeface="Roboto"/>
            </a:endParaRPr>
          </a:p>
        </p:txBody>
      </p:sp>
      <p:sp>
        <p:nvSpPr>
          <p:cNvPr id="68" name="object 68"/>
          <p:cNvSpPr txBox="1"/>
          <p:nvPr/>
        </p:nvSpPr>
        <p:spPr>
          <a:xfrm>
            <a:off x="8648548" y="7423778"/>
            <a:ext cx="1130300" cy="303530"/>
          </a:xfrm>
          <a:prstGeom prst="rect">
            <a:avLst/>
          </a:prstGeom>
        </p:spPr>
        <p:txBody>
          <a:bodyPr vert="horz" wrap="square" lIns="0" tIns="15875" rIns="0" bIns="0" rtlCol="0">
            <a:spAutoFit/>
          </a:bodyPr>
          <a:lstStyle/>
          <a:p>
            <a:pPr marL="12700">
              <a:lnSpc>
                <a:spcPct val="100000"/>
              </a:lnSpc>
              <a:spcBef>
                <a:spcPts val="125"/>
              </a:spcBef>
            </a:pPr>
            <a:r>
              <a:rPr sz="1800" b="1" spc="-10" dirty="0">
                <a:solidFill>
                  <a:srgbClr val="FFFFFF"/>
                </a:solidFill>
                <a:latin typeface="Roboto"/>
                <a:cs typeface="Roboto"/>
              </a:rPr>
              <a:t>Campañas</a:t>
            </a:r>
            <a:endParaRPr sz="1800">
              <a:latin typeface="Roboto"/>
              <a:cs typeface="Roboto"/>
            </a:endParaRPr>
          </a:p>
        </p:txBody>
      </p:sp>
      <p:sp>
        <p:nvSpPr>
          <p:cNvPr id="69" name="object 69"/>
          <p:cNvSpPr txBox="1"/>
          <p:nvPr/>
        </p:nvSpPr>
        <p:spPr>
          <a:xfrm>
            <a:off x="7985203" y="7211685"/>
            <a:ext cx="361315" cy="713740"/>
          </a:xfrm>
          <a:prstGeom prst="rect">
            <a:avLst/>
          </a:prstGeom>
        </p:spPr>
        <p:txBody>
          <a:bodyPr vert="horz" wrap="square" lIns="0" tIns="13970" rIns="0" bIns="0" rtlCol="0">
            <a:spAutoFit/>
          </a:bodyPr>
          <a:lstStyle/>
          <a:p>
            <a:pPr marL="12700">
              <a:lnSpc>
                <a:spcPct val="100000"/>
              </a:lnSpc>
              <a:spcBef>
                <a:spcPts val="110"/>
              </a:spcBef>
            </a:pPr>
            <a:r>
              <a:rPr sz="4500" b="1" spc="5" dirty="0">
                <a:solidFill>
                  <a:srgbClr val="F5A316"/>
                </a:solidFill>
                <a:latin typeface="OpenSans-ExtraBold"/>
                <a:cs typeface="OpenSans-ExtraBold"/>
              </a:rPr>
              <a:t>4</a:t>
            </a:r>
            <a:endParaRPr sz="4500">
              <a:latin typeface="OpenSans-ExtraBold"/>
              <a:cs typeface="OpenSans-ExtraBold"/>
            </a:endParaRPr>
          </a:p>
        </p:txBody>
      </p:sp>
      <p:sp>
        <p:nvSpPr>
          <p:cNvPr id="70" name="object 70"/>
          <p:cNvSpPr txBox="1"/>
          <p:nvPr/>
        </p:nvSpPr>
        <p:spPr>
          <a:xfrm>
            <a:off x="11470273" y="7211685"/>
            <a:ext cx="361315" cy="713740"/>
          </a:xfrm>
          <a:prstGeom prst="rect">
            <a:avLst/>
          </a:prstGeom>
        </p:spPr>
        <p:txBody>
          <a:bodyPr vert="horz" wrap="square" lIns="0" tIns="13970" rIns="0" bIns="0" rtlCol="0">
            <a:spAutoFit/>
          </a:bodyPr>
          <a:lstStyle/>
          <a:p>
            <a:pPr marL="12700">
              <a:lnSpc>
                <a:spcPct val="100000"/>
              </a:lnSpc>
              <a:spcBef>
                <a:spcPts val="110"/>
              </a:spcBef>
            </a:pPr>
            <a:r>
              <a:rPr sz="4500" b="1" spc="5" dirty="0">
                <a:solidFill>
                  <a:srgbClr val="F5A316"/>
                </a:solidFill>
                <a:latin typeface="OpenSans-ExtraBold"/>
                <a:cs typeface="OpenSans-ExtraBold"/>
              </a:rPr>
              <a:t>4</a:t>
            </a:r>
            <a:endParaRPr sz="4500">
              <a:latin typeface="OpenSans-ExtraBold"/>
              <a:cs typeface="OpenSans-ExtraBold"/>
            </a:endParaRPr>
          </a:p>
        </p:txBody>
      </p:sp>
      <p:sp>
        <p:nvSpPr>
          <p:cNvPr id="71" name="object 71"/>
          <p:cNvSpPr txBox="1"/>
          <p:nvPr/>
        </p:nvSpPr>
        <p:spPr>
          <a:xfrm>
            <a:off x="7298452" y="3858033"/>
            <a:ext cx="2414905"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737373"/>
                </a:solidFill>
                <a:latin typeface="Roboto"/>
                <a:cs typeface="Roboto"/>
              </a:rPr>
              <a:t>Asistencia </a:t>
            </a:r>
            <a:r>
              <a:rPr sz="2400" b="1" spc="-10" dirty="0">
                <a:solidFill>
                  <a:srgbClr val="737373"/>
                </a:solidFill>
                <a:latin typeface="Roboto"/>
                <a:cs typeface="Roboto"/>
              </a:rPr>
              <a:t>ferias:</a:t>
            </a:r>
            <a:endParaRPr sz="2400">
              <a:latin typeface="Roboto"/>
              <a:cs typeface="Roboto"/>
            </a:endParaRPr>
          </a:p>
        </p:txBody>
      </p:sp>
      <p:sp>
        <p:nvSpPr>
          <p:cNvPr id="72" name="object 72"/>
          <p:cNvSpPr txBox="1"/>
          <p:nvPr/>
        </p:nvSpPr>
        <p:spPr>
          <a:xfrm>
            <a:off x="10960740" y="3858033"/>
            <a:ext cx="1349375" cy="391160"/>
          </a:xfrm>
          <a:prstGeom prst="rect">
            <a:avLst/>
          </a:prstGeom>
        </p:spPr>
        <p:txBody>
          <a:bodyPr vert="horz" wrap="square" lIns="0" tIns="12700" rIns="0" bIns="0" rtlCol="0">
            <a:spAutoFit/>
          </a:bodyPr>
          <a:lstStyle/>
          <a:p>
            <a:pPr marL="12700">
              <a:lnSpc>
                <a:spcPct val="100000"/>
              </a:lnSpc>
              <a:spcBef>
                <a:spcPts val="100"/>
              </a:spcBef>
            </a:pPr>
            <a:r>
              <a:rPr sz="2400" b="1" spc="75" dirty="0">
                <a:solidFill>
                  <a:srgbClr val="737373"/>
                </a:solidFill>
                <a:latin typeface="Roboto"/>
                <a:cs typeface="Roboto"/>
              </a:rPr>
              <a:t>A</a:t>
            </a:r>
            <a:r>
              <a:rPr sz="2400" b="1" dirty="0">
                <a:solidFill>
                  <a:srgbClr val="737373"/>
                </a:solidFill>
                <a:latin typeface="Roboto"/>
                <a:cs typeface="Roboto"/>
              </a:rPr>
              <a:t> </a:t>
            </a:r>
            <a:r>
              <a:rPr sz="2400" b="1" spc="-10" dirty="0">
                <a:solidFill>
                  <a:srgbClr val="737373"/>
                </a:solidFill>
                <a:latin typeface="Roboto"/>
                <a:cs typeface="Roboto"/>
              </a:rPr>
              <a:t>valorar:</a:t>
            </a:r>
            <a:endParaRPr sz="2400">
              <a:latin typeface="Roboto"/>
              <a:cs typeface="Roboto"/>
            </a:endParaRPr>
          </a:p>
        </p:txBody>
      </p:sp>
      <p:sp>
        <p:nvSpPr>
          <p:cNvPr id="73" name="object 73"/>
          <p:cNvSpPr txBox="1"/>
          <p:nvPr/>
        </p:nvSpPr>
        <p:spPr>
          <a:xfrm>
            <a:off x="16166200" y="5975935"/>
            <a:ext cx="1820545" cy="551180"/>
          </a:xfrm>
          <a:prstGeom prst="rect">
            <a:avLst/>
          </a:prstGeom>
        </p:spPr>
        <p:txBody>
          <a:bodyPr vert="horz" wrap="square" lIns="0" tIns="5080" rIns="0" bIns="0" rtlCol="0">
            <a:spAutoFit/>
          </a:bodyPr>
          <a:lstStyle/>
          <a:p>
            <a:pPr marL="12700" marR="5080">
              <a:lnSpc>
                <a:spcPct val="102899"/>
              </a:lnSpc>
              <a:spcBef>
                <a:spcPts val="40"/>
              </a:spcBef>
            </a:pPr>
            <a:r>
              <a:rPr sz="1700" b="1" spc="-10" dirty="0">
                <a:solidFill>
                  <a:srgbClr val="21408B"/>
                </a:solidFill>
                <a:latin typeface="Roboto"/>
                <a:cs typeface="Roboto"/>
              </a:rPr>
              <a:t>Roadshow </a:t>
            </a:r>
            <a:r>
              <a:rPr sz="1700" b="1" dirty="0">
                <a:solidFill>
                  <a:srgbClr val="21408B"/>
                </a:solidFill>
                <a:latin typeface="Roboto"/>
                <a:cs typeface="Roboto"/>
              </a:rPr>
              <a:t>(solamente</a:t>
            </a:r>
            <a:r>
              <a:rPr sz="1700" b="1" spc="-65" dirty="0">
                <a:solidFill>
                  <a:srgbClr val="21408B"/>
                </a:solidFill>
                <a:latin typeface="Roboto"/>
                <a:cs typeface="Roboto"/>
              </a:rPr>
              <a:t> </a:t>
            </a:r>
            <a:r>
              <a:rPr sz="1700" b="1" spc="-10" dirty="0">
                <a:solidFill>
                  <a:srgbClr val="21408B"/>
                </a:solidFill>
                <a:latin typeface="Roboto"/>
                <a:cs typeface="Roboto"/>
              </a:rPr>
              <a:t>CABA)</a:t>
            </a:r>
            <a:endParaRPr sz="1700">
              <a:latin typeface="Roboto"/>
              <a:cs typeface="Roboto"/>
            </a:endParaRPr>
          </a:p>
        </p:txBody>
      </p:sp>
      <p:sp>
        <p:nvSpPr>
          <p:cNvPr id="74" name="object 74"/>
          <p:cNvSpPr txBox="1"/>
          <p:nvPr/>
        </p:nvSpPr>
        <p:spPr>
          <a:xfrm>
            <a:off x="16166200" y="7162982"/>
            <a:ext cx="1506855" cy="541655"/>
          </a:xfrm>
          <a:prstGeom prst="rect">
            <a:avLst/>
          </a:prstGeom>
        </p:spPr>
        <p:txBody>
          <a:bodyPr vert="horz" wrap="square" lIns="0" tIns="22225" rIns="0" bIns="0" rtlCol="0">
            <a:spAutoFit/>
          </a:bodyPr>
          <a:lstStyle/>
          <a:p>
            <a:pPr marL="12700" marR="5080">
              <a:lnSpc>
                <a:spcPts val="2030"/>
              </a:lnSpc>
              <a:spcBef>
                <a:spcPts val="175"/>
              </a:spcBef>
            </a:pPr>
            <a:r>
              <a:rPr sz="1700" b="1" spc="-10" dirty="0">
                <a:solidFill>
                  <a:srgbClr val="21408B"/>
                </a:solidFill>
                <a:latin typeface="Roboto"/>
                <a:cs typeface="Roboto"/>
              </a:rPr>
              <a:t>Webinars personalizados</a:t>
            </a:r>
            <a:endParaRPr sz="1700">
              <a:latin typeface="Roboto"/>
              <a:cs typeface="Roboto"/>
            </a:endParaRPr>
          </a:p>
        </p:txBody>
      </p:sp>
      <p:sp>
        <p:nvSpPr>
          <p:cNvPr id="75" name="object 75"/>
          <p:cNvSpPr txBox="1"/>
          <p:nvPr/>
        </p:nvSpPr>
        <p:spPr>
          <a:xfrm>
            <a:off x="16166200" y="8270724"/>
            <a:ext cx="1071880" cy="798830"/>
          </a:xfrm>
          <a:prstGeom prst="rect">
            <a:avLst/>
          </a:prstGeom>
        </p:spPr>
        <p:txBody>
          <a:bodyPr vert="horz" wrap="square" lIns="0" tIns="22225" rIns="0" bIns="0" rtlCol="0">
            <a:spAutoFit/>
          </a:bodyPr>
          <a:lstStyle/>
          <a:p>
            <a:pPr marL="12700" marR="5080">
              <a:lnSpc>
                <a:spcPts val="2030"/>
              </a:lnSpc>
              <a:spcBef>
                <a:spcPts val="175"/>
              </a:spcBef>
            </a:pPr>
            <a:r>
              <a:rPr sz="1700" b="1" spc="-10" dirty="0">
                <a:solidFill>
                  <a:srgbClr val="21408B"/>
                </a:solidFill>
                <a:latin typeface="Roboto"/>
                <a:cs typeface="Roboto"/>
              </a:rPr>
              <a:t>Cápsulas formativas generales</a:t>
            </a:r>
            <a:endParaRPr sz="1700">
              <a:latin typeface="Roboto"/>
              <a:cs typeface="Roboto"/>
            </a:endParaRPr>
          </a:p>
        </p:txBody>
      </p:sp>
      <p:sp>
        <p:nvSpPr>
          <p:cNvPr id="76" name="object 76"/>
          <p:cNvSpPr txBox="1"/>
          <p:nvPr/>
        </p:nvSpPr>
        <p:spPr>
          <a:xfrm>
            <a:off x="16166349" y="4782056"/>
            <a:ext cx="948055" cy="284480"/>
          </a:xfrm>
          <a:prstGeom prst="rect">
            <a:avLst/>
          </a:prstGeom>
        </p:spPr>
        <p:txBody>
          <a:bodyPr vert="horz" wrap="square" lIns="0" tIns="12700" rIns="0" bIns="0" rtlCol="0">
            <a:spAutoFit/>
          </a:bodyPr>
          <a:lstStyle/>
          <a:p>
            <a:pPr marL="12700">
              <a:lnSpc>
                <a:spcPct val="100000"/>
              </a:lnSpc>
              <a:spcBef>
                <a:spcPts val="100"/>
              </a:spcBef>
            </a:pPr>
            <a:r>
              <a:rPr sz="1700" b="1" spc="-10" dirty="0">
                <a:solidFill>
                  <a:srgbClr val="21408B"/>
                </a:solidFill>
                <a:latin typeface="Roboto"/>
                <a:cs typeface="Roboto"/>
              </a:rPr>
              <a:t>FamTrips</a:t>
            </a:r>
            <a:endParaRPr sz="1700">
              <a:latin typeface="Roboto"/>
              <a:cs typeface="Roboto"/>
            </a:endParaRPr>
          </a:p>
        </p:txBody>
      </p:sp>
      <p:sp>
        <p:nvSpPr>
          <p:cNvPr id="77" name="object 77"/>
          <p:cNvSpPr txBox="1"/>
          <p:nvPr/>
        </p:nvSpPr>
        <p:spPr>
          <a:xfrm>
            <a:off x="14565932" y="4266924"/>
            <a:ext cx="538480" cy="3608070"/>
          </a:xfrm>
          <a:prstGeom prst="rect">
            <a:avLst/>
          </a:prstGeom>
        </p:spPr>
        <p:txBody>
          <a:bodyPr vert="horz" wrap="square" lIns="0" tIns="169545" rIns="0" bIns="0" rtlCol="0">
            <a:spAutoFit/>
          </a:bodyPr>
          <a:lstStyle/>
          <a:p>
            <a:pPr marL="38100">
              <a:lnSpc>
                <a:spcPct val="100000"/>
              </a:lnSpc>
              <a:spcBef>
                <a:spcPts val="1335"/>
              </a:spcBef>
            </a:pPr>
            <a:r>
              <a:rPr sz="6500" b="1" spc="20" dirty="0">
                <a:solidFill>
                  <a:srgbClr val="F5A316"/>
                </a:solidFill>
                <a:latin typeface="OpenSans-ExtraBold"/>
                <a:cs typeface="OpenSans-ExtraBold"/>
              </a:rPr>
              <a:t>4</a:t>
            </a:r>
            <a:endParaRPr sz="6500">
              <a:latin typeface="OpenSans-ExtraBold"/>
              <a:cs typeface="OpenSans-ExtraBold"/>
            </a:endParaRPr>
          </a:p>
          <a:p>
            <a:pPr marL="12700">
              <a:lnSpc>
                <a:spcPct val="100000"/>
              </a:lnSpc>
              <a:spcBef>
                <a:spcPts val="1220"/>
              </a:spcBef>
            </a:pPr>
            <a:r>
              <a:rPr sz="6500" b="1" spc="5" dirty="0">
                <a:solidFill>
                  <a:srgbClr val="F5A316"/>
                </a:solidFill>
                <a:latin typeface="OpenSans-ExtraBold"/>
                <a:cs typeface="OpenSans-ExtraBold"/>
              </a:rPr>
              <a:t>1</a:t>
            </a:r>
            <a:endParaRPr sz="6500">
              <a:latin typeface="OpenSans-ExtraBold"/>
              <a:cs typeface="OpenSans-ExtraBold"/>
            </a:endParaRPr>
          </a:p>
          <a:p>
            <a:pPr marL="12700">
              <a:lnSpc>
                <a:spcPct val="100000"/>
              </a:lnSpc>
              <a:spcBef>
                <a:spcPts val="2350"/>
              </a:spcBef>
            </a:pPr>
            <a:r>
              <a:rPr sz="6500" b="1" dirty="0">
                <a:solidFill>
                  <a:srgbClr val="F5A316"/>
                </a:solidFill>
                <a:latin typeface="OpenSans-ExtraBold"/>
                <a:cs typeface="OpenSans-ExtraBold"/>
              </a:rPr>
              <a:t>2</a:t>
            </a:r>
            <a:endParaRPr sz="6500">
              <a:latin typeface="OpenSans-ExtraBold"/>
              <a:cs typeface="OpenSans-ExtraBold"/>
            </a:endParaRPr>
          </a:p>
        </p:txBody>
      </p:sp>
      <p:sp>
        <p:nvSpPr>
          <p:cNvPr id="78" name="object 78"/>
          <p:cNvSpPr txBox="1"/>
          <p:nvPr/>
        </p:nvSpPr>
        <p:spPr>
          <a:xfrm>
            <a:off x="9203949" y="1690461"/>
            <a:ext cx="2959100" cy="361315"/>
          </a:xfrm>
          <a:prstGeom prst="rect">
            <a:avLst/>
          </a:prstGeom>
        </p:spPr>
        <p:txBody>
          <a:bodyPr vert="horz" wrap="square" lIns="0" tIns="12700" rIns="0" bIns="0" rtlCol="0">
            <a:spAutoFit/>
          </a:bodyPr>
          <a:lstStyle/>
          <a:p>
            <a:pPr marL="12700">
              <a:lnSpc>
                <a:spcPct val="100000"/>
              </a:lnSpc>
              <a:spcBef>
                <a:spcPts val="100"/>
              </a:spcBef>
            </a:pPr>
            <a:r>
              <a:rPr sz="2200" b="1" dirty="0">
                <a:solidFill>
                  <a:srgbClr val="737373"/>
                </a:solidFill>
                <a:latin typeface="Roboto"/>
                <a:cs typeface="Roboto"/>
              </a:rPr>
              <a:t>B2B ·</a:t>
            </a:r>
            <a:r>
              <a:rPr sz="2200" b="1" spc="5" dirty="0">
                <a:solidFill>
                  <a:srgbClr val="737373"/>
                </a:solidFill>
                <a:latin typeface="Roboto"/>
                <a:cs typeface="Roboto"/>
              </a:rPr>
              <a:t> </a:t>
            </a:r>
            <a:r>
              <a:rPr sz="2200" b="1" dirty="0">
                <a:solidFill>
                  <a:srgbClr val="737373"/>
                </a:solidFill>
                <a:latin typeface="Roboto"/>
                <a:cs typeface="Roboto"/>
              </a:rPr>
              <a:t>CALL</a:t>
            </a:r>
            <a:r>
              <a:rPr sz="2200" b="1" spc="5" dirty="0">
                <a:solidFill>
                  <a:srgbClr val="737373"/>
                </a:solidFill>
                <a:latin typeface="Roboto"/>
                <a:cs typeface="Roboto"/>
              </a:rPr>
              <a:t> </a:t>
            </a:r>
            <a:r>
              <a:rPr sz="2200" b="1" spc="55" dirty="0">
                <a:solidFill>
                  <a:srgbClr val="737373"/>
                </a:solidFill>
                <a:latin typeface="Roboto"/>
                <a:cs typeface="Roboto"/>
              </a:rPr>
              <a:t>TO</a:t>
            </a:r>
            <a:r>
              <a:rPr sz="2200" b="1" spc="5" dirty="0">
                <a:solidFill>
                  <a:srgbClr val="737373"/>
                </a:solidFill>
                <a:latin typeface="Roboto"/>
                <a:cs typeface="Roboto"/>
              </a:rPr>
              <a:t> </a:t>
            </a:r>
            <a:r>
              <a:rPr sz="2200" b="1" spc="-10" dirty="0">
                <a:solidFill>
                  <a:srgbClr val="737373"/>
                </a:solidFill>
                <a:latin typeface="Roboto"/>
                <a:cs typeface="Roboto"/>
              </a:rPr>
              <a:t>ACTION</a:t>
            </a:r>
            <a:endParaRPr sz="2200">
              <a:latin typeface="Roboto"/>
              <a:cs typeface="Roboto"/>
            </a:endParaRPr>
          </a:p>
        </p:txBody>
      </p:sp>
      <p:sp>
        <p:nvSpPr>
          <p:cNvPr id="79" name="object 79"/>
          <p:cNvSpPr/>
          <p:nvPr/>
        </p:nvSpPr>
        <p:spPr>
          <a:xfrm>
            <a:off x="8975583" y="1714497"/>
            <a:ext cx="0" cy="362585"/>
          </a:xfrm>
          <a:custGeom>
            <a:avLst/>
            <a:gdLst/>
            <a:ahLst/>
            <a:cxnLst/>
            <a:rect l="l" t="t" r="r" b="b"/>
            <a:pathLst>
              <a:path h="362585">
                <a:moveTo>
                  <a:pt x="0" y="362038"/>
                </a:moveTo>
                <a:lnTo>
                  <a:pt x="0" y="0"/>
                </a:lnTo>
              </a:path>
            </a:pathLst>
          </a:custGeom>
          <a:ln w="19192">
            <a:solidFill>
              <a:srgbClr val="737373"/>
            </a:solidFill>
          </a:ln>
        </p:spPr>
        <p:txBody>
          <a:bodyPr wrap="square" lIns="0" tIns="0" rIns="0" bIns="0" rtlCol="0"/>
          <a:lstStyle/>
          <a:p>
            <a:endParaRPr/>
          </a:p>
        </p:txBody>
      </p:sp>
      <p:pic>
        <p:nvPicPr>
          <p:cNvPr id="80" name="object 80"/>
          <p:cNvPicPr/>
          <p:nvPr/>
        </p:nvPicPr>
        <p:blipFill>
          <a:blip r:embed="rId12" cstate="print"/>
          <a:stretch>
            <a:fillRect/>
          </a:stretch>
        </p:blipFill>
        <p:spPr>
          <a:xfrm>
            <a:off x="17316450" y="237496"/>
            <a:ext cx="742949" cy="819149"/>
          </a:xfrm>
          <a:prstGeom prst="rect">
            <a:avLst/>
          </a:prstGeom>
        </p:spPr>
      </p:pic>
      <p:sp>
        <p:nvSpPr>
          <p:cNvPr id="81" name="object 81"/>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82" name="object 82"/>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40</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66956" y="1113692"/>
            <a:ext cx="17954625" cy="8662035"/>
          </a:xfrm>
          <a:custGeom>
            <a:avLst/>
            <a:gdLst/>
            <a:ahLst/>
            <a:cxnLst/>
            <a:rect l="l" t="t" r="r" b="b"/>
            <a:pathLst>
              <a:path w="17954625" h="8662035">
                <a:moveTo>
                  <a:pt x="0" y="8661679"/>
                </a:moveTo>
                <a:lnTo>
                  <a:pt x="17954029" y="8661679"/>
                </a:lnTo>
                <a:lnTo>
                  <a:pt x="17954029" y="0"/>
                </a:lnTo>
                <a:lnTo>
                  <a:pt x="0" y="0"/>
                </a:lnTo>
                <a:lnTo>
                  <a:pt x="0" y="8661679"/>
                </a:lnTo>
                <a:close/>
              </a:path>
            </a:pathLst>
          </a:custGeom>
          <a:solidFill>
            <a:srgbClr val="EFEBE2">
              <a:alpha val="55690"/>
            </a:srgbClr>
          </a:solidFill>
        </p:spPr>
        <p:txBody>
          <a:bodyPr wrap="square" lIns="0" tIns="0" rIns="0" bIns="0" rtlCol="0"/>
          <a:lstStyle/>
          <a:p>
            <a:endParaRPr/>
          </a:p>
        </p:txBody>
      </p:sp>
      <p:grpSp>
        <p:nvGrpSpPr>
          <p:cNvPr id="3" name="object 3"/>
          <p:cNvGrpSpPr/>
          <p:nvPr/>
        </p:nvGrpSpPr>
        <p:grpSpPr>
          <a:xfrm>
            <a:off x="166956" y="171493"/>
            <a:ext cx="18094325" cy="2534920"/>
            <a:chOff x="166956" y="171493"/>
            <a:chExt cx="18094325" cy="2534920"/>
          </a:xfrm>
        </p:grpSpPr>
        <p:sp>
          <p:nvSpPr>
            <p:cNvPr id="4" name="object 4"/>
            <p:cNvSpPr/>
            <p:nvPr/>
          </p:nvSpPr>
          <p:spPr>
            <a:xfrm>
              <a:off x="166956" y="171493"/>
              <a:ext cx="17954625" cy="13335"/>
            </a:xfrm>
            <a:custGeom>
              <a:avLst/>
              <a:gdLst/>
              <a:ahLst/>
              <a:cxnLst/>
              <a:rect l="l" t="t" r="r" b="b"/>
              <a:pathLst>
                <a:path w="17954625" h="13335">
                  <a:moveTo>
                    <a:pt x="0" y="13337"/>
                  </a:moveTo>
                  <a:lnTo>
                    <a:pt x="17954029" y="13337"/>
                  </a:lnTo>
                  <a:lnTo>
                    <a:pt x="17954029" y="0"/>
                  </a:lnTo>
                  <a:lnTo>
                    <a:pt x="0" y="0"/>
                  </a:lnTo>
                  <a:lnTo>
                    <a:pt x="0" y="13337"/>
                  </a:lnTo>
                  <a:close/>
                </a:path>
              </a:pathLst>
            </a:custGeom>
            <a:solidFill>
              <a:srgbClr val="EFEBE2">
                <a:alpha val="55690"/>
              </a:srgbClr>
            </a:solidFill>
          </p:spPr>
          <p:txBody>
            <a:bodyPr wrap="square" lIns="0" tIns="0" rIns="0" bIns="0" rtlCol="0"/>
            <a:lstStyle/>
            <a:p>
              <a:endParaRPr/>
            </a:p>
          </p:txBody>
        </p:sp>
        <p:sp>
          <p:nvSpPr>
            <p:cNvPr id="5" name="object 5"/>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0090AE"/>
            </a:solidFill>
          </p:spPr>
          <p:txBody>
            <a:bodyPr wrap="square" lIns="0" tIns="0" rIns="0" bIns="0" rtlCol="0"/>
            <a:lstStyle/>
            <a:p>
              <a:endParaRPr/>
            </a:p>
          </p:txBody>
        </p:sp>
        <p:sp>
          <p:nvSpPr>
            <p:cNvPr id="6" name="object 6"/>
            <p:cNvSpPr/>
            <p:nvPr/>
          </p:nvSpPr>
          <p:spPr>
            <a:xfrm>
              <a:off x="773747" y="1601355"/>
              <a:ext cx="17487265" cy="1104900"/>
            </a:xfrm>
            <a:custGeom>
              <a:avLst/>
              <a:gdLst/>
              <a:ahLst/>
              <a:cxnLst/>
              <a:rect l="l" t="t" r="r" b="b"/>
              <a:pathLst>
                <a:path w="17487265" h="1104900">
                  <a:moveTo>
                    <a:pt x="8367471" y="0"/>
                  </a:moveTo>
                  <a:lnTo>
                    <a:pt x="0" y="0"/>
                  </a:lnTo>
                  <a:lnTo>
                    <a:pt x="0" y="1104684"/>
                  </a:lnTo>
                  <a:lnTo>
                    <a:pt x="8367471" y="1104684"/>
                  </a:lnTo>
                  <a:lnTo>
                    <a:pt x="8367471" y="0"/>
                  </a:lnTo>
                  <a:close/>
                </a:path>
                <a:path w="17487265" h="1104900">
                  <a:moveTo>
                    <a:pt x="17487088" y="0"/>
                  </a:moveTo>
                  <a:lnTo>
                    <a:pt x="8539848" y="0"/>
                  </a:lnTo>
                  <a:lnTo>
                    <a:pt x="8539848" y="1104684"/>
                  </a:lnTo>
                  <a:lnTo>
                    <a:pt x="17487088" y="1104684"/>
                  </a:lnTo>
                  <a:lnTo>
                    <a:pt x="17487088" y="0"/>
                  </a:lnTo>
                  <a:close/>
                </a:path>
              </a:pathLst>
            </a:custGeom>
            <a:solidFill>
              <a:srgbClr val="FFFFFF"/>
            </a:solidFill>
          </p:spPr>
          <p:txBody>
            <a:bodyPr wrap="square" lIns="0" tIns="0" rIns="0" bIns="0" rtlCol="0"/>
            <a:lstStyle/>
            <a:p>
              <a:endParaRPr/>
            </a:p>
          </p:txBody>
        </p:sp>
      </p:grpSp>
      <p:sp>
        <p:nvSpPr>
          <p:cNvPr id="7" name="object 7"/>
          <p:cNvSpPr/>
          <p:nvPr/>
        </p:nvSpPr>
        <p:spPr>
          <a:xfrm>
            <a:off x="4230974" y="3591118"/>
            <a:ext cx="4949825" cy="6187440"/>
          </a:xfrm>
          <a:custGeom>
            <a:avLst/>
            <a:gdLst/>
            <a:ahLst/>
            <a:cxnLst/>
            <a:rect l="l" t="t" r="r" b="b"/>
            <a:pathLst>
              <a:path w="4949825" h="6187440">
                <a:moveTo>
                  <a:pt x="0" y="6186861"/>
                </a:moveTo>
                <a:lnTo>
                  <a:pt x="4949276" y="6186861"/>
                </a:lnTo>
                <a:lnTo>
                  <a:pt x="4949276" y="0"/>
                </a:lnTo>
                <a:lnTo>
                  <a:pt x="0" y="0"/>
                </a:lnTo>
                <a:lnTo>
                  <a:pt x="0" y="6186861"/>
                </a:lnTo>
                <a:close/>
              </a:path>
            </a:pathLst>
          </a:custGeom>
          <a:solidFill>
            <a:srgbClr val="FFFFFF"/>
          </a:solidFill>
        </p:spPr>
        <p:txBody>
          <a:bodyPr wrap="square" lIns="0" tIns="0" rIns="0" bIns="0" rtlCol="0"/>
          <a:lstStyle/>
          <a:p>
            <a:endParaRPr/>
          </a:p>
        </p:txBody>
      </p:sp>
      <p:sp>
        <p:nvSpPr>
          <p:cNvPr id="8" name="object 8"/>
          <p:cNvSpPr/>
          <p:nvPr/>
        </p:nvSpPr>
        <p:spPr>
          <a:xfrm>
            <a:off x="14405361" y="3591118"/>
            <a:ext cx="3592829" cy="6187440"/>
          </a:xfrm>
          <a:custGeom>
            <a:avLst/>
            <a:gdLst/>
            <a:ahLst/>
            <a:cxnLst/>
            <a:rect l="l" t="t" r="r" b="b"/>
            <a:pathLst>
              <a:path w="3592830" h="6187440">
                <a:moveTo>
                  <a:pt x="0" y="6186861"/>
                </a:moveTo>
                <a:lnTo>
                  <a:pt x="3592412" y="6186861"/>
                </a:lnTo>
                <a:lnTo>
                  <a:pt x="3592412" y="0"/>
                </a:lnTo>
                <a:lnTo>
                  <a:pt x="0" y="0"/>
                </a:lnTo>
                <a:lnTo>
                  <a:pt x="0" y="6186861"/>
                </a:lnTo>
                <a:close/>
              </a:path>
            </a:pathLst>
          </a:custGeom>
          <a:solidFill>
            <a:srgbClr val="FFFFFF"/>
          </a:solidFill>
        </p:spPr>
        <p:txBody>
          <a:bodyPr wrap="square" lIns="0" tIns="0" rIns="0" bIns="0" rtlCol="0"/>
          <a:lstStyle/>
          <a:p>
            <a:endParaRPr/>
          </a:p>
        </p:txBody>
      </p:sp>
      <p:sp>
        <p:nvSpPr>
          <p:cNvPr id="9" name="object 9"/>
          <p:cNvSpPr/>
          <p:nvPr/>
        </p:nvSpPr>
        <p:spPr>
          <a:xfrm>
            <a:off x="226367" y="3591118"/>
            <a:ext cx="3850004" cy="6187440"/>
          </a:xfrm>
          <a:custGeom>
            <a:avLst/>
            <a:gdLst/>
            <a:ahLst/>
            <a:cxnLst/>
            <a:rect l="l" t="t" r="r" b="b"/>
            <a:pathLst>
              <a:path w="3850004" h="6187440">
                <a:moveTo>
                  <a:pt x="0" y="6186861"/>
                </a:moveTo>
                <a:lnTo>
                  <a:pt x="3849588" y="6186861"/>
                </a:lnTo>
                <a:lnTo>
                  <a:pt x="3849588" y="0"/>
                </a:lnTo>
                <a:lnTo>
                  <a:pt x="0" y="0"/>
                </a:lnTo>
                <a:lnTo>
                  <a:pt x="0" y="6186861"/>
                </a:lnTo>
                <a:close/>
              </a:path>
            </a:pathLst>
          </a:custGeom>
          <a:solidFill>
            <a:srgbClr val="FFFFFF"/>
          </a:solidFill>
        </p:spPr>
        <p:txBody>
          <a:bodyPr wrap="square" lIns="0" tIns="0" rIns="0" bIns="0" rtlCol="0"/>
          <a:lstStyle/>
          <a:p>
            <a:endParaRPr/>
          </a:p>
        </p:txBody>
      </p:sp>
      <p:sp>
        <p:nvSpPr>
          <p:cNvPr id="10" name="object 10"/>
          <p:cNvSpPr/>
          <p:nvPr/>
        </p:nvSpPr>
        <p:spPr>
          <a:xfrm>
            <a:off x="9343580" y="3591118"/>
            <a:ext cx="4909185" cy="6187440"/>
          </a:xfrm>
          <a:custGeom>
            <a:avLst/>
            <a:gdLst/>
            <a:ahLst/>
            <a:cxnLst/>
            <a:rect l="l" t="t" r="r" b="b"/>
            <a:pathLst>
              <a:path w="4909184" h="6187440">
                <a:moveTo>
                  <a:pt x="0" y="6186861"/>
                </a:moveTo>
                <a:lnTo>
                  <a:pt x="4908766" y="6186861"/>
                </a:lnTo>
                <a:lnTo>
                  <a:pt x="4908766" y="0"/>
                </a:lnTo>
                <a:lnTo>
                  <a:pt x="0" y="0"/>
                </a:lnTo>
                <a:lnTo>
                  <a:pt x="0" y="6186861"/>
                </a:lnTo>
                <a:close/>
              </a:path>
            </a:pathLst>
          </a:custGeom>
          <a:solidFill>
            <a:srgbClr val="FFFFFF"/>
          </a:solidFill>
        </p:spPr>
        <p:txBody>
          <a:bodyPr wrap="square" lIns="0" tIns="0" rIns="0" bIns="0" rtlCol="0"/>
          <a:lstStyle/>
          <a:p>
            <a:endParaRPr/>
          </a:p>
        </p:txBody>
      </p:sp>
      <p:grpSp>
        <p:nvGrpSpPr>
          <p:cNvPr id="11" name="object 11"/>
          <p:cNvGrpSpPr/>
          <p:nvPr/>
        </p:nvGrpSpPr>
        <p:grpSpPr>
          <a:xfrm>
            <a:off x="2553142" y="6908583"/>
            <a:ext cx="740410" cy="542290"/>
            <a:chOff x="2553142" y="6908583"/>
            <a:chExt cx="740410" cy="542290"/>
          </a:xfrm>
        </p:grpSpPr>
        <p:sp>
          <p:nvSpPr>
            <p:cNvPr id="12" name="object 12"/>
            <p:cNvSpPr/>
            <p:nvPr/>
          </p:nvSpPr>
          <p:spPr>
            <a:xfrm>
              <a:off x="2553142" y="6908583"/>
              <a:ext cx="740410" cy="542290"/>
            </a:xfrm>
            <a:custGeom>
              <a:avLst/>
              <a:gdLst/>
              <a:ahLst/>
              <a:cxnLst/>
              <a:rect l="l" t="t" r="r" b="b"/>
              <a:pathLst>
                <a:path w="740410" h="542290">
                  <a:moveTo>
                    <a:pt x="159852" y="541773"/>
                  </a:moveTo>
                  <a:lnTo>
                    <a:pt x="83066" y="523463"/>
                  </a:lnTo>
                  <a:lnTo>
                    <a:pt x="74575" y="508844"/>
                  </a:lnTo>
                  <a:lnTo>
                    <a:pt x="76568" y="503824"/>
                  </a:lnTo>
                  <a:lnTo>
                    <a:pt x="276064" y="358155"/>
                  </a:lnTo>
                  <a:lnTo>
                    <a:pt x="90966" y="287498"/>
                  </a:lnTo>
                  <a:lnTo>
                    <a:pt x="46888" y="255603"/>
                  </a:lnTo>
                  <a:lnTo>
                    <a:pt x="19556" y="224086"/>
                  </a:lnTo>
                  <a:lnTo>
                    <a:pt x="0" y="158007"/>
                  </a:lnTo>
                  <a:lnTo>
                    <a:pt x="8052" y="124331"/>
                  </a:lnTo>
                  <a:lnTo>
                    <a:pt x="54123" y="3470"/>
                  </a:lnTo>
                  <a:lnTo>
                    <a:pt x="60251" y="0"/>
                  </a:lnTo>
                  <a:lnTo>
                    <a:pt x="105363" y="8638"/>
                  </a:lnTo>
                  <a:lnTo>
                    <a:pt x="109424" y="12477"/>
                  </a:lnTo>
                  <a:lnTo>
                    <a:pt x="138588" y="138728"/>
                  </a:lnTo>
                  <a:lnTo>
                    <a:pt x="658074" y="325078"/>
                  </a:lnTo>
                  <a:lnTo>
                    <a:pt x="699863" y="352839"/>
                  </a:lnTo>
                  <a:lnTo>
                    <a:pt x="731997" y="396393"/>
                  </a:lnTo>
                  <a:lnTo>
                    <a:pt x="740323" y="430648"/>
                  </a:lnTo>
                  <a:lnTo>
                    <a:pt x="737864" y="444917"/>
                  </a:lnTo>
                  <a:lnTo>
                    <a:pt x="729617" y="459082"/>
                  </a:lnTo>
                  <a:lnTo>
                    <a:pt x="719379" y="467080"/>
                  </a:lnTo>
                  <a:lnTo>
                    <a:pt x="706296" y="471790"/>
                  </a:lnTo>
                  <a:lnTo>
                    <a:pt x="690402" y="473192"/>
                  </a:lnTo>
                  <a:lnTo>
                    <a:pt x="671733" y="471264"/>
                  </a:lnTo>
                  <a:lnTo>
                    <a:pt x="474600" y="420025"/>
                  </a:lnTo>
                  <a:lnTo>
                    <a:pt x="159852" y="541773"/>
                  </a:lnTo>
                  <a:close/>
                </a:path>
              </a:pathLst>
            </a:custGeom>
            <a:solidFill>
              <a:srgbClr val="21408B"/>
            </a:solidFill>
          </p:spPr>
          <p:txBody>
            <a:bodyPr wrap="square" lIns="0" tIns="0" rIns="0" bIns="0" rtlCol="0"/>
            <a:lstStyle/>
            <a:p>
              <a:endParaRPr/>
            </a:p>
          </p:txBody>
        </p:sp>
        <p:pic>
          <p:nvPicPr>
            <p:cNvPr id="13" name="object 13"/>
            <p:cNvPicPr/>
            <p:nvPr/>
          </p:nvPicPr>
          <p:blipFill>
            <a:blip r:embed="rId2" cstate="print"/>
            <a:stretch>
              <a:fillRect/>
            </a:stretch>
          </p:blipFill>
          <p:spPr>
            <a:xfrm>
              <a:off x="2793195" y="6943350"/>
              <a:ext cx="202504" cy="183700"/>
            </a:xfrm>
            <a:prstGeom prst="rect">
              <a:avLst/>
            </a:prstGeom>
          </p:spPr>
        </p:pic>
      </p:grpSp>
      <p:sp>
        <p:nvSpPr>
          <p:cNvPr id="14" name="object 14"/>
          <p:cNvSpPr/>
          <p:nvPr/>
        </p:nvSpPr>
        <p:spPr>
          <a:xfrm>
            <a:off x="2497403" y="7572621"/>
            <a:ext cx="831850" cy="60325"/>
          </a:xfrm>
          <a:custGeom>
            <a:avLst/>
            <a:gdLst/>
            <a:ahLst/>
            <a:cxnLst/>
            <a:rect l="l" t="t" r="r" b="b"/>
            <a:pathLst>
              <a:path w="831850" h="60325">
                <a:moveTo>
                  <a:pt x="802338" y="59877"/>
                </a:moveTo>
                <a:lnTo>
                  <a:pt x="29311" y="59877"/>
                </a:lnTo>
                <a:lnTo>
                  <a:pt x="17910" y="57489"/>
                </a:lnTo>
                <a:lnTo>
                  <a:pt x="8592" y="51017"/>
                </a:lnTo>
                <a:lnTo>
                  <a:pt x="2306" y="41500"/>
                </a:lnTo>
                <a:lnTo>
                  <a:pt x="0" y="29975"/>
                </a:lnTo>
                <a:lnTo>
                  <a:pt x="2306" y="18470"/>
                </a:lnTo>
                <a:lnTo>
                  <a:pt x="8592" y="8924"/>
                </a:lnTo>
                <a:lnTo>
                  <a:pt x="17910" y="2409"/>
                </a:lnTo>
                <a:lnTo>
                  <a:pt x="29311" y="0"/>
                </a:lnTo>
                <a:lnTo>
                  <a:pt x="802338" y="0"/>
                </a:lnTo>
                <a:lnTo>
                  <a:pt x="813739" y="2409"/>
                </a:lnTo>
                <a:lnTo>
                  <a:pt x="823057" y="8924"/>
                </a:lnTo>
                <a:lnTo>
                  <a:pt x="829343" y="18470"/>
                </a:lnTo>
                <a:lnTo>
                  <a:pt x="831649" y="29975"/>
                </a:lnTo>
                <a:lnTo>
                  <a:pt x="829343" y="41500"/>
                </a:lnTo>
                <a:lnTo>
                  <a:pt x="823057" y="51017"/>
                </a:lnTo>
                <a:lnTo>
                  <a:pt x="813739" y="57489"/>
                </a:lnTo>
                <a:lnTo>
                  <a:pt x="802338" y="59877"/>
                </a:lnTo>
                <a:close/>
              </a:path>
            </a:pathLst>
          </a:custGeom>
          <a:solidFill>
            <a:srgbClr val="21408B"/>
          </a:solidFill>
        </p:spPr>
        <p:txBody>
          <a:bodyPr wrap="square" lIns="0" tIns="0" rIns="0" bIns="0" rtlCol="0"/>
          <a:lstStyle/>
          <a:p>
            <a:endParaRPr/>
          </a:p>
        </p:txBody>
      </p:sp>
      <p:grpSp>
        <p:nvGrpSpPr>
          <p:cNvPr id="15" name="object 15"/>
          <p:cNvGrpSpPr/>
          <p:nvPr/>
        </p:nvGrpSpPr>
        <p:grpSpPr>
          <a:xfrm>
            <a:off x="10496191" y="4650902"/>
            <a:ext cx="664845" cy="485140"/>
            <a:chOff x="10496191" y="4650902"/>
            <a:chExt cx="664845" cy="485140"/>
          </a:xfrm>
        </p:grpSpPr>
        <p:sp>
          <p:nvSpPr>
            <p:cNvPr id="16" name="object 16"/>
            <p:cNvSpPr/>
            <p:nvPr/>
          </p:nvSpPr>
          <p:spPr>
            <a:xfrm>
              <a:off x="10496191" y="4650902"/>
              <a:ext cx="664845" cy="485140"/>
            </a:xfrm>
            <a:custGeom>
              <a:avLst/>
              <a:gdLst/>
              <a:ahLst/>
              <a:cxnLst/>
              <a:rect l="l" t="t" r="r" b="b"/>
              <a:pathLst>
                <a:path w="664845" h="485139">
                  <a:moveTo>
                    <a:pt x="143524" y="484744"/>
                  </a:moveTo>
                  <a:lnTo>
                    <a:pt x="74581" y="468361"/>
                  </a:lnTo>
                  <a:lnTo>
                    <a:pt x="66958" y="455281"/>
                  </a:lnTo>
                  <a:lnTo>
                    <a:pt x="68748" y="450789"/>
                  </a:lnTo>
                  <a:lnTo>
                    <a:pt x="247867" y="320454"/>
                  </a:lnTo>
                  <a:lnTo>
                    <a:pt x="81675" y="257235"/>
                  </a:lnTo>
                  <a:lnTo>
                    <a:pt x="42099" y="228697"/>
                  </a:lnTo>
                  <a:lnTo>
                    <a:pt x="3484" y="171259"/>
                  </a:lnTo>
                  <a:lnTo>
                    <a:pt x="0" y="141375"/>
                  </a:lnTo>
                  <a:lnTo>
                    <a:pt x="7229" y="111244"/>
                  </a:lnTo>
                  <a:lnTo>
                    <a:pt x="48595" y="3104"/>
                  </a:lnTo>
                  <a:lnTo>
                    <a:pt x="54097" y="0"/>
                  </a:lnTo>
                  <a:lnTo>
                    <a:pt x="94601" y="7728"/>
                  </a:lnTo>
                  <a:lnTo>
                    <a:pt x="98247" y="11164"/>
                  </a:lnTo>
                  <a:lnTo>
                    <a:pt x="124433" y="124125"/>
                  </a:lnTo>
                  <a:lnTo>
                    <a:pt x="590858" y="290859"/>
                  </a:lnTo>
                  <a:lnTo>
                    <a:pt x="628379" y="315698"/>
                  </a:lnTo>
                  <a:lnTo>
                    <a:pt x="657232" y="354668"/>
                  </a:lnTo>
                  <a:lnTo>
                    <a:pt x="664707" y="385316"/>
                  </a:lnTo>
                  <a:lnTo>
                    <a:pt x="662499" y="398083"/>
                  </a:lnTo>
                  <a:lnTo>
                    <a:pt x="655095" y="410757"/>
                  </a:lnTo>
                  <a:lnTo>
                    <a:pt x="645902" y="417913"/>
                  </a:lnTo>
                  <a:lnTo>
                    <a:pt x="634155" y="422128"/>
                  </a:lnTo>
                  <a:lnTo>
                    <a:pt x="619885" y="423382"/>
                  </a:lnTo>
                  <a:lnTo>
                    <a:pt x="603122" y="421657"/>
                  </a:lnTo>
                  <a:lnTo>
                    <a:pt x="426124" y="375812"/>
                  </a:lnTo>
                  <a:lnTo>
                    <a:pt x="143524" y="484744"/>
                  </a:lnTo>
                  <a:close/>
                </a:path>
              </a:pathLst>
            </a:custGeom>
            <a:solidFill>
              <a:srgbClr val="21408B"/>
            </a:solidFill>
          </p:spPr>
          <p:txBody>
            <a:bodyPr wrap="square" lIns="0" tIns="0" rIns="0" bIns="0" rtlCol="0"/>
            <a:lstStyle/>
            <a:p>
              <a:endParaRPr/>
            </a:p>
          </p:txBody>
        </p:sp>
        <p:pic>
          <p:nvPicPr>
            <p:cNvPr id="17" name="object 17"/>
            <p:cNvPicPr/>
            <p:nvPr/>
          </p:nvPicPr>
          <p:blipFill>
            <a:blip r:embed="rId3" cstate="print"/>
            <a:stretch>
              <a:fillRect/>
            </a:stretch>
          </p:blipFill>
          <p:spPr>
            <a:xfrm>
              <a:off x="10711725" y="4682009"/>
              <a:ext cx="181820" cy="164363"/>
            </a:xfrm>
            <a:prstGeom prst="rect">
              <a:avLst/>
            </a:prstGeom>
          </p:spPr>
        </p:pic>
      </p:grpSp>
      <p:sp>
        <p:nvSpPr>
          <p:cNvPr id="18" name="object 18"/>
          <p:cNvSpPr/>
          <p:nvPr/>
        </p:nvSpPr>
        <p:spPr>
          <a:xfrm>
            <a:off x="10446145" y="5245041"/>
            <a:ext cx="746760" cy="53975"/>
          </a:xfrm>
          <a:custGeom>
            <a:avLst/>
            <a:gdLst/>
            <a:ahLst/>
            <a:cxnLst/>
            <a:rect l="l" t="t" r="r" b="b"/>
            <a:pathLst>
              <a:path w="746759" h="53975">
                <a:moveTo>
                  <a:pt x="720388" y="53574"/>
                </a:moveTo>
                <a:lnTo>
                  <a:pt x="26317" y="53574"/>
                </a:lnTo>
                <a:lnTo>
                  <a:pt x="16080" y="51437"/>
                </a:lnTo>
                <a:lnTo>
                  <a:pt x="7714" y="45647"/>
                </a:lnTo>
                <a:lnTo>
                  <a:pt x="2070" y="37131"/>
                </a:lnTo>
                <a:lnTo>
                  <a:pt x="0" y="26820"/>
                </a:lnTo>
                <a:lnTo>
                  <a:pt x="2070" y="16526"/>
                </a:lnTo>
                <a:lnTo>
                  <a:pt x="7714" y="7984"/>
                </a:lnTo>
                <a:lnTo>
                  <a:pt x="16080" y="2156"/>
                </a:lnTo>
                <a:lnTo>
                  <a:pt x="26317" y="0"/>
                </a:lnTo>
                <a:lnTo>
                  <a:pt x="720388" y="0"/>
                </a:lnTo>
                <a:lnTo>
                  <a:pt x="730624" y="2156"/>
                </a:lnTo>
                <a:lnTo>
                  <a:pt x="738991" y="7984"/>
                </a:lnTo>
                <a:lnTo>
                  <a:pt x="744635" y="16526"/>
                </a:lnTo>
                <a:lnTo>
                  <a:pt x="746705" y="26820"/>
                </a:lnTo>
                <a:lnTo>
                  <a:pt x="744635" y="37131"/>
                </a:lnTo>
                <a:lnTo>
                  <a:pt x="738991" y="45647"/>
                </a:lnTo>
                <a:lnTo>
                  <a:pt x="730624" y="51437"/>
                </a:lnTo>
                <a:lnTo>
                  <a:pt x="720388" y="53574"/>
                </a:lnTo>
                <a:close/>
              </a:path>
            </a:pathLst>
          </a:custGeom>
          <a:solidFill>
            <a:srgbClr val="21408B"/>
          </a:solidFill>
        </p:spPr>
        <p:txBody>
          <a:bodyPr wrap="square" lIns="0" tIns="0" rIns="0" bIns="0" rtlCol="0"/>
          <a:lstStyle/>
          <a:p>
            <a:endParaRPr/>
          </a:p>
        </p:txBody>
      </p:sp>
      <p:sp>
        <p:nvSpPr>
          <p:cNvPr id="19" name="object 19"/>
          <p:cNvSpPr/>
          <p:nvPr/>
        </p:nvSpPr>
        <p:spPr>
          <a:xfrm>
            <a:off x="4552658" y="7429727"/>
            <a:ext cx="4267200" cy="1044575"/>
          </a:xfrm>
          <a:custGeom>
            <a:avLst/>
            <a:gdLst/>
            <a:ahLst/>
            <a:cxnLst/>
            <a:rect l="l" t="t" r="r" b="b"/>
            <a:pathLst>
              <a:path w="4267200" h="1044575">
                <a:moveTo>
                  <a:pt x="4266882" y="522249"/>
                </a:moveTo>
                <a:lnTo>
                  <a:pt x="4264749" y="474713"/>
                </a:lnTo>
                <a:lnTo>
                  <a:pt x="4258462" y="428371"/>
                </a:lnTo>
                <a:lnTo>
                  <a:pt x="4248226" y="383413"/>
                </a:lnTo>
                <a:lnTo>
                  <a:pt x="4234205" y="340017"/>
                </a:lnTo>
                <a:lnTo>
                  <a:pt x="4216590" y="298373"/>
                </a:lnTo>
                <a:lnTo>
                  <a:pt x="4195572" y="258660"/>
                </a:lnTo>
                <a:lnTo>
                  <a:pt x="4171327" y="221068"/>
                </a:lnTo>
                <a:lnTo>
                  <a:pt x="4144048" y="185762"/>
                </a:lnTo>
                <a:lnTo>
                  <a:pt x="4113911" y="152958"/>
                </a:lnTo>
                <a:lnTo>
                  <a:pt x="4081107" y="122821"/>
                </a:lnTo>
                <a:lnTo>
                  <a:pt x="4045813" y="95542"/>
                </a:lnTo>
                <a:lnTo>
                  <a:pt x="4008221" y="71297"/>
                </a:lnTo>
                <a:lnTo>
                  <a:pt x="3968496" y="50279"/>
                </a:lnTo>
                <a:lnTo>
                  <a:pt x="3926852" y="32664"/>
                </a:lnTo>
                <a:lnTo>
                  <a:pt x="3883456" y="18656"/>
                </a:lnTo>
                <a:lnTo>
                  <a:pt x="3838498" y="8407"/>
                </a:lnTo>
                <a:lnTo>
                  <a:pt x="3792156" y="2133"/>
                </a:lnTo>
                <a:lnTo>
                  <a:pt x="3744620" y="0"/>
                </a:lnTo>
                <a:lnTo>
                  <a:pt x="3697084" y="2133"/>
                </a:lnTo>
                <a:lnTo>
                  <a:pt x="3650742" y="8407"/>
                </a:lnTo>
                <a:lnTo>
                  <a:pt x="3605784" y="18656"/>
                </a:lnTo>
                <a:lnTo>
                  <a:pt x="3562388" y="32664"/>
                </a:lnTo>
                <a:lnTo>
                  <a:pt x="3520744" y="50279"/>
                </a:lnTo>
                <a:lnTo>
                  <a:pt x="3481032" y="71297"/>
                </a:lnTo>
                <a:lnTo>
                  <a:pt x="3443427" y="95542"/>
                </a:lnTo>
                <a:lnTo>
                  <a:pt x="3408134" y="122821"/>
                </a:lnTo>
                <a:lnTo>
                  <a:pt x="3385413" y="143687"/>
                </a:lnTo>
                <a:lnTo>
                  <a:pt x="0" y="143687"/>
                </a:lnTo>
                <a:lnTo>
                  <a:pt x="0" y="900163"/>
                </a:lnTo>
                <a:lnTo>
                  <a:pt x="3384702" y="900163"/>
                </a:lnTo>
                <a:lnTo>
                  <a:pt x="3408134" y="921689"/>
                </a:lnTo>
                <a:lnTo>
                  <a:pt x="3443427" y="948969"/>
                </a:lnTo>
                <a:lnTo>
                  <a:pt x="3481032" y="973213"/>
                </a:lnTo>
                <a:lnTo>
                  <a:pt x="3520744" y="994232"/>
                </a:lnTo>
                <a:lnTo>
                  <a:pt x="3562388" y="1011834"/>
                </a:lnTo>
                <a:lnTo>
                  <a:pt x="3605784" y="1025855"/>
                </a:lnTo>
                <a:lnTo>
                  <a:pt x="3650742" y="1036104"/>
                </a:lnTo>
                <a:lnTo>
                  <a:pt x="3697084" y="1042377"/>
                </a:lnTo>
                <a:lnTo>
                  <a:pt x="3744620" y="1044511"/>
                </a:lnTo>
                <a:lnTo>
                  <a:pt x="3792156" y="1042377"/>
                </a:lnTo>
                <a:lnTo>
                  <a:pt x="3838498" y="1036104"/>
                </a:lnTo>
                <a:lnTo>
                  <a:pt x="3883456" y="1025855"/>
                </a:lnTo>
                <a:lnTo>
                  <a:pt x="3926852" y="1011834"/>
                </a:lnTo>
                <a:lnTo>
                  <a:pt x="3968496" y="994232"/>
                </a:lnTo>
                <a:lnTo>
                  <a:pt x="4008221" y="973213"/>
                </a:lnTo>
                <a:lnTo>
                  <a:pt x="4045813" y="948969"/>
                </a:lnTo>
                <a:lnTo>
                  <a:pt x="4081107" y="921689"/>
                </a:lnTo>
                <a:lnTo>
                  <a:pt x="4113911" y="891552"/>
                </a:lnTo>
                <a:lnTo>
                  <a:pt x="4144048" y="858735"/>
                </a:lnTo>
                <a:lnTo>
                  <a:pt x="4171327" y="823442"/>
                </a:lnTo>
                <a:lnTo>
                  <a:pt x="4195572" y="785850"/>
                </a:lnTo>
                <a:lnTo>
                  <a:pt x="4216590" y="746137"/>
                </a:lnTo>
                <a:lnTo>
                  <a:pt x="4234205" y="704481"/>
                </a:lnTo>
                <a:lnTo>
                  <a:pt x="4248226" y="661085"/>
                </a:lnTo>
                <a:lnTo>
                  <a:pt x="4258462" y="616127"/>
                </a:lnTo>
                <a:lnTo>
                  <a:pt x="4264749" y="569785"/>
                </a:lnTo>
                <a:lnTo>
                  <a:pt x="4266882" y="522249"/>
                </a:lnTo>
                <a:close/>
              </a:path>
            </a:pathLst>
          </a:custGeom>
          <a:solidFill>
            <a:srgbClr val="21408B"/>
          </a:solidFill>
        </p:spPr>
        <p:txBody>
          <a:bodyPr wrap="square" lIns="0" tIns="0" rIns="0" bIns="0" rtlCol="0"/>
          <a:lstStyle/>
          <a:p>
            <a:endParaRPr/>
          </a:p>
        </p:txBody>
      </p:sp>
      <p:sp>
        <p:nvSpPr>
          <p:cNvPr id="20" name="object 20"/>
          <p:cNvSpPr/>
          <p:nvPr/>
        </p:nvSpPr>
        <p:spPr>
          <a:xfrm>
            <a:off x="4552658" y="8611475"/>
            <a:ext cx="4267200" cy="1044575"/>
          </a:xfrm>
          <a:custGeom>
            <a:avLst/>
            <a:gdLst/>
            <a:ahLst/>
            <a:cxnLst/>
            <a:rect l="l" t="t" r="r" b="b"/>
            <a:pathLst>
              <a:path w="4267200" h="1044575">
                <a:moveTo>
                  <a:pt x="4266882" y="522249"/>
                </a:moveTo>
                <a:lnTo>
                  <a:pt x="4264749" y="474713"/>
                </a:lnTo>
                <a:lnTo>
                  <a:pt x="4258462" y="428383"/>
                </a:lnTo>
                <a:lnTo>
                  <a:pt x="4248226" y="383413"/>
                </a:lnTo>
                <a:lnTo>
                  <a:pt x="4234205" y="340017"/>
                </a:lnTo>
                <a:lnTo>
                  <a:pt x="4216590" y="298373"/>
                </a:lnTo>
                <a:lnTo>
                  <a:pt x="4195572" y="258660"/>
                </a:lnTo>
                <a:lnTo>
                  <a:pt x="4171327" y="221068"/>
                </a:lnTo>
                <a:lnTo>
                  <a:pt x="4144048" y="185775"/>
                </a:lnTo>
                <a:lnTo>
                  <a:pt x="4113911" y="152958"/>
                </a:lnTo>
                <a:lnTo>
                  <a:pt x="4081107" y="122821"/>
                </a:lnTo>
                <a:lnTo>
                  <a:pt x="4045813" y="95542"/>
                </a:lnTo>
                <a:lnTo>
                  <a:pt x="4008221" y="71297"/>
                </a:lnTo>
                <a:lnTo>
                  <a:pt x="3968496" y="50279"/>
                </a:lnTo>
                <a:lnTo>
                  <a:pt x="3926852" y="32664"/>
                </a:lnTo>
                <a:lnTo>
                  <a:pt x="3883456" y="18656"/>
                </a:lnTo>
                <a:lnTo>
                  <a:pt x="3838498" y="8407"/>
                </a:lnTo>
                <a:lnTo>
                  <a:pt x="3792156" y="2133"/>
                </a:lnTo>
                <a:lnTo>
                  <a:pt x="3744620" y="0"/>
                </a:lnTo>
                <a:lnTo>
                  <a:pt x="3697084" y="2133"/>
                </a:lnTo>
                <a:lnTo>
                  <a:pt x="3650742" y="8407"/>
                </a:lnTo>
                <a:lnTo>
                  <a:pt x="3605784" y="18656"/>
                </a:lnTo>
                <a:lnTo>
                  <a:pt x="3562388" y="32664"/>
                </a:lnTo>
                <a:lnTo>
                  <a:pt x="3520744" y="50279"/>
                </a:lnTo>
                <a:lnTo>
                  <a:pt x="3481032" y="71297"/>
                </a:lnTo>
                <a:lnTo>
                  <a:pt x="3443427" y="95542"/>
                </a:lnTo>
                <a:lnTo>
                  <a:pt x="3408134" y="122821"/>
                </a:lnTo>
                <a:lnTo>
                  <a:pt x="3385413" y="143687"/>
                </a:lnTo>
                <a:lnTo>
                  <a:pt x="0" y="143687"/>
                </a:lnTo>
                <a:lnTo>
                  <a:pt x="0" y="900163"/>
                </a:lnTo>
                <a:lnTo>
                  <a:pt x="3384702" y="900163"/>
                </a:lnTo>
                <a:lnTo>
                  <a:pt x="3408134" y="921689"/>
                </a:lnTo>
                <a:lnTo>
                  <a:pt x="3443427" y="948969"/>
                </a:lnTo>
                <a:lnTo>
                  <a:pt x="3481032" y="973213"/>
                </a:lnTo>
                <a:lnTo>
                  <a:pt x="3520744" y="994232"/>
                </a:lnTo>
                <a:lnTo>
                  <a:pt x="3562388" y="1011834"/>
                </a:lnTo>
                <a:lnTo>
                  <a:pt x="3605784" y="1025855"/>
                </a:lnTo>
                <a:lnTo>
                  <a:pt x="3650742" y="1036104"/>
                </a:lnTo>
                <a:lnTo>
                  <a:pt x="3697084" y="1042377"/>
                </a:lnTo>
                <a:lnTo>
                  <a:pt x="3744620" y="1044511"/>
                </a:lnTo>
                <a:lnTo>
                  <a:pt x="3792156" y="1042377"/>
                </a:lnTo>
                <a:lnTo>
                  <a:pt x="3838498" y="1036104"/>
                </a:lnTo>
                <a:lnTo>
                  <a:pt x="3883456" y="1025855"/>
                </a:lnTo>
                <a:lnTo>
                  <a:pt x="3926852" y="1011834"/>
                </a:lnTo>
                <a:lnTo>
                  <a:pt x="3968496" y="994232"/>
                </a:lnTo>
                <a:lnTo>
                  <a:pt x="4008221" y="973213"/>
                </a:lnTo>
                <a:lnTo>
                  <a:pt x="4045813" y="948969"/>
                </a:lnTo>
                <a:lnTo>
                  <a:pt x="4081107" y="921689"/>
                </a:lnTo>
                <a:lnTo>
                  <a:pt x="4113911" y="891552"/>
                </a:lnTo>
                <a:lnTo>
                  <a:pt x="4144048" y="858735"/>
                </a:lnTo>
                <a:lnTo>
                  <a:pt x="4171327" y="823442"/>
                </a:lnTo>
                <a:lnTo>
                  <a:pt x="4195572" y="785850"/>
                </a:lnTo>
                <a:lnTo>
                  <a:pt x="4216590" y="746137"/>
                </a:lnTo>
                <a:lnTo>
                  <a:pt x="4234205" y="704481"/>
                </a:lnTo>
                <a:lnTo>
                  <a:pt x="4248226" y="661085"/>
                </a:lnTo>
                <a:lnTo>
                  <a:pt x="4258462" y="616127"/>
                </a:lnTo>
                <a:lnTo>
                  <a:pt x="4264749" y="569785"/>
                </a:lnTo>
                <a:lnTo>
                  <a:pt x="4266882" y="522249"/>
                </a:lnTo>
                <a:close/>
              </a:path>
            </a:pathLst>
          </a:custGeom>
          <a:solidFill>
            <a:srgbClr val="21408B"/>
          </a:solidFill>
        </p:spPr>
        <p:txBody>
          <a:bodyPr wrap="square" lIns="0" tIns="0" rIns="0" bIns="0" rtlCol="0"/>
          <a:lstStyle/>
          <a:p>
            <a:endParaRPr/>
          </a:p>
        </p:txBody>
      </p:sp>
      <p:sp>
        <p:nvSpPr>
          <p:cNvPr id="21" name="object 21"/>
          <p:cNvSpPr/>
          <p:nvPr/>
        </p:nvSpPr>
        <p:spPr>
          <a:xfrm>
            <a:off x="8070812" y="7704225"/>
            <a:ext cx="447675" cy="485775"/>
          </a:xfrm>
          <a:custGeom>
            <a:avLst/>
            <a:gdLst/>
            <a:ahLst/>
            <a:cxnLst/>
            <a:rect l="l" t="t" r="r" b="b"/>
            <a:pathLst>
              <a:path w="447675" h="485775">
                <a:moveTo>
                  <a:pt x="281305" y="446925"/>
                </a:moveTo>
                <a:lnTo>
                  <a:pt x="281101" y="444957"/>
                </a:lnTo>
                <a:lnTo>
                  <a:pt x="280111" y="443484"/>
                </a:lnTo>
                <a:lnTo>
                  <a:pt x="279006" y="441909"/>
                </a:lnTo>
                <a:lnTo>
                  <a:pt x="276821" y="440829"/>
                </a:lnTo>
                <a:lnTo>
                  <a:pt x="275424" y="441032"/>
                </a:lnTo>
                <a:lnTo>
                  <a:pt x="172554" y="441617"/>
                </a:lnTo>
                <a:lnTo>
                  <a:pt x="168859" y="442607"/>
                </a:lnTo>
                <a:lnTo>
                  <a:pt x="166865" y="445744"/>
                </a:lnTo>
                <a:lnTo>
                  <a:pt x="166662" y="447713"/>
                </a:lnTo>
                <a:lnTo>
                  <a:pt x="167462" y="449389"/>
                </a:lnTo>
                <a:lnTo>
                  <a:pt x="176974" y="464400"/>
                </a:lnTo>
                <a:lnTo>
                  <a:pt x="190182" y="475869"/>
                </a:lnTo>
                <a:lnTo>
                  <a:pt x="206146" y="483196"/>
                </a:lnTo>
                <a:lnTo>
                  <a:pt x="223888" y="485775"/>
                </a:lnTo>
                <a:lnTo>
                  <a:pt x="241858" y="483146"/>
                </a:lnTo>
                <a:lnTo>
                  <a:pt x="257924" y="475678"/>
                </a:lnTo>
                <a:lnTo>
                  <a:pt x="271157" y="463994"/>
                </a:lnTo>
                <a:lnTo>
                  <a:pt x="280606" y="448703"/>
                </a:lnTo>
                <a:lnTo>
                  <a:pt x="281305" y="446925"/>
                </a:lnTo>
                <a:close/>
              </a:path>
              <a:path w="447675" h="485775">
                <a:moveTo>
                  <a:pt x="447675" y="394220"/>
                </a:moveTo>
                <a:lnTo>
                  <a:pt x="446176" y="391071"/>
                </a:lnTo>
                <a:lnTo>
                  <a:pt x="380593" y="337096"/>
                </a:lnTo>
                <a:lnTo>
                  <a:pt x="380593" y="198729"/>
                </a:lnTo>
                <a:lnTo>
                  <a:pt x="372122" y="148640"/>
                </a:lnTo>
                <a:lnTo>
                  <a:pt x="348640" y="105384"/>
                </a:lnTo>
                <a:lnTo>
                  <a:pt x="312966" y="71729"/>
                </a:lnTo>
                <a:lnTo>
                  <a:pt x="267944" y="50444"/>
                </a:lnTo>
                <a:lnTo>
                  <a:pt x="268249" y="48387"/>
                </a:lnTo>
                <a:lnTo>
                  <a:pt x="268643" y="46316"/>
                </a:lnTo>
                <a:lnTo>
                  <a:pt x="268643" y="45923"/>
                </a:lnTo>
                <a:lnTo>
                  <a:pt x="268643" y="44157"/>
                </a:lnTo>
                <a:lnTo>
                  <a:pt x="265125" y="26974"/>
                </a:lnTo>
                <a:lnTo>
                  <a:pt x="261747" y="22034"/>
                </a:lnTo>
                <a:lnTo>
                  <a:pt x="255536" y="12941"/>
                </a:lnTo>
                <a:lnTo>
                  <a:pt x="246214" y="6743"/>
                </a:lnTo>
                <a:lnTo>
                  <a:pt x="246214" y="44157"/>
                </a:lnTo>
                <a:lnTo>
                  <a:pt x="246113" y="45339"/>
                </a:lnTo>
                <a:lnTo>
                  <a:pt x="246011" y="45923"/>
                </a:lnTo>
                <a:lnTo>
                  <a:pt x="238734" y="44945"/>
                </a:lnTo>
                <a:lnTo>
                  <a:pt x="231368" y="44157"/>
                </a:lnTo>
                <a:lnTo>
                  <a:pt x="216204" y="44157"/>
                </a:lnTo>
                <a:lnTo>
                  <a:pt x="208927" y="44843"/>
                </a:lnTo>
                <a:lnTo>
                  <a:pt x="201663" y="45923"/>
                </a:lnTo>
                <a:lnTo>
                  <a:pt x="201663" y="45339"/>
                </a:lnTo>
                <a:lnTo>
                  <a:pt x="201523" y="44945"/>
                </a:lnTo>
                <a:lnTo>
                  <a:pt x="201460" y="44157"/>
                </a:lnTo>
                <a:lnTo>
                  <a:pt x="203225" y="35560"/>
                </a:lnTo>
                <a:lnTo>
                  <a:pt x="208038" y="28524"/>
                </a:lnTo>
                <a:lnTo>
                  <a:pt x="215163" y="23774"/>
                </a:lnTo>
                <a:lnTo>
                  <a:pt x="223888" y="22034"/>
                </a:lnTo>
                <a:lnTo>
                  <a:pt x="232587" y="23774"/>
                </a:lnTo>
                <a:lnTo>
                  <a:pt x="239687" y="28524"/>
                </a:lnTo>
                <a:lnTo>
                  <a:pt x="244462" y="35560"/>
                </a:lnTo>
                <a:lnTo>
                  <a:pt x="246214" y="44157"/>
                </a:lnTo>
                <a:lnTo>
                  <a:pt x="246214" y="6743"/>
                </a:lnTo>
                <a:lnTo>
                  <a:pt x="241312" y="3479"/>
                </a:lnTo>
                <a:lnTo>
                  <a:pt x="223888" y="0"/>
                </a:lnTo>
                <a:lnTo>
                  <a:pt x="206463" y="3479"/>
                </a:lnTo>
                <a:lnTo>
                  <a:pt x="192239" y="12941"/>
                </a:lnTo>
                <a:lnTo>
                  <a:pt x="182651" y="26974"/>
                </a:lnTo>
                <a:lnTo>
                  <a:pt x="179133" y="44157"/>
                </a:lnTo>
                <a:lnTo>
                  <a:pt x="179133" y="46316"/>
                </a:lnTo>
                <a:lnTo>
                  <a:pt x="179527" y="48387"/>
                </a:lnTo>
                <a:lnTo>
                  <a:pt x="179832" y="50444"/>
                </a:lnTo>
                <a:lnTo>
                  <a:pt x="134810" y="71716"/>
                </a:lnTo>
                <a:lnTo>
                  <a:pt x="99136" y="105346"/>
                </a:lnTo>
                <a:lnTo>
                  <a:pt x="75641" y="148602"/>
                </a:lnTo>
                <a:lnTo>
                  <a:pt x="67183" y="198729"/>
                </a:lnTo>
                <a:lnTo>
                  <a:pt x="67183" y="337096"/>
                </a:lnTo>
                <a:lnTo>
                  <a:pt x="3987" y="389013"/>
                </a:lnTo>
                <a:lnTo>
                  <a:pt x="1397" y="391071"/>
                </a:lnTo>
                <a:lnTo>
                  <a:pt x="0" y="394220"/>
                </a:lnTo>
                <a:lnTo>
                  <a:pt x="0" y="414578"/>
                </a:lnTo>
                <a:lnTo>
                  <a:pt x="4978" y="419493"/>
                </a:lnTo>
                <a:lnTo>
                  <a:pt x="442683" y="419493"/>
                </a:lnTo>
                <a:lnTo>
                  <a:pt x="447675" y="414578"/>
                </a:lnTo>
                <a:lnTo>
                  <a:pt x="447675" y="394220"/>
                </a:lnTo>
                <a:close/>
              </a:path>
            </a:pathLst>
          </a:custGeom>
          <a:solidFill>
            <a:srgbClr val="FFFFFF"/>
          </a:solidFill>
        </p:spPr>
        <p:txBody>
          <a:bodyPr wrap="square" lIns="0" tIns="0" rIns="0" bIns="0" rtlCol="0"/>
          <a:lstStyle/>
          <a:p>
            <a:endParaRPr/>
          </a:p>
        </p:txBody>
      </p:sp>
      <p:grpSp>
        <p:nvGrpSpPr>
          <p:cNvPr id="22" name="object 22"/>
          <p:cNvGrpSpPr/>
          <p:nvPr/>
        </p:nvGrpSpPr>
        <p:grpSpPr>
          <a:xfrm>
            <a:off x="4728342" y="4817277"/>
            <a:ext cx="762000" cy="681355"/>
            <a:chOff x="4728342" y="4817277"/>
            <a:chExt cx="762000" cy="681355"/>
          </a:xfrm>
        </p:grpSpPr>
        <p:sp>
          <p:nvSpPr>
            <p:cNvPr id="23" name="object 23"/>
            <p:cNvSpPr/>
            <p:nvPr/>
          </p:nvSpPr>
          <p:spPr>
            <a:xfrm>
              <a:off x="4728342" y="4817277"/>
              <a:ext cx="762000" cy="681355"/>
            </a:xfrm>
            <a:custGeom>
              <a:avLst/>
              <a:gdLst/>
              <a:ahLst/>
              <a:cxnLst/>
              <a:rect l="l" t="t" r="r" b="b"/>
              <a:pathLst>
                <a:path w="762000" h="681354">
                  <a:moveTo>
                    <a:pt x="128188" y="681177"/>
                  </a:moveTo>
                  <a:lnTo>
                    <a:pt x="121441" y="679156"/>
                  </a:lnTo>
                  <a:lnTo>
                    <a:pt x="154857" y="638116"/>
                  </a:lnTo>
                  <a:lnTo>
                    <a:pt x="179662" y="596466"/>
                  </a:lnTo>
                  <a:lnTo>
                    <a:pt x="195101" y="564170"/>
                  </a:lnTo>
                  <a:lnTo>
                    <a:pt x="200416" y="551190"/>
                  </a:lnTo>
                  <a:lnTo>
                    <a:pt x="72717" y="551190"/>
                  </a:lnTo>
                  <a:lnTo>
                    <a:pt x="44415" y="545483"/>
                  </a:lnTo>
                  <a:lnTo>
                    <a:pt x="21300" y="529919"/>
                  </a:lnTo>
                  <a:lnTo>
                    <a:pt x="5715" y="506835"/>
                  </a:lnTo>
                  <a:lnTo>
                    <a:pt x="0" y="478568"/>
                  </a:lnTo>
                  <a:lnTo>
                    <a:pt x="0" y="72622"/>
                  </a:lnTo>
                  <a:lnTo>
                    <a:pt x="5715" y="44355"/>
                  </a:lnTo>
                  <a:lnTo>
                    <a:pt x="21300" y="21271"/>
                  </a:lnTo>
                  <a:lnTo>
                    <a:pt x="44415" y="5707"/>
                  </a:lnTo>
                  <a:lnTo>
                    <a:pt x="72717" y="0"/>
                  </a:lnTo>
                  <a:lnTo>
                    <a:pt x="688684" y="0"/>
                  </a:lnTo>
                  <a:lnTo>
                    <a:pt x="717004" y="5707"/>
                  </a:lnTo>
                  <a:lnTo>
                    <a:pt x="740119" y="21271"/>
                  </a:lnTo>
                  <a:lnTo>
                    <a:pt x="755699" y="44355"/>
                  </a:lnTo>
                  <a:lnTo>
                    <a:pt x="761410" y="72622"/>
                  </a:lnTo>
                  <a:lnTo>
                    <a:pt x="761410" y="478568"/>
                  </a:lnTo>
                  <a:lnTo>
                    <a:pt x="755699" y="506835"/>
                  </a:lnTo>
                  <a:lnTo>
                    <a:pt x="740119" y="529919"/>
                  </a:lnTo>
                  <a:lnTo>
                    <a:pt x="717004" y="545483"/>
                  </a:lnTo>
                  <a:lnTo>
                    <a:pt x="688684" y="551190"/>
                  </a:lnTo>
                  <a:lnTo>
                    <a:pt x="427217" y="551190"/>
                  </a:lnTo>
                  <a:lnTo>
                    <a:pt x="401210" y="577496"/>
                  </a:lnTo>
                  <a:lnTo>
                    <a:pt x="359230" y="603058"/>
                  </a:lnTo>
                  <a:lnTo>
                    <a:pt x="307519" y="626776"/>
                  </a:lnTo>
                  <a:lnTo>
                    <a:pt x="252318" y="647547"/>
                  </a:lnTo>
                  <a:lnTo>
                    <a:pt x="199868" y="664272"/>
                  </a:lnTo>
                  <a:lnTo>
                    <a:pt x="156411" y="675849"/>
                  </a:lnTo>
                  <a:lnTo>
                    <a:pt x="128188" y="681177"/>
                  </a:lnTo>
                  <a:close/>
                </a:path>
              </a:pathLst>
            </a:custGeom>
            <a:solidFill>
              <a:srgbClr val="21408B"/>
            </a:solidFill>
          </p:spPr>
          <p:txBody>
            <a:bodyPr wrap="square" lIns="0" tIns="0" rIns="0" bIns="0" rtlCol="0"/>
            <a:lstStyle/>
            <a:p>
              <a:endParaRPr/>
            </a:p>
          </p:txBody>
        </p:sp>
        <p:pic>
          <p:nvPicPr>
            <p:cNvPr id="24" name="object 24"/>
            <p:cNvPicPr/>
            <p:nvPr/>
          </p:nvPicPr>
          <p:blipFill>
            <a:blip r:embed="rId4" cstate="print"/>
            <a:stretch>
              <a:fillRect/>
            </a:stretch>
          </p:blipFill>
          <p:spPr>
            <a:xfrm>
              <a:off x="4873996" y="5044622"/>
              <a:ext cx="99371" cy="99229"/>
            </a:xfrm>
            <a:prstGeom prst="rect">
              <a:avLst/>
            </a:prstGeom>
          </p:spPr>
        </p:pic>
        <p:pic>
          <p:nvPicPr>
            <p:cNvPr id="25" name="object 25"/>
            <p:cNvPicPr/>
            <p:nvPr/>
          </p:nvPicPr>
          <p:blipFill>
            <a:blip r:embed="rId4" cstate="print"/>
            <a:stretch>
              <a:fillRect/>
            </a:stretch>
          </p:blipFill>
          <p:spPr>
            <a:xfrm>
              <a:off x="5059371" y="5044622"/>
              <a:ext cx="99371" cy="99229"/>
            </a:xfrm>
            <a:prstGeom prst="rect">
              <a:avLst/>
            </a:prstGeom>
          </p:spPr>
        </p:pic>
        <p:pic>
          <p:nvPicPr>
            <p:cNvPr id="26" name="object 26"/>
            <p:cNvPicPr/>
            <p:nvPr/>
          </p:nvPicPr>
          <p:blipFill>
            <a:blip r:embed="rId5" cstate="print"/>
            <a:stretch>
              <a:fillRect/>
            </a:stretch>
          </p:blipFill>
          <p:spPr>
            <a:xfrm>
              <a:off x="5244747" y="5044622"/>
              <a:ext cx="99371" cy="99229"/>
            </a:xfrm>
            <a:prstGeom prst="rect">
              <a:avLst/>
            </a:prstGeom>
          </p:spPr>
        </p:pic>
      </p:grpSp>
      <p:grpSp>
        <p:nvGrpSpPr>
          <p:cNvPr id="27" name="object 27"/>
          <p:cNvGrpSpPr/>
          <p:nvPr/>
        </p:nvGrpSpPr>
        <p:grpSpPr>
          <a:xfrm>
            <a:off x="8070876" y="1838483"/>
            <a:ext cx="742950" cy="533400"/>
            <a:chOff x="8070876" y="1838483"/>
            <a:chExt cx="742950" cy="533400"/>
          </a:xfrm>
        </p:grpSpPr>
        <p:sp>
          <p:nvSpPr>
            <p:cNvPr id="28" name="object 28"/>
            <p:cNvSpPr/>
            <p:nvPr/>
          </p:nvSpPr>
          <p:spPr>
            <a:xfrm>
              <a:off x="8070876" y="1838483"/>
              <a:ext cx="742950" cy="533400"/>
            </a:xfrm>
            <a:custGeom>
              <a:avLst/>
              <a:gdLst/>
              <a:ahLst/>
              <a:cxnLst/>
              <a:rect l="l" t="t" r="r" b="b"/>
              <a:pathLst>
                <a:path w="742950" h="533400">
                  <a:moveTo>
                    <a:pt x="660400" y="533185"/>
                  </a:moveTo>
                  <a:lnTo>
                    <a:pt x="82550" y="533185"/>
                  </a:lnTo>
                  <a:lnTo>
                    <a:pt x="50419" y="526738"/>
                  </a:lnTo>
                  <a:lnTo>
                    <a:pt x="24179" y="509158"/>
                  </a:lnTo>
                  <a:lnTo>
                    <a:pt x="6487" y="483084"/>
                  </a:lnTo>
                  <a:lnTo>
                    <a:pt x="0" y="451156"/>
                  </a:lnTo>
                  <a:lnTo>
                    <a:pt x="0" y="82028"/>
                  </a:lnTo>
                  <a:lnTo>
                    <a:pt x="921" y="69734"/>
                  </a:lnTo>
                  <a:lnTo>
                    <a:pt x="3596" y="58012"/>
                  </a:lnTo>
                  <a:lnTo>
                    <a:pt x="7888" y="46993"/>
                  </a:lnTo>
                  <a:lnTo>
                    <a:pt x="13662" y="36810"/>
                  </a:lnTo>
                  <a:lnTo>
                    <a:pt x="70002" y="36892"/>
                  </a:lnTo>
                  <a:lnTo>
                    <a:pt x="70084" y="922"/>
                  </a:lnTo>
                  <a:lnTo>
                    <a:pt x="78319" y="0"/>
                  </a:lnTo>
                  <a:lnTo>
                    <a:pt x="660400" y="0"/>
                  </a:lnTo>
                  <a:lnTo>
                    <a:pt x="692531" y="6446"/>
                  </a:lnTo>
                  <a:lnTo>
                    <a:pt x="718770" y="24026"/>
                  </a:lnTo>
                  <a:lnTo>
                    <a:pt x="736462" y="50100"/>
                  </a:lnTo>
                  <a:lnTo>
                    <a:pt x="742950" y="82028"/>
                  </a:lnTo>
                  <a:lnTo>
                    <a:pt x="742950" y="451156"/>
                  </a:lnTo>
                  <a:lnTo>
                    <a:pt x="736462" y="483084"/>
                  </a:lnTo>
                  <a:lnTo>
                    <a:pt x="718770" y="509158"/>
                  </a:lnTo>
                  <a:lnTo>
                    <a:pt x="692531" y="526738"/>
                  </a:lnTo>
                  <a:lnTo>
                    <a:pt x="660400" y="533185"/>
                  </a:lnTo>
                  <a:close/>
                </a:path>
              </a:pathLst>
            </a:custGeom>
            <a:solidFill>
              <a:srgbClr val="00247D"/>
            </a:solidFill>
          </p:spPr>
          <p:txBody>
            <a:bodyPr wrap="square" lIns="0" tIns="0" rIns="0" bIns="0" rtlCol="0"/>
            <a:lstStyle/>
            <a:p>
              <a:endParaRPr/>
            </a:p>
          </p:txBody>
        </p:sp>
        <p:sp>
          <p:nvSpPr>
            <p:cNvPr id="29" name="object 29"/>
            <p:cNvSpPr/>
            <p:nvPr/>
          </p:nvSpPr>
          <p:spPr>
            <a:xfrm>
              <a:off x="8199943" y="1875335"/>
              <a:ext cx="588645" cy="441325"/>
            </a:xfrm>
            <a:custGeom>
              <a:avLst/>
              <a:gdLst/>
              <a:ahLst/>
              <a:cxnLst/>
              <a:rect l="l" t="t" r="r" b="b"/>
              <a:pathLst>
                <a:path w="588645" h="441325">
                  <a:moveTo>
                    <a:pt x="69300" y="339372"/>
                  </a:moveTo>
                  <a:lnTo>
                    <a:pt x="44061" y="339372"/>
                  </a:lnTo>
                  <a:lnTo>
                    <a:pt x="56670" y="307606"/>
                  </a:lnTo>
                  <a:lnTo>
                    <a:pt x="69300" y="339372"/>
                  </a:lnTo>
                  <a:close/>
                </a:path>
                <a:path w="588645" h="441325">
                  <a:moveTo>
                    <a:pt x="31451" y="417422"/>
                  </a:moveTo>
                  <a:lnTo>
                    <a:pt x="33948" y="383380"/>
                  </a:lnTo>
                  <a:lnTo>
                    <a:pt x="0" y="378233"/>
                  </a:lnTo>
                  <a:lnTo>
                    <a:pt x="28335" y="358956"/>
                  </a:lnTo>
                  <a:lnTo>
                    <a:pt x="11226" y="329364"/>
                  </a:lnTo>
                  <a:lnTo>
                    <a:pt x="44061" y="339372"/>
                  </a:lnTo>
                  <a:lnTo>
                    <a:pt x="96342" y="339372"/>
                  </a:lnTo>
                  <a:lnTo>
                    <a:pt x="85005" y="358956"/>
                  </a:lnTo>
                  <a:lnTo>
                    <a:pt x="113361" y="378233"/>
                  </a:lnTo>
                  <a:lnTo>
                    <a:pt x="79413" y="383380"/>
                  </a:lnTo>
                  <a:lnTo>
                    <a:pt x="80211" y="394269"/>
                  </a:lnTo>
                  <a:lnTo>
                    <a:pt x="56670" y="394269"/>
                  </a:lnTo>
                  <a:lnTo>
                    <a:pt x="31451" y="417422"/>
                  </a:lnTo>
                  <a:close/>
                </a:path>
                <a:path w="588645" h="441325">
                  <a:moveTo>
                    <a:pt x="96342" y="339372"/>
                  </a:moveTo>
                  <a:lnTo>
                    <a:pt x="69300" y="339372"/>
                  </a:lnTo>
                  <a:lnTo>
                    <a:pt x="102134" y="329364"/>
                  </a:lnTo>
                  <a:lnTo>
                    <a:pt x="96342" y="339372"/>
                  </a:lnTo>
                  <a:close/>
                </a:path>
                <a:path w="588645" h="441325">
                  <a:moveTo>
                    <a:pt x="81910" y="417422"/>
                  </a:moveTo>
                  <a:lnTo>
                    <a:pt x="56670" y="394269"/>
                  </a:lnTo>
                  <a:lnTo>
                    <a:pt x="80211" y="394269"/>
                  </a:lnTo>
                  <a:lnTo>
                    <a:pt x="81910" y="417422"/>
                  </a:lnTo>
                  <a:close/>
                </a:path>
                <a:path w="588645" h="441325">
                  <a:moveTo>
                    <a:pt x="456026" y="20773"/>
                  </a:moveTo>
                  <a:lnTo>
                    <a:pt x="439496" y="20773"/>
                  </a:lnTo>
                  <a:lnTo>
                    <a:pt x="447751" y="0"/>
                  </a:lnTo>
                  <a:lnTo>
                    <a:pt x="456026" y="20773"/>
                  </a:lnTo>
                  <a:close/>
                </a:path>
                <a:path w="588645" h="441325">
                  <a:moveTo>
                    <a:pt x="431261" y="71836"/>
                  </a:moveTo>
                  <a:lnTo>
                    <a:pt x="432892" y="49565"/>
                  </a:lnTo>
                  <a:lnTo>
                    <a:pt x="410665" y="46202"/>
                  </a:lnTo>
                  <a:lnTo>
                    <a:pt x="429218" y="33590"/>
                  </a:lnTo>
                  <a:lnTo>
                    <a:pt x="418033" y="14231"/>
                  </a:lnTo>
                  <a:lnTo>
                    <a:pt x="439496" y="20773"/>
                  </a:lnTo>
                  <a:lnTo>
                    <a:pt x="473723" y="20773"/>
                  </a:lnTo>
                  <a:lnTo>
                    <a:pt x="466304" y="33590"/>
                  </a:lnTo>
                  <a:lnTo>
                    <a:pt x="484836" y="46202"/>
                  </a:lnTo>
                  <a:lnTo>
                    <a:pt x="462630" y="49565"/>
                  </a:lnTo>
                  <a:lnTo>
                    <a:pt x="463153" y="56702"/>
                  </a:lnTo>
                  <a:lnTo>
                    <a:pt x="447751" y="56702"/>
                  </a:lnTo>
                  <a:lnTo>
                    <a:pt x="431261" y="71836"/>
                  </a:lnTo>
                  <a:close/>
                </a:path>
                <a:path w="588645" h="441325">
                  <a:moveTo>
                    <a:pt x="473723" y="20773"/>
                  </a:moveTo>
                  <a:lnTo>
                    <a:pt x="456026" y="20773"/>
                  </a:lnTo>
                  <a:lnTo>
                    <a:pt x="477510" y="14231"/>
                  </a:lnTo>
                  <a:lnTo>
                    <a:pt x="473723" y="20773"/>
                  </a:lnTo>
                  <a:close/>
                </a:path>
                <a:path w="588645" h="441325">
                  <a:moveTo>
                    <a:pt x="464261" y="71836"/>
                  </a:moveTo>
                  <a:lnTo>
                    <a:pt x="447751" y="56702"/>
                  </a:lnTo>
                  <a:lnTo>
                    <a:pt x="463153" y="56702"/>
                  </a:lnTo>
                  <a:lnTo>
                    <a:pt x="464261" y="71836"/>
                  </a:lnTo>
                  <a:close/>
                </a:path>
                <a:path w="588645" h="441325">
                  <a:moveTo>
                    <a:pt x="373476" y="143816"/>
                  </a:moveTo>
                  <a:lnTo>
                    <a:pt x="356946" y="143816"/>
                  </a:lnTo>
                  <a:lnTo>
                    <a:pt x="365201" y="123042"/>
                  </a:lnTo>
                  <a:lnTo>
                    <a:pt x="373476" y="143816"/>
                  </a:lnTo>
                  <a:close/>
                </a:path>
                <a:path w="588645" h="441325">
                  <a:moveTo>
                    <a:pt x="348711" y="194899"/>
                  </a:moveTo>
                  <a:lnTo>
                    <a:pt x="350342" y="172628"/>
                  </a:lnTo>
                  <a:lnTo>
                    <a:pt x="328115" y="169265"/>
                  </a:lnTo>
                  <a:lnTo>
                    <a:pt x="346668" y="156633"/>
                  </a:lnTo>
                  <a:lnTo>
                    <a:pt x="335483" y="137274"/>
                  </a:lnTo>
                  <a:lnTo>
                    <a:pt x="356946" y="143816"/>
                  </a:lnTo>
                  <a:lnTo>
                    <a:pt x="373476" y="143816"/>
                  </a:lnTo>
                  <a:lnTo>
                    <a:pt x="391173" y="143816"/>
                  </a:lnTo>
                  <a:lnTo>
                    <a:pt x="383754" y="156633"/>
                  </a:lnTo>
                  <a:lnTo>
                    <a:pt x="402286" y="169265"/>
                  </a:lnTo>
                  <a:lnTo>
                    <a:pt x="380080" y="172628"/>
                  </a:lnTo>
                  <a:lnTo>
                    <a:pt x="380601" y="179744"/>
                  </a:lnTo>
                  <a:lnTo>
                    <a:pt x="365201" y="179744"/>
                  </a:lnTo>
                  <a:lnTo>
                    <a:pt x="348711" y="194899"/>
                  </a:lnTo>
                  <a:close/>
                </a:path>
                <a:path w="588645" h="441325">
                  <a:moveTo>
                    <a:pt x="391173" y="143816"/>
                  </a:moveTo>
                  <a:lnTo>
                    <a:pt x="373476" y="143816"/>
                  </a:lnTo>
                  <a:lnTo>
                    <a:pt x="394960" y="137274"/>
                  </a:lnTo>
                  <a:lnTo>
                    <a:pt x="391173" y="143816"/>
                  </a:lnTo>
                  <a:close/>
                </a:path>
                <a:path w="588645" h="441325">
                  <a:moveTo>
                    <a:pt x="381711" y="194899"/>
                  </a:moveTo>
                  <a:lnTo>
                    <a:pt x="365201" y="179744"/>
                  </a:lnTo>
                  <a:lnTo>
                    <a:pt x="380601" y="179744"/>
                  </a:lnTo>
                  <a:lnTo>
                    <a:pt x="381711" y="194899"/>
                  </a:lnTo>
                  <a:close/>
                </a:path>
                <a:path w="588645" h="441325">
                  <a:moveTo>
                    <a:pt x="559214" y="102802"/>
                  </a:moveTo>
                  <a:lnTo>
                    <a:pt x="542683" y="102802"/>
                  </a:lnTo>
                  <a:lnTo>
                    <a:pt x="550938" y="82028"/>
                  </a:lnTo>
                  <a:lnTo>
                    <a:pt x="559214" y="102802"/>
                  </a:lnTo>
                  <a:close/>
                </a:path>
                <a:path w="588645" h="441325">
                  <a:moveTo>
                    <a:pt x="534449" y="153885"/>
                  </a:moveTo>
                  <a:lnTo>
                    <a:pt x="536079" y="131614"/>
                  </a:lnTo>
                  <a:lnTo>
                    <a:pt x="513853" y="128251"/>
                  </a:lnTo>
                  <a:lnTo>
                    <a:pt x="532406" y="115619"/>
                  </a:lnTo>
                  <a:lnTo>
                    <a:pt x="521220" y="96260"/>
                  </a:lnTo>
                  <a:lnTo>
                    <a:pt x="542683" y="102802"/>
                  </a:lnTo>
                  <a:lnTo>
                    <a:pt x="559214" y="102802"/>
                  </a:lnTo>
                  <a:lnTo>
                    <a:pt x="576911" y="102802"/>
                  </a:lnTo>
                  <a:lnTo>
                    <a:pt x="569491" y="115619"/>
                  </a:lnTo>
                  <a:lnTo>
                    <a:pt x="588024" y="128251"/>
                  </a:lnTo>
                  <a:lnTo>
                    <a:pt x="565818" y="131614"/>
                  </a:lnTo>
                  <a:lnTo>
                    <a:pt x="566339" y="138730"/>
                  </a:lnTo>
                  <a:lnTo>
                    <a:pt x="550938" y="138730"/>
                  </a:lnTo>
                  <a:lnTo>
                    <a:pt x="534449" y="153885"/>
                  </a:lnTo>
                  <a:close/>
                </a:path>
                <a:path w="588645" h="441325">
                  <a:moveTo>
                    <a:pt x="576911" y="102802"/>
                  </a:moveTo>
                  <a:lnTo>
                    <a:pt x="559214" y="102802"/>
                  </a:lnTo>
                  <a:lnTo>
                    <a:pt x="580698" y="96260"/>
                  </a:lnTo>
                  <a:lnTo>
                    <a:pt x="576911" y="102802"/>
                  </a:lnTo>
                  <a:close/>
                </a:path>
                <a:path w="588645" h="441325">
                  <a:moveTo>
                    <a:pt x="567448" y="153885"/>
                  </a:moveTo>
                  <a:lnTo>
                    <a:pt x="550938" y="138730"/>
                  </a:lnTo>
                  <a:lnTo>
                    <a:pt x="566339" y="138730"/>
                  </a:lnTo>
                  <a:lnTo>
                    <a:pt x="567448" y="153885"/>
                  </a:lnTo>
                  <a:close/>
                </a:path>
                <a:path w="588645" h="441325">
                  <a:moveTo>
                    <a:pt x="456026" y="389901"/>
                  </a:moveTo>
                  <a:lnTo>
                    <a:pt x="439496" y="389901"/>
                  </a:lnTo>
                  <a:lnTo>
                    <a:pt x="447751" y="369128"/>
                  </a:lnTo>
                  <a:lnTo>
                    <a:pt x="456026" y="389901"/>
                  </a:lnTo>
                  <a:close/>
                </a:path>
                <a:path w="588645" h="441325">
                  <a:moveTo>
                    <a:pt x="431261" y="440985"/>
                  </a:moveTo>
                  <a:lnTo>
                    <a:pt x="432892" y="418714"/>
                  </a:lnTo>
                  <a:lnTo>
                    <a:pt x="410665" y="415351"/>
                  </a:lnTo>
                  <a:lnTo>
                    <a:pt x="429218" y="402718"/>
                  </a:lnTo>
                  <a:lnTo>
                    <a:pt x="418033" y="383360"/>
                  </a:lnTo>
                  <a:lnTo>
                    <a:pt x="439496" y="389901"/>
                  </a:lnTo>
                  <a:lnTo>
                    <a:pt x="473723" y="389901"/>
                  </a:lnTo>
                  <a:lnTo>
                    <a:pt x="466304" y="402718"/>
                  </a:lnTo>
                  <a:lnTo>
                    <a:pt x="484836" y="415351"/>
                  </a:lnTo>
                  <a:lnTo>
                    <a:pt x="462630" y="418714"/>
                  </a:lnTo>
                  <a:lnTo>
                    <a:pt x="463151" y="425830"/>
                  </a:lnTo>
                  <a:lnTo>
                    <a:pt x="447751" y="425830"/>
                  </a:lnTo>
                  <a:lnTo>
                    <a:pt x="431261" y="440985"/>
                  </a:lnTo>
                  <a:close/>
                </a:path>
                <a:path w="588645" h="441325">
                  <a:moveTo>
                    <a:pt x="473723" y="389901"/>
                  </a:moveTo>
                  <a:lnTo>
                    <a:pt x="456026" y="389901"/>
                  </a:lnTo>
                  <a:lnTo>
                    <a:pt x="477510" y="383360"/>
                  </a:lnTo>
                  <a:lnTo>
                    <a:pt x="473723" y="389901"/>
                  </a:lnTo>
                  <a:close/>
                </a:path>
                <a:path w="588645" h="441325">
                  <a:moveTo>
                    <a:pt x="464261" y="440985"/>
                  </a:moveTo>
                  <a:lnTo>
                    <a:pt x="447751" y="425830"/>
                  </a:lnTo>
                  <a:lnTo>
                    <a:pt x="463151" y="425830"/>
                  </a:lnTo>
                  <a:lnTo>
                    <a:pt x="464261" y="440985"/>
                  </a:lnTo>
                  <a:close/>
                </a:path>
                <a:path w="588645" h="441325">
                  <a:moveTo>
                    <a:pt x="498560" y="225824"/>
                  </a:moveTo>
                  <a:lnTo>
                    <a:pt x="500872" y="212392"/>
                  </a:lnTo>
                  <a:lnTo>
                    <a:pt x="491069" y="202897"/>
                  </a:lnTo>
                  <a:lnTo>
                    <a:pt x="504628" y="200949"/>
                  </a:lnTo>
                  <a:lnTo>
                    <a:pt x="510695" y="188727"/>
                  </a:lnTo>
                  <a:lnTo>
                    <a:pt x="516763" y="200949"/>
                  </a:lnTo>
                  <a:lnTo>
                    <a:pt x="530321" y="202897"/>
                  </a:lnTo>
                  <a:lnTo>
                    <a:pt x="520519" y="212392"/>
                  </a:lnTo>
                  <a:lnTo>
                    <a:pt x="521740" y="219487"/>
                  </a:lnTo>
                  <a:lnTo>
                    <a:pt x="510695" y="219487"/>
                  </a:lnTo>
                  <a:lnTo>
                    <a:pt x="498560" y="225824"/>
                  </a:lnTo>
                  <a:close/>
                </a:path>
                <a:path w="588645" h="441325">
                  <a:moveTo>
                    <a:pt x="522830" y="225824"/>
                  </a:moveTo>
                  <a:lnTo>
                    <a:pt x="510695" y="219487"/>
                  </a:lnTo>
                  <a:lnTo>
                    <a:pt x="521740" y="219487"/>
                  </a:lnTo>
                  <a:lnTo>
                    <a:pt x="522830" y="225824"/>
                  </a:lnTo>
                  <a:close/>
                </a:path>
              </a:pathLst>
            </a:custGeom>
            <a:solidFill>
              <a:srgbClr val="FFFFFF"/>
            </a:solidFill>
          </p:spPr>
          <p:txBody>
            <a:bodyPr wrap="square" lIns="0" tIns="0" rIns="0" bIns="0" rtlCol="0"/>
            <a:lstStyle/>
            <a:p>
              <a:endParaRPr/>
            </a:p>
          </p:txBody>
        </p:sp>
        <p:sp>
          <p:nvSpPr>
            <p:cNvPr id="30" name="object 30"/>
            <p:cNvSpPr/>
            <p:nvPr/>
          </p:nvSpPr>
          <p:spPr>
            <a:xfrm>
              <a:off x="8070876" y="1838483"/>
              <a:ext cx="392430" cy="266700"/>
            </a:xfrm>
            <a:custGeom>
              <a:avLst/>
              <a:gdLst/>
              <a:ahLst/>
              <a:cxnLst/>
              <a:rect l="l" t="t" r="r" b="b"/>
              <a:pathLst>
                <a:path w="392429" h="266700">
                  <a:moveTo>
                    <a:pt x="392112" y="36892"/>
                  </a:moveTo>
                  <a:lnTo>
                    <a:pt x="70002" y="36892"/>
                  </a:lnTo>
                  <a:lnTo>
                    <a:pt x="70084" y="922"/>
                  </a:lnTo>
                  <a:lnTo>
                    <a:pt x="75946" y="0"/>
                  </a:lnTo>
                  <a:lnTo>
                    <a:pt x="392112" y="0"/>
                  </a:lnTo>
                  <a:lnTo>
                    <a:pt x="392112" y="36892"/>
                  </a:lnTo>
                  <a:close/>
                </a:path>
                <a:path w="392429" h="266700">
                  <a:moveTo>
                    <a:pt x="392112" y="266592"/>
                  </a:moveTo>
                  <a:lnTo>
                    <a:pt x="0" y="266592"/>
                  </a:lnTo>
                  <a:lnTo>
                    <a:pt x="0" y="82028"/>
                  </a:lnTo>
                  <a:lnTo>
                    <a:pt x="11041" y="41014"/>
                  </a:lnTo>
                  <a:lnTo>
                    <a:pt x="13662" y="36810"/>
                  </a:lnTo>
                  <a:lnTo>
                    <a:pt x="392112" y="36892"/>
                  </a:lnTo>
                  <a:lnTo>
                    <a:pt x="392112" y="266592"/>
                  </a:lnTo>
                  <a:close/>
                </a:path>
              </a:pathLst>
            </a:custGeom>
            <a:solidFill>
              <a:srgbClr val="00247D"/>
            </a:solidFill>
          </p:spPr>
          <p:txBody>
            <a:bodyPr wrap="square" lIns="0" tIns="0" rIns="0" bIns="0" rtlCol="0"/>
            <a:lstStyle/>
            <a:p>
              <a:endParaRPr/>
            </a:p>
          </p:txBody>
        </p:sp>
        <p:sp>
          <p:nvSpPr>
            <p:cNvPr id="31" name="object 31"/>
            <p:cNvSpPr/>
            <p:nvPr/>
          </p:nvSpPr>
          <p:spPr>
            <a:xfrm>
              <a:off x="8070876" y="1838483"/>
              <a:ext cx="392430" cy="266700"/>
            </a:xfrm>
            <a:custGeom>
              <a:avLst/>
              <a:gdLst/>
              <a:ahLst/>
              <a:cxnLst/>
              <a:rect l="l" t="t" r="r" b="b"/>
              <a:pathLst>
                <a:path w="392429" h="266700">
                  <a:moveTo>
                    <a:pt x="392112" y="266592"/>
                  </a:moveTo>
                  <a:lnTo>
                    <a:pt x="343985" y="266592"/>
                  </a:lnTo>
                  <a:lnTo>
                    <a:pt x="247650" y="199554"/>
                  </a:lnTo>
                  <a:lnTo>
                    <a:pt x="247650" y="266592"/>
                  </a:lnTo>
                  <a:lnTo>
                    <a:pt x="144462" y="266592"/>
                  </a:lnTo>
                  <a:lnTo>
                    <a:pt x="144462" y="213930"/>
                  </a:lnTo>
                  <a:lnTo>
                    <a:pt x="68764" y="266592"/>
                  </a:lnTo>
                  <a:lnTo>
                    <a:pt x="0" y="266592"/>
                  </a:lnTo>
                  <a:lnTo>
                    <a:pt x="0" y="241286"/>
                  </a:lnTo>
                  <a:lnTo>
                    <a:pt x="80176" y="184564"/>
                  </a:lnTo>
                  <a:lnTo>
                    <a:pt x="0" y="184564"/>
                  </a:lnTo>
                  <a:lnTo>
                    <a:pt x="0" y="82028"/>
                  </a:lnTo>
                  <a:lnTo>
                    <a:pt x="78690" y="82028"/>
                  </a:lnTo>
                  <a:lnTo>
                    <a:pt x="13662" y="36810"/>
                  </a:lnTo>
                  <a:lnTo>
                    <a:pt x="15601" y="33898"/>
                  </a:lnTo>
                  <a:lnTo>
                    <a:pt x="19956" y="28525"/>
                  </a:lnTo>
                  <a:lnTo>
                    <a:pt x="96789" y="82028"/>
                  </a:lnTo>
                  <a:lnTo>
                    <a:pt x="132616" y="82028"/>
                  </a:lnTo>
                  <a:lnTo>
                    <a:pt x="35579" y="14560"/>
                  </a:lnTo>
                  <a:lnTo>
                    <a:pt x="43385" y="9758"/>
                  </a:lnTo>
                  <a:lnTo>
                    <a:pt x="51810" y="5849"/>
                  </a:lnTo>
                  <a:lnTo>
                    <a:pt x="60746" y="2886"/>
                  </a:lnTo>
                  <a:lnTo>
                    <a:pt x="70084" y="922"/>
                  </a:lnTo>
                  <a:lnTo>
                    <a:pt x="144462" y="52682"/>
                  </a:lnTo>
                  <a:lnTo>
                    <a:pt x="144462" y="0"/>
                  </a:lnTo>
                  <a:lnTo>
                    <a:pt x="247650" y="0"/>
                  </a:lnTo>
                  <a:lnTo>
                    <a:pt x="247650" y="67037"/>
                  </a:lnTo>
                  <a:lnTo>
                    <a:pt x="344006" y="0"/>
                  </a:lnTo>
                  <a:lnTo>
                    <a:pt x="392112" y="0"/>
                  </a:lnTo>
                  <a:lnTo>
                    <a:pt x="392112" y="41608"/>
                  </a:lnTo>
                  <a:lnTo>
                    <a:pt x="334038" y="82028"/>
                  </a:lnTo>
                  <a:lnTo>
                    <a:pt x="392112" y="82028"/>
                  </a:lnTo>
                  <a:lnTo>
                    <a:pt x="392112" y="184564"/>
                  </a:lnTo>
                  <a:lnTo>
                    <a:pt x="334017" y="184564"/>
                  </a:lnTo>
                  <a:lnTo>
                    <a:pt x="392112" y="224983"/>
                  </a:lnTo>
                  <a:lnTo>
                    <a:pt x="392112" y="266592"/>
                  </a:lnTo>
                  <a:close/>
                </a:path>
              </a:pathLst>
            </a:custGeom>
            <a:solidFill>
              <a:srgbClr val="EDEDED"/>
            </a:solidFill>
          </p:spPr>
          <p:txBody>
            <a:bodyPr wrap="square" lIns="0" tIns="0" rIns="0" bIns="0" rtlCol="0"/>
            <a:lstStyle/>
            <a:p>
              <a:endParaRPr/>
            </a:p>
          </p:txBody>
        </p:sp>
        <p:sp>
          <p:nvSpPr>
            <p:cNvPr id="32" name="object 32"/>
            <p:cNvSpPr/>
            <p:nvPr/>
          </p:nvSpPr>
          <p:spPr>
            <a:xfrm>
              <a:off x="8070875" y="1838489"/>
              <a:ext cx="392430" cy="267335"/>
            </a:xfrm>
            <a:custGeom>
              <a:avLst/>
              <a:gdLst/>
              <a:ahLst/>
              <a:cxnLst/>
              <a:rect l="l" t="t" r="r" b="b"/>
              <a:pathLst>
                <a:path w="392429" h="267335">
                  <a:moveTo>
                    <a:pt x="132588" y="82029"/>
                  </a:moveTo>
                  <a:lnTo>
                    <a:pt x="35572" y="14554"/>
                  </a:lnTo>
                  <a:lnTo>
                    <a:pt x="29768" y="18554"/>
                  </a:lnTo>
                  <a:lnTo>
                    <a:pt x="24549" y="23241"/>
                  </a:lnTo>
                  <a:lnTo>
                    <a:pt x="19951" y="28524"/>
                  </a:lnTo>
                  <a:lnTo>
                    <a:pt x="96786" y="82029"/>
                  </a:lnTo>
                  <a:lnTo>
                    <a:pt x="132588" y="82029"/>
                  </a:lnTo>
                  <a:close/>
                </a:path>
                <a:path w="392429" h="267335">
                  <a:moveTo>
                    <a:pt x="144462" y="184569"/>
                  </a:moveTo>
                  <a:lnTo>
                    <a:pt x="132842" y="184569"/>
                  </a:lnTo>
                  <a:lnTo>
                    <a:pt x="15138" y="266598"/>
                  </a:lnTo>
                  <a:lnTo>
                    <a:pt x="50787" y="266598"/>
                  </a:lnTo>
                  <a:lnTo>
                    <a:pt x="144462" y="201422"/>
                  </a:lnTo>
                  <a:lnTo>
                    <a:pt x="144462" y="184569"/>
                  </a:lnTo>
                  <a:close/>
                </a:path>
                <a:path w="392429" h="267335">
                  <a:moveTo>
                    <a:pt x="392112" y="237515"/>
                  </a:moveTo>
                  <a:lnTo>
                    <a:pt x="316014" y="184569"/>
                  </a:lnTo>
                  <a:lnTo>
                    <a:pt x="280047" y="184569"/>
                  </a:lnTo>
                  <a:lnTo>
                    <a:pt x="392112" y="262534"/>
                  </a:lnTo>
                  <a:lnTo>
                    <a:pt x="392112" y="237515"/>
                  </a:lnTo>
                  <a:close/>
                </a:path>
                <a:path w="392429" h="267335">
                  <a:moveTo>
                    <a:pt x="392112" y="102552"/>
                  </a:moveTo>
                  <a:lnTo>
                    <a:pt x="227012" y="102552"/>
                  </a:lnTo>
                  <a:lnTo>
                    <a:pt x="227012" y="12"/>
                  </a:lnTo>
                  <a:lnTo>
                    <a:pt x="165100" y="12"/>
                  </a:lnTo>
                  <a:lnTo>
                    <a:pt x="165100" y="102552"/>
                  </a:lnTo>
                  <a:lnTo>
                    <a:pt x="0" y="102552"/>
                  </a:lnTo>
                  <a:lnTo>
                    <a:pt x="0" y="164592"/>
                  </a:lnTo>
                  <a:lnTo>
                    <a:pt x="165100" y="164592"/>
                  </a:lnTo>
                  <a:lnTo>
                    <a:pt x="165100" y="267131"/>
                  </a:lnTo>
                  <a:lnTo>
                    <a:pt x="227012" y="267131"/>
                  </a:lnTo>
                  <a:lnTo>
                    <a:pt x="227012" y="164592"/>
                  </a:lnTo>
                  <a:lnTo>
                    <a:pt x="392112" y="164592"/>
                  </a:lnTo>
                  <a:lnTo>
                    <a:pt x="392112" y="102552"/>
                  </a:lnTo>
                  <a:close/>
                </a:path>
                <a:path w="392429" h="267335">
                  <a:moveTo>
                    <a:pt x="392112" y="0"/>
                  </a:moveTo>
                  <a:lnTo>
                    <a:pt x="361950" y="0"/>
                  </a:lnTo>
                  <a:lnTo>
                    <a:pt x="247650" y="79552"/>
                  </a:lnTo>
                  <a:lnTo>
                    <a:pt x="247650" y="82029"/>
                  </a:lnTo>
                  <a:lnTo>
                    <a:pt x="280060" y="82029"/>
                  </a:lnTo>
                  <a:lnTo>
                    <a:pt x="392112" y="4064"/>
                  </a:lnTo>
                  <a:lnTo>
                    <a:pt x="392112" y="0"/>
                  </a:lnTo>
                  <a:close/>
                </a:path>
              </a:pathLst>
            </a:custGeom>
            <a:solidFill>
              <a:srgbClr val="CF1B2A"/>
            </a:solidFill>
          </p:spPr>
          <p:txBody>
            <a:bodyPr wrap="square" lIns="0" tIns="0" rIns="0" bIns="0" rtlCol="0"/>
            <a:lstStyle/>
            <a:p>
              <a:endParaRPr/>
            </a:p>
          </p:txBody>
        </p:sp>
      </p:grpSp>
      <p:grpSp>
        <p:nvGrpSpPr>
          <p:cNvPr id="33" name="object 33"/>
          <p:cNvGrpSpPr/>
          <p:nvPr/>
        </p:nvGrpSpPr>
        <p:grpSpPr>
          <a:xfrm>
            <a:off x="1028935" y="6915041"/>
            <a:ext cx="933450" cy="642620"/>
            <a:chOff x="1028935" y="6915041"/>
            <a:chExt cx="933450" cy="642620"/>
          </a:xfrm>
        </p:grpSpPr>
        <p:sp>
          <p:nvSpPr>
            <p:cNvPr id="34" name="object 34"/>
            <p:cNvSpPr/>
            <p:nvPr/>
          </p:nvSpPr>
          <p:spPr>
            <a:xfrm>
              <a:off x="1028935" y="6915041"/>
              <a:ext cx="597535" cy="463550"/>
            </a:xfrm>
            <a:custGeom>
              <a:avLst/>
              <a:gdLst/>
              <a:ahLst/>
              <a:cxnLst/>
              <a:rect l="l" t="t" r="r" b="b"/>
              <a:pathLst>
                <a:path w="597535" h="463550">
                  <a:moveTo>
                    <a:pt x="202555" y="463109"/>
                  </a:moveTo>
                  <a:lnTo>
                    <a:pt x="160921" y="442172"/>
                  </a:lnTo>
                  <a:lnTo>
                    <a:pt x="14670" y="272388"/>
                  </a:lnTo>
                  <a:lnTo>
                    <a:pt x="0" y="231540"/>
                  </a:lnTo>
                  <a:lnTo>
                    <a:pt x="777" y="220765"/>
                  </a:lnTo>
                  <a:lnTo>
                    <a:pt x="160921" y="21137"/>
                  </a:lnTo>
                  <a:lnTo>
                    <a:pt x="202527" y="0"/>
                  </a:lnTo>
                  <a:lnTo>
                    <a:pt x="225780" y="2620"/>
                  </a:lnTo>
                  <a:lnTo>
                    <a:pt x="246883" y="14291"/>
                  </a:lnTo>
                  <a:lnTo>
                    <a:pt x="261719" y="33378"/>
                  </a:lnTo>
                  <a:lnTo>
                    <a:pt x="267915" y="55909"/>
                  </a:lnTo>
                  <a:lnTo>
                    <a:pt x="265258" y="79083"/>
                  </a:lnTo>
                  <a:lnTo>
                    <a:pt x="253531" y="100095"/>
                  </a:lnTo>
                  <a:lnTo>
                    <a:pt x="192784" y="170838"/>
                  </a:lnTo>
                  <a:lnTo>
                    <a:pt x="536175" y="170838"/>
                  </a:lnTo>
                  <a:lnTo>
                    <a:pt x="559822" y="175605"/>
                  </a:lnTo>
                  <a:lnTo>
                    <a:pt x="579214" y="188609"/>
                  </a:lnTo>
                  <a:lnTo>
                    <a:pt x="592330" y="207903"/>
                  </a:lnTo>
                  <a:lnTo>
                    <a:pt x="597151" y="231540"/>
                  </a:lnTo>
                  <a:lnTo>
                    <a:pt x="592362" y="255081"/>
                  </a:lnTo>
                  <a:lnTo>
                    <a:pt x="579300" y="274385"/>
                  </a:lnTo>
                  <a:lnTo>
                    <a:pt x="559919" y="287443"/>
                  </a:lnTo>
                  <a:lnTo>
                    <a:pt x="536175" y="292242"/>
                  </a:lnTo>
                  <a:lnTo>
                    <a:pt x="193014" y="292242"/>
                  </a:lnTo>
                  <a:lnTo>
                    <a:pt x="253760" y="362985"/>
                  </a:lnTo>
                  <a:lnTo>
                    <a:pt x="265487" y="384126"/>
                  </a:lnTo>
                  <a:lnTo>
                    <a:pt x="268145" y="407342"/>
                  </a:lnTo>
                  <a:lnTo>
                    <a:pt x="261948" y="429831"/>
                  </a:lnTo>
                  <a:lnTo>
                    <a:pt x="247113" y="448789"/>
                  </a:lnTo>
                  <a:lnTo>
                    <a:pt x="225876" y="460463"/>
                  </a:lnTo>
                  <a:lnTo>
                    <a:pt x="202555" y="463109"/>
                  </a:lnTo>
                  <a:close/>
                </a:path>
              </a:pathLst>
            </a:custGeom>
            <a:solidFill>
              <a:srgbClr val="0090AE"/>
            </a:solidFill>
          </p:spPr>
          <p:txBody>
            <a:bodyPr wrap="square" lIns="0" tIns="0" rIns="0" bIns="0" rtlCol="0"/>
            <a:lstStyle/>
            <a:p>
              <a:endParaRPr/>
            </a:p>
          </p:txBody>
        </p:sp>
        <p:sp>
          <p:nvSpPr>
            <p:cNvPr id="35" name="object 35"/>
            <p:cNvSpPr/>
            <p:nvPr/>
          </p:nvSpPr>
          <p:spPr>
            <a:xfrm>
              <a:off x="1364762" y="7094380"/>
              <a:ext cx="597535" cy="463550"/>
            </a:xfrm>
            <a:custGeom>
              <a:avLst/>
              <a:gdLst/>
              <a:ahLst/>
              <a:cxnLst/>
              <a:rect l="l" t="t" r="r" b="b"/>
              <a:pathLst>
                <a:path w="597535" h="463550">
                  <a:moveTo>
                    <a:pt x="394595" y="463138"/>
                  </a:moveTo>
                  <a:lnTo>
                    <a:pt x="371274" y="460492"/>
                  </a:lnTo>
                  <a:lnTo>
                    <a:pt x="350038" y="448818"/>
                  </a:lnTo>
                  <a:lnTo>
                    <a:pt x="335202" y="429859"/>
                  </a:lnTo>
                  <a:lnTo>
                    <a:pt x="329006" y="407371"/>
                  </a:lnTo>
                  <a:lnTo>
                    <a:pt x="331664" y="384154"/>
                  </a:lnTo>
                  <a:lnTo>
                    <a:pt x="343390" y="363014"/>
                  </a:lnTo>
                  <a:lnTo>
                    <a:pt x="404137" y="292271"/>
                  </a:lnTo>
                  <a:lnTo>
                    <a:pt x="60975" y="292271"/>
                  </a:lnTo>
                  <a:lnTo>
                    <a:pt x="37232" y="287471"/>
                  </a:lnTo>
                  <a:lnTo>
                    <a:pt x="17851" y="274414"/>
                  </a:lnTo>
                  <a:lnTo>
                    <a:pt x="4788" y="255109"/>
                  </a:lnTo>
                  <a:lnTo>
                    <a:pt x="0" y="231569"/>
                  </a:lnTo>
                  <a:lnTo>
                    <a:pt x="4821" y="207932"/>
                  </a:lnTo>
                  <a:lnTo>
                    <a:pt x="17937" y="188638"/>
                  </a:lnTo>
                  <a:lnTo>
                    <a:pt x="37329" y="175634"/>
                  </a:lnTo>
                  <a:lnTo>
                    <a:pt x="60975" y="170867"/>
                  </a:lnTo>
                  <a:lnTo>
                    <a:pt x="404137" y="170867"/>
                  </a:lnTo>
                  <a:lnTo>
                    <a:pt x="343390" y="100124"/>
                  </a:lnTo>
                  <a:lnTo>
                    <a:pt x="331664" y="79111"/>
                  </a:lnTo>
                  <a:lnTo>
                    <a:pt x="329006" y="55938"/>
                  </a:lnTo>
                  <a:lnTo>
                    <a:pt x="335202" y="33406"/>
                  </a:lnTo>
                  <a:lnTo>
                    <a:pt x="350038" y="14319"/>
                  </a:lnTo>
                  <a:lnTo>
                    <a:pt x="371145" y="2645"/>
                  </a:lnTo>
                  <a:lnTo>
                    <a:pt x="394423" y="0"/>
                  </a:lnTo>
                  <a:lnTo>
                    <a:pt x="417056" y="6168"/>
                  </a:lnTo>
                  <a:lnTo>
                    <a:pt x="582480" y="190720"/>
                  </a:lnTo>
                  <a:lnTo>
                    <a:pt x="597151" y="231569"/>
                  </a:lnTo>
                  <a:lnTo>
                    <a:pt x="596374" y="242348"/>
                  </a:lnTo>
                  <a:lnTo>
                    <a:pt x="436230" y="442200"/>
                  </a:lnTo>
                  <a:lnTo>
                    <a:pt x="417185" y="456969"/>
                  </a:lnTo>
                  <a:lnTo>
                    <a:pt x="394595" y="463138"/>
                  </a:lnTo>
                  <a:close/>
                </a:path>
              </a:pathLst>
            </a:custGeom>
            <a:solidFill>
              <a:srgbClr val="263375"/>
            </a:solidFill>
          </p:spPr>
          <p:txBody>
            <a:bodyPr wrap="square" lIns="0" tIns="0" rIns="0" bIns="0" rtlCol="0"/>
            <a:lstStyle/>
            <a:p>
              <a:endParaRPr/>
            </a:p>
          </p:txBody>
        </p:sp>
      </p:grpSp>
      <p:pic>
        <p:nvPicPr>
          <p:cNvPr id="36" name="object 36"/>
          <p:cNvPicPr/>
          <p:nvPr/>
        </p:nvPicPr>
        <p:blipFill>
          <a:blip r:embed="rId6" cstate="print"/>
          <a:stretch>
            <a:fillRect/>
          </a:stretch>
        </p:blipFill>
        <p:spPr>
          <a:xfrm>
            <a:off x="908602" y="4545952"/>
            <a:ext cx="751780" cy="750569"/>
          </a:xfrm>
          <a:prstGeom prst="rect">
            <a:avLst/>
          </a:prstGeom>
        </p:spPr>
      </p:pic>
      <p:sp>
        <p:nvSpPr>
          <p:cNvPr id="37" name="object 37"/>
          <p:cNvSpPr txBox="1"/>
          <p:nvPr/>
        </p:nvSpPr>
        <p:spPr>
          <a:xfrm>
            <a:off x="4572129" y="5657877"/>
            <a:ext cx="1071880" cy="798830"/>
          </a:xfrm>
          <a:prstGeom prst="rect">
            <a:avLst/>
          </a:prstGeom>
        </p:spPr>
        <p:txBody>
          <a:bodyPr vert="horz" wrap="square" lIns="0" tIns="22225" rIns="0" bIns="0" rtlCol="0">
            <a:spAutoFit/>
          </a:bodyPr>
          <a:lstStyle/>
          <a:p>
            <a:pPr marL="12700" marR="5080" indent="-53975" algn="ctr">
              <a:lnSpc>
                <a:spcPts val="2030"/>
              </a:lnSpc>
              <a:spcBef>
                <a:spcPts val="175"/>
              </a:spcBef>
            </a:pPr>
            <a:r>
              <a:rPr sz="1700" b="1" spc="-10" dirty="0">
                <a:solidFill>
                  <a:srgbClr val="21408B"/>
                </a:solidFill>
                <a:latin typeface="Roboto"/>
                <a:cs typeface="Roboto"/>
              </a:rPr>
              <a:t>Cápsulas formativas generales</a:t>
            </a:r>
            <a:endParaRPr sz="1700">
              <a:latin typeface="Roboto"/>
              <a:cs typeface="Roboto"/>
            </a:endParaRPr>
          </a:p>
        </p:txBody>
      </p:sp>
      <p:sp>
        <p:nvSpPr>
          <p:cNvPr id="38" name="object 38"/>
          <p:cNvSpPr txBox="1"/>
          <p:nvPr/>
        </p:nvSpPr>
        <p:spPr>
          <a:xfrm>
            <a:off x="5454386" y="8948575"/>
            <a:ext cx="1207135" cy="303530"/>
          </a:xfrm>
          <a:prstGeom prst="rect">
            <a:avLst/>
          </a:prstGeom>
        </p:spPr>
        <p:txBody>
          <a:bodyPr vert="horz" wrap="square" lIns="0" tIns="15875" rIns="0" bIns="0" rtlCol="0">
            <a:spAutoFit/>
          </a:bodyPr>
          <a:lstStyle/>
          <a:p>
            <a:pPr>
              <a:lnSpc>
                <a:spcPct val="100000"/>
              </a:lnSpc>
              <a:spcBef>
                <a:spcPts val="125"/>
              </a:spcBef>
            </a:pPr>
            <a:r>
              <a:rPr sz="1800" b="1" dirty="0">
                <a:solidFill>
                  <a:srgbClr val="FFFFFF"/>
                </a:solidFill>
                <a:latin typeface="Roboto"/>
                <a:cs typeface="Roboto"/>
              </a:rPr>
              <a:t>Press</a:t>
            </a:r>
            <a:r>
              <a:rPr sz="1800" b="1" spc="60" dirty="0">
                <a:solidFill>
                  <a:srgbClr val="FFFFFF"/>
                </a:solidFill>
                <a:latin typeface="Roboto"/>
                <a:cs typeface="Roboto"/>
              </a:rPr>
              <a:t> </a:t>
            </a:r>
            <a:r>
              <a:rPr sz="1800" b="1" spc="-20" dirty="0">
                <a:solidFill>
                  <a:srgbClr val="FFFFFF"/>
                </a:solidFill>
                <a:latin typeface="Roboto"/>
                <a:cs typeface="Roboto"/>
              </a:rPr>
              <a:t>Trips</a:t>
            </a:r>
            <a:endParaRPr sz="1800">
              <a:latin typeface="Roboto"/>
              <a:cs typeface="Roboto"/>
            </a:endParaRPr>
          </a:p>
        </p:txBody>
      </p:sp>
      <p:grpSp>
        <p:nvGrpSpPr>
          <p:cNvPr id="39" name="object 39"/>
          <p:cNvGrpSpPr/>
          <p:nvPr/>
        </p:nvGrpSpPr>
        <p:grpSpPr>
          <a:xfrm>
            <a:off x="6571237" y="6367797"/>
            <a:ext cx="740410" cy="560070"/>
            <a:chOff x="6571237" y="6367797"/>
            <a:chExt cx="740410" cy="560070"/>
          </a:xfrm>
        </p:grpSpPr>
        <p:sp>
          <p:nvSpPr>
            <p:cNvPr id="40" name="object 40"/>
            <p:cNvSpPr/>
            <p:nvPr/>
          </p:nvSpPr>
          <p:spPr>
            <a:xfrm>
              <a:off x="6571234" y="6367804"/>
              <a:ext cx="740410" cy="560070"/>
            </a:xfrm>
            <a:custGeom>
              <a:avLst/>
              <a:gdLst/>
              <a:ahLst/>
              <a:cxnLst/>
              <a:rect l="l" t="t" r="r" b="b"/>
              <a:pathLst>
                <a:path w="740409" h="560070">
                  <a:moveTo>
                    <a:pt x="680072" y="51739"/>
                  </a:moveTo>
                  <a:lnTo>
                    <a:pt x="661238" y="13690"/>
                  </a:lnTo>
                  <a:lnTo>
                    <a:pt x="628205" y="0"/>
                  </a:lnTo>
                  <a:lnTo>
                    <a:pt x="610425" y="0"/>
                  </a:lnTo>
                  <a:lnTo>
                    <a:pt x="610425" y="75196"/>
                  </a:lnTo>
                  <a:lnTo>
                    <a:pt x="610425" y="402005"/>
                  </a:lnTo>
                  <a:lnTo>
                    <a:pt x="609625" y="403936"/>
                  </a:lnTo>
                  <a:lnTo>
                    <a:pt x="606399" y="407136"/>
                  </a:lnTo>
                  <a:lnTo>
                    <a:pt x="604456" y="407949"/>
                  </a:lnTo>
                  <a:lnTo>
                    <a:pt x="135991" y="407949"/>
                  </a:lnTo>
                  <a:lnTo>
                    <a:pt x="134048" y="407136"/>
                  </a:lnTo>
                  <a:lnTo>
                    <a:pt x="130835" y="403936"/>
                  </a:lnTo>
                  <a:lnTo>
                    <a:pt x="130022" y="402005"/>
                  </a:lnTo>
                  <a:lnTo>
                    <a:pt x="130035" y="75196"/>
                  </a:lnTo>
                  <a:lnTo>
                    <a:pt x="130835" y="73279"/>
                  </a:lnTo>
                  <a:lnTo>
                    <a:pt x="134061" y="70091"/>
                  </a:lnTo>
                  <a:lnTo>
                    <a:pt x="136004" y="69303"/>
                  </a:lnTo>
                  <a:lnTo>
                    <a:pt x="138264" y="69329"/>
                  </a:lnTo>
                  <a:lnTo>
                    <a:pt x="602183" y="69329"/>
                  </a:lnTo>
                  <a:lnTo>
                    <a:pt x="604456" y="69303"/>
                  </a:lnTo>
                  <a:lnTo>
                    <a:pt x="606386" y="70091"/>
                  </a:lnTo>
                  <a:lnTo>
                    <a:pt x="609612" y="73279"/>
                  </a:lnTo>
                  <a:lnTo>
                    <a:pt x="610425" y="75196"/>
                  </a:lnTo>
                  <a:lnTo>
                    <a:pt x="610425" y="0"/>
                  </a:lnTo>
                  <a:lnTo>
                    <a:pt x="112268" y="0"/>
                  </a:lnTo>
                  <a:lnTo>
                    <a:pt x="108699" y="355"/>
                  </a:lnTo>
                  <a:lnTo>
                    <a:pt x="74104" y="18821"/>
                  </a:lnTo>
                  <a:lnTo>
                    <a:pt x="60426" y="51739"/>
                  </a:lnTo>
                  <a:lnTo>
                    <a:pt x="60426" y="439089"/>
                  </a:lnTo>
                  <a:lnTo>
                    <a:pt x="680072" y="439089"/>
                  </a:lnTo>
                  <a:lnTo>
                    <a:pt x="680072" y="407949"/>
                  </a:lnTo>
                  <a:lnTo>
                    <a:pt x="680072" y="69303"/>
                  </a:lnTo>
                  <a:lnTo>
                    <a:pt x="680072" y="51739"/>
                  </a:lnTo>
                  <a:close/>
                </a:path>
                <a:path w="740409" h="560070">
                  <a:moveTo>
                    <a:pt x="740410" y="484974"/>
                  </a:moveTo>
                  <a:lnTo>
                    <a:pt x="739660" y="475513"/>
                  </a:lnTo>
                  <a:lnTo>
                    <a:pt x="738174" y="471144"/>
                  </a:lnTo>
                  <a:lnTo>
                    <a:pt x="737273" y="469760"/>
                  </a:lnTo>
                  <a:lnTo>
                    <a:pt x="735558" y="467156"/>
                  </a:lnTo>
                  <a:lnTo>
                    <a:pt x="732993" y="463181"/>
                  </a:lnTo>
                  <a:lnTo>
                    <a:pt x="729627" y="460070"/>
                  </a:lnTo>
                  <a:lnTo>
                    <a:pt x="721296" y="455549"/>
                  </a:lnTo>
                  <a:lnTo>
                    <a:pt x="716864" y="454431"/>
                  </a:lnTo>
                  <a:lnTo>
                    <a:pt x="712063" y="454431"/>
                  </a:lnTo>
                  <a:lnTo>
                    <a:pt x="446620" y="454431"/>
                  </a:lnTo>
                  <a:lnTo>
                    <a:pt x="446620" y="469760"/>
                  </a:lnTo>
                  <a:lnTo>
                    <a:pt x="439762" y="481888"/>
                  </a:lnTo>
                  <a:lnTo>
                    <a:pt x="437807" y="485813"/>
                  </a:lnTo>
                  <a:lnTo>
                    <a:pt x="434670" y="488238"/>
                  </a:lnTo>
                  <a:lnTo>
                    <a:pt x="429628" y="489318"/>
                  </a:lnTo>
                  <a:lnTo>
                    <a:pt x="428879" y="489394"/>
                  </a:lnTo>
                  <a:lnTo>
                    <a:pt x="428129" y="489394"/>
                  </a:lnTo>
                  <a:lnTo>
                    <a:pt x="312216" y="489394"/>
                  </a:lnTo>
                  <a:lnTo>
                    <a:pt x="306857" y="488988"/>
                  </a:lnTo>
                  <a:lnTo>
                    <a:pt x="302958" y="486410"/>
                  </a:lnTo>
                  <a:lnTo>
                    <a:pt x="300621" y="481888"/>
                  </a:lnTo>
                  <a:lnTo>
                    <a:pt x="293801" y="469760"/>
                  </a:lnTo>
                  <a:lnTo>
                    <a:pt x="446620" y="469760"/>
                  </a:lnTo>
                  <a:lnTo>
                    <a:pt x="446620" y="454431"/>
                  </a:lnTo>
                  <a:lnTo>
                    <a:pt x="23609" y="454418"/>
                  </a:lnTo>
                  <a:lnTo>
                    <a:pt x="19177" y="455536"/>
                  </a:lnTo>
                  <a:lnTo>
                    <a:pt x="0" y="484974"/>
                  </a:lnTo>
                  <a:lnTo>
                    <a:pt x="774" y="489508"/>
                  </a:lnTo>
                  <a:lnTo>
                    <a:pt x="16611" y="524471"/>
                  </a:lnTo>
                  <a:lnTo>
                    <a:pt x="45567" y="552081"/>
                  </a:lnTo>
                  <a:lnTo>
                    <a:pt x="78155" y="559727"/>
                  </a:lnTo>
                  <a:lnTo>
                    <a:pt x="662114" y="559727"/>
                  </a:lnTo>
                  <a:lnTo>
                    <a:pt x="706043" y="544753"/>
                  </a:lnTo>
                  <a:lnTo>
                    <a:pt x="726389" y="518312"/>
                  </a:lnTo>
                  <a:lnTo>
                    <a:pt x="737641" y="493928"/>
                  </a:lnTo>
                  <a:lnTo>
                    <a:pt x="739609" y="489508"/>
                  </a:lnTo>
                  <a:lnTo>
                    <a:pt x="740410" y="484974"/>
                  </a:lnTo>
                  <a:close/>
                </a:path>
              </a:pathLst>
            </a:custGeom>
            <a:solidFill>
              <a:srgbClr val="21408B"/>
            </a:solidFill>
          </p:spPr>
          <p:txBody>
            <a:bodyPr wrap="square" lIns="0" tIns="0" rIns="0" bIns="0" rtlCol="0"/>
            <a:lstStyle/>
            <a:p>
              <a:endParaRPr/>
            </a:p>
          </p:txBody>
        </p:sp>
        <p:pic>
          <p:nvPicPr>
            <p:cNvPr id="41" name="object 41"/>
            <p:cNvPicPr/>
            <p:nvPr/>
          </p:nvPicPr>
          <p:blipFill>
            <a:blip r:embed="rId7" cstate="print"/>
            <a:stretch>
              <a:fillRect/>
            </a:stretch>
          </p:blipFill>
          <p:spPr>
            <a:xfrm>
              <a:off x="6838832" y="6490198"/>
              <a:ext cx="205172" cy="242596"/>
            </a:xfrm>
            <a:prstGeom prst="rect">
              <a:avLst/>
            </a:prstGeom>
          </p:spPr>
        </p:pic>
      </p:grpSp>
      <p:sp>
        <p:nvSpPr>
          <p:cNvPr id="42" name="object 42"/>
          <p:cNvSpPr txBox="1"/>
          <p:nvPr/>
        </p:nvSpPr>
        <p:spPr>
          <a:xfrm>
            <a:off x="7549417" y="6359219"/>
            <a:ext cx="1395730" cy="541655"/>
          </a:xfrm>
          <a:prstGeom prst="rect">
            <a:avLst/>
          </a:prstGeom>
        </p:spPr>
        <p:txBody>
          <a:bodyPr vert="horz" wrap="square" lIns="0" tIns="22225" rIns="0" bIns="0" rtlCol="0">
            <a:spAutoFit/>
          </a:bodyPr>
          <a:lstStyle/>
          <a:p>
            <a:pPr marL="12700" marR="5080">
              <a:lnSpc>
                <a:spcPts val="2030"/>
              </a:lnSpc>
              <a:spcBef>
                <a:spcPts val="175"/>
              </a:spcBef>
            </a:pPr>
            <a:r>
              <a:rPr sz="1700" b="1" spc="-10" dirty="0">
                <a:solidFill>
                  <a:srgbClr val="21408B"/>
                </a:solidFill>
                <a:latin typeface="Roboto"/>
                <a:cs typeface="Roboto"/>
              </a:rPr>
              <a:t>Webinar personalizado</a:t>
            </a:r>
            <a:endParaRPr sz="1700">
              <a:latin typeface="Roboto"/>
              <a:cs typeface="Roboto"/>
            </a:endParaRPr>
          </a:p>
        </p:txBody>
      </p:sp>
      <p:grpSp>
        <p:nvGrpSpPr>
          <p:cNvPr id="43" name="object 43"/>
          <p:cNvGrpSpPr/>
          <p:nvPr/>
        </p:nvGrpSpPr>
        <p:grpSpPr>
          <a:xfrm>
            <a:off x="243390" y="1601343"/>
            <a:ext cx="1146175" cy="1146175"/>
            <a:chOff x="243390" y="1601343"/>
            <a:chExt cx="1146175" cy="1146175"/>
          </a:xfrm>
        </p:grpSpPr>
        <p:sp>
          <p:nvSpPr>
            <p:cNvPr id="44" name="object 44"/>
            <p:cNvSpPr/>
            <p:nvPr/>
          </p:nvSpPr>
          <p:spPr>
            <a:xfrm>
              <a:off x="243390" y="1601343"/>
              <a:ext cx="1146175" cy="1146175"/>
            </a:xfrm>
            <a:custGeom>
              <a:avLst/>
              <a:gdLst/>
              <a:ahLst/>
              <a:cxnLst/>
              <a:rect l="l" t="t" r="r" b="b"/>
              <a:pathLst>
                <a:path w="1146175" h="1146175">
                  <a:moveTo>
                    <a:pt x="572927" y="1145836"/>
                  </a:moveTo>
                  <a:lnTo>
                    <a:pt x="525930" y="1143937"/>
                  </a:lnTo>
                  <a:lnTo>
                    <a:pt x="479988" y="1138338"/>
                  </a:lnTo>
                  <a:lnTo>
                    <a:pt x="435239" y="1129186"/>
                  </a:lnTo>
                  <a:lnTo>
                    <a:pt x="391831" y="1116628"/>
                  </a:lnTo>
                  <a:lnTo>
                    <a:pt x="349912" y="1100813"/>
                  </a:lnTo>
                  <a:lnTo>
                    <a:pt x="309629" y="1081888"/>
                  </a:lnTo>
                  <a:lnTo>
                    <a:pt x="271129" y="1060000"/>
                  </a:lnTo>
                  <a:lnTo>
                    <a:pt x="234560" y="1035296"/>
                  </a:lnTo>
                  <a:lnTo>
                    <a:pt x="200069" y="1007925"/>
                  </a:lnTo>
                  <a:lnTo>
                    <a:pt x="167803" y="978032"/>
                  </a:lnTo>
                  <a:lnTo>
                    <a:pt x="137911" y="945767"/>
                  </a:lnTo>
                  <a:lnTo>
                    <a:pt x="110540" y="911276"/>
                  </a:lnTo>
                  <a:lnTo>
                    <a:pt x="85836" y="874707"/>
                  </a:lnTo>
                  <a:lnTo>
                    <a:pt x="63948" y="836207"/>
                  </a:lnTo>
                  <a:lnTo>
                    <a:pt x="45022" y="795924"/>
                  </a:lnTo>
                  <a:lnTo>
                    <a:pt x="29207" y="754004"/>
                  </a:lnTo>
                  <a:lnTo>
                    <a:pt x="16650" y="710597"/>
                  </a:lnTo>
                  <a:lnTo>
                    <a:pt x="7498" y="665848"/>
                  </a:lnTo>
                  <a:lnTo>
                    <a:pt x="1899" y="619906"/>
                  </a:lnTo>
                  <a:lnTo>
                    <a:pt x="0" y="572918"/>
                  </a:lnTo>
                  <a:lnTo>
                    <a:pt x="1899" y="525930"/>
                  </a:lnTo>
                  <a:lnTo>
                    <a:pt x="7498" y="479987"/>
                  </a:lnTo>
                  <a:lnTo>
                    <a:pt x="16650" y="435239"/>
                  </a:lnTo>
                  <a:lnTo>
                    <a:pt x="29207" y="391831"/>
                  </a:lnTo>
                  <a:lnTo>
                    <a:pt x="45022" y="349912"/>
                  </a:lnTo>
                  <a:lnTo>
                    <a:pt x="63948" y="309629"/>
                  </a:lnTo>
                  <a:lnTo>
                    <a:pt x="85836" y="271129"/>
                  </a:lnTo>
                  <a:lnTo>
                    <a:pt x="110540" y="234560"/>
                  </a:lnTo>
                  <a:lnTo>
                    <a:pt x="137911" y="200069"/>
                  </a:lnTo>
                  <a:lnTo>
                    <a:pt x="167803" y="167803"/>
                  </a:lnTo>
                  <a:lnTo>
                    <a:pt x="200069" y="137911"/>
                  </a:lnTo>
                  <a:lnTo>
                    <a:pt x="234560" y="110540"/>
                  </a:lnTo>
                  <a:lnTo>
                    <a:pt x="271129" y="85836"/>
                  </a:lnTo>
                  <a:lnTo>
                    <a:pt x="309629" y="63948"/>
                  </a:lnTo>
                  <a:lnTo>
                    <a:pt x="349912" y="45022"/>
                  </a:lnTo>
                  <a:lnTo>
                    <a:pt x="391831" y="29207"/>
                  </a:lnTo>
                  <a:lnTo>
                    <a:pt x="435239" y="16650"/>
                  </a:lnTo>
                  <a:lnTo>
                    <a:pt x="479988" y="7498"/>
                  </a:lnTo>
                  <a:lnTo>
                    <a:pt x="525930" y="1899"/>
                  </a:lnTo>
                  <a:lnTo>
                    <a:pt x="572918" y="0"/>
                  </a:lnTo>
                  <a:lnTo>
                    <a:pt x="619906" y="1899"/>
                  </a:lnTo>
                  <a:lnTo>
                    <a:pt x="665848" y="7498"/>
                  </a:lnTo>
                  <a:lnTo>
                    <a:pt x="710597" y="16650"/>
                  </a:lnTo>
                  <a:lnTo>
                    <a:pt x="754004" y="29207"/>
                  </a:lnTo>
                  <a:lnTo>
                    <a:pt x="795924" y="45022"/>
                  </a:lnTo>
                  <a:lnTo>
                    <a:pt x="836207" y="63948"/>
                  </a:lnTo>
                  <a:lnTo>
                    <a:pt x="874707" y="85836"/>
                  </a:lnTo>
                  <a:lnTo>
                    <a:pt x="911276" y="110540"/>
                  </a:lnTo>
                  <a:lnTo>
                    <a:pt x="945767" y="137911"/>
                  </a:lnTo>
                  <a:lnTo>
                    <a:pt x="978032" y="167803"/>
                  </a:lnTo>
                  <a:lnTo>
                    <a:pt x="1007925" y="200069"/>
                  </a:lnTo>
                  <a:lnTo>
                    <a:pt x="1035296" y="234560"/>
                  </a:lnTo>
                  <a:lnTo>
                    <a:pt x="1060000" y="271129"/>
                  </a:lnTo>
                  <a:lnTo>
                    <a:pt x="1081888" y="309629"/>
                  </a:lnTo>
                  <a:lnTo>
                    <a:pt x="1100813" y="349912"/>
                  </a:lnTo>
                  <a:lnTo>
                    <a:pt x="1116628" y="391831"/>
                  </a:lnTo>
                  <a:lnTo>
                    <a:pt x="1129186" y="435239"/>
                  </a:lnTo>
                  <a:lnTo>
                    <a:pt x="1138338" y="479987"/>
                  </a:lnTo>
                  <a:lnTo>
                    <a:pt x="1143937" y="525930"/>
                  </a:lnTo>
                  <a:lnTo>
                    <a:pt x="1145836" y="572918"/>
                  </a:lnTo>
                  <a:lnTo>
                    <a:pt x="1143937" y="619906"/>
                  </a:lnTo>
                  <a:lnTo>
                    <a:pt x="1138338" y="665848"/>
                  </a:lnTo>
                  <a:lnTo>
                    <a:pt x="1129186" y="710597"/>
                  </a:lnTo>
                  <a:lnTo>
                    <a:pt x="1116628" y="754004"/>
                  </a:lnTo>
                  <a:lnTo>
                    <a:pt x="1100813" y="795924"/>
                  </a:lnTo>
                  <a:lnTo>
                    <a:pt x="1081888" y="836207"/>
                  </a:lnTo>
                  <a:lnTo>
                    <a:pt x="1060000" y="874707"/>
                  </a:lnTo>
                  <a:lnTo>
                    <a:pt x="1035296" y="911276"/>
                  </a:lnTo>
                  <a:lnTo>
                    <a:pt x="1007925" y="945767"/>
                  </a:lnTo>
                  <a:lnTo>
                    <a:pt x="978032" y="978032"/>
                  </a:lnTo>
                  <a:lnTo>
                    <a:pt x="945767" y="1007925"/>
                  </a:lnTo>
                  <a:lnTo>
                    <a:pt x="911276" y="1035296"/>
                  </a:lnTo>
                  <a:lnTo>
                    <a:pt x="874707" y="1060000"/>
                  </a:lnTo>
                  <a:lnTo>
                    <a:pt x="836207" y="1081888"/>
                  </a:lnTo>
                  <a:lnTo>
                    <a:pt x="795924" y="1100813"/>
                  </a:lnTo>
                  <a:lnTo>
                    <a:pt x="754004" y="1116628"/>
                  </a:lnTo>
                  <a:lnTo>
                    <a:pt x="710597" y="1129186"/>
                  </a:lnTo>
                  <a:lnTo>
                    <a:pt x="665848" y="1138338"/>
                  </a:lnTo>
                  <a:lnTo>
                    <a:pt x="619906" y="1143937"/>
                  </a:lnTo>
                  <a:lnTo>
                    <a:pt x="572927" y="1145836"/>
                  </a:lnTo>
                  <a:close/>
                </a:path>
              </a:pathLst>
            </a:custGeom>
            <a:solidFill>
              <a:srgbClr val="21408B"/>
            </a:solidFill>
          </p:spPr>
          <p:txBody>
            <a:bodyPr wrap="square" lIns="0" tIns="0" rIns="0" bIns="0" rtlCol="0"/>
            <a:lstStyle/>
            <a:p>
              <a:endParaRPr/>
            </a:p>
          </p:txBody>
        </p:sp>
        <p:sp>
          <p:nvSpPr>
            <p:cNvPr id="45" name="object 45"/>
            <p:cNvSpPr/>
            <p:nvPr/>
          </p:nvSpPr>
          <p:spPr>
            <a:xfrm>
              <a:off x="457347" y="1813395"/>
              <a:ext cx="719455" cy="721360"/>
            </a:xfrm>
            <a:custGeom>
              <a:avLst/>
              <a:gdLst/>
              <a:ahLst/>
              <a:cxnLst/>
              <a:rect l="l" t="t" r="r" b="b"/>
              <a:pathLst>
                <a:path w="719455" h="721360">
                  <a:moveTo>
                    <a:pt x="364604" y="721359"/>
                  </a:moveTo>
                  <a:lnTo>
                    <a:pt x="324058" y="721359"/>
                  </a:lnTo>
                  <a:lnTo>
                    <a:pt x="302639" y="720089"/>
                  </a:lnTo>
                  <a:lnTo>
                    <a:pt x="299886" y="718819"/>
                  </a:lnTo>
                  <a:lnTo>
                    <a:pt x="294615" y="717549"/>
                  </a:lnTo>
                  <a:lnTo>
                    <a:pt x="290929" y="717549"/>
                  </a:lnTo>
                  <a:lnTo>
                    <a:pt x="275388" y="713739"/>
                  </a:lnTo>
                  <a:lnTo>
                    <a:pt x="249973" y="706119"/>
                  </a:lnTo>
                  <a:lnTo>
                    <a:pt x="224206" y="697229"/>
                  </a:lnTo>
                  <a:lnTo>
                    <a:pt x="207607" y="690879"/>
                  </a:lnTo>
                  <a:lnTo>
                    <a:pt x="194528" y="683259"/>
                  </a:lnTo>
                  <a:lnTo>
                    <a:pt x="177382" y="674369"/>
                  </a:lnTo>
                  <a:lnTo>
                    <a:pt x="128063" y="638809"/>
                  </a:lnTo>
                  <a:lnTo>
                    <a:pt x="81489" y="591819"/>
                  </a:lnTo>
                  <a:lnTo>
                    <a:pt x="44839" y="537209"/>
                  </a:lnTo>
                  <a:lnTo>
                    <a:pt x="21966" y="490219"/>
                  </a:lnTo>
                  <a:lnTo>
                    <a:pt x="20729" y="485139"/>
                  </a:lnTo>
                  <a:lnTo>
                    <a:pt x="18603" y="477519"/>
                  </a:lnTo>
                  <a:lnTo>
                    <a:pt x="15885" y="468629"/>
                  </a:lnTo>
                  <a:lnTo>
                    <a:pt x="12874" y="459739"/>
                  </a:lnTo>
                  <a:lnTo>
                    <a:pt x="5317" y="427989"/>
                  </a:lnTo>
                  <a:lnTo>
                    <a:pt x="971" y="391159"/>
                  </a:lnTo>
                  <a:lnTo>
                    <a:pt x="0" y="351789"/>
                  </a:lnTo>
                  <a:lnTo>
                    <a:pt x="2566" y="312419"/>
                  </a:lnTo>
                  <a:lnTo>
                    <a:pt x="11484" y="266699"/>
                  </a:lnTo>
                  <a:lnTo>
                    <a:pt x="27393" y="220979"/>
                  </a:lnTo>
                  <a:lnTo>
                    <a:pt x="48538" y="176529"/>
                  </a:lnTo>
                  <a:lnTo>
                    <a:pt x="73159" y="140969"/>
                  </a:lnTo>
                  <a:lnTo>
                    <a:pt x="82775" y="129539"/>
                  </a:lnTo>
                  <a:lnTo>
                    <a:pt x="86846" y="124459"/>
                  </a:lnTo>
                  <a:lnTo>
                    <a:pt x="89701" y="120649"/>
                  </a:lnTo>
                  <a:lnTo>
                    <a:pt x="96185" y="113029"/>
                  </a:lnTo>
                  <a:lnTo>
                    <a:pt x="104775" y="104139"/>
                  </a:lnTo>
                  <a:lnTo>
                    <a:pt x="113666" y="96519"/>
                  </a:lnTo>
                  <a:lnTo>
                    <a:pt x="121058" y="88899"/>
                  </a:lnTo>
                  <a:lnTo>
                    <a:pt x="124576" y="86359"/>
                  </a:lnTo>
                  <a:lnTo>
                    <a:pt x="135244" y="77469"/>
                  </a:lnTo>
                  <a:lnTo>
                    <a:pt x="141079" y="72389"/>
                  </a:lnTo>
                  <a:lnTo>
                    <a:pt x="147112" y="68579"/>
                  </a:lnTo>
                  <a:lnTo>
                    <a:pt x="153370" y="63499"/>
                  </a:lnTo>
                  <a:lnTo>
                    <a:pt x="159114" y="59689"/>
                  </a:lnTo>
                  <a:lnTo>
                    <a:pt x="163604" y="55879"/>
                  </a:lnTo>
                  <a:lnTo>
                    <a:pt x="183642" y="44449"/>
                  </a:lnTo>
                  <a:lnTo>
                    <a:pt x="203358" y="34289"/>
                  </a:lnTo>
                  <a:lnTo>
                    <a:pt x="220108" y="25399"/>
                  </a:lnTo>
                  <a:lnTo>
                    <a:pt x="231244" y="21589"/>
                  </a:lnTo>
                  <a:lnTo>
                    <a:pt x="272743" y="10159"/>
                  </a:lnTo>
                  <a:lnTo>
                    <a:pt x="302147" y="2539"/>
                  </a:lnTo>
                  <a:lnTo>
                    <a:pt x="328041" y="0"/>
                  </a:lnTo>
                  <a:lnTo>
                    <a:pt x="385992" y="0"/>
                  </a:lnTo>
                  <a:lnTo>
                    <a:pt x="411072" y="2539"/>
                  </a:lnTo>
                  <a:lnTo>
                    <a:pt x="432351" y="5079"/>
                  </a:lnTo>
                  <a:lnTo>
                    <a:pt x="453308" y="10159"/>
                  </a:lnTo>
                  <a:lnTo>
                    <a:pt x="460536" y="12699"/>
                  </a:lnTo>
                  <a:lnTo>
                    <a:pt x="476753" y="17779"/>
                  </a:lnTo>
                  <a:lnTo>
                    <a:pt x="491877" y="22859"/>
                  </a:lnTo>
                  <a:lnTo>
                    <a:pt x="508931" y="30479"/>
                  </a:lnTo>
                  <a:lnTo>
                    <a:pt x="331518" y="30479"/>
                  </a:lnTo>
                  <a:lnTo>
                    <a:pt x="324224" y="31749"/>
                  </a:lnTo>
                  <a:lnTo>
                    <a:pt x="314268" y="35559"/>
                  </a:lnTo>
                  <a:lnTo>
                    <a:pt x="300078" y="41909"/>
                  </a:lnTo>
                  <a:lnTo>
                    <a:pt x="281988" y="52069"/>
                  </a:lnTo>
                  <a:lnTo>
                    <a:pt x="272626" y="59689"/>
                  </a:lnTo>
                  <a:lnTo>
                    <a:pt x="221811" y="59689"/>
                  </a:lnTo>
                  <a:lnTo>
                    <a:pt x="175663" y="83819"/>
                  </a:lnTo>
                  <a:lnTo>
                    <a:pt x="135268" y="116839"/>
                  </a:lnTo>
                  <a:lnTo>
                    <a:pt x="99348" y="154939"/>
                  </a:lnTo>
                  <a:lnTo>
                    <a:pt x="94426" y="165099"/>
                  </a:lnTo>
                  <a:lnTo>
                    <a:pt x="104073" y="167639"/>
                  </a:lnTo>
                  <a:lnTo>
                    <a:pt x="123944" y="168909"/>
                  </a:lnTo>
                  <a:lnTo>
                    <a:pt x="666171" y="168909"/>
                  </a:lnTo>
                  <a:lnTo>
                    <a:pt x="671920" y="177799"/>
                  </a:lnTo>
                  <a:lnTo>
                    <a:pt x="680464" y="193039"/>
                  </a:lnTo>
                  <a:lnTo>
                    <a:pt x="681138" y="194309"/>
                  </a:lnTo>
                  <a:lnTo>
                    <a:pt x="607229" y="194309"/>
                  </a:lnTo>
                  <a:lnTo>
                    <a:pt x="581905" y="195579"/>
                  </a:lnTo>
                  <a:lnTo>
                    <a:pt x="575488" y="196849"/>
                  </a:lnTo>
                  <a:lnTo>
                    <a:pt x="80808" y="196849"/>
                  </a:lnTo>
                  <a:lnTo>
                    <a:pt x="74679" y="198119"/>
                  </a:lnTo>
                  <a:lnTo>
                    <a:pt x="52943" y="234949"/>
                  </a:lnTo>
                  <a:lnTo>
                    <a:pt x="36778" y="283209"/>
                  </a:lnTo>
                  <a:lnTo>
                    <a:pt x="31490" y="332739"/>
                  </a:lnTo>
                  <a:lnTo>
                    <a:pt x="33404" y="341629"/>
                  </a:lnTo>
                  <a:lnTo>
                    <a:pt x="36605" y="342899"/>
                  </a:lnTo>
                  <a:lnTo>
                    <a:pt x="43532" y="344169"/>
                  </a:lnTo>
                  <a:lnTo>
                    <a:pt x="718787" y="344169"/>
                  </a:lnTo>
                  <a:lnTo>
                    <a:pt x="719140" y="355599"/>
                  </a:lnTo>
                  <a:lnTo>
                    <a:pt x="718952" y="369569"/>
                  </a:lnTo>
                  <a:lnTo>
                    <a:pt x="642552" y="369569"/>
                  </a:lnTo>
                  <a:lnTo>
                    <a:pt x="612114" y="370839"/>
                  </a:lnTo>
                  <a:lnTo>
                    <a:pt x="604213" y="372109"/>
                  </a:lnTo>
                  <a:lnTo>
                    <a:pt x="61522" y="372109"/>
                  </a:lnTo>
                  <a:lnTo>
                    <a:pt x="47884" y="373379"/>
                  </a:lnTo>
                  <a:lnTo>
                    <a:pt x="38033" y="373379"/>
                  </a:lnTo>
                  <a:lnTo>
                    <a:pt x="33416" y="374649"/>
                  </a:lnTo>
                  <a:lnTo>
                    <a:pt x="30195" y="392429"/>
                  </a:lnTo>
                  <a:lnTo>
                    <a:pt x="35162" y="426719"/>
                  </a:lnTo>
                  <a:lnTo>
                    <a:pt x="46025" y="467359"/>
                  </a:lnTo>
                  <a:lnTo>
                    <a:pt x="60495" y="504189"/>
                  </a:lnTo>
                  <a:lnTo>
                    <a:pt x="89502" y="530859"/>
                  </a:lnTo>
                  <a:lnTo>
                    <a:pt x="678960" y="530859"/>
                  </a:lnTo>
                  <a:lnTo>
                    <a:pt x="663190" y="557529"/>
                  </a:lnTo>
                  <a:lnTo>
                    <a:pt x="334075" y="557529"/>
                  </a:lnTo>
                  <a:lnTo>
                    <a:pt x="320800" y="558799"/>
                  </a:lnTo>
                  <a:lnTo>
                    <a:pt x="310603" y="560069"/>
                  </a:lnTo>
                  <a:lnTo>
                    <a:pt x="294029" y="560069"/>
                  </a:lnTo>
                  <a:lnTo>
                    <a:pt x="273370" y="561339"/>
                  </a:lnTo>
                  <a:lnTo>
                    <a:pt x="103957" y="561339"/>
                  </a:lnTo>
                  <a:lnTo>
                    <a:pt x="99603" y="562609"/>
                  </a:lnTo>
                  <a:lnTo>
                    <a:pt x="123072" y="593089"/>
                  </a:lnTo>
                  <a:lnTo>
                    <a:pt x="162140" y="628649"/>
                  </a:lnTo>
                  <a:lnTo>
                    <a:pt x="207428" y="657859"/>
                  </a:lnTo>
                  <a:lnTo>
                    <a:pt x="220563" y="661669"/>
                  </a:lnTo>
                  <a:lnTo>
                    <a:pt x="270542" y="661669"/>
                  </a:lnTo>
                  <a:lnTo>
                    <a:pt x="298198" y="680719"/>
                  </a:lnTo>
                  <a:lnTo>
                    <a:pt x="326448" y="688339"/>
                  </a:lnTo>
                  <a:lnTo>
                    <a:pt x="370571" y="688339"/>
                  </a:lnTo>
                  <a:lnTo>
                    <a:pt x="370670" y="689609"/>
                  </a:lnTo>
                  <a:lnTo>
                    <a:pt x="377392" y="690879"/>
                  </a:lnTo>
                  <a:lnTo>
                    <a:pt x="512964" y="690879"/>
                  </a:lnTo>
                  <a:lnTo>
                    <a:pt x="502006" y="695959"/>
                  </a:lnTo>
                  <a:lnTo>
                    <a:pt x="481233" y="703579"/>
                  </a:lnTo>
                  <a:lnTo>
                    <a:pt x="435415" y="716279"/>
                  </a:lnTo>
                  <a:lnTo>
                    <a:pt x="407361" y="718819"/>
                  </a:lnTo>
                  <a:lnTo>
                    <a:pt x="364604" y="721359"/>
                  </a:lnTo>
                  <a:close/>
                </a:path>
                <a:path w="719455" h="721360">
                  <a:moveTo>
                    <a:pt x="665350" y="167639"/>
                  </a:moveTo>
                  <a:lnTo>
                    <a:pt x="219562" y="167639"/>
                  </a:lnTo>
                  <a:lnTo>
                    <a:pt x="317000" y="165099"/>
                  </a:lnTo>
                  <a:lnTo>
                    <a:pt x="340611" y="163829"/>
                  </a:lnTo>
                  <a:lnTo>
                    <a:pt x="343860" y="121919"/>
                  </a:lnTo>
                  <a:lnTo>
                    <a:pt x="343981" y="33019"/>
                  </a:lnTo>
                  <a:lnTo>
                    <a:pt x="331518" y="30479"/>
                  </a:lnTo>
                  <a:lnTo>
                    <a:pt x="385085" y="30479"/>
                  </a:lnTo>
                  <a:lnTo>
                    <a:pt x="373096" y="97789"/>
                  </a:lnTo>
                  <a:lnTo>
                    <a:pt x="372453" y="146049"/>
                  </a:lnTo>
                  <a:lnTo>
                    <a:pt x="373047" y="157479"/>
                  </a:lnTo>
                  <a:lnTo>
                    <a:pt x="374286" y="162559"/>
                  </a:lnTo>
                  <a:lnTo>
                    <a:pt x="378742" y="163829"/>
                  </a:lnTo>
                  <a:lnTo>
                    <a:pt x="390580" y="165099"/>
                  </a:lnTo>
                  <a:lnTo>
                    <a:pt x="412725" y="166369"/>
                  </a:lnTo>
                  <a:lnTo>
                    <a:pt x="664529" y="166369"/>
                  </a:lnTo>
                  <a:lnTo>
                    <a:pt x="665350" y="167639"/>
                  </a:lnTo>
                  <a:close/>
                </a:path>
                <a:path w="719455" h="721360">
                  <a:moveTo>
                    <a:pt x="559425" y="165099"/>
                  </a:moveTo>
                  <a:lnTo>
                    <a:pt x="514268" y="165099"/>
                  </a:lnTo>
                  <a:lnTo>
                    <a:pt x="520389" y="163829"/>
                  </a:lnTo>
                  <a:lnTo>
                    <a:pt x="518003" y="156209"/>
                  </a:lnTo>
                  <a:lnTo>
                    <a:pt x="497942" y="119379"/>
                  </a:lnTo>
                  <a:lnTo>
                    <a:pt x="470317" y="83819"/>
                  </a:lnTo>
                  <a:lnTo>
                    <a:pt x="435528" y="53339"/>
                  </a:lnTo>
                  <a:lnTo>
                    <a:pt x="392266" y="31749"/>
                  </a:lnTo>
                  <a:lnTo>
                    <a:pt x="385085" y="30479"/>
                  </a:lnTo>
                  <a:lnTo>
                    <a:pt x="508931" y="30479"/>
                  </a:lnTo>
                  <a:lnTo>
                    <a:pt x="527304" y="39369"/>
                  </a:lnTo>
                  <a:lnTo>
                    <a:pt x="546383" y="50799"/>
                  </a:lnTo>
                  <a:lnTo>
                    <a:pt x="551246" y="53339"/>
                  </a:lnTo>
                  <a:lnTo>
                    <a:pt x="488738" y="53339"/>
                  </a:lnTo>
                  <a:lnTo>
                    <a:pt x="488833" y="55879"/>
                  </a:lnTo>
                  <a:lnTo>
                    <a:pt x="493049" y="63499"/>
                  </a:lnTo>
                  <a:lnTo>
                    <a:pt x="500713" y="73659"/>
                  </a:lnTo>
                  <a:lnTo>
                    <a:pt x="511154" y="87629"/>
                  </a:lnTo>
                  <a:lnTo>
                    <a:pt x="517951" y="96519"/>
                  </a:lnTo>
                  <a:lnTo>
                    <a:pt x="525775" y="109219"/>
                  </a:lnTo>
                  <a:lnTo>
                    <a:pt x="533659" y="121919"/>
                  </a:lnTo>
                  <a:lnTo>
                    <a:pt x="540636" y="134619"/>
                  </a:lnTo>
                  <a:lnTo>
                    <a:pt x="546769" y="146049"/>
                  </a:lnTo>
                  <a:lnTo>
                    <a:pt x="552356" y="154939"/>
                  </a:lnTo>
                  <a:lnTo>
                    <a:pt x="559425" y="165099"/>
                  </a:lnTo>
                  <a:close/>
                </a:path>
                <a:path w="719455" h="721360">
                  <a:moveTo>
                    <a:pt x="664529" y="166369"/>
                  </a:moveTo>
                  <a:lnTo>
                    <a:pt x="594820" y="166369"/>
                  </a:lnTo>
                  <a:lnTo>
                    <a:pt x="615764" y="165099"/>
                  </a:lnTo>
                  <a:lnTo>
                    <a:pt x="625614" y="163829"/>
                  </a:lnTo>
                  <a:lnTo>
                    <a:pt x="594775" y="125729"/>
                  </a:lnTo>
                  <a:lnTo>
                    <a:pt x="563001" y="96519"/>
                  </a:lnTo>
                  <a:lnTo>
                    <a:pt x="550092" y="87629"/>
                  </a:lnTo>
                  <a:lnTo>
                    <a:pt x="538162" y="78739"/>
                  </a:lnTo>
                  <a:lnTo>
                    <a:pt x="524844" y="71119"/>
                  </a:lnTo>
                  <a:lnTo>
                    <a:pt x="494136" y="54609"/>
                  </a:lnTo>
                  <a:lnTo>
                    <a:pt x="489725" y="53339"/>
                  </a:lnTo>
                  <a:lnTo>
                    <a:pt x="551246" y="53339"/>
                  </a:lnTo>
                  <a:lnTo>
                    <a:pt x="553677" y="54609"/>
                  </a:lnTo>
                  <a:lnTo>
                    <a:pt x="560316" y="58419"/>
                  </a:lnTo>
                  <a:lnTo>
                    <a:pt x="561958" y="58419"/>
                  </a:lnTo>
                  <a:lnTo>
                    <a:pt x="569517" y="63499"/>
                  </a:lnTo>
                  <a:lnTo>
                    <a:pt x="577937" y="71119"/>
                  </a:lnTo>
                  <a:lnTo>
                    <a:pt x="584825" y="77469"/>
                  </a:lnTo>
                  <a:lnTo>
                    <a:pt x="592264" y="83819"/>
                  </a:lnTo>
                  <a:lnTo>
                    <a:pt x="620738" y="109219"/>
                  </a:lnTo>
                  <a:lnTo>
                    <a:pt x="658781" y="157479"/>
                  </a:lnTo>
                  <a:lnTo>
                    <a:pt x="664529" y="166369"/>
                  </a:lnTo>
                  <a:close/>
                </a:path>
                <a:path w="719455" h="721360">
                  <a:moveTo>
                    <a:pt x="666171" y="168909"/>
                  </a:moveTo>
                  <a:lnTo>
                    <a:pt x="123944" y="168909"/>
                  </a:lnTo>
                  <a:lnTo>
                    <a:pt x="144599" y="167639"/>
                  </a:lnTo>
                  <a:lnTo>
                    <a:pt x="156600" y="165099"/>
                  </a:lnTo>
                  <a:lnTo>
                    <a:pt x="159197" y="162559"/>
                  </a:lnTo>
                  <a:lnTo>
                    <a:pt x="163332" y="156209"/>
                  </a:lnTo>
                  <a:lnTo>
                    <a:pt x="168436" y="146049"/>
                  </a:lnTo>
                  <a:lnTo>
                    <a:pt x="173941" y="135889"/>
                  </a:lnTo>
                  <a:lnTo>
                    <a:pt x="180580" y="124459"/>
                  </a:lnTo>
                  <a:lnTo>
                    <a:pt x="188773" y="110489"/>
                  </a:lnTo>
                  <a:lnTo>
                    <a:pt x="197478" y="97789"/>
                  </a:lnTo>
                  <a:lnTo>
                    <a:pt x="205656" y="86359"/>
                  </a:lnTo>
                  <a:lnTo>
                    <a:pt x="218126" y="68579"/>
                  </a:lnTo>
                  <a:lnTo>
                    <a:pt x="221285" y="62229"/>
                  </a:lnTo>
                  <a:lnTo>
                    <a:pt x="221811" y="59689"/>
                  </a:lnTo>
                  <a:lnTo>
                    <a:pt x="272626" y="59689"/>
                  </a:lnTo>
                  <a:lnTo>
                    <a:pt x="229066" y="102869"/>
                  </a:lnTo>
                  <a:lnTo>
                    <a:pt x="203845" y="142239"/>
                  </a:lnTo>
                  <a:lnTo>
                    <a:pt x="195348" y="165099"/>
                  </a:lnTo>
                  <a:lnTo>
                    <a:pt x="219562" y="167639"/>
                  </a:lnTo>
                  <a:lnTo>
                    <a:pt x="665350" y="167639"/>
                  </a:lnTo>
                  <a:lnTo>
                    <a:pt x="666171" y="168909"/>
                  </a:lnTo>
                  <a:close/>
                </a:path>
                <a:path w="719455" h="721360">
                  <a:moveTo>
                    <a:pt x="594820" y="166369"/>
                  </a:moveTo>
                  <a:lnTo>
                    <a:pt x="475753" y="166369"/>
                  </a:lnTo>
                  <a:lnTo>
                    <a:pt x="498599" y="165099"/>
                  </a:lnTo>
                  <a:lnTo>
                    <a:pt x="572726" y="165099"/>
                  </a:lnTo>
                  <a:lnTo>
                    <a:pt x="594820" y="166369"/>
                  </a:lnTo>
                  <a:close/>
                </a:path>
                <a:path w="719455" h="721360">
                  <a:moveTo>
                    <a:pt x="718747" y="342899"/>
                  </a:moveTo>
                  <a:lnTo>
                    <a:pt x="640294" y="342899"/>
                  </a:lnTo>
                  <a:lnTo>
                    <a:pt x="671181" y="341629"/>
                  </a:lnTo>
                  <a:lnTo>
                    <a:pt x="687798" y="339089"/>
                  </a:lnTo>
                  <a:lnTo>
                    <a:pt x="689880" y="336549"/>
                  </a:lnTo>
                  <a:lnTo>
                    <a:pt x="690684" y="332739"/>
                  </a:lnTo>
                  <a:lnTo>
                    <a:pt x="690269" y="325119"/>
                  </a:lnTo>
                  <a:lnTo>
                    <a:pt x="681578" y="278129"/>
                  </a:lnTo>
                  <a:lnTo>
                    <a:pt x="657415" y="212089"/>
                  </a:lnTo>
                  <a:lnTo>
                    <a:pt x="632722" y="194309"/>
                  </a:lnTo>
                  <a:lnTo>
                    <a:pt x="681138" y="194309"/>
                  </a:lnTo>
                  <a:lnTo>
                    <a:pt x="702370" y="245109"/>
                  </a:lnTo>
                  <a:lnTo>
                    <a:pt x="715172" y="289559"/>
                  </a:lnTo>
                  <a:lnTo>
                    <a:pt x="717962" y="317499"/>
                  </a:lnTo>
                  <a:lnTo>
                    <a:pt x="718747" y="342899"/>
                  </a:lnTo>
                  <a:close/>
                </a:path>
                <a:path w="719455" h="721360">
                  <a:moveTo>
                    <a:pt x="718787" y="344169"/>
                  </a:moveTo>
                  <a:lnTo>
                    <a:pt x="99305" y="344169"/>
                  </a:lnTo>
                  <a:lnTo>
                    <a:pt x="112195" y="342899"/>
                  </a:lnTo>
                  <a:lnTo>
                    <a:pt x="118915" y="341629"/>
                  </a:lnTo>
                  <a:lnTo>
                    <a:pt x="121908" y="339089"/>
                  </a:lnTo>
                  <a:lnTo>
                    <a:pt x="123560" y="336549"/>
                  </a:lnTo>
                  <a:lnTo>
                    <a:pt x="125225" y="326389"/>
                  </a:lnTo>
                  <a:lnTo>
                    <a:pt x="125608" y="316229"/>
                  </a:lnTo>
                  <a:lnTo>
                    <a:pt x="128335" y="289559"/>
                  </a:lnTo>
                  <a:lnTo>
                    <a:pt x="133815" y="256539"/>
                  </a:lnTo>
                  <a:lnTo>
                    <a:pt x="140223" y="224789"/>
                  </a:lnTo>
                  <a:lnTo>
                    <a:pt x="145736" y="207009"/>
                  </a:lnTo>
                  <a:lnTo>
                    <a:pt x="147396" y="200659"/>
                  </a:lnTo>
                  <a:lnTo>
                    <a:pt x="143633" y="198119"/>
                  </a:lnTo>
                  <a:lnTo>
                    <a:pt x="132185" y="196849"/>
                  </a:lnTo>
                  <a:lnTo>
                    <a:pt x="206650" y="196849"/>
                  </a:lnTo>
                  <a:lnTo>
                    <a:pt x="189314" y="198119"/>
                  </a:lnTo>
                  <a:lnTo>
                    <a:pt x="182220" y="198119"/>
                  </a:lnTo>
                  <a:lnTo>
                    <a:pt x="178404" y="203199"/>
                  </a:lnTo>
                  <a:lnTo>
                    <a:pt x="164703" y="251459"/>
                  </a:lnTo>
                  <a:lnTo>
                    <a:pt x="156385" y="303529"/>
                  </a:lnTo>
                  <a:lnTo>
                    <a:pt x="154420" y="325119"/>
                  </a:lnTo>
                  <a:lnTo>
                    <a:pt x="154517" y="336549"/>
                  </a:lnTo>
                  <a:lnTo>
                    <a:pt x="154570" y="339089"/>
                  </a:lnTo>
                  <a:lnTo>
                    <a:pt x="158667" y="340359"/>
                  </a:lnTo>
                  <a:lnTo>
                    <a:pt x="172408" y="341629"/>
                  </a:lnTo>
                  <a:lnTo>
                    <a:pt x="402042" y="341629"/>
                  </a:lnTo>
                  <a:lnTo>
                    <a:pt x="465106" y="342899"/>
                  </a:lnTo>
                  <a:lnTo>
                    <a:pt x="718747" y="342899"/>
                  </a:lnTo>
                  <a:lnTo>
                    <a:pt x="718787" y="344169"/>
                  </a:lnTo>
                  <a:close/>
                </a:path>
                <a:path w="719455" h="721360">
                  <a:moveTo>
                    <a:pt x="402042" y="341629"/>
                  </a:moveTo>
                  <a:lnTo>
                    <a:pt x="248086" y="341629"/>
                  </a:lnTo>
                  <a:lnTo>
                    <a:pt x="340219" y="340359"/>
                  </a:lnTo>
                  <a:lnTo>
                    <a:pt x="341472" y="271779"/>
                  </a:lnTo>
                  <a:lnTo>
                    <a:pt x="341652" y="256539"/>
                  </a:lnTo>
                  <a:lnTo>
                    <a:pt x="341770" y="240029"/>
                  </a:lnTo>
                  <a:lnTo>
                    <a:pt x="341649" y="219709"/>
                  </a:lnTo>
                  <a:lnTo>
                    <a:pt x="341289" y="205739"/>
                  </a:lnTo>
                  <a:lnTo>
                    <a:pt x="340539" y="199389"/>
                  </a:lnTo>
                  <a:lnTo>
                    <a:pt x="335743" y="198119"/>
                  </a:lnTo>
                  <a:lnTo>
                    <a:pt x="322425" y="196849"/>
                  </a:lnTo>
                  <a:lnTo>
                    <a:pt x="575488" y="196849"/>
                  </a:lnTo>
                  <a:lnTo>
                    <a:pt x="569071" y="198119"/>
                  </a:lnTo>
                  <a:lnTo>
                    <a:pt x="372786" y="198119"/>
                  </a:lnTo>
                  <a:lnTo>
                    <a:pt x="371579" y="264159"/>
                  </a:lnTo>
                  <a:lnTo>
                    <a:pt x="371314" y="284479"/>
                  </a:lnTo>
                  <a:lnTo>
                    <a:pt x="371329" y="320039"/>
                  </a:lnTo>
                  <a:lnTo>
                    <a:pt x="371605" y="331469"/>
                  </a:lnTo>
                  <a:lnTo>
                    <a:pt x="372284" y="339089"/>
                  </a:lnTo>
                  <a:lnTo>
                    <a:pt x="402042" y="341629"/>
                  </a:lnTo>
                  <a:close/>
                </a:path>
                <a:path w="719455" h="721360">
                  <a:moveTo>
                    <a:pt x="640294" y="342899"/>
                  </a:moveTo>
                  <a:lnTo>
                    <a:pt x="465106" y="342899"/>
                  </a:lnTo>
                  <a:lnTo>
                    <a:pt x="528401" y="341629"/>
                  </a:lnTo>
                  <a:lnTo>
                    <a:pt x="558854" y="339089"/>
                  </a:lnTo>
                  <a:lnTo>
                    <a:pt x="556420" y="284479"/>
                  </a:lnTo>
                  <a:lnTo>
                    <a:pt x="549084" y="242569"/>
                  </a:lnTo>
                  <a:lnTo>
                    <a:pt x="535466" y="198119"/>
                  </a:lnTo>
                  <a:lnTo>
                    <a:pt x="569071" y="198119"/>
                  </a:lnTo>
                  <a:lnTo>
                    <a:pt x="566958" y="200659"/>
                  </a:lnTo>
                  <a:lnTo>
                    <a:pt x="567317" y="203199"/>
                  </a:lnTo>
                  <a:lnTo>
                    <a:pt x="570476" y="209549"/>
                  </a:lnTo>
                  <a:lnTo>
                    <a:pt x="572409" y="214629"/>
                  </a:lnTo>
                  <a:lnTo>
                    <a:pt x="574534" y="222249"/>
                  </a:lnTo>
                  <a:lnTo>
                    <a:pt x="576594" y="231139"/>
                  </a:lnTo>
                  <a:lnTo>
                    <a:pt x="578332" y="240029"/>
                  </a:lnTo>
                  <a:lnTo>
                    <a:pt x="579939" y="248919"/>
                  </a:lnTo>
                  <a:lnTo>
                    <a:pt x="581643" y="256539"/>
                  </a:lnTo>
                  <a:lnTo>
                    <a:pt x="583242" y="264159"/>
                  </a:lnTo>
                  <a:lnTo>
                    <a:pt x="584532" y="269239"/>
                  </a:lnTo>
                  <a:lnTo>
                    <a:pt x="585661" y="275589"/>
                  </a:lnTo>
                  <a:lnTo>
                    <a:pt x="586824" y="284479"/>
                  </a:lnTo>
                  <a:lnTo>
                    <a:pt x="587882" y="294639"/>
                  </a:lnTo>
                  <a:lnTo>
                    <a:pt x="589615" y="320039"/>
                  </a:lnTo>
                  <a:lnTo>
                    <a:pt x="590759" y="328929"/>
                  </a:lnTo>
                  <a:lnTo>
                    <a:pt x="592154" y="335279"/>
                  </a:lnTo>
                  <a:lnTo>
                    <a:pt x="593821" y="339089"/>
                  </a:lnTo>
                  <a:lnTo>
                    <a:pt x="609665" y="341629"/>
                  </a:lnTo>
                  <a:lnTo>
                    <a:pt x="640294" y="342899"/>
                  </a:lnTo>
                  <a:close/>
                </a:path>
                <a:path w="719455" h="721360">
                  <a:moveTo>
                    <a:pt x="680462" y="528319"/>
                  </a:moveTo>
                  <a:lnTo>
                    <a:pt x="627427" y="528319"/>
                  </a:lnTo>
                  <a:lnTo>
                    <a:pt x="639144" y="527049"/>
                  </a:lnTo>
                  <a:lnTo>
                    <a:pt x="645130" y="525779"/>
                  </a:lnTo>
                  <a:lnTo>
                    <a:pt x="648768" y="523239"/>
                  </a:lnTo>
                  <a:lnTo>
                    <a:pt x="656102" y="513079"/>
                  </a:lnTo>
                  <a:lnTo>
                    <a:pt x="676879" y="461009"/>
                  </a:lnTo>
                  <a:lnTo>
                    <a:pt x="689525" y="403859"/>
                  </a:lnTo>
                  <a:lnTo>
                    <a:pt x="691395" y="382269"/>
                  </a:lnTo>
                  <a:lnTo>
                    <a:pt x="689360" y="372109"/>
                  </a:lnTo>
                  <a:lnTo>
                    <a:pt x="673132" y="370839"/>
                  </a:lnTo>
                  <a:lnTo>
                    <a:pt x="642552" y="369569"/>
                  </a:lnTo>
                  <a:lnTo>
                    <a:pt x="718952" y="369569"/>
                  </a:lnTo>
                  <a:lnTo>
                    <a:pt x="718612" y="394969"/>
                  </a:lnTo>
                  <a:lnTo>
                    <a:pt x="716286" y="422909"/>
                  </a:lnTo>
                  <a:lnTo>
                    <a:pt x="703457" y="474979"/>
                  </a:lnTo>
                  <a:lnTo>
                    <a:pt x="683466" y="523239"/>
                  </a:lnTo>
                  <a:lnTo>
                    <a:pt x="680462" y="528319"/>
                  </a:lnTo>
                  <a:close/>
                </a:path>
                <a:path w="719455" h="721360">
                  <a:moveTo>
                    <a:pt x="191332" y="529589"/>
                  </a:moveTo>
                  <a:lnTo>
                    <a:pt x="144480" y="529589"/>
                  </a:lnTo>
                  <a:lnTo>
                    <a:pt x="147446" y="528319"/>
                  </a:lnTo>
                  <a:lnTo>
                    <a:pt x="148362" y="527049"/>
                  </a:lnTo>
                  <a:lnTo>
                    <a:pt x="147355" y="520699"/>
                  </a:lnTo>
                  <a:lnTo>
                    <a:pt x="145207" y="514349"/>
                  </a:lnTo>
                  <a:lnTo>
                    <a:pt x="139609" y="494029"/>
                  </a:lnTo>
                  <a:lnTo>
                    <a:pt x="133372" y="463549"/>
                  </a:lnTo>
                  <a:lnTo>
                    <a:pt x="128027" y="430529"/>
                  </a:lnTo>
                  <a:lnTo>
                    <a:pt x="125105" y="403859"/>
                  </a:lnTo>
                  <a:lnTo>
                    <a:pt x="124302" y="393699"/>
                  </a:lnTo>
                  <a:lnTo>
                    <a:pt x="123216" y="386079"/>
                  </a:lnTo>
                  <a:lnTo>
                    <a:pt x="97136" y="372109"/>
                  </a:lnTo>
                  <a:lnTo>
                    <a:pt x="465913" y="372109"/>
                  </a:lnTo>
                  <a:lnTo>
                    <a:pt x="403038" y="373379"/>
                  </a:lnTo>
                  <a:lnTo>
                    <a:pt x="164814" y="373379"/>
                  </a:lnTo>
                  <a:lnTo>
                    <a:pt x="156353" y="374649"/>
                  </a:lnTo>
                  <a:lnTo>
                    <a:pt x="154673" y="377189"/>
                  </a:lnTo>
                  <a:lnTo>
                    <a:pt x="154019" y="382269"/>
                  </a:lnTo>
                  <a:lnTo>
                    <a:pt x="154357" y="392429"/>
                  </a:lnTo>
                  <a:lnTo>
                    <a:pt x="160697" y="449579"/>
                  </a:lnTo>
                  <a:lnTo>
                    <a:pt x="176434" y="514349"/>
                  </a:lnTo>
                  <a:lnTo>
                    <a:pt x="184200" y="528319"/>
                  </a:lnTo>
                  <a:lnTo>
                    <a:pt x="191332" y="529589"/>
                  </a:lnTo>
                  <a:close/>
                </a:path>
                <a:path w="719455" h="721360">
                  <a:moveTo>
                    <a:pt x="569453" y="528319"/>
                  </a:moveTo>
                  <a:lnTo>
                    <a:pt x="531757" y="528319"/>
                  </a:lnTo>
                  <a:lnTo>
                    <a:pt x="535290" y="523239"/>
                  </a:lnTo>
                  <a:lnTo>
                    <a:pt x="546192" y="490219"/>
                  </a:lnTo>
                  <a:lnTo>
                    <a:pt x="555986" y="441959"/>
                  </a:lnTo>
                  <a:lnTo>
                    <a:pt x="561285" y="397509"/>
                  </a:lnTo>
                  <a:lnTo>
                    <a:pt x="561318" y="394969"/>
                  </a:lnTo>
                  <a:lnTo>
                    <a:pt x="559307" y="373379"/>
                  </a:lnTo>
                  <a:lnTo>
                    <a:pt x="529054" y="372109"/>
                  </a:lnTo>
                  <a:lnTo>
                    <a:pt x="604213" y="372109"/>
                  </a:lnTo>
                  <a:lnTo>
                    <a:pt x="589577" y="408939"/>
                  </a:lnTo>
                  <a:lnTo>
                    <a:pt x="586569" y="436879"/>
                  </a:lnTo>
                  <a:lnTo>
                    <a:pt x="582275" y="464819"/>
                  </a:lnTo>
                  <a:lnTo>
                    <a:pt x="577474" y="488949"/>
                  </a:lnTo>
                  <a:lnTo>
                    <a:pt x="572943" y="505459"/>
                  </a:lnTo>
                  <a:lnTo>
                    <a:pt x="571024" y="509269"/>
                  </a:lnTo>
                  <a:lnTo>
                    <a:pt x="569453" y="516889"/>
                  </a:lnTo>
                  <a:lnTo>
                    <a:pt x="569453" y="528319"/>
                  </a:lnTo>
                  <a:close/>
                </a:path>
                <a:path w="719455" h="721360">
                  <a:moveTo>
                    <a:pt x="678960" y="530859"/>
                  </a:moveTo>
                  <a:lnTo>
                    <a:pt x="336592" y="530859"/>
                  </a:lnTo>
                  <a:lnTo>
                    <a:pt x="339074" y="524509"/>
                  </a:lnTo>
                  <a:lnTo>
                    <a:pt x="340041" y="516889"/>
                  </a:lnTo>
                  <a:lnTo>
                    <a:pt x="340690" y="499109"/>
                  </a:lnTo>
                  <a:lnTo>
                    <a:pt x="340980" y="474979"/>
                  </a:lnTo>
                  <a:lnTo>
                    <a:pt x="340856" y="441959"/>
                  </a:lnTo>
                  <a:lnTo>
                    <a:pt x="340226" y="373379"/>
                  </a:lnTo>
                  <a:lnTo>
                    <a:pt x="403038" y="373379"/>
                  </a:lnTo>
                  <a:lnTo>
                    <a:pt x="373586" y="374649"/>
                  </a:lnTo>
                  <a:lnTo>
                    <a:pt x="371741" y="397509"/>
                  </a:lnTo>
                  <a:lnTo>
                    <a:pt x="370122" y="445769"/>
                  </a:lnTo>
                  <a:lnTo>
                    <a:pt x="369411" y="490219"/>
                  </a:lnTo>
                  <a:lnTo>
                    <a:pt x="369422" y="499109"/>
                  </a:lnTo>
                  <a:lnTo>
                    <a:pt x="369971" y="521969"/>
                  </a:lnTo>
                  <a:lnTo>
                    <a:pt x="371636" y="528319"/>
                  </a:lnTo>
                  <a:lnTo>
                    <a:pt x="680462" y="528319"/>
                  </a:lnTo>
                  <a:lnTo>
                    <a:pt x="678960" y="530859"/>
                  </a:lnTo>
                  <a:close/>
                </a:path>
                <a:path w="719455" h="721360">
                  <a:moveTo>
                    <a:pt x="232785" y="530859"/>
                  </a:moveTo>
                  <a:lnTo>
                    <a:pt x="126485" y="530859"/>
                  </a:lnTo>
                  <a:lnTo>
                    <a:pt x="137385" y="529589"/>
                  </a:lnTo>
                  <a:lnTo>
                    <a:pt x="208378" y="529589"/>
                  </a:lnTo>
                  <a:lnTo>
                    <a:pt x="232785" y="530859"/>
                  </a:lnTo>
                  <a:close/>
                </a:path>
                <a:path w="719455" h="721360">
                  <a:moveTo>
                    <a:pt x="370571" y="688339"/>
                  </a:moveTo>
                  <a:lnTo>
                    <a:pt x="337721" y="688339"/>
                  </a:lnTo>
                  <a:lnTo>
                    <a:pt x="338974" y="627379"/>
                  </a:lnTo>
                  <a:lnTo>
                    <a:pt x="339118" y="615949"/>
                  </a:lnTo>
                  <a:lnTo>
                    <a:pt x="338810" y="568959"/>
                  </a:lnTo>
                  <a:lnTo>
                    <a:pt x="334075" y="557529"/>
                  </a:lnTo>
                  <a:lnTo>
                    <a:pt x="446282" y="557529"/>
                  </a:lnTo>
                  <a:lnTo>
                    <a:pt x="396639" y="558799"/>
                  </a:lnTo>
                  <a:lnTo>
                    <a:pt x="372030" y="561339"/>
                  </a:lnTo>
                  <a:lnTo>
                    <a:pt x="370004" y="582929"/>
                  </a:lnTo>
                  <a:lnTo>
                    <a:pt x="369038" y="622299"/>
                  </a:lnTo>
                  <a:lnTo>
                    <a:pt x="369088" y="669289"/>
                  </a:lnTo>
                  <a:lnTo>
                    <a:pt x="370571" y="688339"/>
                  </a:lnTo>
                  <a:close/>
                </a:path>
                <a:path w="719455" h="721360">
                  <a:moveTo>
                    <a:pt x="512964" y="690879"/>
                  </a:moveTo>
                  <a:lnTo>
                    <a:pt x="377392" y="690879"/>
                  </a:lnTo>
                  <a:lnTo>
                    <a:pt x="389627" y="689609"/>
                  </a:lnTo>
                  <a:lnTo>
                    <a:pt x="404361" y="684529"/>
                  </a:lnTo>
                  <a:lnTo>
                    <a:pt x="443734" y="662939"/>
                  </a:lnTo>
                  <a:lnTo>
                    <a:pt x="491434" y="612139"/>
                  </a:lnTo>
                  <a:lnTo>
                    <a:pt x="515523" y="572769"/>
                  </a:lnTo>
                  <a:lnTo>
                    <a:pt x="519086" y="563879"/>
                  </a:lnTo>
                  <a:lnTo>
                    <a:pt x="518343" y="562609"/>
                  </a:lnTo>
                  <a:lnTo>
                    <a:pt x="495378" y="558799"/>
                  </a:lnTo>
                  <a:lnTo>
                    <a:pt x="446282" y="557529"/>
                  </a:lnTo>
                  <a:lnTo>
                    <a:pt x="663190" y="557529"/>
                  </a:lnTo>
                  <a:lnTo>
                    <a:pt x="662439" y="558799"/>
                  </a:lnTo>
                  <a:lnTo>
                    <a:pt x="566701" y="558799"/>
                  </a:lnTo>
                  <a:lnTo>
                    <a:pt x="555077" y="561339"/>
                  </a:lnTo>
                  <a:lnTo>
                    <a:pt x="553087" y="565149"/>
                  </a:lnTo>
                  <a:lnTo>
                    <a:pt x="549486" y="571499"/>
                  </a:lnTo>
                  <a:lnTo>
                    <a:pt x="544787" y="580389"/>
                  </a:lnTo>
                  <a:lnTo>
                    <a:pt x="524419" y="615949"/>
                  </a:lnTo>
                  <a:lnTo>
                    <a:pt x="506581" y="641349"/>
                  </a:lnTo>
                  <a:lnTo>
                    <a:pt x="498893" y="651509"/>
                  </a:lnTo>
                  <a:lnTo>
                    <a:pt x="492597" y="659129"/>
                  </a:lnTo>
                  <a:lnTo>
                    <a:pt x="488343" y="665479"/>
                  </a:lnTo>
                  <a:lnTo>
                    <a:pt x="486780" y="668019"/>
                  </a:lnTo>
                  <a:lnTo>
                    <a:pt x="486780" y="671829"/>
                  </a:lnTo>
                  <a:lnTo>
                    <a:pt x="547538" y="671829"/>
                  </a:lnTo>
                  <a:lnTo>
                    <a:pt x="541654" y="675639"/>
                  </a:lnTo>
                  <a:lnTo>
                    <a:pt x="518444" y="688339"/>
                  </a:lnTo>
                  <a:lnTo>
                    <a:pt x="512964" y="690879"/>
                  </a:lnTo>
                  <a:close/>
                </a:path>
                <a:path w="719455" h="721360">
                  <a:moveTo>
                    <a:pt x="547538" y="671829"/>
                  </a:moveTo>
                  <a:lnTo>
                    <a:pt x="486780" y="671829"/>
                  </a:lnTo>
                  <a:lnTo>
                    <a:pt x="496036" y="668019"/>
                  </a:lnTo>
                  <a:lnTo>
                    <a:pt x="507568" y="660399"/>
                  </a:lnTo>
                  <a:lnTo>
                    <a:pt x="513582" y="656589"/>
                  </a:lnTo>
                  <a:lnTo>
                    <a:pt x="526974" y="648969"/>
                  </a:lnTo>
                  <a:lnTo>
                    <a:pt x="532701" y="646429"/>
                  </a:lnTo>
                  <a:lnTo>
                    <a:pt x="559241" y="628649"/>
                  </a:lnTo>
                  <a:lnTo>
                    <a:pt x="590176" y="600709"/>
                  </a:lnTo>
                  <a:lnTo>
                    <a:pt x="615030" y="575309"/>
                  </a:lnTo>
                  <a:lnTo>
                    <a:pt x="623323" y="561339"/>
                  </a:lnTo>
                  <a:lnTo>
                    <a:pt x="612085" y="558799"/>
                  </a:lnTo>
                  <a:lnTo>
                    <a:pt x="662439" y="558799"/>
                  </a:lnTo>
                  <a:lnTo>
                    <a:pt x="622475" y="610869"/>
                  </a:lnTo>
                  <a:lnTo>
                    <a:pt x="581718" y="647699"/>
                  </a:lnTo>
                  <a:lnTo>
                    <a:pt x="557344" y="665479"/>
                  </a:lnTo>
                  <a:lnTo>
                    <a:pt x="547538" y="671829"/>
                  </a:lnTo>
                  <a:close/>
                </a:path>
                <a:path w="719455" h="721360">
                  <a:moveTo>
                    <a:pt x="270542" y="661669"/>
                  </a:moveTo>
                  <a:lnTo>
                    <a:pt x="220563" y="661669"/>
                  </a:lnTo>
                  <a:lnTo>
                    <a:pt x="220909" y="656589"/>
                  </a:lnTo>
                  <a:lnTo>
                    <a:pt x="208391" y="640079"/>
                  </a:lnTo>
                  <a:lnTo>
                    <a:pt x="202184" y="632459"/>
                  </a:lnTo>
                  <a:lnTo>
                    <a:pt x="195404" y="622299"/>
                  </a:lnTo>
                  <a:lnTo>
                    <a:pt x="188245" y="612139"/>
                  </a:lnTo>
                  <a:lnTo>
                    <a:pt x="181559" y="600709"/>
                  </a:lnTo>
                  <a:lnTo>
                    <a:pt x="166821" y="572769"/>
                  </a:lnTo>
                  <a:lnTo>
                    <a:pt x="159152" y="563879"/>
                  </a:lnTo>
                  <a:lnTo>
                    <a:pt x="147994" y="561339"/>
                  </a:lnTo>
                  <a:lnTo>
                    <a:pt x="203850" y="561339"/>
                  </a:lnTo>
                  <a:lnTo>
                    <a:pt x="197340" y="562609"/>
                  </a:lnTo>
                  <a:lnTo>
                    <a:pt x="196172" y="566419"/>
                  </a:lnTo>
                  <a:lnTo>
                    <a:pt x="196172" y="568959"/>
                  </a:lnTo>
                  <a:lnTo>
                    <a:pt x="197176" y="571499"/>
                  </a:lnTo>
                  <a:lnTo>
                    <a:pt x="199631" y="572769"/>
                  </a:lnTo>
                  <a:lnTo>
                    <a:pt x="203710" y="579119"/>
                  </a:lnTo>
                  <a:lnTo>
                    <a:pt x="207468" y="586739"/>
                  </a:lnTo>
                  <a:lnTo>
                    <a:pt x="232797" y="624839"/>
                  </a:lnTo>
                  <a:lnTo>
                    <a:pt x="265011" y="657859"/>
                  </a:lnTo>
                  <a:lnTo>
                    <a:pt x="270542" y="661669"/>
                  </a:lnTo>
                  <a:close/>
                </a:path>
              </a:pathLst>
            </a:custGeom>
            <a:solidFill>
              <a:srgbClr val="FFFFFF"/>
            </a:solidFill>
          </p:spPr>
          <p:txBody>
            <a:bodyPr wrap="square" lIns="0" tIns="0" rIns="0" bIns="0" rtlCol="0"/>
            <a:lstStyle/>
            <a:p>
              <a:endParaRPr/>
            </a:p>
          </p:txBody>
        </p:sp>
      </p:grpSp>
      <p:sp>
        <p:nvSpPr>
          <p:cNvPr id="46" name="object 46"/>
          <p:cNvSpPr/>
          <p:nvPr/>
        </p:nvSpPr>
        <p:spPr>
          <a:xfrm>
            <a:off x="8037564" y="8834439"/>
            <a:ext cx="565150" cy="565150"/>
          </a:xfrm>
          <a:custGeom>
            <a:avLst/>
            <a:gdLst/>
            <a:ahLst/>
            <a:cxnLst/>
            <a:rect l="l" t="t" r="r" b="b"/>
            <a:pathLst>
              <a:path w="565150" h="565150">
                <a:moveTo>
                  <a:pt x="167329" y="401088"/>
                </a:moveTo>
                <a:lnTo>
                  <a:pt x="112021" y="283521"/>
                </a:lnTo>
                <a:lnTo>
                  <a:pt x="152445" y="256180"/>
                </a:lnTo>
                <a:lnTo>
                  <a:pt x="172096" y="242434"/>
                </a:lnTo>
                <a:lnTo>
                  <a:pt x="215969" y="204960"/>
                </a:lnTo>
                <a:lnTo>
                  <a:pt x="253535" y="150184"/>
                </a:lnTo>
                <a:lnTo>
                  <a:pt x="265681" y="109014"/>
                </a:lnTo>
                <a:lnTo>
                  <a:pt x="267000" y="91756"/>
                </a:lnTo>
                <a:lnTo>
                  <a:pt x="266948" y="76735"/>
                </a:lnTo>
                <a:lnTo>
                  <a:pt x="264810" y="69982"/>
                </a:lnTo>
                <a:lnTo>
                  <a:pt x="281319" y="64692"/>
                </a:lnTo>
                <a:lnTo>
                  <a:pt x="283350" y="72301"/>
                </a:lnTo>
                <a:lnTo>
                  <a:pt x="422853" y="368705"/>
                </a:lnTo>
                <a:lnTo>
                  <a:pt x="307896" y="368705"/>
                </a:lnTo>
                <a:lnTo>
                  <a:pt x="235257" y="377796"/>
                </a:lnTo>
                <a:lnTo>
                  <a:pt x="191776" y="391382"/>
                </a:lnTo>
                <a:lnTo>
                  <a:pt x="183859" y="394481"/>
                </a:lnTo>
                <a:lnTo>
                  <a:pt x="167329" y="401088"/>
                </a:lnTo>
                <a:close/>
              </a:path>
              <a:path w="565150" h="565150">
                <a:moveTo>
                  <a:pt x="392056" y="256591"/>
                </a:moveTo>
                <a:lnTo>
                  <a:pt x="367552" y="204626"/>
                </a:lnTo>
                <a:lnTo>
                  <a:pt x="380883" y="202434"/>
                </a:lnTo>
                <a:lnTo>
                  <a:pt x="391603" y="203854"/>
                </a:lnTo>
                <a:lnTo>
                  <a:pt x="399939" y="208836"/>
                </a:lnTo>
                <a:lnTo>
                  <a:pt x="406116" y="217329"/>
                </a:lnTo>
                <a:lnTo>
                  <a:pt x="409446" y="227769"/>
                </a:lnTo>
                <a:lnTo>
                  <a:pt x="408355" y="237639"/>
                </a:lnTo>
                <a:lnTo>
                  <a:pt x="402630" y="247170"/>
                </a:lnTo>
                <a:lnTo>
                  <a:pt x="392056" y="256591"/>
                </a:lnTo>
                <a:close/>
              </a:path>
              <a:path w="565150" h="565150">
                <a:moveTo>
                  <a:pt x="65706" y="441884"/>
                </a:moveTo>
                <a:lnTo>
                  <a:pt x="28983" y="430658"/>
                </a:lnTo>
                <a:lnTo>
                  <a:pt x="5733" y="400444"/>
                </a:lnTo>
                <a:lnTo>
                  <a:pt x="2625" y="393295"/>
                </a:lnTo>
                <a:lnTo>
                  <a:pt x="857" y="385828"/>
                </a:lnTo>
                <a:lnTo>
                  <a:pt x="0" y="370260"/>
                </a:lnTo>
                <a:lnTo>
                  <a:pt x="937" y="362645"/>
                </a:lnTo>
                <a:lnTo>
                  <a:pt x="18567" y="328570"/>
                </a:lnTo>
                <a:lnTo>
                  <a:pt x="60220" y="303950"/>
                </a:lnTo>
                <a:lnTo>
                  <a:pt x="91147" y="289403"/>
                </a:lnTo>
                <a:lnTo>
                  <a:pt x="148638" y="411465"/>
                </a:lnTo>
                <a:lnTo>
                  <a:pt x="98075" y="433218"/>
                </a:lnTo>
                <a:lnTo>
                  <a:pt x="73369" y="441371"/>
                </a:lnTo>
                <a:lnTo>
                  <a:pt x="65706" y="441884"/>
                </a:lnTo>
                <a:close/>
              </a:path>
              <a:path w="565150" h="565150">
                <a:moveTo>
                  <a:pt x="425050" y="411904"/>
                </a:moveTo>
                <a:lnTo>
                  <a:pt x="386664" y="384339"/>
                </a:lnTo>
                <a:lnTo>
                  <a:pt x="345086" y="371952"/>
                </a:lnTo>
                <a:lnTo>
                  <a:pt x="307896" y="368705"/>
                </a:lnTo>
                <a:lnTo>
                  <a:pt x="422853" y="368705"/>
                </a:lnTo>
                <a:lnTo>
                  <a:pt x="434722" y="393895"/>
                </a:lnTo>
                <a:lnTo>
                  <a:pt x="436033" y="396624"/>
                </a:lnTo>
                <a:lnTo>
                  <a:pt x="439762" y="406053"/>
                </a:lnTo>
                <a:lnTo>
                  <a:pt x="439118" y="408130"/>
                </a:lnTo>
                <a:lnTo>
                  <a:pt x="438853" y="408819"/>
                </a:lnTo>
                <a:lnTo>
                  <a:pt x="438155" y="410476"/>
                </a:lnTo>
                <a:lnTo>
                  <a:pt x="437213" y="411495"/>
                </a:lnTo>
                <a:lnTo>
                  <a:pt x="430947" y="411495"/>
                </a:lnTo>
                <a:lnTo>
                  <a:pt x="425050" y="411904"/>
                </a:lnTo>
                <a:close/>
              </a:path>
              <a:path w="565150" h="565150">
                <a:moveTo>
                  <a:pt x="191175" y="450697"/>
                </a:moveTo>
                <a:lnTo>
                  <a:pt x="188234" y="445141"/>
                </a:lnTo>
                <a:lnTo>
                  <a:pt x="180291" y="430436"/>
                </a:lnTo>
                <a:lnTo>
                  <a:pt x="176705" y="423615"/>
                </a:lnTo>
                <a:lnTo>
                  <a:pt x="217825" y="405371"/>
                </a:lnTo>
                <a:lnTo>
                  <a:pt x="224437" y="420664"/>
                </a:lnTo>
                <a:lnTo>
                  <a:pt x="224015" y="432269"/>
                </a:lnTo>
                <a:lnTo>
                  <a:pt x="213836" y="441756"/>
                </a:lnTo>
                <a:lnTo>
                  <a:pt x="191175" y="450697"/>
                </a:lnTo>
                <a:close/>
              </a:path>
              <a:path w="565150" h="565150">
                <a:moveTo>
                  <a:pt x="435411" y="412541"/>
                </a:moveTo>
                <a:lnTo>
                  <a:pt x="430947" y="411495"/>
                </a:lnTo>
                <a:lnTo>
                  <a:pt x="437213" y="411495"/>
                </a:lnTo>
                <a:lnTo>
                  <a:pt x="437008" y="411716"/>
                </a:lnTo>
                <a:lnTo>
                  <a:pt x="435411" y="412541"/>
                </a:lnTo>
                <a:close/>
              </a:path>
              <a:path w="565150" h="565150">
                <a:moveTo>
                  <a:pt x="195836" y="564754"/>
                </a:moveTo>
                <a:lnTo>
                  <a:pt x="189765" y="560722"/>
                </a:lnTo>
                <a:lnTo>
                  <a:pt x="168273" y="527163"/>
                </a:lnTo>
                <a:lnTo>
                  <a:pt x="117805" y="448931"/>
                </a:lnTo>
                <a:lnTo>
                  <a:pt x="156900" y="430436"/>
                </a:lnTo>
                <a:lnTo>
                  <a:pt x="157012" y="430671"/>
                </a:lnTo>
                <a:lnTo>
                  <a:pt x="158461" y="433218"/>
                </a:lnTo>
                <a:lnTo>
                  <a:pt x="159992" y="435537"/>
                </a:lnTo>
                <a:lnTo>
                  <a:pt x="208722" y="539090"/>
                </a:lnTo>
                <a:lnTo>
                  <a:pt x="211257" y="546432"/>
                </a:lnTo>
                <a:lnTo>
                  <a:pt x="211454" y="552605"/>
                </a:lnTo>
                <a:lnTo>
                  <a:pt x="209286" y="557449"/>
                </a:lnTo>
                <a:lnTo>
                  <a:pt x="204727" y="560805"/>
                </a:lnTo>
                <a:lnTo>
                  <a:pt x="195836" y="564754"/>
                </a:lnTo>
                <a:close/>
              </a:path>
              <a:path w="565150" h="565150">
                <a:moveTo>
                  <a:pt x="373295" y="58021"/>
                </a:moveTo>
                <a:lnTo>
                  <a:pt x="366875" y="55665"/>
                </a:lnTo>
                <a:lnTo>
                  <a:pt x="364532" y="53534"/>
                </a:lnTo>
                <a:lnTo>
                  <a:pt x="360924" y="45981"/>
                </a:lnTo>
                <a:lnTo>
                  <a:pt x="361303" y="41736"/>
                </a:lnTo>
                <a:lnTo>
                  <a:pt x="364194" y="37716"/>
                </a:lnTo>
                <a:lnTo>
                  <a:pt x="369518" y="29762"/>
                </a:lnTo>
                <a:lnTo>
                  <a:pt x="374881" y="21856"/>
                </a:lnTo>
                <a:lnTo>
                  <a:pt x="380281" y="13997"/>
                </a:lnTo>
                <a:lnTo>
                  <a:pt x="385720" y="6185"/>
                </a:lnTo>
                <a:lnTo>
                  <a:pt x="388445" y="2046"/>
                </a:lnTo>
                <a:lnTo>
                  <a:pt x="392285" y="0"/>
                </a:lnTo>
                <a:lnTo>
                  <a:pt x="397241" y="45"/>
                </a:lnTo>
                <a:lnTo>
                  <a:pt x="402363" y="257"/>
                </a:lnTo>
                <a:lnTo>
                  <a:pt x="406203" y="2584"/>
                </a:lnTo>
                <a:lnTo>
                  <a:pt x="408762" y="7026"/>
                </a:lnTo>
                <a:lnTo>
                  <a:pt x="409595" y="8231"/>
                </a:lnTo>
                <a:lnTo>
                  <a:pt x="409292" y="9747"/>
                </a:lnTo>
                <a:lnTo>
                  <a:pt x="408989" y="11415"/>
                </a:lnTo>
                <a:lnTo>
                  <a:pt x="408913" y="12248"/>
                </a:lnTo>
                <a:lnTo>
                  <a:pt x="408774" y="14863"/>
                </a:lnTo>
                <a:lnTo>
                  <a:pt x="408066" y="17314"/>
                </a:lnTo>
                <a:lnTo>
                  <a:pt x="384734" y="52041"/>
                </a:lnTo>
                <a:lnTo>
                  <a:pt x="376460" y="57911"/>
                </a:lnTo>
                <a:lnTo>
                  <a:pt x="373295" y="58021"/>
                </a:lnTo>
                <a:close/>
              </a:path>
              <a:path w="565150" h="565150">
                <a:moveTo>
                  <a:pt x="469143" y="191089"/>
                </a:moveTo>
                <a:lnTo>
                  <a:pt x="461323" y="173782"/>
                </a:lnTo>
                <a:lnTo>
                  <a:pt x="463420" y="170069"/>
                </a:lnTo>
                <a:lnTo>
                  <a:pt x="467655" y="167562"/>
                </a:lnTo>
                <a:lnTo>
                  <a:pt x="475798" y="162519"/>
                </a:lnTo>
                <a:lnTo>
                  <a:pt x="492170" y="152575"/>
                </a:lnTo>
                <a:lnTo>
                  <a:pt x="500399" y="147703"/>
                </a:lnTo>
                <a:lnTo>
                  <a:pt x="504540" y="145044"/>
                </a:lnTo>
                <a:lnTo>
                  <a:pt x="521015" y="157935"/>
                </a:lnTo>
                <a:lnTo>
                  <a:pt x="521243" y="159451"/>
                </a:lnTo>
                <a:lnTo>
                  <a:pt x="520257" y="160664"/>
                </a:lnTo>
                <a:lnTo>
                  <a:pt x="519878" y="161346"/>
                </a:lnTo>
                <a:lnTo>
                  <a:pt x="519424" y="162028"/>
                </a:lnTo>
                <a:lnTo>
                  <a:pt x="518969" y="162786"/>
                </a:lnTo>
                <a:lnTo>
                  <a:pt x="517773" y="165109"/>
                </a:lnTo>
                <a:lnTo>
                  <a:pt x="516131" y="167054"/>
                </a:lnTo>
                <a:lnTo>
                  <a:pt x="480456" y="189017"/>
                </a:lnTo>
                <a:lnTo>
                  <a:pt x="478508" y="190292"/>
                </a:lnTo>
                <a:lnTo>
                  <a:pt x="476360" y="190949"/>
                </a:lnTo>
                <a:lnTo>
                  <a:pt x="469143" y="191089"/>
                </a:lnTo>
                <a:close/>
              </a:path>
              <a:path w="565150" h="565150">
                <a:moveTo>
                  <a:pt x="550507" y="375637"/>
                </a:moveTo>
                <a:lnTo>
                  <a:pt x="547923" y="375242"/>
                </a:lnTo>
                <a:lnTo>
                  <a:pt x="538219" y="372816"/>
                </a:lnTo>
                <a:lnTo>
                  <a:pt x="528680" y="370315"/>
                </a:lnTo>
                <a:lnTo>
                  <a:pt x="509949" y="365161"/>
                </a:lnTo>
                <a:lnTo>
                  <a:pt x="507705" y="364609"/>
                </a:lnTo>
                <a:lnTo>
                  <a:pt x="505760" y="363523"/>
                </a:lnTo>
                <a:lnTo>
                  <a:pt x="500645" y="358453"/>
                </a:lnTo>
                <a:lnTo>
                  <a:pt x="499609" y="354386"/>
                </a:lnTo>
                <a:lnTo>
                  <a:pt x="501005" y="349699"/>
                </a:lnTo>
                <a:lnTo>
                  <a:pt x="511871" y="339759"/>
                </a:lnTo>
                <a:lnTo>
                  <a:pt x="516619" y="341058"/>
                </a:lnTo>
                <a:lnTo>
                  <a:pt x="544417" y="348349"/>
                </a:lnTo>
                <a:lnTo>
                  <a:pt x="553607" y="350911"/>
                </a:lnTo>
                <a:lnTo>
                  <a:pt x="558370" y="352087"/>
                </a:lnTo>
                <a:lnTo>
                  <a:pt x="561554" y="354992"/>
                </a:lnTo>
                <a:lnTo>
                  <a:pt x="563158" y="359628"/>
                </a:lnTo>
                <a:lnTo>
                  <a:pt x="564702" y="364513"/>
                </a:lnTo>
                <a:lnTo>
                  <a:pt x="563818" y="368909"/>
                </a:lnTo>
                <a:lnTo>
                  <a:pt x="560491" y="372835"/>
                </a:lnTo>
                <a:lnTo>
                  <a:pt x="559595" y="374105"/>
                </a:lnTo>
                <a:lnTo>
                  <a:pt x="558004" y="374257"/>
                </a:lnTo>
                <a:lnTo>
                  <a:pt x="556412" y="374560"/>
                </a:lnTo>
                <a:lnTo>
                  <a:pt x="553059" y="375485"/>
                </a:lnTo>
                <a:lnTo>
                  <a:pt x="550507" y="375637"/>
                </a:lnTo>
                <a:close/>
              </a:path>
            </a:pathLst>
          </a:custGeom>
          <a:solidFill>
            <a:srgbClr val="FFFFFF"/>
          </a:solidFill>
        </p:spPr>
        <p:txBody>
          <a:bodyPr wrap="square" lIns="0" tIns="0" rIns="0" bIns="0" rtlCol="0"/>
          <a:lstStyle/>
          <a:p>
            <a:endParaRPr/>
          </a:p>
        </p:txBody>
      </p:sp>
      <p:sp>
        <p:nvSpPr>
          <p:cNvPr id="47" name="object 47"/>
          <p:cNvSpPr/>
          <p:nvPr/>
        </p:nvSpPr>
        <p:spPr>
          <a:xfrm>
            <a:off x="6645257" y="3985303"/>
            <a:ext cx="607695" cy="598805"/>
          </a:xfrm>
          <a:custGeom>
            <a:avLst/>
            <a:gdLst/>
            <a:ahLst/>
            <a:cxnLst/>
            <a:rect l="l" t="t" r="r" b="b"/>
            <a:pathLst>
              <a:path w="607695" h="598804">
                <a:moveTo>
                  <a:pt x="484154" y="494145"/>
                </a:moveTo>
                <a:lnTo>
                  <a:pt x="439749" y="487873"/>
                </a:lnTo>
                <a:lnTo>
                  <a:pt x="392850" y="464143"/>
                </a:lnTo>
                <a:lnTo>
                  <a:pt x="360639" y="436512"/>
                </a:lnTo>
                <a:lnTo>
                  <a:pt x="65847" y="144767"/>
                </a:lnTo>
                <a:lnTo>
                  <a:pt x="34879" y="110970"/>
                </a:lnTo>
                <a:lnTo>
                  <a:pt x="12816" y="76437"/>
                </a:lnTo>
                <a:lnTo>
                  <a:pt x="0" y="24319"/>
                </a:lnTo>
                <a:lnTo>
                  <a:pt x="226" y="3803"/>
                </a:lnTo>
                <a:lnTo>
                  <a:pt x="348" y="1885"/>
                </a:lnTo>
                <a:lnTo>
                  <a:pt x="1904" y="359"/>
                </a:lnTo>
                <a:lnTo>
                  <a:pt x="3842" y="223"/>
                </a:lnTo>
                <a:lnTo>
                  <a:pt x="24580" y="0"/>
                </a:lnTo>
                <a:lnTo>
                  <a:pt x="43536" y="2092"/>
                </a:lnTo>
                <a:lnTo>
                  <a:pt x="94965" y="22389"/>
                </a:lnTo>
                <a:lnTo>
                  <a:pt x="129095" y="48855"/>
                </a:lnTo>
                <a:lnTo>
                  <a:pt x="441048" y="356930"/>
                </a:lnTo>
                <a:lnTo>
                  <a:pt x="468979" y="388811"/>
                </a:lnTo>
                <a:lnTo>
                  <a:pt x="488325" y="422481"/>
                </a:lnTo>
                <a:lnTo>
                  <a:pt x="499041" y="470738"/>
                </a:lnTo>
                <a:lnTo>
                  <a:pt x="498916" y="490191"/>
                </a:lnTo>
                <a:lnTo>
                  <a:pt x="498794" y="492109"/>
                </a:lnTo>
                <a:lnTo>
                  <a:pt x="497222" y="493665"/>
                </a:lnTo>
                <a:lnTo>
                  <a:pt x="495284" y="493786"/>
                </a:lnTo>
                <a:lnTo>
                  <a:pt x="484154" y="494145"/>
                </a:lnTo>
                <a:close/>
              </a:path>
              <a:path w="607695" h="598804">
                <a:moveTo>
                  <a:pt x="440590" y="93897"/>
                </a:moveTo>
                <a:lnTo>
                  <a:pt x="439461" y="93474"/>
                </a:lnTo>
                <a:lnTo>
                  <a:pt x="436561" y="90589"/>
                </a:lnTo>
                <a:lnTo>
                  <a:pt x="433631" y="87659"/>
                </a:lnTo>
                <a:lnTo>
                  <a:pt x="432151" y="83793"/>
                </a:lnTo>
                <a:lnTo>
                  <a:pt x="432168" y="75999"/>
                </a:lnTo>
                <a:lnTo>
                  <a:pt x="433616" y="72178"/>
                </a:lnTo>
                <a:lnTo>
                  <a:pt x="439537" y="66318"/>
                </a:lnTo>
                <a:lnTo>
                  <a:pt x="443459" y="64852"/>
                </a:lnTo>
                <a:lnTo>
                  <a:pt x="451272" y="64852"/>
                </a:lnTo>
                <a:lnTo>
                  <a:pt x="455194" y="66333"/>
                </a:lnTo>
                <a:lnTo>
                  <a:pt x="476041" y="86980"/>
                </a:lnTo>
                <a:lnTo>
                  <a:pt x="474591" y="90952"/>
                </a:lnTo>
                <a:lnTo>
                  <a:pt x="440590" y="93897"/>
                </a:lnTo>
                <a:close/>
              </a:path>
              <a:path w="607695" h="598804">
                <a:moveTo>
                  <a:pt x="311881" y="105029"/>
                </a:moveTo>
                <a:lnTo>
                  <a:pt x="310736" y="104621"/>
                </a:lnTo>
                <a:lnTo>
                  <a:pt x="304922" y="98851"/>
                </a:lnTo>
                <a:lnTo>
                  <a:pt x="303441" y="94970"/>
                </a:lnTo>
                <a:lnTo>
                  <a:pt x="303441" y="87357"/>
                </a:lnTo>
                <a:lnTo>
                  <a:pt x="304769" y="83672"/>
                </a:lnTo>
                <a:lnTo>
                  <a:pt x="307424" y="80802"/>
                </a:lnTo>
                <a:lnTo>
                  <a:pt x="310797" y="77464"/>
                </a:lnTo>
                <a:lnTo>
                  <a:pt x="314719" y="75999"/>
                </a:lnTo>
                <a:lnTo>
                  <a:pt x="322563" y="75999"/>
                </a:lnTo>
                <a:lnTo>
                  <a:pt x="326485" y="77479"/>
                </a:lnTo>
                <a:lnTo>
                  <a:pt x="347331" y="98126"/>
                </a:lnTo>
                <a:lnTo>
                  <a:pt x="345882" y="102099"/>
                </a:lnTo>
                <a:lnTo>
                  <a:pt x="311881" y="105029"/>
                </a:lnTo>
                <a:close/>
              </a:path>
              <a:path w="607695" h="598804">
                <a:moveTo>
                  <a:pt x="382828" y="262758"/>
                </a:moveTo>
                <a:lnTo>
                  <a:pt x="375930" y="261837"/>
                </a:lnTo>
                <a:lnTo>
                  <a:pt x="358884" y="246280"/>
                </a:lnTo>
                <a:lnTo>
                  <a:pt x="249281" y="136233"/>
                </a:lnTo>
                <a:lnTo>
                  <a:pt x="250731" y="132261"/>
                </a:lnTo>
                <a:lnTo>
                  <a:pt x="552589" y="106131"/>
                </a:lnTo>
                <a:lnTo>
                  <a:pt x="553718" y="106524"/>
                </a:lnTo>
                <a:lnTo>
                  <a:pt x="598233" y="149857"/>
                </a:lnTo>
                <a:lnTo>
                  <a:pt x="597760" y="152998"/>
                </a:lnTo>
                <a:lnTo>
                  <a:pt x="382828" y="262758"/>
                </a:lnTo>
                <a:close/>
              </a:path>
              <a:path w="607695" h="598804">
                <a:moveTo>
                  <a:pt x="150346" y="593109"/>
                </a:moveTo>
                <a:lnTo>
                  <a:pt x="106578" y="549036"/>
                </a:lnTo>
                <a:lnTo>
                  <a:pt x="106166" y="547933"/>
                </a:lnTo>
                <a:lnTo>
                  <a:pt x="132750" y="247292"/>
                </a:lnTo>
                <a:lnTo>
                  <a:pt x="136763" y="245842"/>
                </a:lnTo>
                <a:lnTo>
                  <a:pt x="233166" y="341917"/>
                </a:lnTo>
                <a:lnTo>
                  <a:pt x="263947" y="371792"/>
                </a:lnTo>
                <a:lnTo>
                  <a:pt x="265076" y="378665"/>
                </a:lnTo>
                <a:lnTo>
                  <a:pt x="153520" y="592641"/>
                </a:lnTo>
                <a:lnTo>
                  <a:pt x="150346" y="593109"/>
                </a:lnTo>
                <a:close/>
              </a:path>
              <a:path w="607695" h="598804">
                <a:moveTo>
                  <a:pt x="98077" y="344817"/>
                </a:moveTo>
                <a:lnTo>
                  <a:pt x="79719" y="326662"/>
                </a:lnTo>
                <a:lnTo>
                  <a:pt x="77079" y="323792"/>
                </a:lnTo>
                <a:lnTo>
                  <a:pt x="75736" y="320107"/>
                </a:lnTo>
                <a:lnTo>
                  <a:pt x="75736" y="312510"/>
                </a:lnTo>
                <a:lnTo>
                  <a:pt x="77201" y="308628"/>
                </a:lnTo>
                <a:lnTo>
                  <a:pt x="83122" y="302813"/>
                </a:lnTo>
                <a:lnTo>
                  <a:pt x="87029" y="301348"/>
                </a:lnTo>
                <a:lnTo>
                  <a:pt x="94873" y="301348"/>
                </a:lnTo>
                <a:lnTo>
                  <a:pt x="98795" y="302813"/>
                </a:lnTo>
                <a:lnTo>
                  <a:pt x="104624" y="308583"/>
                </a:lnTo>
                <a:lnTo>
                  <a:pt x="105052" y="309716"/>
                </a:lnTo>
                <a:lnTo>
                  <a:pt x="102076" y="343352"/>
                </a:lnTo>
                <a:lnTo>
                  <a:pt x="98077" y="344817"/>
                </a:lnTo>
                <a:close/>
              </a:path>
              <a:path w="607695" h="598804">
                <a:moveTo>
                  <a:pt x="516375" y="431347"/>
                </a:moveTo>
                <a:lnTo>
                  <a:pt x="514437" y="430169"/>
                </a:lnTo>
                <a:lnTo>
                  <a:pt x="512331" y="423463"/>
                </a:lnTo>
                <a:lnTo>
                  <a:pt x="510606" y="418750"/>
                </a:lnTo>
                <a:lnTo>
                  <a:pt x="493499" y="385612"/>
                </a:lnTo>
                <a:lnTo>
                  <a:pt x="495422" y="382229"/>
                </a:lnTo>
                <a:lnTo>
                  <a:pt x="581065" y="384344"/>
                </a:lnTo>
                <a:lnTo>
                  <a:pt x="582026" y="384752"/>
                </a:lnTo>
                <a:lnTo>
                  <a:pt x="607283" y="409733"/>
                </a:lnTo>
                <a:lnTo>
                  <a:pt x="606138" y="413464"/>
                </a:lnTo>
                <a:lnTo>
                  <a:pt x="516375" y="431347"/>
                </a:lnTo>
                <a:close/>
              </a:path>
              <a:path w="607695" h="598804">
                <a:moveTo>
                  <a:pt x="86830" y="472188"/>
                </a:moveTo>
                <a:lnTo>
                  <a:pt x="65969" y="451526"/>
                </a:lnTo>
                <a:lnTo>
                  <a:pt x="64489" y="447659"/>
                </a:lnTo>
                <a:lnTo>
                  <a:pt x="64489" y="439911"/>
                </a:lnTo>
                <a:lnTo>
                  <a:pt x="65954" y="436044"/>
                </a:lnTo>
                <a:lnTo>
                  <a:pt x="71860" y="430199"/>
                </a:lnTo>
                <a:lnTo>
                  <a:pt x="75797" y="428719"/>
                </a:lnTo>
                <a:lnTo>
                  <a:pt x="83610" y="428719"/>
                </a:lnTo>
                <a:lnTo>
                  <a:pt x="87532" y="430199"/>
                </a:lnTo>
                <a:lnTo>
                  <a:pt x="93408" y="435999"/>
                </a:lnTo>
                <a:lnTo>
                  <a:pt x="93820" y="437132"/>
                </a:lnTo>
                <a:lnTo>
                  <a:pt x="90844" y="470738"/>
                </a:lnTo>
                <a:lnTo>
                  <a:pt x="86830" y="472188"/>
                </a:lnTo>
                <a:close/>
              </a:path>
              <a:path w="607695" h="598804">
                <a:moveTo>
                  <a:pt x="416676" y="598365"/>
                </a:moveTo>
                <a:lnTo>
                  <a:pt x="391420" y="573368"/>
                </a:lnTo>
                <a:lnTo>
                  <a:pt x="391023" y="572432"/>
                </a:lnTo>
                <a:lnTo>
                  <a:pt x="388993" y="492049"/>
                </a:lnTo>
                <a:lnTo>
                  <a:pt x="392351" y="490131"/>
                </a:lnTo>
                <a:lnTo>
                  <a:pt x="395706" y="492109"/>
                </a:lnTo>
                <a:lnTo>
                  <a:pt x="400709" y="494960"/>
                </a:lnTo>
                <a:lnTo>
                  <a:pt x="436653" y="509721"/>
                </a:lnTo>
                <a:lnTo>
                  <a:pt x="437858" y="511654"/>
                </a:lnTo>
                <a:lnTo>
                  <a:pt x="420461" y="597247"/>
                </a:lnTo>
                <a:lnTo>
                  <a:pt x="416676" y="598365"/>
                </a:lnTo>
                <a:close/>
              </a:path>
            </a:pathLst>
          </a:custGeom>
          <a:solidFill>
            <a:srgbClr val="21408B"/>
          </a:solidFill>
        </p:spPr>
        <p:txBody>
          <a:bodyPr wrap="square" lIns="0" tIns="0" rIns="0" bIns="0" rtlCol="0"/>
          <a:lstStyle/>
          <a:p>
            <a:endParaRPr/>
          </a:p>
        </p:txBody>
      </p:sp>
      <p:sp>
        <p:nvSpPr>
          <p:cNvPr id="48" name="object 48"/>
          <p:cNvSpPr txBox="1"/>
          <p:nvPr/>
        </p:nvSpPr>
        <p:spPr>
          <a:xfrm>
            <a:off x="7556756" y="4107093"/>
            <a:ext cx="948055" cy="284480"/>
          </a:xfrm>
          <a:prstGeom prst="rect">
            <a:avLst/>
          </a:prstGeom>
        </p:spPr>
        <p:txBody>
          <a:bodyPr vert="horz" wrap="square" lIns="0" tIns="12700" rIns="0" bIns="0" rtlCol="0">
            <a:spAutoFit/>
          </a:bodyPr>
          <a:lstStyle/>
          <a:p>
            <a:pPr marL="12700">
              <a:lnSpc>
                <a:spcPct val="100000"/>
              </a:lnSpc>
              <a:spcBef>
                <a:spcPts val="100"/>
              </a:spcBef>
            </a:pPr>
            <a:r>
              <a:rPr sz="1700" b="1" spc="-10" dirty="0">
                <a:solidFill>
                  <a:srgbClr val="21408B"/>
                </a:solidFill>
                <a:latin typeface="Roboto"/>
                <a:cs typeface="Roboto"/>
              </a:rPr>
              <a:t>FamTrips</a:t>
            </a:r>
            <a:endParaRPr sz="1700">
              <a:latin typeface="Roboto"/>
              <a:cs typeface="Roboto"/>
            </a:endParaRPr>
          </a:p>
        </p:txBody>
      </p:sp>
      <p:grpSp>
        <p:nvGrpSpPr>
          <p:cNvPr id="49" name="object 49"/>
          <p:cNvGrpSpPr/>
          <p:nvPr/>
        </p:nvGrpSpPr>
        <p:grpSpPr>
          <a:xfrm>
            <a:off x="6578811" y="4961854"/>
            <a:ext cx="752475" cy="815340"/>
            <a:chOff x="6578811" y="4961854"/>
            <a:chExt cx="752475" cy="815340"/>
          </a:xfrm>
        </p:grpSpPr>
        <p:sp>
          <p:nvSpPr>
            <p:cNvPr id="50" name="object 50"/>
            <p:cNvSpPr/>
            <p:nvPr/>
          </p:nvSpPr>
          <p:spPr>
            <a:xfrm>
              <a:off x="6578811" y="5416717"/>
              <a:ext cx="271145" cy="360680"/>
            </a:xfrm>
            <a:custGeom>
              <a:avLst/>
              <a:gdLst/>
              <a:ahLst/>
              <a:cxnLst/>
              <a:rect l="l" t="t" r="r" b="b"/>
              <a:pathLst>
                <a:path w="271145" h="360679">
                  <a:moveTo>
                    <a:pt x="255377" y="360263"/>
                  </a:moveTo>
                  <a:lnTo>
                    <a:pt x="246685" y="360263"/>
                  </a:lnTo>
                  <a:lnTo>
                    <a:pt x="239994" y="354647"/>
                  </a:lnTo>
                  <a:lnTo>
                    <a:pt x="228641" y="275630"/>
                  </a:lnTo>
                  <a:lnTo>
                    <a:pt x="151244" y="282365"/>
                  </a:lnTo>
                  <a:lnTo>
                    <a:pt x="140854" y="354647"/>
                  </a:lnTo>
                  <a:lnTo>
                    <a:pt x="134163" y="360263"/>
                  </a:lnTo>
                  <a:lnTo>
                    <a:pt x="126510" y="360263"/>
                  </a:lnTo>
                  <a:lnTo>
                    <a:pt x="124457" y="360162"/>
                  </a:lnTo>
                  <a:lnTo>
                    <a:pt x="115182" y="358357"/>
                  </a:lnTo>
                  <a:lnTo>
                    <a:pt x="109860" y="350250"/>
                  </a:lnTo>
                  <a:lnTo>
                    <a:pt x="119515" y="283178"/>
                  </a:lnTo>
                  <a:lnTo>
                    <a:pt x="88555" y="274450"/>
                  </a:lnTo>
                  <a:lnTo>
                    <a:pt x="62206" y="256638"/>
                  </a:lnTo>
                  <a:lnTo>
                    <a:pt x="42591" y="231383"/>
                  </a:lnTo>
                  <a:lnTo>
                    <a:pt x="31830" y="200324"/>
                  </a:lnTo>
                  <a:lnTo>
                    <a:pt x="0" y="10979"/>
                  </a:lnTo>
                  <a:lnTo>
                    <a:pt x="5752" y="2871"/>
                  </a:lnTo>
                  <a:lnTo>
                    <a:pt x="22783" y="0"/>
                  </a:lnTo>
                  <a:lnTo>
                    <a:pt x="30867" y="5769"/>
                  </a:lnTo>
                  <a:lnTo>
                    <a:pt x="62697" y="195088"/>
                  </a:lnTo>
                  <a:lnTo>
                    <a:pt x="71689" y="219219"/>
                  </a:lnTo>
                  <a:lnTo>
                    <a:pt x="88388" y="237907"/>
                  </a:lnTo>
                  <a:lnTo>
                    <a:pt x="110609" y="249457"/>
                  </a:lnTo>
                  <a:lnTo>
                    <a:pt x="136165" y="252172"/>
                  </a:lnTo>
                  <a:lnTo>
                    <a:pt x="257531" y="241624"/>
                  </a:lnTo>
                  <a:lnTo>
                    <a:pt x="260243" y="272885"/>
                  </a:lnTo>
                  <a:lnTo>
                    <a:pt x="259863" y="272936"/>
                  </a:lnTo>
                  <a:lnTo>
                    <a:pt x="270988" y="350250"/>
                  </a:lnTo>
                  <a:lnTo>
                    <a:pt x="265666" y="358357"/>
                  </a:lnTo>
                  <a:lnTo>
                    <a:pt x="257430" y="359958"/>
                  </a:lnTo>
                  <a:lnTo>
                    <a:pt x="255377" y="360263"/>
                  </a:lnTo>
                  <a:close/>
                </a:path>
              </a:pathLst>
            </a:custGeom>
            <a:solidFill>
              <a:srgbClr val="21408B"/>
            </a:solidFill>
          </p:spPr>
          <p:txBody>
            <a:bodyPr wrap="square" lIns="0" tIns="0" rIns="0" bIns="0" rtlCol="0"/>
            <a:lstStyle/>
            <a:p>
              <a:endParaRPr/>
            </a:p>
          </p:txBody>
        </p:sp>
        <p:pic>
          <p:nvPicPr>
            <p:cNvPr id="51" name="object 51"/>
            <p:cNvPicPr/>
            <p:nvPr/>
          </p:nvPicPr>
          <p:blipFill>
            <a:blip r:embed="rId8" cstate="print"/>
            <a:stretch>
              <a:fillRect/>
            </a:stretch>
          </p:blipFill>
          <p:spPr>
            <a:xfrm>
              <a:off x="6686162" y="5226661"/>
              <a:ext cx="109682" cy="109998"/>
            </a:xfrm>
            <a:prstGeom prst="rect">
              <a:avLst/>
            </a:prstGeom>
          </p:spPr>
        </p:pic>
        <p:sp>
          <p:nvSpPr>
            <p:cNvPr id="52" name="object 52"/>
            <p:cNvSpPr/>
            <p:nvPr/>
          </p:nvSpPr>
          <p:spPr>
            <a:xfrm>
              <a:off x="6649885" y="5361774"/>
              <a:ext cx="681355" cy="415290"/>
            </a:xfrm>
            <a:custGeom>
              <a:avLst/>
              <a:gdLst/>
              <a:ahLst/>
              <a:cxnLst/>
              <a:rect l="l" t="t" r="r" b="b"/>
              <a:pathLst>
                <a:path w="681354" h="415289">
                  <a:moveTo>
                    <a:pt x="284937" y="362623"/>
                  </a:moveTo>
                  <a:lnTo>
                    <a:pt x="249072" y="222719"/>
                  </a:lnTo>
                  <a:lnTo>
                    <a:pt x="217957" y="197358"/>
                  </a:lnTo>
                  <a:lnTo>
                    <a:pt x="103962" y="189166"/>
                  </a:lnTo>
                  <a:lnTo>
                    <a:pt x="102425" y="173672"/>
                  </a:lnTo>
                  <a:lnTo>
                    <a:pt x="101422" y="158838"/>
                  </a:lnTo>
                  <a:lnTo>
                    <a:pt x="100901" y="144691"/>
                  </a:lnTo>
                  <a:lnTo>
                    <a:pt x="100825" y="131216"/>
                  </a:lnTo>
                  <a:lnTo>
                    <a:pt x="190461" y="131216"/>
                  </a:lnTo>
                  <a:lnTo>
                    <a:pt x="198005" y="123647"/>
                  </a:lnTo>
                  <a:lnTo>
                    <a:pt x="198005" y="104965"/>
                  </a:lnTo>
                  <a:lnTo>
                    <a:pt x="190461" y="97421"/>
                  </a:lnTo>
                  <a:lnTo>
                    <a:pt x="181152" y="97421"/>
                  </a:lnTo>
                  <a:lnTo>
                    <a:pt x="121475" y="90093"/>
                  </a:lnTo>
                  <a:lnTo>
                    <a:pt x="109347" y="38938"/>
                  </a:lnTo>
                  <a:lnTo>
                    <a:pt x="103238" y="22085"/>
                  </a:lnTo>
                  <a:lnTo>
                    <a:pt x="93040" y="8420"/>
                  </a:lnTo>
                  <a:lnTo>
                    <a:pt x="76441" y="0"/>
                  </a:lnTo>
                  <a:lnTo>
                    <a:pt x="42557" y="3810"/>
                  </a:lnTo>
                  <a:lnTo>
                    <a:pt x="20256" y="28181"/>
                  </a:lnTo>
                  <a:lnTo>
                    <a:pt x="7289" y="62407"/>
                  </a:lnTo>
                  <a:lnTo>
                    <a:pt x="1422" y="95719"/>
                  </a:lnTo>
                  <a:lnTo>
                    <a:pt x="0" y="132753"/>
                  </a:lnTo>
                  <a:lnTo>
                    <a:pt x="2857" y="169786"/>
                  </a:lnTo>
                  <a:lnTo>
                    <a:pt x="17716" y="242519"/>
                  </a:lnTo>
                  <a:lnTo>
                    <a:pt x="41668" y="272605"/>
                  </a:lnTo>
                  <a:lnTo>
                    <a:pt x="58369" y="278828"/>
                  </a:lnTo>
                  <a:lnTo>
                    <a:pt x="201079" y="268566"/>
                  </a:lnTo>
                  <a:lnTo>
                    <a:pt x="235966" y="367919"/>
                  </a:lnTo>
                  <a:lnTo>
                    <a:pt x="240830" y="376186"/>
                  </a:lnTo>
                  <a:lnTo>
                    <a:pt x="248170" y="381965"/>
                  </a:lnTo>
                  <a:lnTo>
                    <a:pt x="257086" y="384708"/>
                  </a:lnTo>
                  <a:lnTo>
                    <a:pt x="266712" y="383895"/>
                  </a:lnTo>
                  <a:lnTo>
                    <a:pt x="275640" y="379298"/>
                  </a:lnTo>
                  <a:lnTo>
                    <a:pt x="281901" y="371868"/>
                  </a:lnTo>
                  <a:lnTo>
                    <a:pt x="284937" y="362623"/>
                  </a:lnTo>
                  <a:close/>
                </a:path>
                <a:path w="681354" h="415289">
                  <a:moveTo>
                    <a:pt x="680986" y="65925"/>
                  </a:moveTo>
                  <a:lnTo>
                    <a:pt x="675233" y="57823"/>
                  </a:lnTo>
                  <a:lnTo>
                    <a:pt x="666724" y="56400"/>
                  </a:lnTo>
                  <a:lnTo>
                    <a:pt x="658177" y="54952"/>
                  </a:lnTo>
                  <a:lnTo>
                    <a:pt x="650125" y="60718"/>
                  </a:lnTo>
                  <a:lnTo>
                    <a:pt x="618286" y="250037"/>
                  </a:lnTo>
                  <a:lnTo>
                    <a:pt x="609295" y="274167"/>
                  </a:lnTo>
                  <a:lnTo>
                    <a:pt x="592594" y="292862"/>
                  </a:lnTo>
                  <a:lnTo>
                    <a:pt x="570382" y="304406"/>
                  </a:lnTo>
                  <a:lnTo>
                    <a:pt x="544817" y="307124"/>
                  </a:lnTo>
                  <a:lnTo>
                    <a:pt x="423456" y="296570"/>
                  </a:lnTo>
                  <a:lnTo>
                    <a:pt x="420763" y="327837"/>
                  </a:lnTo>
                  <a:lnTo>
                    <a:pt x="421093" y="327888"/>
                  </a:lnTo>
                  <a:lnTo>
                    <a:pt x="409994" y="405193"/>
                  </a:lnTo>
                  <a:lnTo>
                    <a:pt x="415315" y="413308"/>
                  </a:lnTo>
                  <a:lnTo>
                    <a:pt x="424573" y="415112"/>
                  </a:lnTo>
                  <a:lnTo>
                    <a:pt x="426643" y="415213"/>
                  </a:lnTo>
                  <a:lnTo>
                    <a:pt x="434301" y="415213"/>
                  </a:lnTo>
                  <a:lnTo>
                    <a:pt x="440994" y="409600"/>
                  </a:lnTo>
                  <a:lnTo>
                    <a:pt x="452348" y="330581"/>
                  </a:lnTo>
                  <a:lnTo>
                    <a:pt x="529717" y="337312"/>
                  </a:lnTo>
                  <a:lnTo>
                    <a:pt x="540131" y="409600"/>
                  </a:lnTo>
                  <a:lnTo>
                    <a:pt x="546823" y="415213"/>
                  </a:lnTo>
                  <a:lnTo>
                    <a:pt x="555485" y="415213"/>
                  </a:lnTo>
                  <a:lnTo>
                    <a:pt x="557568" y="414909"/>
                  </a:lnTo>
                  <a:lnTo>
                    <a:pt x="565785" y="413308"/>
                  </a:lnTo>
                  <a:lnTo>
                    <a:pt x="571106" y="405193"/>
                  </a:lnTo>
                  <a:lnTo>
                    <a:pt x="561467" y="338124"/>
                  </a:lnTo>
                  <a:lnTo>
                    <a:pt x="592429" y="329399"/>
                  </a:lnTo>
                  <a:lnTo>
                    <a:pt x="618782" y="311594"/>
                  </a:lnTo>
                  <a:lnTo>
                    <a:pt x="638390" y="286334"/>
                  </a:lnTo>
                  <a:lnTo>
                    <a:pt x="649160" y="255270"/>
                  </a:lnTo>
                  <a:lnTo>
                    <a:pt x="680986" y="65925"/>
                  </a:lnTo>
                  <a:close/>
                </a:path>
              </a:pathLst>
            </a:custGeom>
            <a:solidFill>
              <a:srgbClr val="21408B"/>
            </a:solidFill>
          </p:spPr>
          <p:txBody>
            <a:bodyPr wrap="square" lIns="0" tIns="0" rIns="0" bIns="0" rtlCol="0"/>
            <a:lstStyle/>
            <a:p>
              <a:endParaRPr/>
            </a:p>
          </p:txBody>
        </p:sp>
        <p:pic>
          <p:nvPicPr>
            <p:cNvPr id="53" name="object 53"/>
            <p:cNvPicPr/>
            <p:nvPr/>
          </p:nvPicPr>
          <p:blipFill>
            <a:blip r:embed="rId8" cstate="print"/>
            <a:stretch>
              <a:fillRect/>
            </a:stretch>
          </p:blipFill>
          <p:spPr>
            <a:xfrm>
              <a:off x="7113845" y="5226661"/>
              <a:ext cx="109682" cy="109998"/>
            </a:xfrm>
            <a:prstGeom prst="rect">
              <a:avLst/>
            </a:prstGeom>
          </p:spPr>
        </p:pic>
        <p:sp>
          <p:nvSpPr>
            <p:cNvPr id="54" name="object 54"/>
            <p:cNvSpPr/>
            <p:nvPr/>
          </p:nvSpPr>
          <p:spPr>
            <a:xfrm>
              <a:off x="6974858" y="5361769"/>
              <a:ext cx="285115" cy="384810"/>
            </a:xfrm>
            <a:custGeom>
              <a:avLst/>
              <a:gdLst/>
              <a:ahLst/>
              <a:cxnLst/>
              <a:rect l="l" t="t" r="r" b="b"/>
              <a:pathLst>
                <a:path w="285115" h="384810">
                  <a:moveTo>
                    <a:pt x="27850" y="384701"/>
                  </a:moveTo>
                  <a:lnTo>
                    <a:pt x="18228" y="383900"/>
                  </a:lnTo>
                  <a:lnTo>
                    <a:pt x="9288" y="379293"/>
                  </a:lnTo>
                  <a:lnTo>
                    <a:pt x="3026" y="371866"/>
                  </a:lnTo>
                  <a:lnTo>
                    <a:pt x="0" y="362627"/>
                  </a:lnTo>
                  <a:lnTo>
                    <a:pt x="767" y="352588"/>
                  </a:lnTo>
                  <a:lnTo>
                    <a:pt x="35867" y="222715"/>
                  </a:lnTo>
                  <a:lnTo>
                    <a:pt x="66988" y="197350"/>
                  </a:lnTo>
                  <a:lnTo>
                    <a:pt x="180979" y="189167"/>
                  </a:lnTo>
                  <a:lnTo>
                    <a:pt x="182510" y="173672"/>
                  </a:lnTo>
                  <a:lnTo>
                    <a:pt x="183519" y="158840"/>
                  </a:lnTo>
                  <a:lnTo>
                    <a:pt x="184044" y="144684"/>
                  </a:lnTo>
                  <a:lnTo>
                    <a:pt x="184121" y="131219"/>
                  </a:lnTo>
                  <a:lnTo>
                    <a:pt x="94459" y="131219"/>
                  </a:lnTo>
                  <a:lnTo>
                    <a:pt x="86932" y="123646"/>
                  </a:lnTo>
                  <a:lnTo>
                    <a:pt x="86932" y="104965"/>
                  </a:lnTo>
                  <a:lnTo>
                    <a:pt x="94459" y="97417"/>
                  </a:lnTo>
                  <a:lnTo>
                    <a:pt x="103785" y="97417"/>
                  </a:lnTo>
                  <a:lnTo>
                    <a:pt x="163467" y="90097"/>
                  </a:lnTo>
                  <a:lnTo>
                    <a:pt x="175596" y="38935"/>
                  </a:lnTo>
                  <a:lnTo>
                    <a:pt x="181704" y="22086"/>
                  </a:lnTo>
                  <a:lnTo>
                    <a:pt x="191903" y="8419"/>
                  </a:lnTo>
                  <a:lnTo>
                    <a:pt x="208501" y="0"/>
                  </a:lnTo>
                  <a:lnTo>
                    <a:pt x="242378" y="3804"/>
                  </a:lnTo>
                  <a:lnTo>
                    <a:pt x="264682" y="28185"/>
                  </a:lnTo>
                  <a:lnTo>
                    <a:pt x="277649" y="62402"/>
                  </a:lnTo>
                  <a:lnTo>
                    <a:pt x="283515" y="95714"/>
                  </a:lnTo>
                  <a:lnTo>
                    <a:pt x="284935" y="132755"/>
                  </a:lnTo>
                  <a:lnTo>
                    <a:pt x="282086" y="169781"/>
                  </a:lnTo>
                  <a:lnTo>
                    <a:pt x="267220" y="242514"/>
                  </a:lnTo>
                  <a:lnTo>
                    <a:pt x="242054" y="273190"/>
                  </a:lnTo>
                  <a:lnTo>
                    <a:pt x="226570" y="278832"/>
                  </a:lnTo>
                  <a:lnTo>
                    <a:pt x="83866" y="268565"/>
                  </a:lnTo>
                  <a:lnTo>
                    <a:pt x="48969" y="367914"/>
                  </a:lnTo>
                  <a:lnTo>
                    <a:pt x="44109" y="376191"/>
                  </a:lnTo>
                  <a:lnTo>
                    <a:pt x="36773" y="381959"/>
                  </a:lnTo>
                  <a:lnTo>
                    <a:pt x="27850" y="384701"/>
                  </a:lnTo>
                  <a:close/>
                </a:path>
              </a:pathLst>
            </a:custGeom>
            <a:solidFill>
              <a:srgbClr val="21408B"/>
            </a:solidFill>
          </p:spPr>
          <p:txBody>
            <a:bodyPr wrap="square" lIns="0" tIns="0" rIns="0" bIns="0" rtlCol="0"/>
            <a:lstStyle/>
            <a:p>
              <a:endParaRPr/>
            </a:p>
          </p:txBody>
        </p:sp>
        <p:pic>
          <p:nvPicPr>
            <p:cNvPr id="55" name="object 55"/>
            <p:cNvPicPr/>
            <p:nvPr/>
          </p:nvPicPr>
          <p:blipFill>
            <a:blip r:embed="rId9" cstate="print"/>
            <a:stretch>
              <a:fillRect/>
            </a:stretch>
          </p:blipFill>
          <p:spPr>
            <a:xfrm>
              <a:off x="6793083" y="4961854"/>
              <a:ext cx="368744" cy="252021"/>
            </a:xfrm>
            <a:prstGeom prst="rect">
              <a:avLst/>
            </a:prstGeom>
          </p:spPr>
        </p:pic>
      </p:grpSp>
      <p:sp>
        <p:nvSpPr>
          <p:cNvPr id="56" name="object 56"/>
          <p:cNvSpPr txBox="1"/>
          <p:nvPr/>
        </p:nvSpPr>
        <p:spPr>
          <a:xfrm>
            <a:off x="7543142" y="5268757"/>
            <a:ext cx="1035050" cy="284480"/>
          </a:xfrm>
          <a:prstGeom prst="rect">
            <a:avLst/>
          </a:prstGeom>
        </p:spPr>
        <p:txBody>
          <a:bodyPr vert="horz" wrap="square" lIns="0" tIns="12700" rIns="0" bIns="0" rtlCol="0">
            <a:spAutoFit/>
          </a:bodyPr>
          <a:lstStyle/>
          <a:p>
            <a:pPr marL="12700">
              <a:lnSpc>
                <a:spcPct val="100000"/>
              </a:lnSpc>
              <a:spcBef>
                <a:spcPts val="100"/>
              </a:spcBef>
            </a:pPr>
            <a:r>
              <a:rPr sz="1700" b="1" spc="-10" dirty="0">
                <a:solidFill>
                  <a:srgbClr val="21408B"/>
                </a:solidFill>
                <a:latin typeface="Roboto"/>
                <a:cs typeface="Roboto"/>
              </a:rPr>
              <a:t>Roadshow</a:t>
            </a:r>
            <a:endParaRPr sz="1700">
              <a:latin typeface="Roboto"/>
              <a:cs typeface="Roboto"/>
            </a:endParaRPr>
          </a:p>
        </p:txBody>
      </p:sp>
      <p:sp>
        <p:nvSpPr>
          <p:cNvPr id="57" name="object 57"/>
          <p:cNvSpPr txBox="1"/>
          <p:nvPr/>
        </p:nvSpPr>
        <p:spPr>
          <a:xfrm>
            <a:off x="5942875" y="3524794"/>
            <a:ext cx="523875" cy="3546475"/>
          </a:xfrm>
          <a:prstGeom prst="rect">
            <a:avLst/>
          </a:prstGeom>
        </p:spPr>
        <p:txBody>
          <a:bodyPr vert="horz" wrap="square" lIns="0" tIns="185420" rIns="0" bIns="0" rtlCol="0">
            <a:spAutoFit/>
          </a:bodyPr>
          <a:lstStyle/>
          <a:p>
            <a:pPr marL="26034">
              <a:lnSpc>
                <a:spcPct val="100000"/>
              </a:lnSpc>
              <a:spcBef>
                <a:spcPts val="1460"/>
              </a:spcBef>
            </a:pPr>
            <a:r>
              <a:rPr sz="6500" b="1" spc="5" dirty="0">
                <a:solidFill>
                  <a:srgbClr val="F5A316"/>
                </a:solidFill>
                <a:latin typeface="OpenSans-ExtraBold"/>
                <a:cs typeface="OpenSans-ExtraBold"/>
              </a:rPr>
              <a:t>2</a:t>
            </a:r>
            <a:endParaRPr sz="6500">
              <a:latin typeface="OpenSans-ExtraBold"/>
              <a:cs typeface="OpenSans-ExtraBold"/>
            </a:endParaRPr>
          </a:p>
          <a:p>
            <a:pPr marL="12700">
              <a:lnSpc>
                <a:spcPct val="100000"/>
              </a:lnSpc>
              <a:spcBef>
                <a:spcPts val="1370"/>
              </a:spcBef>
            </a:pPr>
            <a:r>
              <a:rPr sz="6500" b="1" spc="5" dirty="0">
                <a:solidFill>
                  <a:srgbClr val="F5A316"/>
                </a:solidFill>
                <a:latin typeface="OpenSans-ExtraBold"/>
                <a:cs typeface="OpenSans-ExtraBold"/>
              </a:rPr>
              <a:t>1</a:t>
            </a:r>
            <a:endParaRPr sz="6500">
              <a:latin typeface="OpenSans-ExtraBold"/>
              <a:cs typeface="OpenSans-ExtraBold"/>
            </a:endParaRPr>
          </a:p>
          <a:p>
            <a:pPr marL="19050">
              <a:lnSpc>
                <a:spcPct val="100000"/>
              </a:lnSpc>
              <a:spcBef>
                <a:spcPts val="1590"/>
              </a:spcBef>
            </a:pPr>
            <a:r>
              <a:rPr sz="6500" b="1" dirty="0">
                <a:solidFill>
                  <a:srgbClr val="F5A316"/>
                </a:solidFill>
                <a:latin typeface="OpenSans-ExtraBold"/>
                <a:cs typeface="OpenSans-ExtraBold"/>
              </a:rPr>
              <a:t>1</a:t>
            </a:r>
            <a:endParaRPr sz="6500">
              <a:latin typeface="OpenSans-ExtraBold"/>
              <a:cs typeface="OpenSans-ExtraBold"/>
            </a:endParaRPr>
          </a:p>
        </p:txBody>
      </p:sp>
      <p:sp>
        <p:nvSpPr>
          <p:cNvPr id="58" name="object 58"/>
          <p:cNvSpPr/>
          <p:nvPr/>
        </p:nvSpPr>
        <p:spPr>
          <a:xfrm>
            <a:off x="12437164" y="4613182"/>
            <a:ext cx="655320" cy="675005"/>
          </a:xfrm>
          <a:custGeom>
            <a:avLst/>
            <a:gdLst/>
            <a:ahLst/>
            <a:cxnLst/>
            <a:rect l="l" t="t" r="r" b="b"/>
            <a:pathLst>
              <a:path w="655319" h="675004">
                <a:moveTo>
                  <a:pt x="185278" y="174986"/>
                </a:moveTo>
                <a:lnTo>
                  <a:pt x="161756" y="174986"/>
                </a:lnTo>
                <a:lnTo>
                  <a:pt x="170483" y="128048"/>
                </a:lnTo>
                <a:lnTo>
                  <a:pt x="188576" y="86130"/>
                </a:lnTo>
                <a:lnTo>
                  <a:pt x="214679" y="50799"/>
                </a:lnTo>
                <a:lnTo>
                  <a:pt x="247441" y="23622"/>
                </a:lnTo>
                <a:lnTo>
                  <a:pt x="285508" y="6166"/>
                </a:lnTo>
                <a:lnTo>
                  <a:pt x="327526" y="0"/>
                </a:lnTo>
                <a:lnTo>
                  <a:pt x="369544" y="6166"/>
                </a:lnTo>
                <a:lnTo>
                  <a:pt x="407611" y="23622"/>
                </a:lnTo>
                <a:lnTo>
                  <a:pt x="411562" y="26899"/>
                </a:lnTo>
                <a:lnTo>
                  <a:pt x="327620" y="26899"/>
                </a:lnTo>
                <a:lnTo>
                  <a:pt x="285038" y="34328"/>
                </a:lnTo>
                <a:lnTo>
                  <a:pt x="247542" y="55110"/>
                </a:lnTo>
                <a:lnTo>
                  <a:pt x="217102" y="86985"/>
                </a:lnTo>
                <a:lnTo>
                  <a:pt x="195690" y="127697"/>
                </a:lnTo>
                <a:lnTo>
                  <a:pt x="185278" y="174986"/>
                </a:lnTo>
                <a:close/>
              </a:path>
              <a:path w="655319" h="675004">
                <a:moveTo>
                  <a:pt x="493296" y="174986"/>
                </a:moveTo>
                <a:lnTo>
                  <a:pt x="469962" y="174986"/>
                </a:lnTo>
                <a:lnTo>
                  <a:pt x="459549" y="127697"/>
                </a:lnTo>
                <a:lnTo>
                  <a:pt x="438137" y="86985"/>
                </a:lnTo>
                <a:lnTo>
                  <a:pt x="407697" y="55110"/>
                </a:lnTo>
                <a:lnTo>
                  <a:pt x="370201" y="34328"/>
                </a:lnTo>
                <a:lnTo>
                  <a:pt x="327620" y="26899"/>
                </a:lnTo>
                <a:lnTo>
                  <a:pt x="411562" y="26899"/>
                </a:lnTo>
                <a:lnTo>
                  <a:pt x="440373" y="50799"/>
                </a:lnTo>
                <a:lnTo>
                  <a:pt x="466477" y="86130"/>
                </a:lnTo>
                <a:lnTo>
                  <a:pt x="484569" y="128048"/>
                </a:lnTo>
                <a:lnTo>
                  <a:pt x="493296" y="174986"/>
                </a:lnTo>
                <a:close/>
              </a:path>
              <a:path w="655319" h="675004">
                <a:moveTo>
                  <a:pt x="654960" y="674827"/>
                </a:moveTo>
                <a:lnTo>
                  <a:pt x="0" y="674827"/>
                </a:lnTo>
                <a:lnTo>
                  <a:pt x="56003" y="174986"/>
                </a:lnTo>
                <a:lnTo>
                  <a:pt x="598956" y="174986"/>
                </a:lnTo>
                <a:lnTo>
                  <a:pt x="610445" y="277522"/>
                </a:lnTo>
                <a:lnTo>
                  <a:pt x="154756" y="277522"/>
                </a:lnTo>
                <a:lnTo>
                  <a:pt x="160712" y="323150"/>
                </a:lnTo>
                <a:lnTo>
                  <a:pt x="177513" y="364177"/>
                </a:lnTo>
                <a:lnTo>
                  <a:pt x="203560" y="398956"/>
                </a:lnTo>
                <a:lnTo>
                  <a:pt x="237254" y="425838"/>
                </a:lnTo>
                <a:lnTo>
                  <a:pt x="276993" y="443176"/>
                </a:lnTo>
                <a:lnTo>
                  <a:pt x="321179" y="449322"/>
                </a:lnTo>
                <a:lnTo>
                  <a:pt x="629693" y="449322"/>
                </a:lnTo>
                <a:lnTo>
                  <a:pt x="654960" y="674827"/>
                </a:lnTo>
                <a:close/>
              </a:path>
              <a:path w="655319" h="675004">
                <a:moveTo>
                  <a:pt x="321273" y="425234"/>
                </a:moveTo>
                <a:lnTo>
                  <a:pt x="276105" y="417691"/>
                </a:lnTo>
                <a:lnTo>
                  <a:pt x="236833" y="396697"/>
                </a:lnTo>
                <a:lnTo>
                  <a:pt x="205836" y="364702"/>
                </a:lnTo>
                <a:lnTo>
                  <a:pt x="185493" y="324160"/>
                </a:lnTo>
                <a:lnTo>
                  <a:pt x="178184" y="277522"/>
                </a:lnTo>
                <a:lnTo>
                  <a:pt x="464361" y="277522"/>
                </a:lnTo>
                <a:lnTo>
                  <a:pt x="457052" y="324160"/>
                </a:lnTo>
                <a:lnTo>
                  <a:pt x="436709" y="364702"/>
                </a:lnTo>
                <a:lnTo>
                  <a:pt x="405712" y="396697"/>
                </a:lnTo>
                <a:lnTo>
                  <a:pt x="366440" y="417691"/>
                </a:lnTo>
                <a:lnTo>
                  <a:pt x="321273" y="425234"/>
                </a:lnTo>
                <a:close/>
              </a:path>
              <a:path w="655319" h="675004">
                <a:moveTo>
                  <a:pt x="629693" y="449322"/>
                </a:moveTo>
                <a:lnTo>
                  <a:pt x="321366" y="449322"/>
                </a:lnTo>
                <a:lnTo>
                  <a:pt x="365552" y="443176"/>
                </a:lnTo>
                <a:lnTo>
                  <a:pt x="405292" y="425838"/>
                </a:lnTo>
                <a:lnTo>
                  <a:pt x="438985" y="398956"/>
                </a:lnTo>
                <a:lnTo>
                  <a:pt x="465032" y="364177"/>
                </a:lnTo>
                <a:lnTo>
                  <a:pt x="481833" y="323150"/>
                </a:lnTo>
                <a:lnTo>
                  <a:pt x="487789" y="277522"/>
                </a:lnTo>
                <a:lnTo>
                  <a:pt x="610445" y="277522"/>
                </a:lnTo>
                <a:lnTo>
                  <a:pt x="629693" y="449322"/>
                </a:lnTo>
                <a:close/>
              </a:path>
            </a:pathLst>
          </a:custGeom>
          <a:solidFill>
            <a:srgbClr val="21408B"/>
          </a:solidFill>
        </p:spPr>
        <p:txBody>
          <a:bodyPr wrap="square" lIns="0" tIns="0" rIns="0" bIns="0" rtlCol="0"/>
          <a:lstStyle/>
          <a:p>
            <a:endParaRPr/>
          </a:p>
        </p:txBody>
      </p:sp>
      <p:grpSp>
        <p:nvGrpSpPr>
          <p:cNvPr id="59" name="object 59"/>
          <p:cNvGrpSpPr/>
          <p:nvPr/>
        </p:nvGrpSpPr>
        <p:grpSpPr>
          <a:xfrm>
            <a:off x="14650132" y="1841742"/>
            <a:ext cx="733425" cy="523875"/>
            <a:chOff x="14650132" y="1841742"/>
            <a:chExt cx="733425" cy="523875"/>
          </a:xfrm>
        </p:grpSpPr>
        <p:sp>
          <p:nvSpPr>
            <p:cNvPr id="60" name="object 60"/>
            <p:cNvSpPr/>
            <p:nvPr/>
          </p:nvSpPr>
          <p:spPr>
            <a:xfrm>
              <a:off x="14650132" y="1841742"/>
              <a:ext cx="733425" cy="523875"/>
            </a:xfrm>
            <a:custGeom>
              <a:avLst/>
              <a:gdLst/>
              <a:ahLst/>
              <a:cxnLst/>
              <a:rect l="l" t="t" r="r" b="b"/>
              <a:pathLst>
                <a:path w="733425" h="523875">
                  <a:moveTo>
                    <a:pt x="651933" y="523612"/>
                  </a:moveTo>
                  <a:lnTo>
                    <a:pt x="81491" y="523612"/>
                  </a:lnTo>
                  <a:lnTo>
                    <a:pt x="49772" y="517281"/>
                  </a:lnTo>
                  <a:lnTo>
                    <a:pt x="23869" y="500017"/>
                  </a:lnTo>
                  <a:lnTo>
                    <a:pt x="6404" y="474411"/>
                  </a:lnTo>
                  <a:lnTo>
                    <a:pt x="0" y="443056"/>
                  </a:lnTo>
                  <a:lnTo>
                    <a:pt x="0" y="80555"/>
                  </a:lnTo>
                  <a:lnTo>
                    <a:pt x="6404" y="49200"/>
                  </a:lnTo>
                  <a:lnTo>
                    <a:pt x="23869" y="23595"/>
                  </a:lnTo>
                  <a:lnTo>
                    <a:pt x="49772" y="6330"/>
                  </a:lnTo>
                  <a:lnTo>
                    <a:pt x="81491" y="0"/>
                  </a:lnTo>
                  <a:lnTo>
                    <a:pt x="651933" y="0"/>
                  </a:lnTo>
                  <a:lnTo>
                    <a:pt x="683652" y="6330"/>
                  </a:lnTo>
                  <a:lnTo>
                    <a:pt x="709555" y="23595"/>
                  </a:lnTo>
                  <a:lnTo>
                    <a:pt x="727020" y="49200"/>
                  </a:lnTo>
                  <a:lnTo>
                    <a:pt x="733424" y="80555"/>
                  </a:lnTo>
                  <a:lnTo>
                    <a:pt x="733424" y="443056"/>
                  </a:lnTo>
                  <a:lnTo>
                    <a:pt x="727020" y="474411"/>
                  </a:lnTo>
                  <a:lnTo>
                    <a:pt x="709555" y="500017"/>
                  </a:lnTo>
                  <a:lnTo>
                    <a:pt x="683652" y="517281"/>
                  </a:lnTo>
                  <a:lnTo>
                    <a:pt x="651933" y="523612"/>
                  </a:lnTo>
                  <a:close/>
                </a:path>
              </a:pathLst>
            </a:custGeom>
            <a:solidFill>
              <a:srgbClr val="74AADA"/>
            </a:solidFill>
          </p:spPr>
          <p:txBody>
            <a:bodyPr wrap="square" lIns="0" tIns="0" rIns="0" bIns="0" rtlCol="0"/>
            <a:lstStyle/>
            <a:p>
              <a:endParaRPr/>
            </a:p>
          </p:txBody>
        </p:sp>
        <p:sp>
          <p:nvSpPr>
            <p:cNvPr id="61" name="object 61"/>
            <p:cNvSpPr/>
            <p:nvPr/>
          </p:nvSpPr>
          <p:spPr>
            <a:xfrm>
              <a:off x="14650132" y="2002853"/>
              <a:ext cx="733425" cy="201930"/>
            </a:xfrm>
            <a:custGeom>
              <a:avLst/>
              <a:gdLst/>
              <a:ahLst/>
              <a:cxnLst/>
              <a:rect l="l" t="t" r="r" b="b"/>
              <a:pathLst>
                <a:path w="733425" h="201930">
                  <a:moveTo>
                    <a:pt x="733424" y="201389"/>
                  </a:moveTo>
                  <a:lnTo>
                    <a:pt x="0" y="201389"/>
                  </a:lnTo>
                  <a:lnTo>
                    <a:pt x="0" y="0"/>
                  </a:lnTo>
                  <a:lnTo>
                    <a:pt x="733424" y="0"/>
                  </a:lnTo>
                  <a:lnTo>
                    <a:pt x="733424" y="201389"/>
                  </a:lnTo>
                  <a:close/>
                </a:path>
              </a:pathLst>
            </a:custGeom>
            <a:solidFill>
              <a:srgbClr val="EDEDED"/>
            </a:solidFill>
          </p:spPr>
          <p:txBody>
            <a:bodyPr wrap="square" lIns="0" tIns="0" rIns="0" bIns="0" rtlCol="0"/>
            <a:lstStyle/>
            <a:p>
              <a:endParaRPr/>
            </a:p>
          </p:txBody>
        </p:sp>
        <p:pic>
          <p:nvPicPr>
            <p:cNvPr id="62" name="object 62"/>
            <p:cNvPicPr/>
            <p:nvPr/>
          </p:nvPicPr>
          <p:blipFill>
            <a:blip r:embed="rId10" cstate="print"/>
            <a:stretch>
              <a:fillRect/>
            </a:stretch>
          </p:blipFill>
          <p:spPr>
            <a:xfrm>
              <a:off x="14914980" y="2002853"/>
              <a:ext cx="203729" cy="201389"/>
            </a:xfrm>
            <a:prstGeom prst="rect">
              <a:avLst/>
            </a:prstGeom>
          </p:spPr>
        </p:pic>
      </p:grpSp>
      <p:grpSp>
        <p:nvGrpSpPr>
          <p:cNvPr id="63" name="object 63"/>
          <p:cNvGrpSpPr/>
          <p:nvPr/>
        </p:nvGrpSpPr>
        <p:grpSpPr>
          <a:xfrm>
            <a:off x="15799486" y="1847707"/>
            <a:ext cx="733425" cy="533400"/>
            <a:chOff x="15799486" y="1847707"/>
            <a:chExt cx="733425" cy="533400"/>
          </a:xfrm>
        </p:grpSpPr>
        <p:sp>
          <p:nvSpPr>
            <p:cNvPr id="64" name="object 64"/>
            <p:cNvSpPr/>
            <p:nvPr/>
          </p:nvSpPr>
          <p:spPr>
            <a:xfrm>
              <a:off x="15799486" y="1847707"/>
              <a:ext cx="733425" cy="533400"/>
            </a:xfrm>
            <a:custGeom>
              <a:avLst/>
              <a:gdLst/>
              <a:ahLst/>
              <a:cxnLst/>
              <a:rect l="l" t="t" r="r" b="b"/>
              <a:pathLst>
                <a:path w="733425" h="533400">
                  <a:moveTo>
                    <a:pt x="651933" y="533233"/>
                  </a:moveTo>
                  <a:lnTo>
                    <a:pt x="81491" y="533233"/>
                  </a:lnTo>
                  <a:lnTo>
                    <a:pt x="49772" y="526786"/>
                  </a:lnTo>
                  <a:lnTo>
                    <a:pt x="23869" y="509204"/>
                  </a:lnTo>
                  <a:lnTo>
                    <a:pt x="6404" y="483128"/>
                  </a:lnTo>
                  <a:lnTo>
                    <a:pt x="0" y="451197"/>
                  </a:lnTo>
                  <a:lnTo>
                    <a:pt x="0" y="82035"/>
                  </a:lnTo>
                  <a:lnTo>
                    <a:pt x="6404" y="50105"/>
                  </a:lnTo>
                  <a:lnTo>
                    <a:pt x="23869" y="24028"/>
                  </a:lnTo>
                  <a:lnTo>
                    <a:pt x="49772" y="6447"/>
                  </a:lnTo>
                  <a:lnTo>
                    <a:pt x="81491" y="0"/>
                  </a:lnTo>
                  <a:lnTo>
                    <a:pt x="651933" y="0"/>
                  </a:lnTo>
                  <a:lnTo>
                    <a:pt x="683652" y="6447"/>
                  </a:lnTo>
                  <a:lnTo>
                    <a:pt x="709555" y="24028"/>
                  </a:lnTo>
                  <a:lnTo>
                    <a:pt x="727020" y="50105"/>
                  </a:lnTo>
                  <a:lnTo>
                    <a:pt x="733424" y="82035"/>
                  </a:lnTo>
                  <a:lnTo>
                    <a:pt x="733424" y="451197"/>
                  </a:lnTo>
                  <a:lnTo>
                    <a:pt x="727020" y="483128"/>
                  </a:lnTo>
                  <a:lnTo>
                    <a:pt x="709555" y="509204"/>
                  </a:lnTo>
                  <a:lnTo>
                    <a:pt x="683652" y="526786"/>
                  </a:lnTo>
                  <a:lnTo>
                    <a:pt x="651933" y="533233"/>
                  </a:lnTo>
                  <a:close/>
                </a:path>
              </a:pathLst>
            </a:custGeom>
            <a:solidFill>
              <a:srgbClr val="009A3A"/>
            </a:solidFill>
          </p:spPr>
          <p:txBody>
            <a:bodyPr wrap="square" lIns="0" tIns="0" rIns="0" bIns="0" rtlCol="0"/>
            <a:lstStyle/>
            <a:p>
              <a:endParaRPr/>
            </a:p>
          </p:txBody>
        </p:sp>
        <p:sp>
          <p:nvSpPr>
            <p:cNvPr id="65" name="object 65"/>
            <p:cNvSpPr/>
            <p:nvPr/>
          </p:nvSpPr>
          <p:spPr>
            <a:xfrm>
              <a:off x="15866146" y="1886161"/>
              <a:ext cx="600710" cy="456565"/>
            </a:xfrm>
            <a:custGeom>
              <a:avLst/>
              <a:gdLst/>
              <a:ahLst/>
              <a:cxnLst/>
              <a:rect l="l" t="t" r="r" b="b"/>
              <a:pathLst>
                <a:path w="600709" h="456564">
                  <a:moveTo>
                    <a:pt x="300052" y="456304"/>
                  </a:moveTo>
                  <a:lnTo>
                    <a:pt x="0" y="228162"/>
                  </a:lnTo>
                  <a:lnTo>
                    <a:pt x="300052" y="0"/>
                  </a:lnTo>
                  <a:lnTo>
                    <a:pt x="600104" y="228162"/>
                  </a:lnTo>
                  <a:lnTo>
                    <a:pt x="300052" y="456304"/>
                  </a:lnTo>
                  <a:close/>
                </a:path>
              </a:pathLst>
            </a:custGeom>
            <a:solidFill>
              <a:srgbClr val="FEDE00"/>
            </a:solidFill>
          </p:spPr>
          <p:txBody>
            <a:bodyPr wrap="square" lIns="0" tIns="0" rIns="0" bIns="0" rtlCol="0"/>
            <a:lstStyle/>
            <a:p>
              <a:endParaRPr/>
            </a:p>
          </p:txBody>
        </p:sp>
        <p:sp>
          <p:nvSpPr>
            <p:cNvPr id="66" name="object 66"/>
            <p:cNvSpPr/>
            <p:nvPr/>
          </p:nvSpPr>
          <p:spPr>
            <a:xfrm>
              <a:off x="16034142" y="1980318"/>
              <a:ext cx="263525" cy="265430"/>
            </a:xfrm>
            <a:custGeom>
              <a:avLst/>
              <a:gdLst/>
              <a:ahLst/>
              <a:cxnLst/>
              <a:rect l="l" t="t" r="r" b="b"/>
              <a:pathLst>
                <a:path w="263525" h="265430">
                  <a:moveTo>
                    <a:pt x="131568" y="264894"/>
                  </a:moveTo>
                  <a:lnTo>
                    <a:pt x="93375" y="259192"/>
                  </a:lnTo>
                  <a:lnTo>
                    <a:pt x="58472" y="242572"/>
                  </a:lnTo>
                  <a:lnTo>
                    <a:pt x="29863" y="216471"/>
                  </a:lnTo>
                  <a:lnTo>
                    <a:pt x="10015" y="183132"/>
                  </a:lnTo>
                  <a:lnTo>
                    <a:pt x="632" y="145429"/>
                  </a:lnTo>
                  <a:lnTo>
                    <a:pt x="0" y="132447"/>
                  </a:lnTo>
                  <a:lnTo>
                    <a:pt x="632" y="119464"/>
                  </a:lnTo>
                  <a:lnTo>
                    <a:pt x="10015" y="81761"/>
                  </a:lnTo>
                  <a:lnTo>
                    <a:pt x="29863" y="48422"/>
                  </a:lnTo>
                  <a:lnTo>
                    <a:pt x="58472" y="22321"/>
                  </a:lnTo>
                  <a:lnTo>
                    <a:pt x="93375" y="5701"/>
                  </a:lnTo>
                  <a:lnTo>
                    <a:pt x="131568" y="0"/>
                  </a:lnTo>
                  <a:lnTo>
                    <a:pt x="144464" y="636"/>
                  </a:lnTo>
                  <a:lnTo>
                    <a:pt x="181917" y="10081"/>
                  </a:lnTo>
                  <a:lnTo>
                    <a:pt x="215035" y="30062"/>
                  </a:lnTo>
                  <a:lnTo>
                    <a:pt x="240963" y="58863"/>
                  </a:lnTo>
                  <a:lnTo>
                    <a:pt x="257472" y="93999"/>
                  </a:lnTo>
                  <a:lnTo>
                    <a:pt x="263136" y="132447"/>
                  </a:lnTo>
                  <a:lnTo>
                    <a:pt x="262504" y="145429"/>
                  </a:lnTo>
                  <a:lnTo>
                    <a:pt x="253121" y="183132"/>
                  </a:lnTo>
                  <a:lnTo>
                    <a:pt x="233273" y="216471"/>
                  </a:lnTo>
                  <a:lnTo>
                    <a:pt x="204663" y="242572"/>
                  </a:lnTo>
                  <a:lnTo>
                    <a:pt x="169760" y="259192"/>
                  </a:lnTo>
                  <a:lnTo>
                    <a:pt x="131568" y="264894"/>
                  </a:lnTo>
                  <a:close/>
                </a:path>
              </a:pathLst>
            </a:custGeom>
            <a:solidFill>
              <a:srgbClr val="002675"/>
            </a:solidFill>
          </p:spPr>
          <p:txBody>
            <a:bodyPr wrap="square" lIns="0" tIns="0" rIns="0" bIns="0" rtlCol="0"/>
            <a:lstStyle/>
            <a:p>
              <a:endParaRPr/>
            </a:p>
          </p:txBody>
        </p:sp>
        <p:sp>
          <p:nvSpPr>
            <p:cNvPr id="67" name="object 67"/>
            <p:cNvSpPr/>
            <p:nvPr/>
          </p:nvSpPr>
          <p:spPr>
            <a:xfrm>
              <a:off x="16035914" y="2050479"/>
              <a:ext cx="257810" cy="135890"/>
            </a:xfrm>
            <a:custGeom>
              <a:avLst/>
              <a:gdLst/>
              <a:ahLst/>
              <a:cxnLst/>
              <a:rect l="l" t="t" r="r" b="b"/>
              <a:pathLst>
                <a:path w="257809" h="135889">
                  <a:moveTo>
                    <a:pt x="239259" y="135728"/>
                  </a:moveTo>
                  <a:lnTo>
                    <a:pt x="203985" y="104061"/>
                  </a:lnTo>
                  <a:lnTo>
                    <a:pt x="158000" y="76886"/>
                  </a:lnTo>
                  <a:lnTo>
                    <a:pt x="105726" y="56120"/>
                  </a:lnTo>
                  <a:lnTo>
                    <a:pt x="51585" y="43682"/>
                  </a:lnTo>
                  <a:lnTo>
                    <a:pt x="0" y="41489"/>
                  </a:lnTo>
                  <a:lnTo>
                    <a:pt x="2167" y="30568"/>
                  </a:lnTo>
                  <a:lnTo>
                    <a:pt x="5179" y="19983"/>
                  </a:lnTo>
                  <a:lnTo>
                    <a:pt x="9024" y="9779"/>
                  </a:lnTo>
                  <a:lnTo>
                    <a:pt x="13690" y="0"/>
                  </a:lnTo>
                  <a:lnTo>
                    <a:pt x="64993" y="4186"/>
                  </a:lnTo>
                  <a:lnTo>
                    <a:pt x="118110" y="16581"/>
                  </a:lnTo>
                  <a:lnTo>
                    <a:pt x="169932" y="36346"/>
                  </a:lnTo>
                  <a:lnTo>
                    <a:pt x="217348" y="62641"/>
                  </a:lnTo>
                  <a:lnTo>
                    <a:pt x="257248" y="94628"/>
                  </a:lnTo>
                  <a:lnTo>
                    <a:pt x="254016" y="105572"/>
                  </a:lnTo>
                  <a:lnTo>
                    <a:pt x="249927" y="116101"/>
                  </a:lnTo>
                  <a:lnTo>
                    <a:pt x="245001" y="126168"/>
                  </a:lnTo>
                  <a:lnTo>
                    <a:pt x="239259" y="135728"/>
                  </a:lnTo>
                  <a:close/>
                </a:path>
              </a:pathLst>
            </a:custGeom>
            <a:solidFill>
              <a:srgbClr val="CBE8D4"/>
            </a:solidFill>
          </p:spPr>
          <p:txBody>
            <a:bodyPr wrap="square" lIns="0" tIns="0" rIns="0" bIns="0" rtlCol="0"/>
            <a:lstStyle/>
            <a:p>
              <a:endParaRPr/>
            </a:p>
          </p:txBody>
        </p:sp>
        <p:sp>
          <p:nvSpPr>
            <p:cNvPr id="68" name="object 68"/>
            <p:cNvSpPr/>
            <p:nvPr/>
          </p:nvSpPr>
          <p:spPr>
            <a:xfrm>
              <a:off x="16043961" y="2119103"/>
              <a:ext cx="41275" cy="61594"/>
            </a:xfrm>
            <a:custGeom>
              <a:avLst/>
              <a:gdLst/>
              <a:ahLst/>
              <a:cxnLst/>
              <a:rect l="l" t="t" r="r" b="b"/>
              <a:pathLst>
                <a:path w="41275" h="61594">
                  <a:moveTo>
                    <a:pt x="20372" y="20508"/>
                  </a:moveTo>
                  <a:lnTo>
                    <a:pt x="0" y="20508"/>
                  </a:lnTo>
                  <a:lnTo>
                    <a:pt x="0" y="0"/>
                  </a:lnTo>
                  <a:lnTo>
                    <a:pt x="20372" y="0"/>
                  </a:lnTo>
                  <a:lnTo>
                    <a:pt x="20372" y="20508"/>
                  </a:lnTo>
                  <a:close/>
                </a:path>
                <a:path w="41275" h="61594">
                  <a:moveTo>
                    <a:pt x="40745" y="61526"/>
                  </a:moveTo>
                  <a:lnTo>
                    <a:pt x="20372" y="61526"/>
                  </a:lnTo>
                  <a:lnTo>
                    <a:pt x="20372" y="41017"/>
                  </a:lnTo>
                  <a:lnTo>
                    <a:pt x="40745" y="41017"/>
                  </a:lnTo>
                  <a:lnTo>
                    <a:pt x="40745" y="61526"/>
                  </a:lnTo>
                  <a:close/>
                </a:path>
              </a:pathLst>
            </a:custGeom>
            <a:solidFill>
              <a:srgbClr val="87C8F9"/>
            </a:solidFill>
          </p:spPr>
          <p:txBody>
            <a:bodyPr wrap="square" lIns="0" tIns="0" rIns="0" bIns="0" rtlCol="0"/>
            <a:lstStyle/>
            <a:p>
              <a:endParaRPr/>
            </a:p>
          </p:txBody>
        </p:sp>
        <p:sp>
          <p:nvSpPr>
            <p:cNvPr id="69" name="object 69"/>
            <p:cNvSpPr/>
            <p:nvPr/>
          </p:nvSpPr>
          <p:spPr>
            <a:xfrm>
              <a:off x="16105073" y="2078087"/>
              <a:ext cx="142875" cy="144145"/>
            </a:xfrm>
            <a:custGeom>
              <a:avLst/>
              <a:gdLst/>
              <a:ahLst/>
              <a:cxnLst/>
              <a:rect l="l" t="t" r="r" b="b"/>
              <a:pathLst>
                <a:path w="142875" h="144144">
                  <a:moveTo>
                    <a:pt x="20370" y="41021"/>
                  </a:moveTo>
                  <a:lnTo>
                    <a:pt x="0" y="41021"/>
                  </a:lnTo>
                  <a:lnTo>
                    <a:pt x="0" y="61531"/>
                  </a:lnTo>
                  <a:lnTo>
                    <a:pt x="20370" y="61531"/>
                  </a:lnTo>
                  <a:lnTo>
                    <a:pt x="20370" y="41021"/>
                  </a:lnTo>
                  <a:close/>
                </a:path>
                <a:path w="142875" h="144144">
                  <a:moveTo>
                    <a:pt x="61125" y="61531"/>
                  </a:moveTo>
                  <a:lnTo>
                    <a:pt x="40741" y="61531"/>
                  </a:lnTo>
                  <a:lnTo>
                    <a:pt x="40741" y="82042"/>
                  </a:lnTo>
                  <a:lnTo>
                    <a:pt x="61125" y="82042"/>
                  </a:lnTo>
                  <a:lnTo>
                    <a:pt x="61125" y="61531"/>
                  </a:lnTo>
                  <a:close/>
                </a:path>
                <a:path w="142875" h="144144">
                  <a:moveTo>
                    <a:pt x="81495" y="123063"/>
                  </a:moveTo>
                  <a:lnTo>
                    <a:pt x="61125" y="123063"/>
                  </a:lnTo>
                  <a:lnTo>
                    <a:pt x="61125" y="143560"/>
                  </a:lnTo>
                  <a:lnTo>
                    <a:pt x="81495" y="143560"/>
                  </a:lnTo>
                  <a:lnTo>
                    <a:pt x="81495" y="123063"/>
                  </a:lnTo>
                  <a:close/>
                </a:path>
                <a:path w="142875" h="144144">
                  <a:moveTo>
                    <a:pt x="142608" y="102552"/>
                  </a:moveTo>
                  <a:lnTo>
                    <a:pt x="122237" y="102552"/>
                  </a:lnTo>
                  <a:lnTo>
                    <a:pt x="122237" y="123063"/>
                  </a:lnTo>
                  <a:lnTo>
                    <a:pt x="142608" y="123063"/>
                  </a:lnTo>
                  <a:lnTo>
                    <a:pt x="142608" y="102552"/>
                  </a:lnTo>
                  <a:close/>
                </a:path>
                <a:path w="142875" h="144144">
                  <a:moveTo>
                    <a:pt x="142608" y="0"/>
                  </a:moveTo>
                  <a:lnTo>
                    <a:pt x="122237" y="0"/>
                  </a:lnTo>
                  <a:lnTo>
                    <a:pt x="122237" y="20510"/>
                  </a:lnTo>
                  <a:lnTo>
                    <a:pt x="142608" y="20510"/>
                  </a:lnTo>
                  <a:lnTo>
                    <a:pt x="142608" y="0"/>
                  </a:lnTo>
                  <a:close/>
                </a:path>
              </a:pathLst>
            </a:custGeom>
            <a:solidFill>
              <a:srgbClr val="54ABED"/>
            </a:solidFill>
          </p:spPr>
          <p:txBody>
            <a:bodyPr wrap="square" lIns="0" tIns="0" rIns="0" bIns="0" rtlCol="0"/>
            <a:lstStyle/>
            <a:p>
              <a:endParaRPr/>
            </a:p>
          </p:txBody>
        </p:sp>
        <p:sp>
          <p:nvSpPr>
            <p:cNvPr id="70" name="object 70"/>
            <p:cNvSpPr/>
            <p:nvPr/>
          </p:nvSpPr>
          <p:spPr>
            <a:xfrm>
              <a:off x="16186572" y="2160121"/>
              <a:ext cx="20955" cy="20955"/>
            </a:xfrm>
            <a:custGeom>
              <a:avLst/>
              <a:gdLst/>
              <a:ahLst/>
              <a:cxnLst/>
              <a:rect l="l" t="t" r="r" b="b"/>
              <a:pathLst>
                <a:path w="20955" h="20955">
                  <a:moveTo>
                    <a:pt x="20372" y="20508"/>
                  </a:moveTo>
                  <a:lnTo>
                    <a:pt x="0" y="20508"/>
                  </a:lnTo>
                  <a:lnTo>
                    <a:pt x="0" y="0"/>
                  </a:lnTo>
                  <a:lnTo>
                    <a:pt x="20372" y="0"/>
                  </a:lnTo>
                  <a:lnTo>
                    <a:pt x="20372" y="20508"/>
                  </a:lnTo>
                  <a:close/>
                </a:path>
              </a:pathLst>
            </a:custGeom>
            <a:solidFill>
              <a:srgbClr val="3B87C2"/>
            </a:solidFill>
          </p:spPr>
          <p:txBody>
            <a:bodyPr wrap="square" lIns="0" tIns="0" rIns="0" bIns="0" rtlCol="0"/>
            <a:lstStyle/>
            <a:p>
              <a:endParaRPr/>
            </a:p>
          </p:txBody>
        </p:sp>
      </p:grpSp>
      <p:grpSp>
        <p:nvGrpSpPr>
          <p:cNvPr id="71" name="object 71"/>
          <p:cNvGrpSpPr/>
          <p:nvPr/>
        </p:nvGrpSpPr>
        <p:grpSpPr>
          <a:xfrm>
            <a:off x="16879854" y="1836360"/>
            <a:ext cx="733425" cy="533400"/>
            <a:chOff x="16879854" y="1836360"/>
            <a:chExt cx="733425" cy="533400"/>
          </a:xfrm>
        </p:grpSpPr>
        <p:sp>
          <p:nvSpPr>
            <p:cNvPr id="72" name="object 72"/>
            <p:cNvSpPr/>
            <p:nvPr/>
          </p:nvSpPr>
          <p:spPr>
            <a:xfrm>
              <a:off x="16879854" y="1836360"/>
              <a:ext cx="244475" cy="533400"/>
            </a:xfrm>
            <a:custGeom>
              <a:avLst/>
              <a:gdLst/>
              <a:ahLst/>
              <a:cxnLst/>
              <a:rect l="l" t="t" r="r" b="b"/>
              <a:pathLst>
                <a:path w="244475" h="533400">
                  <a:moveTo>
                    <a:pt x="244474" y="533151"/>
                  </a:moveTo>
                  <a:lnTo>
                    <a:pt x="81491" y="533151"/>
                  </a:lnTo>
                  <a:lnTo>
                    <a:pt x="49772" y="526705"/>
                  </a:lnTo>
                  <a:lnTo>
                    <a:pt x="23869" y="509126"/>
                  </a:lnTo>
                  <a:lnTo>
                    <a:pt x="6404" y="483054"/>
                  </a:lnTo>
                  <a:lnTo>
                    <a:pt x="0" y="451128"/>
                  </a:lnTo>
                  <a:lnTo>
                    <a:pt x="0" y="82023"/>
                  </a:lnTo>
                  <a:lnTo>
                    <a:pt x="6404" y="50097"/>
                  </a:lnTo>
                  <a:lnTo>
                    <a:pt x="23869" y="24025"/>
                  </a:lnTo>
                  <a:lnTo>
                    <a:pt x="49772" y="6446"/>
                  </a:lnTo>
                  <a:lnTo>
                    <a:pt x="81491" y="0"/>
                  </a:lnTo>
                  <a:lnTo>
                    <a:pt x="244474" y="0"/>
                  </a:lnTo>
                  <a:lnTo>
                    <a:pt x="244474" y="533151"/>
                  </a:lnTo>
                  <a:close/>
                </a:path>
              </a:pathLst>
            </a:custGeom>
            <a:solidFill>
              <a:srgbClr val="D90F23"/>
            </a:solidFill>
          </p:spPr>
          <p:txBody>
            <a:bodyPr wrap="square" lIns="0" tIns="0" rIns="0" bIns="0" rtlCol="0"/>
            <a:lstStyle/>
            <a:p>
              <a:endParaRPr/>
            </a:p>
          </p:txBody>
        </p:sp>
        <p:sp>
          <p:nvSpPr>
            <p:cNvPr id="73" name="object 73"/>
            <p:cNvSpPr/>
            <p:nvPr/>
          </p:nvSpPr>
          <p:spPr>
            <a:xfrm>
              <a:off x="17124329" y="1836360"/>
              <a:ext cx="244475" cy="533400"/>
            </a:xfrm>
            <a:custGeom>
              <a:avLst/>
              <a:gdLst/>
              <a:ahLst/>
              <a:cxnLst/>
              <a:rect l="l" t="t" r="r" b="b"/>
              <a:pathLst>
                <a:path w="244475" h="533400">
                  <a:moveTo>
                    <a:pt x="244474" y="533151"/>
                  </a:moveTo>
                  <a:lnTo>
                    <a:pt x="0" y="533151"/>
                  </a:lnTo>
                  <a:lnTo>
                    <a:pt x="0" y="0"/>
                  </a:lnTo>
                  <a:lnTo>
                    <a:pt x="244474" y="0"/>
                  </a:lnTo>
                  <a:lnTo>
                    <a:pt x="244474" y="533151"/>
                  </a:lnTo>
                  <a:close/>
                </a:path>
              </a:pathLst>
            </a:custGeom>
            <a:solidFill>
              <a:srgbClr val="EDEDED"/>
            </a:solidFill>
          </p:spPr>
          <p:txBody>
            <a:bodyPr wrap="square" lIns="0" tIns="0" rIns="0" bIns="0" rtlCol="0"/>
            <a:lstStyle/>
            <a:p>
              <a:endParaRPr/>
            </a:p>
          </p:txBody>
        </p:sp>
        <p:sp>
          <p:nvSpPr>
            <p:cNvPr id="74" name="object 74"/>
            <p:cNvSpPr/>
            <p:nvPr/>
          </p:nvSpPr>
          <p:spPr>
            <a:xfrm>
              <a:off x="17368804" y="1836360"/>
              <a:ext cx="244475" cy="533400"/>
            </a:xfrm>
            <a:custGeom>
              <a:avLst/>
              <a:gdLst/>
              <a:ahLst/>
              <a:cxnLst/>
              <a:rect l="l" t="t" r="r" b="b"/>
              <a:pathLst>
                <a:path w="244475" h="533400">
                  <a:moveTo>
                    <a:pt x="162983" y="533151"/>
                  </a:moveTo>
                  <a:lnTo>
                    <a:pt x="0" y="533151"/>
                  </a:lnTo>
                  <a:lnTo>
                    <a:pt x="0" y="0"/>
                  </a:lnTo>
                  <a:lnTo>
                    <a:pt x="162983" y="0"/>
                  </a:lnTo>
                  <a:lnTo>
                    <a:pt x="194702" y="6446"/>
                  </a:lnTo>
                  <a:lnTo>
                    <a:pt x="220605" y="24025"/>
                  </a:lnTo>
                  <a:lnTo>
                    <a:pt x="238070" y="50097"/>
                  </a:lnTo>
                  <a:lnTo>
                    <a:pt x="244474" y="82023"/>
                  </a:lnTo>
                  <a:lnTo>
                    <a:pt x="244474" y="451128"/>
                  </a:lnTo>
                  <a:lnTo>
                    <a:pt x="238070" y="483054"/>
                  </a:lnTo>
                  <a:lnTo>
                    <a:pt x="220605" y="509126"/>
                  </a:lnTo>
                  <a:lnTo>
                    <a:pt x="194702" y="526705"/>
                  </a:lnTo>
                  <a:lnTo>
                    <a:pt x="162983" y="533151"/>
                  </a:lnTo>
                  <a:close/>
                </a:path>
              </a:pathLst>
            </a:custGeom>
            <a:solidFill>
              <a:srgbClr val="D90F23"/>
            </a:solidFill>
          </p:spPr>
          <p:txBody>
            <a:bodyPr wrap="square" lIns="0" tIns="0" rIns="0" bIns="0" rtlCol="0"/>
            <a:lstStyle/>
            <a:p>
              <a:endParaRPr/>
            </a:p>
          </p:txBody>
        </p:sp>
      </p:grpSp>
      <p:pic>
        <p:nvPicPr>
          <p:cNvPr id="75" name="object 75"/>
          <p:cNvPicPr/>
          <p:nvPr/>
        </p:nvPicPr>
        <p:blipFill>
          <a:blip r:embed="rId11" cstate="print"/>
          <a:stretch>
            <a:fillRect/>
          </a:stretch>
        </p:blipFill>
        <p:spPr>
          <a:xfrm>
            <a:off x="12994336" y="6796770"/>
            <a:ext cx="877076" cy="873760"/>
          </a:xfrm>
          <a:prstGeom prst="rect">
            <a:avLst/>
          </a:prstGeom>
        </p:spPr>
      </p:pic>
      <p:sp>
        <p:nvSpPr>
          <p:cNvPr id="76" name="object 76"/>
          <p:cNvSpPr/>
          <p:nvPr/>
        </p:nvSpPr>
        <p:spPr>
          <a:xfrm>
            <a:off x="10057496" y="6795815"/>
            <a:ext cx="721995" cy="876935"/>
          </a:xfrm>
          <a:custGeom>
            <a:avLst/>
            <a:gdLst/>
            <a:ahLst/>
            <a:cxnLst/>
            <a:rect l="l" t="t" r="r" b="b"/>
            <a:pathLst>
              <a:path w="721995" h="876934">
                <a:moveTo>
                  <a:pt x="390868" y="182562"/>
                </a:moveTo>
                <a:lnTo>
                  <a:pt x="378835" y="182562"/>
                </a:lnTo>
                <a:lnTo>
                  <a:pt x="372876" y="181977"/>
                </a:lnTo>
                <a:lnTo>
                  <a:pt x="328941" y="163848"/>
                </a:lnTo>
                <a:lnTo>
                  <a:pt x="302497" y="131750"/>
                </a:lnTo>
                <a:lnTo>
                  <a:pt x="293220" y="97274"/>
                </a:lnTo>
                <a:lnTo>
                  <a:pt x="293220" y="85287"/>
                </a:lnTo>
                <a:lnTo>
                  <a:pt x="305320" y="45551"/>
                </a:lnTo>
                <a:lnTo>
                  <a:pt x="338946" y="12053"/>
                </a:lnTo>
                <a:lnTo>
                  <a:pt x="378835" y="0"/>
                </a:lnTo>
                <a:lnTo>
                  <a:pt x="390868" y="0"/>
                </a:lnTo>
                <a:lnTo>
                  <a:pt x="430756" y="12053"/>
                </a:lnTo>
                <a:lnTo>
                  <a:pt x="464383" y="45551"/>
                </a:lnTo>
                <a:lnTo>
                  <a:pt x="476483" y="85287"/>
                </a:lnTo>
                <a:lnTo>
                  <a:pt x="476483" y="97274"/>
                </a:lnTo>
                <a:lnTo>
                  <a:pt x="464383" y="137010"/>
                </a:lnTo>
                <a:lnTo>
                  <a:pt x="430756" y="170508"/>
                </a:lnTo>
                <a:lnTo>
                  <a:pt x="390868" y="182562"/>
                </a:lnTo>
                <a:close/>
              </a:path>
              <a:path w="721995" h="876934">
                <a:moveTo>
                  <a:pt x="98485" y="511175"/>
                </a:moveTo>
                <a:lnTo>
                  <a:pt x="91631" y="511175"/>
                </a:lnTo>
                <a:lnTo>
                  <a:pt x="55959" y="504003"/>
                </a:lnTo>
                <a:lnTo>
                  <a:pt x="26834" y="484443"/>
                </a:lnTo>
                <a:lnTo>
                  <a:pt x="7199" y="455428"/>
                </a:lnTo>
                <a:lnTo>
                  <a:pt x="0" y="419893"/>
                </a:lnTo>
                <a:lnTo>
                  <a:pt x="0" y="412408"/>
                </a:lnTo>
                <a:lnTo>
                  <a:pt x="39086" y="253662"/>
                </a:lnTo>
                <a:lnTo>
                  <a:pt x="70792" y="202859"/>
                </a:lnTo>
                <a:lnTo>
                  <a:pt x="128283" y="182562"/>
                </a:lnTo>
                <a:lnTo>
                  <a:pt x="139099" y="183260"/>
                </a:lnTo>
                <a:lnTo>
                  <a:pt x="149477" y="185262"/>
                </a:lnTo>
                <a:lnTo>
                  <a:pt x="159388" y="188427"/>
                </a:lnTo>
                <a:lnTo>
                  <a:pt x="168802" y="192617"/>
                </a:lnTo>
                <a:lnTo>
                  <a:pt x="113250" y="460328"/>
                </a:lnTo>
                <a:lnTo>
                  <a:pt x="111823" y="468455"/>
                </a:lnTo>
                <a:lnTo>
                  <a:pt x="110793" y="476609"/>
                </a:lnTo>
                <a:lnTo>
                  <a:pt x="110168" y="484771"/>
                </a:lnTo>
                <a:lnTo>
                  <a:pt x="109957" y="492918"/>
                </a:lnTo>
                <a:lnTo>
                  <a:pt x="109957" y="498286"/>
                </a:lnTo>
                <a:lnTo>
                  <a:pt x="110911" y="503456"/>
                </a:lnTo>
                <a:lnTo>
                  <a:pt x="111461" y="508750"/>
                </a:lnTo>
                <a:lnTo>
                  <a:pt x="105046" y="510174"/>
                </a:lnTo>
                <a:lnTo>
                  <a:pt x="98485" y="511175"/>
                </a:lnTo>
                <a:close/>
              </a:path>
              <a:path w="721995" h="876934">
                <a:moveTo>
                  <a:pt x="696398" y="357351"/>
                </a:moveTo>
                <a:lnTo>
                  <a:pt x="565179" y="357351"/>
                </a:lnTo>
                <a:lnTo>
                  <a:pt x="659746" y="273772"/>
                </a:lnTo>
                <a:lnTo>
                  <a:pt x="659717" y="234860"/>
                </a:lnTo>
                <a:lnTo>
                  <a:pt x="680265" y="218751"/>
                </a:lnTo>
                <a:lnTo>
                  <a:pt x="682655" y="219195"/>
                </a:lnTo>
                <a:lnTo>
                  <a:pt x="696437" y="234860"/>
                </a:lnTo>
                <a:lnTo>
                  <a:pt x="696398" y="266355"/>
                </a:lnTo>
                <a:lnTo>
                  <a:pt x="702262" y="268319"/>
                </a:lnTo>
                <a:lnTo>
                  <a:pt x="707865" y="271191"/>
                </a:lnTo>
                <a:lnTo>
                  <a:pt x="712290" y="276125"/>
                </a:lnTo>
                <a:lnTo>
                  <a:pt x="719598" y="288659"/>
                </a:lnTo>
                <a:lnTo>
                  <a:pt x="721458" y="302535"/>
                </a:lnTo>
                <a:lnTo>
                  <a:pt x="717966" y="316096"/>
                </a:lnTo>
                <a:lnTo>
                  <a:pt x="709212" y="327685"/>
                </a:lnTo>
                <a:lnTo>
                  <a:pt x="696398" y="339024"/>
                </a:lnTo>
                <a:lnTo>
                  <a:pt x="696398" y="357351"/>
                </a:lnTo>
                <a:close/>
              </a:path>
              <a:path w="721995" h="876934">
                <a:moveTo>
                  <a:pt x="435475" y="876305"/>
                </a:moveTo>
                <a:lnTo>
                  <a:pt x="404305" y="849917"/>
                </a:lnTo>
                <a:lnTo>
                  <a:pt x="403607" y="845635"/>
                </a:lnTo>
                <a:lnTo>
                  <a:pt x="400171" y="828448"/>
                </a:lnTo>
                <a:lnTo>
                  <a:pt x="359438" y="675481"/>
                </a:lnTo>
                <a:lnTo>
                  <a:pt x="216765" y="563519"/>
                </a:lnTo>
                <a:lnTo>
                  <a:pt x="216479" y="562663"/>
                </a:lnTo>
                <a:lnTo>
                  <a:pt x="202800" y="548658"/>
                </a:lnTo>
                <a:lnTo>
                  <a:pt x="192325" y="532067"/>
                </a:lnTo>
                <a:lnTo>
                  <a:pt x="185623" y="513337"/>
                </a:lnTo>
                <a:lnTo>
                  <a:pt x="183262" y="492918"/>
                </a:lnTo>
                <a:lnTo>
                  <a:pt x="183262" y="486668"/>
                </a:lnTo>
                <a:lnTo>
                  <a:pt x="183921" y="480560"/>
                </a:lnTo>
                <a:lnTo>
                  <a:pt x="185124" y="474662"/>
                </a:lnTo>
                <a:lnTo>
                  <a:pt x="185175" y="474331"/>
                </a:lnTo>
                <a:lnTo>
                  <a:pt x="221418" y="294239"/>
                </a:lnTo>
                <a:lnTo>
                  <a:pt x="221561" y="294096"/>
                </a:lnTo>
                <a:lnTo>
                  <a:pt x="232540" y="264396"/>
                </a:lnTo>
                <a:lnTo>
                  <a:pt x="252540" y="240605"/>
                </a:lnTo>
                <a:lnTo>
                  <a:pt x="279530" y="224804"/>
                </a:lnTo>
                <a:lnTo>
                  <a:pt x="311475" y="219075"/>
                </a:lnTo>
                <a:lnTo>
                  <a:pt x="347174" y="226271"/>
                </a:lnTo>
                <a:lnTo>
                  <a:pt x="376323" y="245844"/>
                </a:lnTo>
                <a:lnTo>
                  <a:pt x="395973" y="274852"/>
                </a:lnTo>
                <a:lnTo>
                  <a:pt x="403178" y="310356"/>
                </a:lnTo>
                <a:lnTo>
                  <a:pt x="403178" y="317415"/>
                </a:lnTo>
                <a:lnTo>
                  <a:pt x="402195" y="324223"/>
                </a:lnTo>
                <a:lnTo>
                  <a:pt x="400672" y="330823"/>
                </a:lnTo>
                <a:lnTo>
                  <a:pt x="364673" y="510641"/>
                </a:lnTo>
                <a:lnTo>
                  <a:pt x="364664" y="511317"/>
                </a:lnTo>
                <a:lnTo>
                  <a:pt x="433244" y="636330"/>
                </a:lnTo>
                <a:lnTo>
                  <a:pt x="436164" y="640510"/>
                </a:lnTo>
                <a:lnTo>
                  <a:pt x="438121" y="645098"/>
                </a:lnTo>
                <a:lnTo>
                  <a:pt x="476241" y="835009"/>
                </a:lnTo>
                <a:lnTo>
                  <a:pt x="476479" y="837386"/>
                </a:lnTo>
                <a:lnTo>
                  <a:pt x="476483" y="844629"/>
                </a:lnTo>
                <a:lnTo>
                  <a:pt x="475553" y="849286"/>
                </a:lnTo>
                <a:lnTo>
                  <a:pt x="444691" y="876299"/>
                </a:lnTo>
                <a:lnTo>
                  <a:pt x="435475" y="876305"/>
                </a:lnTo>
                <a:close/>
              </a:path>
              <a:path w="721995" h="876934">
                <a:moveTo>
                  <a:pt x="570333" y="438150"/>
                </a:moveTo>
                <a:lnTo>
                  <a:pt x="555442" y="435409"/>
                </a:lnTo>
                <a:lnTo>
                  <a:pt x="529549" y="428089"/>
                </a:lnTo>
                <a:lnTo>
                  <a:pt x="496164" y="417546"/>
                </a:lnTo>
                <a:lnTo>
                  <a:pt x="458801" y="405131"/>
                </a:lnTo>
                <a:lnTo>
                  <a:pt x="476741" y="306177"/>
                </a:lnTo>
                <a:lnTo>
                  <a:pt x="476799" y="304408"/>
                </a:lnTo>
                <a:lnTo>
                  <a:pt x="477055" y="302583"/>
                </a:lnTo>
                <a:lnTo>
                  <a:pt x="565179" y="357351"/>
                </a:lnTo>
                <a:lnTo>
                  <a:pt x="696398" y="357351"/>
                </a:lnTo>
                <a:lnTo>
                  <a:pt x="696398" y="371400"/>
                </a:lnTo>
                <a:lnTo>
                  <a:pt x="659746" y="371400"/>
                </a:lnTo>
                <a:lnTo>
                  <a:pt x="594673" y="428950"/>
                </a:lnTo>
                <a:lnTo>
                  <a:pt x="589210" y="432945"/>
                </a:lnTo>
                <a:lnTo>
                  <a:pt x="583218" y="435823"/>
                </a:lnTo>
                <a:lnTo>
                  <a:pt x="576868" y="437564"/>
                </a:lnTo>
                <a:lnTo>
                  <a:pt x="570333" y="438150"/>
                </a:lnTo>
                <a:close/>
              </a:path>
              <a:path w="721995" h="876934">
                <a:moveTo>
                  <a:pt x="680525" y="876558"/>
                </a:moveTo>
                <a:lnTo>
                  <a:pt x="675619" y="876558"/>
                </a:lnTo>
                <a:lnTo>
                  <a:pt x="673261" y="876087"/>
                </a:lnTo>
                <a:lnTo>
                  <a:pt x="659746" y="371400"/>
                </a:lnTo>
                <a:lnTo>
                  <a:pt x="696398" y="371400"/>
                </a:lnTo>
                <a:lnTo>
                  <a:pt x="696433" y="860487"/>
                </a:lnTo>
                <a:lnTo>
                  <a:pt x="695993" y="862842"/>
                </a:lnTo>
                <a:lnTo>
                  <a:pt x="680525" y="876558"/>
                </a:lnTo>
                <a:close/>
              </a:path>
              <a:path w="721995" h="876934">
                <a:moveTo>
                  <a:pt x="105097" y="876299"/>
                </a:moveTo>
                <a:lnTo>
                  <a:pt x="74235" y="849286"/>
                </a:lnTo>
                <a:lnTo>
                  <a:pt x="73305" y="844629"/>
                </a:lnTo>
                <a:lnTo>
                  <a:pt x="73314" y="834177"/>
                </a:lnTo>
                <a:lnTo>
                  <a:pt x="78530" y="821103"/>
                </a:lnTo>
                <a:lnTo>
                  <a:pt x="81179" y="816468"/>
                </a:lnTo>
                <a:lnTo>
                  <a:pt x="162860" y="672628"/>
                </a:lnTo>
                <a:lnTo>
                  <a:pt x="181687" y="610657"/>
                </a:lnTo>
                <a:lnTo>
                  <a:pt x="262223" y="675909"/>
                </a:lnTo>
                <a:lnTo>
                  <a:pt x="140198" y="860487"/>
                </a:lnTo>
                <a:lnTo>
                  <a:pt x="139666" y="861252"/>
                </a:lnTo>
                <a:lnTo>
                  <a:pt x="136147" y="865977"/>
                </a:lnTo>
                <a:lnTo>
                  <a:pt x="131812" y="869666"/>
                </a:lnTo>
                <a:lnTo>
                  <a:pt x="121364" y="874970"/>
                </a:lnTo>
                <a:lnTo>
                  <a:pt x="115820" y="876298"/>
                </a:lnTo>
                <a:lnTo>
                  <a:pt x="105097" y="876299"/>
                </a:lnTo>
                <a:close/>
              </a:path>
            </a:pathLst>
          </a:custGeom>
          <a:solidFill>
            <a:srgbClr val="21408B"/>
          </a:solidFill>
        </p:spPr>
        <p:txBody>
          <a:bodyPr wrap="square" lIns="0" tIns="0" rIns="0" bIns="0" rtlCol="0"/>
          <a:lstStyle/>
          <a:p>
            <a:endParaRPr/>
          </a:p>
        </p:txBody>
      </p:sp>
      <p:sp>
        <p:nvSpPr>
          <p:cNvPr id="77" name="object 77"/>
          <p:cNvSpPr/>
          <p:nvPr/>
        </p:nvSpPr>
        <p:spPr>
          <a:xfrm>
            <a:off x="11500790" y="6751001"/>
            <a:ext cx="857250" cy="916305"/>
          </a:xfrm>
          <a:custGeom>
            <a:avLst/>
            <a:gdLst/>
            <a:ahLst/>
            <a:cxnLst/>
            <a:rect l="l" t="t" r="r" b="b"/>
            <a:pathLst>
              <a:path w="857250" h="916304">
                <a:moveTo>
                  <a:pt x="391248" y="22085"/>
                </a:moveTo>
                <a:lnTo>
                  <a:pt x="389585" y="13728"/>
                </a:lnTo>
                <a:lnTo>
                  <a:pt x="384975" y="6680"/>
                </a:lnTo>
                <a:lnTo>
                  <a:pt x="377952" y="1816"/>
                </a:lnTo>
                <a:lnTo>
                  <a:pt x="369062" y="0"/>
                </a:lnTo>
                <a:lnTo>
                  <a:pt x="183362" y="0"/>
                </a:lnTo>
                <a:lnTo>
                  <a:pt x="183362" y="44183"/>
                </a:lnTo>
                <a:lnTo>
                  <a:pt x="316509" y="44183"/>
                </a:lnTo>
                <a:lnTo>
                  <a:pt x="0" y="358101"/>
                </a:lnTo>
                <a:lnTo>
                  <a:pt x="30365" y="389496"/>
                </a:lnTo>
                <a:lnTo>
                  <a:pt x="346875" y="74409"/>
                </a:lnTo>
                <a:lnTo>
                  <a:pt x="346875" y="206959"/>
                </a:lnTo>
                <a:lnTo>
                  <a:pt x="391248" y="206959"/>
                </a:lnTo>
                <a:lnTo>
                  <a:pt x="391248" y="22085"/>
                </a:lnTo>
                <a:close/>
              </a:path>
              <a:path w="857250" h="916304">
                <a:moveTo>
                  <a:pt x="857250" y="632498"/>
                </a:moveTo>
                <a:lnTo>
                  <a:pt x="837399" y="612736"/>
                </a:lnTo>
                <a:lnTo>
                  <a:pt x="819873" y="612736"/>
                </a:lnTo>
                <a:lnTo>
                  <a:pt x="819873" y="513905"/>
                </a:lnTo>
                <a:lnTo>
                  <a:pt x="819873" y="495300"/>
                </a:lnTo>
                <a:lnTo>
                  <a:pt x="818248" y="487794"/>
                </a:lnTo>
                <a:lnTo>
                  <a:pt x="817537" y="486778"/>
                </a:lnTo>
                <a:lnTo>
                  <a:pt x="817537" y="651103"/>
                </a:lnTo>
                <a:lnTo>
                  <a:pt x="817537" y="749935"/>
                </a:lnTo>
                <a:lnTo>
                  <a:pt x="783666" y="749935"/>
                </a:lnTo>
                <a:lnTo>
                  <a:pt x="783666" y="651103"/>
                </a:lnTo>
                <a:lnTo>
                  <a:pt x="817537" y="651103"/>
                </a:lnTo>
                <a:lnTo>
                  <a:pt x="817537" y="486778"/>
                </a:lnTo>
                <a:lnTo>
                  <a:pt x="813892" y="481495"/>
                </a:lnTo>
                <a:lnTo>
                  <a:pt x="807554" y="477151"/>
                </a:lnTo>
                <a:lnTo>
                  <a:pt x="800023" y="475538"/>
                </a:lnTo>
                <a:lnTo>
                  <a:pt x="781329" y="475538"/>
                </a:lnTo>
                <a:lnTo>
                  <a:pt x="781329" y="513905"/>
                </a:lnTo>
                <a:lnTo>
                  <a:pt x="781329" y="612736"/>
                </a:lnTo>
                <a:lnTo>
                  <a:pt x="747471" y="612736"/>
                </a:lnTo>
                <a:lnTo>
                  <a:pt x="747471" y="515073"/>
                </a:lnTo>
                <a:lnTo>
                  <a:pt x="747471" y="513905"/>
                </a:lnTo>
                <a:lnTo>
                  <a:pt x="781329" y="513905"/>
                </a:lnTo>
                <a:lnTo>
                  <a:pt x="781329" y="475538"/>
                </a:lnTo>
                <a:lnTo>
                  <a:pt x="766152" y="475538"/>
                </a:lnTo>
                <a:lnTo>
                  <a:pt x="766152" y="376707"/>
                </a:lnTo>
                <a:lnTo>
                  <a:pt x="822210" y="376707"/>
                </a:lnTo>
                <a:lnTo>
                  <a:pt x="829754" y="375094"/>
                </a:lnTo>
                <a:lnTo>
                  <a:pt x="836079" y="370751"/>
                </a:lnTo>
                <a:lnTo>
                  <a:pt x="840447" y="364451"/>
                </a:lnTo>
                <a:lnTo>
                  <a:pt x="842073" y="356946"/>
                </a:lnTo>
                <a:lnTo>
                  <a:pt x="842073" y="338340"/>
                </a:lnTo>
                <a:lnTo>
                  <a:pt x="842073" y="239509"/>
                </a:lnTo>
                <a:lnTo>
                  <a:pt x="842073" y="219748"/>
                </a:lnTo>
                <a:lnTo>
                  <a:pt x="840447" y="212242"/>
                </a:lnTo>
                <a:lnTo>
                  <a:pt x="836079" y="205943"/>
                </a:lnTo>
                <a:lnTo>
                  <a:pt x="829754" y="201599"/>
                </a:lnTo>
                <a:lnTo>
                  <a:pt x="822210" y="199974"/>
                </a:lnTo>
                <a:lnTo>
                  <a:pt x="802360" y="199974"/>
                </a:lnTo>
                <a:lnTo>
                  <a:pt x="802360" y="239509"/>
                </a:lnTo>
                <a:lnTo>
                  <a:pt x="802360" y="338340"/>
                </a:lnTo>
                <a:lnTo>
                  <a:pt x="780173" y="338340"/>
                </a:lnTo>
                <a:lnTo>
                  <a:pt x="780173" y="239509"/>
                </a:lnTo>
                <a:lnTo>
                  <a:pt x="802360" y="239509"/>
                </a:lnTo>
                <a:lnTo>
                  <a:pt x="802360" y="199974"/>
                </a:lnTo>
                <a:lnTo>
                  <a:pt x="745134" y="199974"/>
                </a:lnTo>
                <a:lnTo>
                  <a:pt x="745134" y="651103"/>
                </a:lnTo>
                <a:lnTo>
                  <a:pt x="745134" y="749935"/>
                </a:lnTo>
                <a:lnTo>
                  <a:pt x="624840" y="749935"/>
                </a:lnTo>
                <a:lnTo>
                  <a:pt x="624840" y="651103"/>
                </a:lnTo>
                <a:lnTo>
                  <a:pt x="745134" y="651103"/>
                </a:lnTo>
                <a:lnTo>
                  <a:pt x="745134" y="199974"/>
                </a:lnTo>
                <a:lnTo>
                  <a:pt x="740460" y="199974"/>
                </a:lnTo>
                <a:lnTo>
                  <a:pt x="740460" y="239509"/>
                </a:lnTo>
                <a:lnTo>
                  <a:pt x="740460" y="338340"/>
                </a:lnTo>
                <a:lnTo>
                  <a:pt x="727608" y="338340"/>
                </a:lnTo>
                <a:lnTo>
                  <a:pt x="727608" y="376707"/>
                </a:lnTo>
                <a:lnTo>
                  <a:pt x="727608" y="475538"/>
                </a:lnTo>
                <a:lnTo>
                  <a:pt x="712431" y="475538"/>
                </a:lnTo>
                <a:lnTo>
                  <a:pt x="712431" y="376707"/>
                </a:lnTo>
                <a:lnTo>
                  <a:pt x="727608" y="376707"/>
                </a:lnTo>
                <a:lnTo>
                  <a:pt x="727608" y="338340"/>
                </a:lnTo>
                <a:lnTo>
                  <a:pt x="707758" y="338340"/>
                </a:lnTo>
                <a:lnTo>
                  <a:pt x="707758" y="515073"/>
                </a:lnTo>
                <a:lnTo>
                  <a:pt x="707758" y="613892"/>
                </a:lnTo>
                <a:lnTo>
                  <a:pt x="587463" y="613892"/>
                </a:lnTo>
                <a:lnTo>
                  <a:pt x="587463" y="575525"/>
                </a:lnTo>
                <a:lnTo>
                  <a:pt x="587463" y="515073"/>
                </a:lnTo>
                <a:lnTo>
                  <a:pt x="707758" y="515073"/>
                </a:lnTo>
                <a:lnTo>
                  <a:pt x="707758" y="338340"/>
                </a:lnTo>
                <a:lnTo>
                  <a:pt x="671550" y="338340"/>
                </a:lnTo>
                <a:lnTo>
                  <a:pt x="671550" y="376707"/>
                </a:lnTo>
                <a:lnTo>
                  <a:pt x="671550" y="475538"/>
                </a:lnTo>
                <a:lnTo>
                  <a:pt x="586295" y="475538"/>
                </a:lnTo>
                <a:lnTo>
                  <a:pt x="586295" y="651103"/>
                </a:lnTo>
                <a:lnTo>
                  <a:pt x="586295" y="749935"/>
                </a:lnTo>
                <a:lnTo>
                  <a:pt x="560603" y="749935"/>
                </a:lnTo>
                <a:lnTo>
                  <a:pt x="565378" y="732459"/>
                </a:lnTo>
                <a:lnTo>
                  <a:pt x="569061" y="714756"/>
                </a:lnTo>
                <a:lnTo>
                  <a:pt x="571436" y="696633"/>
                </a:lnTo>
                <a:lnTo>
                  <a:pt x="572274" y="677849"/>
                </a:lnTo>
                <a:lnTo>
                  <a:pt x="572096" y="671055"/>
                </a:lnTo>
                <a:lnTo>
                  <a:pt x="571296" y="657898"/>
                </a:lnTo>
                <a:lnTo>
                  <a:pt x="571106" y="651103"/>
                </a:lnTo>
                <a:lnTo>
                  <a:pt x="586295" y="651103"/>
                </a:lnTo>
                <a:lnTo>
                  <a:pt x="586295" y="475538"/>
                </a:lnTo>
                <a:lnTo>
                  <a:pt x="551256" y="475538"/>
                </a:lnTo>
                <a:lnTo>
                  <a:pt x="551256" y="376707"/>
                </a:lnTo>
                <a:lnTo>
                  <a:pt x="671550" y="376707"/>
                </a:lnTo>
                <a:lnTo>
                  <a:pt x="671550" y="338340"/>
                </a:lnTo>
                <a:lnTo>
                  <a:pt x="620166" y="338340"/>
                </a:lnTo>
                <a:lnTo>
                  <a:pt x="620166" y="239509"/>
                </a:lnTo>
                <a:lnTo>
                  <a:pt x="740460" y="239509"/>
                </a:lnTo>
                <a:lnTo>
                  <a:pt x="740460" y="199974"/>
                </a:lnTo>
                <a:lnTo>
                  <a:pt x="580453" y="199974"/>
                </a:lnTo>
                <a:lnTo>
                  <a:pt x="580453" y="239509"/>
                </a:lnTo>
                <a:lnTo>
                  <a:pt x="580453" y="338340"/>
                </a:lnTo>
                <a:lnTo>
                  <a:pt x="550087" y="338340"/>
                </a:lnTo>
                <a:lnTo>
                  <a:pt x="550087" y="239509"/>
                </a:lnTo>
                <a:lnTo>
                  <a:pt x="580453" y="239509"/>
                </a:lnTo>
                <a:lnTo>
                  <a:pt x="580453" y="199974"/>
                </a:lnTo>
                <a:lnTo>
                  <a:pt x="547751" y="199974"/>
                </a:lnTo>
                <a:lnTo>
                  <a:pt x="547751" y="513905"/>
                </a:lnTo>
                <a:lnTo>
                  <a:pt x="547751" y="575525"/>
                </a:lnTo>
                <a:lnTo>
                  <a:pt x="541197" y="562660"/>
                </a:lnTo>
                <a:lnTo>
                  <a:pt x="533882" y="550240"/>
                </a:lnTo>
                <a:lnTo>
                  <a:pt x="529818" y="544131"/>
                </a:lnTo>
                <a:lnTo>
                  <a:pt x="525907" y="538251"/>
                </a:lnTo>
                <a:lnTo>
                  <a:pt x="517385" y="526694"/>
                </a:lnTo>
                <a:lnTo>
                  <a:pt x="517385" y="513905"/>
                </a:lnTo>
                <a:lnTo>
                  <a:pt x="547751" y="513905"/>
                </a:lnTo>
                <a:lnTo>
                  <a:pt x="547751" y="199974"/>
                </a:lnTo>
                <a:lnTo>
                  <a:pt x="512711" y="199974"/>
                </a:lnTo>
                <a:lnTo>
                  <a:pt x="512711" y="376707"/>
                </a:lnTo>
                <a:lnTo>
                  <a:pt x="512711" y="475538"/>
                </a:lnTo>
                <a:lnTo>
                  <a:pt x="482346" y="475538"/>
                </a:lnTo>
                <a:lnTo>
                  <a:pt x="482346" y="467398"/>
                </a:lnTo>
                <a:lnTo>
                  <a:pt x="482346" y="377875"/>
                </a:lnTo>
                <a:lnTo>
                  <a:pt x="482346" y="376707"/>
                </a:lnTo>
                <a:lnTo>
                  <a:pt x="512711" y="376707"/>
                </a:lnTo>
                <a:lnTo>
                  <a:pt x="512711" y="199974"/>
                </a:lnTo>
                <a:lnTo>
                  <a:pt x="511543" y="199974"/>
                </a:lnTo>
                <a:lnTo>
                  <a:pt x="511543" y="239509"/>
                </a:lnTo>
                <a:lnTo>
                  <a:pt x="511543" y="338340"/>
                </a:lnTo>
                <a:lnTo>
                  <a:pt x="466001" y="338340"/>
                </a:lnTo>
                <a:lnTo>
                  <a:pt x="466001" y="239509"/>
                </a:lnTo>
                <a:lnTo>
                  <a:pt x="511543" y="239509"/>
                </a:lnTo>
                <a:lnTo>
                  <a:pt x="511543" y="199974"/>
                </a:lnTo>
                <a:lnTo>
                  <a:pt x="446138" y="199974"/>
                </a:lnTo>
                <a:lnTo>
                  <a:pt x="442645" y="200736"/>
                </a:lnTo>
                <a:lnTo>
                  <a:pt x="442645" y="377875"/>
                </a:lnTo>
                <a:lnTo>
                  <a:pt x="442645" y="467398"/>
                </a:lnTo>
                <a:lnTo>
                  <a:pt x="430174" y="461543"/>
                </a:lnTo>
                <a:lnTo>
                  <a:pt x="428625" y="460921"/>
                </a:lnTo>
                <a:lnTo>
                  <a:pt x="428625" y="632498"/>
                </a:lnTo>
                <a:lnTo>
                  <a:pt x="388912" y="632498"/>
                </a:lnTo>
                <a:lnTo>
                  <a:pt x="386257" y="623468"/>
                </a:lnTo>
                <a:lnTo>
                  <a:pt x="378993" y="616077"/>
                </a:lnTo>
                <a:lnTo>
                  <a:pt x="368223" y="611085"/>
                </a:lnTo>
                <a:lnTo>
                  <a:pt x="355041" y="609244"/>
                </a:lnTo>
                <a:lnTo>
                  <a:pt x="313004" y="609244"/>
                </a:lnTo>
                <a:lnTo>
                  <a:pt x="300316" y="611085"/>
                </a:lnTo>
                <a:lnTo>
                  <a:pt x="289496" y="616077"/>
                </a:lnTo>
                <a:lnTo>
                  <a:pt x="281965" y="623468"/>
                </a:lnTo>
                <a:lnTo>
                  <a:pt x="279133" y="632498"/>
                </a:lnTo>
                <a:lnTo>
                  <a:pt x="279133" y="635990"/>
                </a:lnTo>
                <a:lnTo>
                  <a:pt x="282638" y="641807"/>
                </a:lnTo>
                <a:lnTo>
                  <a:pt x="295478" y="649935"/>
                </a:lnTo>
                <a:lnTo>
                  <a:pt x="327012" y="655751"/>
                </a:lnTo>
                <a:lnTo>
                  <a:pt x="379577" y="666216"/>
                </a:lnTo>
                <a:lnTo>
                  <a:pt x="419138" y="695426"/>
                </a:lnTo>
                <a:lnTo>
                  <a:pt x="427456" y="719696"/>
                </a:lnTo>
                <a:lnTo>
                  <a:pt x="427456" y="722033"/>
                </a:lnTo>
                <a:lnTo>
                  <a:pt x="421906" y="745896"/>
                </a:lnTo>
                <a:lnTo>
                  <a:pt x="406730" y="765632"/>
                </a:lnTo>
                <a:lnTo>
                  <a:pt x="384098" y="779259"/>
                </a:lnTo>
                <a:lnTo>
                  <a:pt x="356209" y="784809"/>
                </a:lnTo>
                <a:lnTo>
                  <a:pt x="356209" y="812723"/>
                </a:lnTo>
                <a:lnTo>
                  <a:pt x="316509" y="812723"/>
                </a:lnTo>
                <a:lnTo>
                  <a:pt x="316509" y="784809"/>
                </a:lnTo>
                <a:lnTo>
                  <a:pt x="311835" y="784809"/>
                </a:lnTo>
                <a:lnTo>
                  <a:pt x="283768" y="779907"/>
                </a:lnTo>
                <a:lnTo>
                  <a:pt x="260731" y="766495"/>
                </a:lnTo>
                <a:lnTo>
                  <a:pt x="245148" y="746556"/>
                </a:lnTo>
                <a:lnTo>
                  <a:pt x="239420" y="722033"/>
                </a:lnTo>
                <a:lnTo>
                  <a:pt x="239420" y="708075"/>
                </a:lnTo>
                <a:lnTo>
                  <a:pt x="279133" y="708075"/>
                </a:lnTo>
                <a:lnTo>
                  <a:pt x="279133" y="722033"/>
                </a:lnTo>
                <a:lnTo>
                  <a:pt x="281800" y="731062"/>
                </a:lnTo>
                <a:lnTo>
                  <a:pt x="289064" y="738454"/>
                </a:lnTo>
                <a:lnTo>
                  <a:pt x="299821" y="743445"/>
                </a:lnTo>
                <a:lnTo>
                  <a:pt x="313004" y="745286"/>
                </a:lnTo>
                <a:lnTo>
                  <a:pt x="355041" y="745286"/>
                </a:lnTo>
                <a:lnTo>
                  <a:pt x="367550" y="743445"/>
                </a:lnTo>
                <a:lnTo>
                  <a:pt x="377964" y="738454"/>
                </a:lnTo>
                <a:lnTo>
                  <a:pt x="385102" y="731062"/>
                </a:lnTo>
                <a:lnTo>
                  <a:pt x="387743" y="722033"/>
                </a:lnTo>
                <a:lnTo>
                  <a:pt x="387743" y="718540"/>
                </a:lnTo>
                <a:lnTo>
                  <a:pt x="384238" y="712724"/>
                </a:lnTo>
                <a:lnTo>
                  <a:pt x="376237" y="708075"/>
                </a:lnTo>
                <a:lnTo>
                  <a:pt x="370230" y="704583"/>
                </a:lnTo>
                <a:lnTo>
                  <a:pt x="315341" y="694118"/>
                </a:lnTo>
                <a:lnTo>
                  <a:pt x="263753" y="674890"/>
                </a:lnTo>
                <a:lnTo>
                  <a:pt x="240588" y="634822"/>
                </a:lnTo>
                <a:lnTo>
                  <a:pt x="240588" y="632498"/>
                </a:lnTo>
                <a:lnTo>
                  <a:pt x="246316" y="607974"/>
                </a:lnTo>
                <a:lnTo>
                  <a:pt x="261899" y="588022"/>
                </a:lnTo>
                <a:lnTo>
                  <a:pt x="284937" y="574624"/>
                </a:lnTo>
                <a:lnTo>
                  <a:pt x="313004" y="569709"/>
                </a:lnTo>
                <a:lnTo>
                  <a:pt x="317677" y="569709"/>
                </a:lnTo>
                <a:lnTo>
                  <a:pt x="317677" y="544131"/>
                </a:lnTo>
                <a:lnTo>
                  <a:pt x="357378" y="544131"/>
                </a:lnTo>
                <a:lnTo>
                  <a:pt x="357378" y="569709"/>
                </a:lnTo>
                <a:lnTo>
                  <a:pt x="385267" y="575106"/>
                </a:lnTo>
                <a:lnTo>
                  <a:pt x="407898" y="588467"/>
                </a:lnTo>
                <a:lnTo>
                  <a:pt x="423075" y="608139"/>
                </a:lnTo>
                <a:lnTo>
                  <a:pt x="428625" y="632498"/>
                </a:lnTo>
                <a:lnTo>
                  <a:pt x="428625" y="460921"/>
                </a:lnTo>
                <a:lnTo>
                  <a:pt x="417385" y="456349"/>
                </a:lnTo>
                <a:lnTo>
                  <a:pt x="404368" y="452031"/>
                </a:lnTo>
                <a:lnTo>
                  <a:pt x="391248" y="448792"/>
                </a:lnTo>
                <a:lnTo>
                  <a:pt x="391248" y="441820"/>
                </a:lnTo>
                <a:lnTo>
                  <a:pt x="391248" y="377875"/>
                </a:lnTo>
                <a:lnTo>
                  <a:pt x="442645" y="377875"/>
                </a:lnTo>
                <a:lnTo>
                  <a:pt x="442645" y="200736"/>
                </a:lnTo>
                <a:lnTo>
                  <a:pt x="438607" y="201599"/>
                </a:lnTo>
                <a:lnTo>
                  <a:pt x="432269" y="205943"/>
                </a:lnTo>
                <a:lnTo>
                  <a:pt x="427913" y="212242"/>
                </a:lnTo>
                <a:lnTo>
                  <a:pt x="426288" y="219748"/>
                </a:lnTo>
                <a:lnTo>
                  <a:pt x="426288" y="337172"/>
                </a:lnTo>
                <a:lnTo>
                  <a:pt x="370230" y="337172"/>
                </a:lnTo>
                <a:lnTo>
                  <a:pt x="362686" y="338797"/>
                </a:lnTo>
                <a:lnTo>
                  <a:pt x="356362" y="343141"/>
                </a:lnTo>
                <a:lnTo>
                  <a:pt x="351993" y="349440"/>
                </a:lnTo>
                <a:lnTo>
                  <a:pt x="350380" y="356946"/>
                </a:lnTo>
                <a:lnTo>
                  <a:pt x="350380" y="441820"/>
                </a:lnTo>
                <a:lnTo>
                  <a:pt x="344538" y="441820"/>
                </a:lnTo>
                <a:lnTo>
                  <a:pt x="338696" y="440651"/>
                </a:lnTo>
                <a:lnTo>
                  <a:pt x="332854" y="440651"/>
                </a:lnTo>
                <a:lnTo>
                  <a:pt x="284721" y="445503"/>
                </a:lnTo>
                <a:lnTo>
                  <a:pt x="239953" y="459409"/>
                </a:lnTo>
                <a:lnTo>
                  <a:pt x="199478" y="481368"/>
                </a:lnTo>
                <a:lnTo>
                  <a:pt x="164236" y="510413"/>
                </a:lnTo>
                <a:lnTo>
                  <a:pt x="135191" y="545566"/>
                </a:lnTo>
                <a:lnTo>
                  <a:pt x="113271" y="585851"/>
                </a:lnTo>
                <a:lnTo>
                  <a:pt x="99428" y="630262"/>
                </a:lnTo>
                <a:lnTo>
                  <a:pt x="94602" y="677849"/>
                </a:lnTo>
                <a:lnTo>
                  <a:pt x="99479" y="725474"/>
                </a:lnTo>
                <a:lnTo>
                  <a:pt x="113449" y="770026"/>
                </a:lnTo>
                <a:lnTo>
                  <a:pt x="135559" y="810488"/>
                </a:lnTo>
                <a:lnTo>
                  <a:pt x="164820" y="845858"/>
                </a:lnTo>
                <a:lnTo>
                  <a:pt x="200266" y="875118"/>
                </a:lnTo>
                <a:lnTo>
                  <a:pt x="240931" y="897267"/>
                </a:lnTo>
                <a:lnTo>
                  <a:pt x="285838" y="911301"/>
                </a:lnTo>
                <a:lnTo>
                  <a:pt x="334022" y="916203"/>
                </a:lnTo>
                <a:lnTo>
                  <a:pt x="387057" y="910285"/>
                </a:lnTo>
                <a:lnTo>
                  <a:pt x="435940" y="893432"/>
                </a:lnTo>
                <a:lnTo>
                  <a:pt x="479336" y="866978"/>
                </a:lnTo>
                <a:lnTo>
                  <a:pt x="515886" y="832256"/>
                </a:lnTo>
                <a:lnTo>
                  <a:pt x="544245" y="790625"/>
                </a:lnTo>
                <a:lnTo>
                  <a:pt x="837399" y="790625"/>
                </a:lnTo>
                <a:lnTo>
                  <a:pt x="844931" y="789012"/>
                </a:lnTo>
                <a:lnTo>
                  <a:pt x="851268" y="784669"/>
                </a:lnTo>
                <a:lnTo>
                  <a:pt x="855624" y="778357"/>
                </a:lnTo>
                <a:lnTo>
                  <a:pt x="857250" y="770864"/>
                </a:lnTo>
                <a:lnTo>
                  <a:pt x="857250" y="749935"/>
                </a:lnTo>
                <a:lnTo>
                  <a:pt x="857250" y="651103"/>
                </a:lnTo>
                <a:lnTo>
                  <a:pt x="857250" y="632498"/>
                </a:lnTo>
                <a:close/>
              </a:path>
            </a:pathLst>
          </a:custGeom>
          <a:solidFill>
            <a:srgbClr val="21408B"/>
          </a:solidFill>
        </p:spPr>
        <p:txBody>
          <a:bodyPr wrap="square" lIns="0" tIns="0" rIns="0" bIns="0" rtlCol="0"/>
          <a:lstStyle/>
          <a:p>
            <a:endParaRPr/>
          </a:p>
        </p:txBody>
      </p:sp>
      <p:sp>
        <p:nvSpPr>
          <p:cNvPr id="78" name="object 78"/>
          <p:cNvSpPr/>
          <p:nvPr/>
        </p:nvSpPr>
        <p:spPr>
          <a:xfrm>
            <a:off x="4230966" y="2807029"/>
            <a:ext cx="4949825" cy="1224280"/>
          </a:xfrm>
          <a:custGeom>
            <a:avLst/>
            <a:gdLst/>
            <a:ahLst/>
            <a:cxnLst/>
            <a:rect l="l" t="t" r="r" b="b"/>
            <a:pathLst>
              <a:path w="4949825" h="1224279">
                <a:moveTo>
                  <a:pt x="4949279" y="0"/>
                </a:moveTo>
                <a:lnTo>
                  <a:pt x="0" y="0"/>
                </a:lnTo>
                <a:lnTo>
                  <a:pt x="0" y="784098"/>
                </a:lnTo>
                <a:lnTo>
                  <a:pt x="255663" y="784098"/>
                </a:lnTo>
                <a:lnTo>
                  <a:pt x="507034" y="1224000"/>
                </a:lnTo>
                <a:lnTo>
                  <a:pt x="758405" y="784098"/>
                </a:lnTo>
                <a:lnTo>
                  <a:pt x="4949279" y="784098"/>
                </a:lnTo>
                <a:lnTo>
                  <a:pt x="4949279" y="0"/>
                </a:lnTo>
                <a:close/>
              </a:path>
            </a:pathLst>
          </a:custGeom>
          <a:solidFill>
            <a:srgbClr val="E3112B"/>
          </a:solidFill>
        </p:spPr>
        <p:txBody>
          <a:bodyPr wrap="square" lIns="0" tIns="0" rIns="0" bIns="0" rtlCol="0"/>
          <a:lstStyle/>
          <a:p>
            <a:endParaRPr/>
          </a:p>
        </p:txBody>
      </p:sp>
      <p:sp>
        <p:nvSpPr>
          <p:cNvPr id="79" name="object 79"/>
          <p:cNvSpPr txBox="1"/>
          <p:nvPr/>
        </p:nvSpPr>
        <p:spPr>
          <a:xfrm>
            <a:off x="4725309" y="2957770"/>
            <a:ext cx="387096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Acciones</a:t>
            </a:r>
            <a:r>
              <a:rPr sz="2400" b="1" spc="10" dirty="0">
                <a:solidFill>
                  <a:srgbClr val="FFFFFF"/>
                </a:solidFill>
                <a:latin typeface="Arial"/>
                <a:cs typeface="Arial"/>
              </a:rPr>
              <a:t> </a:t>
            </a:r>
            <a:r>
              <a:rPr sz="2400" b="1" spc="90" dirty="0">
                <a:solidFill>
                  <a:srgbClr val="FFFFFF"/>
                </a:solidFill>
                <a:latin typeface="Arial"/>
                <a:cs typeface="Arial"/>
              </a:rPr>
              <a:t>clave</a:t>
            </a:r>
            <a:r>
              <a:rPr sz="2400" b="1" spc="15" dirty="0">
                <a:solidFill>
                  <a:srgbClr val="FFFFFF"/>
                </a:solidFill>
                <a:latin typeface="Arial"/>
                <a:cs typeface="Arial"/>
              </a:rPr>
              <a:t> </a:t>
            </a:r>
            <a:r>
              <a:rPr sz="2400" b="1" spc="114" dirty="0">
                <a:solidFill>
                  <a:srgbClr val="FFFFFF"/>
                </a:solidFill>
                <a:latin typeface="Arial"/>
                <a:cs typeface="Arial"/>
              </a:rPr>
              <a:t>(anuales)</a:t>
            </a:r>
            <a:endParaRPr sz="2400">
              <a:latin typeface="Arial"/>
              <a:cs typeface="Arial"/>
            </a:endParaRPr>
          </a:p>
        </p:txBody>
      </p:sp>
      <p:sp>
        <p:nvSpPr>
          <p:cNvPr id="80" name="object 80"/>
          <p:cNvSpPr/>
          <p:nvPr/>
        </p:nvSpPr>
        <p:spPr>
          <a:xfrm>
            <a:off x="14405356" y="2807029"/>
            <a:ext cx="3592829" cy="1224280"/>
          </a:xfrm>
          <a:custGeom>
            <a:avLst/>
            <a:gdLst/>
            <a:ahLst/>
            <a:cxnLst/>
            <a:rect l="l" t="t" r="r" b="b"/>
            <a:pathLst>
              <a:path w="3592830" h="1224279">
                <a:moveTo>
                  <a:pt x="3592411" y="0"/>
                </a:moveTo>
                <a:lnTo>
                  <a:pt x="0" y="0"/>
                </a:lnTo>
                <a:lnTo>
                  <a:pt x="0" y="784098"/>
                </a:lnTo>
                <a:lnTo>
                  <a:pt x="255651" y="784098"/>
                </a:lnTo>
                <a:lnTo>
                  <a:pt x="507034" y="1224000"/>
                </a:lnTo>
                <a:lnTo>
                  <a:pt x="758393" y="784098"/>
                </a:lnTo>
                <a:lnTo>
                  <a:pt x="3592411" y="784098"/>
                </a:lnTo>
                <a:lnTo>
                  <a:pt x="3592411" y="0"/>
                </a:lnTo>
                <a:close/>
              </a:path>
            </a:pathLst>
          </a:custGeom>
          <a:solidFill>
            <a:srgbClr val="E3112B"/>
          </a:solidFill>
        </p:spPr>
        <p:txBody>
          <a:bodyPr wrap="square" lIns="0" tIns="0" rIns="0" bIns="0" rtlCol="0"/>
          <a:lstStyle/>
          <a:p>
            <a:endParaRPr/>
          </a:p>
        </p:txBody>
      </p:sp>
      <p:sp>
        <p:nvSpPr>
          <p:cNvPr id="81" name="object 81"/>
          <p:cNvSpPr txBox="1"/>
          <p:nvPr/>
        </p:nvSpPr>
        <p:spPr>
          <a:xfrm>
            <a:off x="14899696" y="2957770"/>
            <a:ext cx="229997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Acciones</a:t>
            </a:r>
            <a:r>
              <a:rPr sz="2400" b="1" spc="35" dirty="0">
                <a:solidFill>
                  <a:srgbClr val="FFFFFF"/>
                </a:solidFill>
                <a:latin typeface="Arial"/>
                <a:cs typeface="Arial"/>
              </a:rPr>
              <a:t> </a:t>
            </a:r>
            <a:r>
              <a:rPr sz="2400" b="1" spc="70" dirty="0">
                <a:solidFill>
                  <a:srgbClr val="FFFFFF"/>
                </a:solidFill>
                <a:latin typeface="Arial"/>
                <a:cs typeface="Arial"/>
              </a:rPr>
              <a:t>clave</a:t>
            </a:r>
            <a:endParaRPr sz="2400">
              <a:latin typeface="Arial"/>
              <a:cs typeface="Arial"/>
            </a:endParaRPr>
          </a:p>
        </p:txBody>
      </p:sp>
      <p:sp>
        <p:nvSpPr>
          <p:cNvPr id="82" name="object 82"/>
          <p:cNvSpPr/>
          <p:nvPr/>
        </p:nvSpPr>
        <p:spPr>
          <a:xfrm>
            <a:off x="196380" y="2807029"/>
            <a:ext cx="3881754" cy="1224280"/>
          </a:xfrm>
          <a:custGeom>
            <a:avLst/>
            <a:gdLst/>
            <a:ahLst/>
            <a:cxnLst/>
            <a:rect l="l" t="t" r="r" b="b"/>
            <a:pathLst>
              <a:path w="3881754" h="1224279">
                <a:moveTo>
                  <a:pt x="3881742" y="0"/>
                </a:moveTo>
                <a:lnTo>
                  <a:pt x="0" y="0"/>
                </a:lnTo>
                <a:lnTo>
                  <a:pt x="0" y="784098"/>
                </a:lnTo>
                <a:lnTo>
                  <a:pt x="255663" y="784098"/>
                </a:lnTo>
                <a:lnTo>
                  <a:pt x="507034" y="1224000"/>
                </a:lnTo>
                <a:lnTo>
                  <a:pt x="758405" y="784098"/>
                </a:lnTo>
                <a:lnTo>
                  <a:pt x="3881742" y="784098"/>
                </a:lnTo>
                <a:lnTo>
                  <a:pt x="3881742" y="0"/>
                </a:lnTo>
                <a:close/>
              </a:path>
            </a:pathLst>
          </a:custGeom>
          <a:solidFill>
            <a:srgbClr val="E3112B"/>
          </a:solidFill>
        </p:spPr>
        <p:txBody>
          <a:bodyPr wrap="square" lIns="0" tIns="0" rIns="0" bIns="0" rtlCol="0"/>
          <a:lstStyle/>
          <a:p>
            <a:endParaRPr/>
          </a:p>
        </p:txBody>
      </p:sp>
      <p:sp>
        <p:nvSpPr>
          <p:cNvPr id="83" name="object 83"/>
          <p:cNvSpPr txBox="1"/>
          <p:nvPr/>
        </p:nvSpPr>
        <p:spPr>
          <a:xfrm>
            <a:off x="861605" y="2957770"/>
            <a:ext cx="249809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Foco</a:t>
            </a:r>
            <a:r>
              <a:rPr sz="2400" b="1" spc="-35" dirty="0">
                <a:solidFill>
                  <a:srgbClr val="FFFFFF"/>
                </a:solidFill>
                <a:latin typeface="Arial"/>
                <a:cs typeface="Arial"/>
              </a:rPr>
              <a:t> </a:t>
            </a:r>
            <a:r>
              <a:rPr sz="2400" b="1" spc="130" dirty="0">
                <a:solidFill>
                  <a:srgbClr val="FFFFFF"/>
                </a:solidFill>
                <a:latin typeface="Arial"/>
                <a:cs typeface="Arial"/>
              </a:rPr>
              <a:t>de</a:t>
            </a:r>
            <a:r>
              <a:rPr sz="2400" b="1" spc="-30" dirty="0">
                <a:solidFill>
                  <a:srgbClr val="FFFFFF"/>
                </a:solidFill>
                <a:latin typeface="Arial"/>
                <a:cs typeface="Arial"/>
              </a:rPr>
              <a:t> </a:t>
            </a:r>
            <a:r>
              <a:rPr sz="2400" b="1" spc="175" dirty="0">
                <a:solidFill>
                  <a:srgbClr val="FFFFFF"/>
                </a:solidFill>
                <a:latin typeface="Arial"/>
                <a:cs typeface="Arial"/>
              </a:rPr>
              <a:t>trabajo</a:t>
            </a:r>
            <a:endParaRPr sz="2400">
              <a:latin typeface="Arial"/>
              <a:cs typeface="Arial"/>
            </a:endParaRPr>
          </a:p>
        </p:txBody>
      </p:sp>
      <p:sp>
        <p:nvSpPr>
          <p:cNvPr id="84" name="object 84"/>
          <p:cNvSpPr/>
          <p:nvPr/>
        </p:nvSpPr>
        <p:spPr>
          <a:xfrm>
            <a:off x="9313596" y="2807029"/>
            <a:ext cx="4939030" cy="1224280"/>
          </a:xfrm>
          <a:custGeom>
            <a:avLst/>
            <a:gdLst/>
            <a:ahLst/>
            <a:cxnLst/>
            <a:rect l="l" t="t" r="r" b="b"/>
            <a:pathLst>
              <a:path w="4939030" h="1224279">
                <a:moveTo>
                  <a:pt x="4938738" y="0"/>
                </a:moveTo>
                <a:lnTo>
                  <a:pt x="0" y="0"/>
                </a:lnTo>
                <a:lnTo>
                  <a:pt x="0" y="784098"/>
                </a:lnTo>
                <a:lnTo>
                  <a:pt x="255651" y="784098"/>
                </a:lnTo>
                <a:lnTo>
                  <a:pt x="507034" y="1224000"/>
                </a:lnTo>
                <a:lnTo>
                  <a:pt x="758405" y="784098"/>
                </a:lnTo>
                <a:lnTo>
                  <a:pt x="4938738" y="784098"/>
                </a:lnTo>
                <a:lnTo>
                  <a:pt x="4938738" y="0"/>
                </a:lnTo>
                <a:close/>
              </a:path>
            </a:pathLst>
          </a:custGeom>
          <a:solidFill>
            <a:srgbClr val="E3112B"/>
          </a:solidFill>
        </p:spPr>
        <p:txBody>
          <a:bodyPr wrap="square" lIns="0" tIns="0" rIns="0" bIns="0" rtlCol="0"/>
          <a:lstStyle/>
          <a:p>
            <a:endParaRPr/>
          </a:p>
        </p:txBody>
      </p:sp>
      <p:sp>
        <p:nvSpPr>
          <p:cNvPr id="85" name="object 85"/>
          <p:cNvSpPr txBox="1"/>
          <p:nvPr/>
        </p:nvSpPr>
        <p:spPr>
          <a:xfrm>
            <a:off x="9978818" y="2957770"/>
            <a:ext cx="2498090" cy="391160"/>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rial"/>
                <a:cs typeface="Arial"/>
              </a:rPr>
              <a:t>Foco</a:t>
            </a:r>
            <a:r>
              <a:rPr sz="2400" b="1" spc="-35" dirty="0">
                <a:solidFill>
                  <a:srgbClr val="FFFFFF"/>
                </a:solidFill>
                <a:latin typeface="Arial"/>
                <a:cs typeface="Arial"/>
              </a:rPr>
              <a:t> </a:t>
            </a:r>
            <a:r>
              <a:rPr sz="2400" b="1" spc="130" dirty="0">
                <a:solidFill>
                  <a:srgbClr val="FFFFFF"/>
                </a:solidFill>
                <a:latin typeface="Arial"/>
                <a:cs typeface="Arial"/>
              </a:rPr>
              <a:t>de</a:t>
            </a:r>
            <a:r>
              <a:rPr sz="2400" b="1" spc="-30" dirty="0">
                <a:solidFill>
                  <a:srgbClr val="FFFFFF"/>
                </a:solidFill>
                <a:latin typeface="Arial"/>
                <a:cs typeface="Arial"/>
              </a:rPr>
              <a:t> </a:t>
            </a:r>
            <a:r>
              <a:rPr sz="2400" b="1" spc="175" dirty="0">
                <a:solidFill>
                  <a:srgbClr val="FFFFFF"/>
                </a:solidFill>
                <a:latin typeface="Arial"/>
                <a:cs typeface="Arial"/>
              </a:rPr>
              <a:t>trabajo</a:t>
            </a:r>
            <a:endParaRPr sz="2400">
              <a:latin typeface="Arial"/>
              <a:cs typeface="Arial"/>
            </a:endParaRPr>
          </a:p>
        </p:txBody>
      </p:sp>
      <p:sp>
        <p:nvSpPr>
          <p:cNvPr id="86" name="object 86"/>
          <p:cNvSpPr/>
          <p:nvPr/>
        </p:nvSpPr>
        <p:spPr>
          <a:xfrm>
            <a:off x="2515307" y="4437053"/>
            <a:ext cx="857250" cy="857250"/>
          </a:xfrm>
          <a:custGeom>
            <a:avLst/>
            <a:gdLst/>
            <a:ahLst/>
            <a:cxnLst/>
            <a:rect l="l" t="t" r="r" b="b"/>
            <a:pathLst>
              <a:path w="857250" h="857250">
                <a:moveTo>
                  <a:pt x="607998" y="61901"/>
                </a:moveTo>
                <a:lnTo>
                  <a:pt x="347977" y="61901"/>
                </a:lnTo>
                <a:lnTo>
                  <a:pt x="356632" y="60306"/>
                </a:lnTo>
                <a:lnTo>
                  <a:pt x="397456" y="17644"/>
                </a:lnTo>
                <a:lnTo>
                  <a:pt x="403621" y="9915"/>
                </a:lnTo>
                <a:lnTo>
                  <a:pt x="411193" y="4402"/>
                </a:lnTo>
                <a:lnTo>
                  <a:pt x="419705" y="1099"/>
                </a:lnTo>
                <a:lnTo>
                  <a:pt x="428689" y="0"/>
                </a:lnTo>
                <a:lnTo>
                  <a:pt x="437672" y="1099"/>
                </a:lnTo>
                <a:lnTo>
                  <a:pt x="446184" y="4402"/>
                </a:lnTo>
                <a:lnTo>
                  <a:pt x="453757" y="9915"/>
                </a:lnTo>
                <a:lnTo>
                  <a:pt x="459921" y="17644"/>
                </a:lnTo>
                <a:lnTo>
                  <a:pt x="473767" y="40698"/>
                </a:lnTo>
                <a:lnTo>
                  <a:pt x="478869" y="47460"/>
                </a:lnTo>
                <a:lnTo>
                  <a:pt x="485189" y="52994"/>
                </a:lnTo>
                <a:lnTo>
                  <a:pt x="492431" y="57223"/>
                </a:lnTo>
                <a:lnTo>
                  <a:pt x="501006" y="60339"/>
                </a:lnTo>
                <a:lnTo>
                  <a:pt x="509456" y="61878"/>
                </a:lnTo>
                <a:lnTo>
                  <a:pt x="607991" y="61878"/>
                </a:lnTo>
                <a:close/>
              </a:path>
              <a:path w="857250" h="857250">
                <a:moveTo>
                  <a:pt x="607991" y="61878"/>
                </a:moveTo>
                <a:lnTo>
                  <a:pt x="509456" y="61878"/>
                </a:lnTo>
                <a:lnTo>
                  <a:pt x="517940" y="61852"/>
                </a:lnTo>
                <a:lnTo>
                  <a:pt x="526231" y="60201"/>
                </a:lnTo>
                <a:lnTo>
                  <a:pt x="534106" y="56862"/>
                </a:lnTo>
                <a:lnTo>
                  <a:pt x="557611" y="43789"/>
                </a:lnTo>
                <a:lnTo>
                  <a:pt x="576149" y="39169"/>
                </a:lnTo>
                <a:lnTo>
                  <a:pt x="593530" y="44086"/>
                </a:lnTo>
                <a:lnTo>
                  <a:pt x="606492" y="56663"/>
                </a:lnTo>
                <a:lnTo>
                  <a:pt x="607991" y="61878"/>
                </a:lnTo>
                <a:close/>
              </a:path>
              <a:path w="857250" h="857250">
                <a:moveTo>
                  <a:pt x="281110" y="620124"/>
                </a:moveTo>
                <a:lnTo>
                  <a:pt x="263751" y="615207"/>
                </a:lnTo>
                <a:lnTo>
                  <a:pt x="250811" y="602630"/>
                </a:lnTo>
                <a:lnTo>
                  <a:pt x="245544" y="584272"/>
                </a:lnTo>
                <a:lnTo>
                  <a:pt x="245094" y="557160"/>
                </a:lnTo>
                <a:lnTo>
                  <a:pt x="244048" y="548717"/>
                </a:lnTo>
                <a:lnTo>
                  <a:pt x="217481" y="516927"/>
                </a:lnTo>
                <a:lnTo>
                  <a:pt x="174000" y="512727"/>
                </a:lnTo>
                <a:lnTo>
                  <a:pt x="155641" y="507460"/>
                </a:lnTo>
                <a:lnTo>
                  <a:pt x="143064" y="494520"/>
                </a:lnTo>
                <a:lnTo>
                  <a:pt x="138147" y="477161"/>
                </a:lnTo>
                <a:lnTo>
                  <a:pt x="142767" y="458633"/>
                </a:lnTo>
                <a:lnTo>
                  <a:pt x="155840" y="435129"/>
                </a:lnTo>
                <a:lnTo>
                  <a:pt x="159172" y="427254"/>
                </a:lnTo>
                <a:lnTo>
                  <a:pt x="160798" y="418974"/>
                </a:lnTo>
                <a:lnTo>
                  <a:pt x="160800" y="410479"/>
                </a:lnTo>
                <a:lnTo>
                  <a:pt x="159253" y="402029"/>
                </a:lnTo>
                <a:lnTo>
                  <a:pt x="159187" y="401798"/>
                </a:lnTo>
                <a:lnTo>
                  <a:pt x="159118" y="401385"/>
                </a:lnTo>
                <a:lnTo>
                  <a:pt x="116622" y="360879"/>
                </a:lnTo>
                <a:lnTo>
                  <a:pt x="103358" y="347127"/>
                </a:lnTo>
                <a:lnTo>
                  <a:pt x="98944" y="329634"/>
                </a:lnTo>
                <a:lnTo>
                  <a:pt x="103366" y="312148"/>
                </a:lnTo>
                <a:lnTo>
                  <a:pt x="116622" y="298414"/>
                </a:lnTo>
                <a:lnTo>
                  <a:pt x="139676" y="284569"/>
                </a:lnTo>
                <a:lnTo>
                  <a:pt x="146424" y="279467"/>
                </a:lnTo>
                <a:lnTo>
                  <a:pt x="151947" y="273168"/>
                </a:lnTo>
                <a:lnTo>
                  <a:pt x="156197" y="265904"/>
                </a:lnTo>
                <a:lnTo>
                  <a:pt x="159190" y="257711"/>
                </a:lnTo>
                <a:lnTo>
                  <a:pt x="159213" y="257560"/>
                </a:lnTo>
                <a:lnTo>
                  <a:pt x="159317" y="257329"/>
                </a:lnTo>
                <a:lnTo>
                  <a:pt x="160856" y="248879"/>
                </a:lnTo>
                <a:lnTo>
                  <a:pt x="160828" y="240383"/>
                </a:lnTo>
                <a:lnTo>
                  <a:pt x="159173" y="232090"/>
                </a:lnTo>
                <a:lnTo>
                  <a:pt x="155840" y="224229"/>
                </a:lnTo>
                <a:lnTo>
                  <a:pt x="142767" y="200724"/>
                </a:lnTo>
                <a:lnTo>
                  <a:pt x="138147" y="182173"/>
                </a:lnTo>
                <a:lnTo>
                  <a:pt x="143064" y="164793"/>
                </a:lnTo>
                <a:lnTo>
                  <a:pt x="155641" y="151839"/>
                </a:lnTo>
                <a:lnTo>
                  <a:pt x="174000" y="146567"/>
                </a:lnTo>
                <a:lnTo>
                  <a:pt x="201175" y="146116"/>
                </a:lnTo>
                <a:lnTo>
                  <a:pt x="209618" y="145080"/>
                </a:lnTo>
                <a:lnTo>
                  <a:pt x="217591" y="142386"/>
                </a:lnTo>
                <a:lnTo>
                  <a:pt x="224921" y="138208"/>
                </a:lnTo>
                <a:lnTo>
                  <a:pt x="231442" y="132721"/>
                </a:lnTo>
                <a:lnTo>
                  <a:pt x="231699" y="132464"/>
                </a:lnTo>
                <a:lnTo>
                  <a:pt x="245609" y="75086"/>
                </a:lnTo>
                <a:lnTo>
                  <a:pt x="250837" y="56862"/>
                </a:lnTo>
                <a:lnTo>
                  <a:pt x="250942" y="56663"/>
                </a:lnTo>
                <a:lnTo>
                  <a:pt x="263815" y="44151"/>
                </a:lnTo>
                <a:lnTo>
                  <a:pt x="281175" y="39233"/>
                </a:lnTo>
                <a:lnTo>
                  <a:pt x="299702" y="43854"/>
                </a:lnTo>
                <a:lnTo>
                  <a:pt x="323143" y="56862"/>
                </a:lnTo>
                <a:lnTo>
                  <a:pt x="331122" y="60243"/>
                </a:lnTo>
                <a:lnTo>
                  <a:pt x="339426" y="61889"/>
                </a:lnTo>
                <a:lnTo>
                  <a:pt x="607998" y="61901"/>
                </a:lnTo>
                <a:lnTo>
                  <a:pt x="611769" y="75022"/>
                </a:lnTo>
                <a:lnTo>
                  <a:pt x="615937" y="118592"/>
                </a:lnTo>
                <a:lnTo>
                  <a:pt x="647733" y="145085"/>
                </a:lnTo>
                <a:lnTo>
                  <a:pt x="683314" y="146567"/>
                </a:lnTo>
                <a:lnTo>
                  <a:pt x="701672" y="151843"/>
                </a:lnTo>
                <a:lnTo>
                  <a:pt x="714249" y="164805"/>
                </a:lnTo>
                <a:lnTo>
                  <a:pt x="719166" y="182187"/>
                </a:lnTo>
                <a:lnTo>
                  <a:pt x="714546" y="200724"/>
                </a:lnTo>
                <a:lnTo>
                  <a:pt x="712218" y="204910"/>
                </a:lnTo>
                <a:lnTo>
                  <a:pt x="396297" y="204910"/>
                </a:lnTo>
                <a:lnTo>
                  <a:pt x="329196" y="250567"/>
                </a:lnTo>
                <a:lnTo>
                  <a:pt x="329196" y="308331"/>
                </a:lnTo>
                <a:lnTo>
                  <a:pt x="396233" y="308331"/>
                </a:lnTo>
                <a:lnTo>
                  <a:pt x="396233" y="468679"/>
                </a:lnTo>
                <a:lnTo>
                  <a:pt x="716987" y="468679"/>
                </a:lnTo>
                <a:lnTo>
                  <a:pt x="719102" y="477161"/>
                </a:lnTo>
                <a:lnTo>
                  <a:pt x="714185" y="494520"/>
                </a:lnTo>
                <a:lnTo>
                  <a:pt x="701608" y="507460"/>
                </a:lnTo>
                <a:lnTo>
                  <a:pt x="683249" y="512727"/>
                </a:lnTo>
                <a:lnTo>
                  <a:pt x="656074" y="513177"/>
                </a:lnTo>
                <a:lnTo>
                  <a:pt x="647631" y="514223"/>
                </a:lnTo>
                <a:lnTo>
                  <a:pt x="615881" y="540766"/>
                </a:lnTo>
                <a:lnTo>
                  <a:pt x="611705" y="584272"/>
                </a:lnTo>
                <a:lnTo>
                  <a:pt x="607911" y="597470"/>
                </a:lnTo>
                <a:lnTo>
                  <a:pt x="339309" y="597473"/>
                </a:lnTo>
                <a:lnTo>
                  <a:pt x="331018" y="599102"/>
                </a:lnTo>
                <a:lnTo>
                  <a:pt x="323143" y="602431"/>
                </a:lnTo>
                <a:lnTo>
                  <a:pt x="299638" y="615504"/>
                </a:lnTo>
                <a:lnTo>
                  <a:pt x="281110" y="620124"/>
                </a:lnTo>
                <a:close/>
              </a:path>
              <a:path w="857250" h="857250">
                <a:moveTo>
                  <a:pt x="716987" y="468679"/>
                </a:moveTo>
                <a:lnTo>
                  <a:pt x="463399" y="468679"/>
                </a:lnTo>
                <a:lnTo>
                  <a:pt x="463399" y="204910"/>
                </a:lnTo>
                <a:lnTo>
                  <a:pt x="712218" y="204910"/>
                </a:lnTo>
                <a:lnTo>
                  <a:pt x="701474" y="224229"/>
                </a:lnTo>
                <a:lnTo>
                  <a:pt x="698132" y="232104"/>
                </a:lnTo>
                <a:lnTo>
                  <a:pt x="696483" y="240383"/>
                </a:lnTo>
                <a:lnTo>
                  <a:pt x="696459" y="248879"/>
                </a:lnTo>
                <a:lnTo>
                  <a:pt x="697996" y="257329"/>
                </a:lnTo>
                <a:lnTo>
                  <a:pt x="740691" y="298414"/>
                </a:lnTo>
                <a:lnTo>
                  <a:pt x="753952" y="312153"/>
                </a:lnTo>
                <a:lnTo>
                  <a:pt x="758362" y="329647"/>
                </a:lnTo>
                <a:lnTo>
                  <a:pt x="753912" y="347141"/>
                </a:lnTo>
                <a:lnTo>
                  <a:pt x="740627" y="360879"/>
                </a:lnTo>
                <a:lnTo>
                  <a:pt x="717573" y="374724"/>
                </a:lnTo>
                <a:lnTo>
                  <a:pt x="710811" y="379827"/>
                </a:lnTo>
                <a:lnTo>
                  <a:pt x="696393" y="410479"/>
                </a:lnTo>
                <a:lnTo>
                  <a:pt x="696421" y="418974"/>
                </a:lnTo>
                <a:lnTo>
                  <a:pt x="698076" y="427267"/>
                </a:lnTo>
                <a:lnTo>
                  <a:pt x="701409" y="435129"/>
                </a:lnTo>
                <a:lnTo>
                  <a:pt x="714482" y="458633"/>
                </a:lnTo>
                <a:lnTo>
                  <a:pt x="716987" y="468679"/>
                </a:lnTo>
                <a:close/>
              </a:path>
              <a:path w="857250" h="857250">
                <a:moveTo>
                  <a:pt x="396233" y="308331"/>
                </a:moveTo>
                <a:lnTo>
                  <a:pt x="329196" y="308331"/>
                </a:lnTo>
                <a:lnTo>
                  <a:pt x="392755" y="265379"/>
                </a:lnTo>
                <a:lnTo>
                  <a:pt x="396233" y="265379"/>
                </a:lnTo>
                <a:lnTo>
                  <a:pt x="396233" y="308331"/>
                </a:lnTo>
                <a:close/>
              </a:path>
              <a:path w="857250" h="857250">
                <a:moveTo>
                  <a:pt x="850939" y="686018"/>
                </a:moveTo>
                <a:lnTo>
                  <a:pt x="575192" y="686018"/>
                </a:lnTo>
                <a:lnTo>
                  <a:pt x="614494" y="678100"/>
                </a:lnTo>
                <a:lnTo>
                  <a:pt x="646894" y="656514"/>
                </a:lnTo>
                <a:lnTo>
                  <a:pt x="669057" y="624517"/>
                </a:lnTo>
                <a:lnTo>
                  <a:pt x="677647" y="585366"/>
                </a:lnTo>
                <a:lnTo>
                  <a:pt x="677711" y="578733"/>
                </a:lnTo>
                <a:lnTo>
                  <a:pt x="684344" y="578669"/>
                </a:lnTo>
                <a:lnTo>
                  <a:pt x="696749" y="577653"/>
                </a:lnTo>
                <a:lnTo>
                  <a:pt x="708702" y="575135"/>
                </a:lnTo>
                <a:lnTo>
                  <a:pt x="720148" y="571245"/>
                </a:lnTo>
                <a:lnTo>
                  <a:pt x="731032" y="566112"/>
                </a:lnTo>
                <a:lnTo>
                  <a:pt x="850939" y="686018"/>
                </a:lnTo>
                <a:close/>
              </a:path>
              <a:path w="857250" h="857250">
                <a:moveTo>
                  <a:pt x="164855" y="857185"/>
                </a:moveTo>
                <a:lnTo>
                  <a:pt x="164855" y="692329"/>
                </a:lnTo>
                <a:lnTo>
                  <a:pt x="0" y="692329"/>
                </a:lnTo>
                <a:lnTo>
                  <a:pt x="126153" y="566176"/>
                </a:lnTo>
                <a:lnTo>
                  <a:pt x="172905" y="578669"/>
                </a:lnTo>
                <a:lnTo>
                  <a:pt x="179473" y="578798"/>
                </a:lnTo>
                <a:lnTo>
                  <a:pt x="179602" y="585366"/>
                </a:lnTo>
                <a:lnTo>
                  <a:pt x="188182" y="624527"/>
                </a:lnTo>
                <a:lnTo>
                  <a:pt x="210322" y="656546"/>
                </a:lnTo>
                <a:lnTo>
                  <a:pt x="242700" y="678154"/>
                </a:lnTo>
                <a:lnTo>
                  <a:pt x="281993" y="686083"/>
                </a:lnTo>
                <a:lnTo>
                  <a:pt x="335958" y="686083"/>
                </a:lnTo>
                <a:lnTo>
                  <a:pt x="164855" y="857185"/>
                </a:lnTo>
                <a:close/>
              </a:path>
              <a:path w="857250" h="857250">
                <a:moveTo>
                  <a:pt x="500744" y="599084"/>
                </a:moveTo>
                <a:lnTo>
                  <a:pt x="500560" y="599081"/>
                </a:lnTo>
                <a:lnTo>
                  <a:pt x="356431" y="599081"/>
                </a:lnTo>
                <a:lnTo>
                  <a:pt x="356243" y="599018"/>
                </a:lnTo>
                <a:lnTo>
                  <a:pt x="347793" y="597470"/>
                </a:lnTo>
                <a:lnTo>
                  <a:pt x="509397" y="597470"/>
                </a:lnTo>
                <a:lnTo>
                  <a:pt x="500942" y="599018"/>
                </a:lnTo>
                <a:lnTo>
                  <a:pt x="500754" y="599081"/>
                </a:lnTo>
                <a:lnTo>
                  <a:pt x="356440" y="599084"/>
                </a:lnTo>
                <a:lnTo>
                  <a:pt x="500744" y="599084"/>
                </a:lnTo>
                <a:close/>
              </a:path>
              <a:path w="857250" h="857250">
                <a:moveTo>
                  <a:pt x="576084" y="620124"/>
                </a:moveTo>
                <a:lnTo>
                  <a:pt x="557547" y="615504"/>
                </a:lnTo>
                <a:lnTo>
                  <a:pt x="534042" y="602431"/>
                </a:lnTo>
                <a:lnTo>
                  <a:pt x="526181" y="599102"/>
                </a:lnTo>
                <a:lnTo>
                  <a:pt x="517888" y="597473"/>
                </a:lnTo>
                <a:lnTo>
                  <a:pt x="509397" y="597470"/>
                </a:lnTo>
                <a:lnTo>
                  <a:pt x="607911" y="597470"/>
                </a:lnTo>
                <a:lnTo>
                  <a:pt x="606428" y="602630"/>
                </a:lnTo>
                <a:lnTo>
                  <a:pt x="593466" y="615207"/>
                </a:lnTo>
                <a:lnTo>
                  <a:pt x="576084" y="620124"/>
                </a:lnTo>
                <a:close/>
              </a:path>
              <a:path w="857250" h="857250">
                <a:moveTo>
                  <a:pt x="428624" y="659330"/>
                </a:moveTo>
                <a:lnTo>
                  <a:pt x="411130" y="654910"/>
                </a:lnTo>
                <a:lnTo>
                  <a:pt x="397392" y="641649"/>
                </a:lnTo>
                <a:lnTo>
                  <a:pt x="383547" y="618595"/>
                </a:lnTo>
                <a:lnTo>
                  <a:pt x="378444" y="611833"/>
                </a:lnTo>
                <a:lnTo>
                  <a:pt x="372145" y="606312"/>
                </a:lnTo>
                <a:lnTo>
                  <a:pt x="364882" y="602070"/>
                </a:lnTo>
                <a:lnTo>
                  <a:pt x="356689" y="599081"/>
                </a:lnTo>
                <a:lnTo>
                  <a:pt x="500560" y="599081"/>
                </a:lnTo>
                <a:lnTo>
                  <a:pt x="459857" y="641649"/>
                </a:lnTo>
                <a:lnTo>
                  <a:pt x="446119" y="654910"/>
                </a:lnTo>
                <a:lnTo>
                  <a:pt x="428624" y="659330"/>
                </a:lnTo>
                <a:close/>
              </a:path>
              <a:path w="857250" h="857250">
                <a:moveTo>
                  <a:pt x="335958" y="686083"/>
                </a:moveTo>
                <a:lnTo>
                  <a:pt x="281993" y="686083"/>
                </a:lnTo>
                <a:lnTo>
                  <a:pt x="294897" y="685247"/>
                </a:lnTo>
                <a:lnTo>
                  <a:pt x="307645" y="682756"/>
                </a:lnTo>
                <a:lnTo>
                  <a:pt x="319888" y="678722"/>
                </a:lnTo>
                <a:lnTo>
                  <a:pt x="331643" y="673139"/>
                </a:lnTo>
                <a:lnTo>
                  <a:pt x="337439" y="669919"/>
                </a:lnTo>
                <a:lnTo>
                  <a:pt x="341544" y="676740"/>
                </a:lnTo>
                <a:lnTo>
                  <a:pt x="342573" y="677621"/>
                </a:lnTo>
                <a:lnTo>
                  <a:pt x="343299" y="678742"/>
                </a:lnTo>
                <a:lnTo>
                  <a:pt x="335958" y="686083"/>
                </a:lnTo>
                <a:close/>
              </a:path>
              <a:path w="857250" h="857250">
                <a:moveTo>
                  <a:pt x="692394" y="857185"/>
                </a:moveTo>
                <a:lnTo>
                  <a:pt x="513950" y="678742"/>
                </a:lnTo>
                <a:lnTo>
                  <a:pt x="514676" y="677621"/>
                </a:lnTo>
                <a:lnTo>
                  <a:pt x="515705" y="676740"/>
                </a:lnTo>
                <a:lnTo>
                  <a:pt x="519810" y="669919"/>
                </a:lnTo>
                <a:lnTo>
                  <a:pt x="562301" y="685198"/>
                </a:lnTo>
                <a:lnTo>
                  <a:pt x="575192" y="686018"/>
                </a:lnTo>
                <a:lnTo>
                  <a:pt x="850939" y="686018"/>
                </a:lnTo>
                <a:lnTo>
                  <a:pt x="857249" y="692329"/>
                </a:lnTo>
                <a:lnTo>
                  <a:pt x="692394" y="692329"/>
                </a:lnTo>
                <a:lnTo>
                  <a:pt x="692394" y="857185"/>
                </a:lnTo>
                <a:close/>
              </a:path>
            </a:pathLst>
          </a:custGeom>
          <a:solidFill>
            <a:srgbClr val="21408B"/>
          </a:solidFill>
        </p:spPr>
        <p:txBody>
          <a:bodyPr wrap="square" lIns="0" tIns="0" rIns="0" bIns="0" rtlCol="0"/>
          <a:lstStyle/>
          <a:p>
            <a:endParaRPr/>
          </a:p>
        </p:txBody>
      </p:sp>
      <p:sp>
        <p:nvSpPr>
          <p:cNvPr id="87" name="object 87"/>
          <p:cNvSpPr txBox="1"/>
          <p:nvPr/>
        </p:nvSpPr>
        <p:spPr>
          <a:xfrm>
            <a:off x="8058176" y="2393235"/>
            <a:ext cx="723265" cy="232410"/>
          </a:xfrm>
          <a:prstGeom prst="rect">
            <a:avLst/>
          </a:prstGeom>
        </p:spPr>
        <p:txBody>
          <a:bodyPr vert="horz" wrap="square" lIns="0" tIns="13335" rIns="0" bIns="0" rtlCol="0">
            <a:spAutoFit/>
          </a:bodyPr>
          <a:lstStyle/>
          <a:p>
            <a:pPr marL="12700">
              <a:lnSpc>
                <a:spcPct val="100000"/>
              </a:lnSpc>
              <a:spcBef>
                <a:spcPts val="105"/>
              </a:spcBef>
            </a:pPr>
            <a:r>
              <a:rPr sz="1350" b="1" spc="-10" dirty="0">
                <a:solidFill>
                  <a:srgbClr val="737373"/>
                </a:solidFill>
                <a:latin typeface="Roboto"/>
                <a:cs typeface="Roboto"/>
              </a:rPr>
              <a:t>Australia</a:t>
            </a:r>
            <a:endParaRPr sz="1350">
              <a:latin typeface="Roboto"/>
              <a:cs typeface="Roboto"/>
            </a:endParaRPr>
          </a:p>
        </p:txBody>
      </p:sp>
      <p:sp>
        <p:nvSpPr>
          <p:cNvPr id="88" name="object 88"/>
          <p:cNvSpPr txBox="1"/>
          <p:nvPr/>
        </p:nvSpPr>
        <p:spPr>
          <a:xfrm>
            <a:off x="14616540" y="2393235"/>
            <a:ext cx="784225" cy="232410"/>
          </a:xfrm>
          <a:prstGeom prst="rect">
            <a:avLst/>
          </a:prstGeom>
        </p:spPr>
        <p:txBody>
          <a:bodyPr vert="horz" wrap="square" lIns="0" tIns="13335" rIns="0" bIns="0" rtlCol="0">
            <a:spAutoFit/>
          </a:bodyPr>
          <a:lstStyle/>
          <a:p>
            <a:pPr marL="12700">
              <a:lnSpc>
                <a:spcPct val="100000"/>
              </a:lnSpc>
              <a:spcBef>
                <a:spcPts val="105"/>
              </a:spcBef>
            </a:pPr>
            <a:r>
              <a:rPr sz="1350" b="1" spc="-10" dirty="0">
                <a:solidFill>
                  <a:srgbClr val="737373"/>
                </a:solidFill>
                <a:latin typeface="Roboto"/>
                <a:cs typeface="Roboto"/>
              </a:rPr>
              <a:t>Argentina</a:t>
            </a:r>
            <a:endParaRPr sz="1350">
              <a:latin typeface="Roboto"/>
              <a:cs typeface="Roboto"/>
            </a:endParaRPr>
          </a:p>
        </p:txBody>
      </p:sp>
      <p:sp>
        <p:nvSpPr>
          <p:cNvPr id="89" name="object 89"/>
          <p:cNvSpPr txBox="1"/>
          <p:nvPr/>
        </p:nvSpPr>
        <p:spPr>
          <a:xfrm>
            <a:off x="15925631" y="2393235"/>
            <a:ext cx="470534" cy="232410"/>
          </a:xfrm>
          <a:prstGeom prst="rect">
            <a:avLst/>
          </a:prstGeom>
        </p:spPr>
        <p:txBody>
          <a:bodyPr vert="horz" wrap="square" lIns="0" tIns="13335" rIns="0" bIns="0" rtlCol="0">
            <a:spAutoFit/>
          </a:bodyPr>
          <a:lstStyle/>
          <a:p>
            <a:pPr marL="12700">
              <a:lnSpc>
                <a:spcPct val="100000"/>
              </a:lnSpc>
              <a:spcBef>
                <a:spcPts val="105"/>
              </a:spcBef>
            </a:pPr>
            <a:r>
              <a:rPr sz="1350" b="1" spc="-10" dirty="0">
                <a:solidFill>
                  <a:srgbClr val="737373"/>
                </a:solidFill>
                <a:latin typeface="Roboto"/>
                <a:cs typeface="Roboto"/>
              </a:rPr>
              <a:t>Brasil</a:t>
            </a:r>
            <a:endParaRPr sz="1350">
              <a:latin typeface="Roboto"/>
              <a:cs typeface="Roboto"/>
            </a:endParaRPr>
          </a:p>
        </p:txBody>
      </p:sp>
      <p:sp>
        <p:nvSpPr>
          <p:cNvPr id="90" name="object 90"/>
          <p:cNvSpPr txBox="1"/>
          <p:nvPr/>
        </p:nvSpPr>
        <p:spPr>
          <a:xfrm>
            <a:off x="17068590" y="2400985"/>
            <a:ext cx="389255" cy="232410"/>
          </a:xfrm>
          <a:prstGeom prst="rect">
            <a:avLst/>
          </a:prstGeom>
        </p:spPr>
        <p:txBody>
          <a:bodyPr vert="horz" wrap="square" lIns="0" tIns="13335" rIns="0" bIns="0" rtlCol="0">
            <a:spAutoFit/>
          </a:bodyPr>
          <a:lstStyle/>
          <a:p>
            <a:pPr marL="12700">
              <a:lnSpc>
                <a:spcPct val="100000"/>
              </a:lnSpc>
              <a:spcBef>
                <a:spcPts val="105"/>
              </a:spcBef>
            </a:pPr>
            <a:r>
              <a:rPr sz="1350" b="1" spc="-20" dirty="0">
                <a:solidFill>
                  <a:srgbClr val="737373"/>
                </a:solidFill>
                <a:latin typeface="Roboto"/>
                <a:cs typeface="Roboto"/>
              </a:rPr>
              <a:t>Perú</a:t>
            </a:r>
            <a:endParaRPr sz="1350">
              <a:latin typeface="Roboto"/>
              <a:cs typeface="Roboto"/>
            </a:endParaRPr>
          </a:p>
        </p:txBody>
      </p:sp>
      <p:sp>
        <p:nvSpPr>
          <p:cNvPr id="91" name="object 91"/>
          <p:cNvSpPr txBox="1"/>
          <p:nvPr/>
        </p:nvSpPr>
        <p:spPr>
          <a:xfrm>
            <a:off x="637985" y="384149"/>
            <a:ext cx="10929620" cy="482600"/>
          </a:xfrm>
          <a:prstGeom prst="rect">
            <a:avLst/>
          </a:prstGeom>
        </p:spPr>
        <p:txBody>
          <a:bodyPr vert="horz" wrap="square" lIns="0" tIns="12700" rIns="0" bIns="0" rtlCol="0">
            <a:spAutoFit/>
          </a:bodyPr>
          <a:lstStyle/>
          <a:p>
            <a:pPr marL="12700">
              <a:lnSpc>
                <a:spcPct val="100000"/>
              </a:lnSpc>
              <a:spcBef>
                <a:spcPts val="100"/>
              </a:spcBef>
            </a:pPr>
            <a:r>
              <a:rPr sz="3000" dirty="0">
                <a:solidFill>
                  <a:srgbClr val="FFFFFF"/>
                </a:solidFill>
                <a:latin typeface="Roboto"/>
                <a:cs typeface="Roboto"/>
              </a:rPr>
              <a:t>05.</a:t>
            </a:r>
            <a:r>
              <a:rPr sz="3000" spc="-105" dirty="0">
                <a:solidFill>
                  <a:srgbClr val="FFFFFF"/>
                </a:solidFill>
                <a:latin typeface="Roboto"/>
                <a:cs typeface="Roboto"/>
              </a:rPr>
              <a:t> </a:t>
            </a:r>
            <a:r>
              <a:rPr sz="3000" spc="-20" dirty="0">
                <a:solidFill>
                  <a:srgbClr val="FFFFFF"/>
                </a:solidFill>
                <a:latin typeface="Roboto"/>
                <a:cs typeface="Roboto"/>
              </a:rPr>
              <a:t>Propuesta</a:t>
            </a:r>
            <a:r>
              <a:rPr sz="3000" spc="-100" dirty="0">
                <a:solidFill>
                  <a:srgbClr val="FFFFFF"/>
                </a:solidFill>
                <a:latin typeface="Roboto"/>
                <a:cs typeface="Roboto"/>
              </a:rPr>
              <a:t> </a:t>
            </a:r>
            <a:r>
              <a:rPr sz="3000" dirty="0">
                <a:solidFill>
                  <a:srgbClr val="FFFFFF"/>
                </a:solidFill>
                <a:latin typeface="Roboto"/>
                <a:cs typeface="Roboto"/>
              </a:rPr>
              <a:t>de</a:t>
            </a:r>
            <a:r>
              <a:rPr sz="3000" spc="-100" dirty="0">
                <a:solidFill>
                  <a:srgbClr val="FFFFFF"/>
                </a:solidFill>
                <a:latin typeface="Roboto"/>
                <a:cs typeface="Roboto"/>
              </a:rPr>
              <a:t> </a:t>
            </a:r>
            <a:r>
              <a:rPr sz="3000" spc="-20" dirty="0">
                <a:solidFill>
                  <a:srgbClr val="FFFFFF"/>
                </a:solidFill>
                <a:latin typeface="Roboto"/>
                <a:cs typeface="Roboto"/>
              </a:rPr>
              <a:t>marketing</a:t>
            </a:r>
            <a:r>
              <a:rPr sz="3000" spc="-100" dirty="0">
                <a:solidFill>
                  <a:srgbClr val="FFFFFF"/>
                </a:solidFill>
                <a:latin typeface="Roboto"/>
                <a:cs typeface="Roboto"/>
              </a:rPr>
              <a:t> </a:t>
            </a:r>
            <a:r>
              <a:rPr sz="3000" dirty="0">
                <a:solidFill>
                  <a:srgbClr val="FFFFFF"/>
                </a:solidFill>
                <a:latin typeface="Roboto"/>
                <a:cs typeface="Roboto"/>
              </a:rPr>
              <a:t>para</a:t>
            </a:r>
            <a:r>
              <a:rPr sz="3000" spc="-100" dirty="0">
                <a:solidFill>
                  <a:srgbClr val="FFFFFF"/>
                </a:solidFill>
                <a:latin typeface="Roboto"/>
                <a:cs typeface="Roboto"/>
              </a:rPr>
              <a:t> </a:t>
            </a:r>
            <a:r>
              <a:rPr sz="3000" spc="-10" dirty="0">
                <a:solidFill>
                  <a:srgbClr val="FFFFFF"/>
                </a:solidFill>
                <a:latin typeface="Roboto"/>
                <a:cs typeface="Roboto"/>
              </a:rPr>
              <a:t>Australia</a:t>
            </a:r>
            <a:r>
              <a:rPr sz="3000" spc="-100" dirty="0">
                <a:solidFill>
                  <a:srgbClr val="FFFFFF"/>
                </a:solidFill>
                <a:latin typeface="Roboto"/>
                <a:cs typeface="Roboto"/>
              </a:rPr>
              <a:t> </a:t>
            </a:r>
            <a:r>
              <a:rPr sz="3000" dirty="0">
                <a:solidFill>
                  <a:srgbClr val="FFFFFF"/>
                </a:solidFill>
                <a:latin typeface="Roboto"/>
                <a:cs typeface="Roboto"/>
              </a:rPr>
              <a:t>y</a:t>
            </a:r>
            <a:r>
              <a:rPr sz="3000" spc="-100" dirty="0">
                <a:solidFill>
                  <a:srgbClr val="FFFFFF"/>
                </a:solidFill>
                <a:latin typeface="Roboto"/>
                <a:cs typeface="Roboto"/>
              </a:rPr>
              <a:t> </a:t>
            </a:r>
            <a:r>
              <a:rPr sz="3000" dirty="0">
                <a:solidFill>
                  <a:srgbClr val="FFFFFF"/>
                </a:solidFill>
                <a:latin typeface="Roboto"/>
                <a:cs typeface="Roboto"/>
              </a:rPr>
              <a:t>Mercados</a:t>
            </a:r>
            <a:r>
              <a:rPr sz="3000" spc="-100" dirty="0">
                <a:solidFill>
                  <a:srgbClr val="FFFFFF"/>
                </a:solidFill>
                <a:latin typeface="Roboto"/>
                <a:cs typeface="Roboto"/>
              </a:rPr>
              <a:t> </a:t>
            </a:r>
            <a:r>
              <a:rPr sz="3000" spc="-10" dirty="0">
                <a:solidFill>
                  <a:srgbClr val="FFFFFF"/>
                </a:solidFill>
                <a:latin typeface="Roboto"/>
                <a:cs typeface="Roboto"/>
              </a:rPr>
              <a:t>limítrofes</a:t>
            </a:r>
            <a:endParaRPr sz="3000">
              <a:latin typeface="Roboto"/>
              <a:cs typeface="Roboto"/>
            </a:endParaRPr>
          </a:p>
        </p:txBody>
      </p:sp>
      <p:sp>
        <p:nvSpPr>
          <p:cNvPr id="92" name="object 92"/>
          <p:cNvSpPr txBox="1"/>
          <p:nvPr/>
        </p:nvSpPr>
        <p:spPr>
          <a:xfrm>
            <a:off x="1587664" y="1948302"/>
            <a:ext cx="5172075" cy="410209"/>
          </a:xfrm>
          <a:prstGeom prst="rect">
            <a:avLst/>
          </a:prstGeom>
        </p:spPr>
        <p:txBody>
          <a:bodyPr vert="horz" wrap="square" lIns="0" tIns="15875" rIns="0" bIns="0" rtlCol="0">
            <a:spAutoFit/>
          </a:bodyPr>
          <a:lstStyle/>
          <a:p>
            <a:pPr marL="12700">
              <a:lnSpc>
                <a:spcPct val="100000"/>
              </a:lnSpc>
              <a:spcBef>
                <a:spcPts val="125"/>
              </a:spcBef>
            </a:pPr>
            <a:r>
              <a:rPr sz="2500" dirty="0">
                <a:solidFill>
                  <a:srgbClr val="737373"/>
                </a:solidFill>
                <a:latin typeface="Roboto"/>
                <a:cs typeface="Roboto"/>
              </a:rPr>
              <a:t>Paquete</a:t>
            </a:r>
            <a:r>
              <a:rPr sz="2500" spc="-85" dirty="0">
                <a:solidFill>
                  <a:srgbClr val="737373"/>
                </a:solidFill>
                <a:latin typeface="Roboto"/>
                <a:cs typeface="Roboto"/>
              </a:rPr>
              <a:t> </a:t>
            </a:r>
            <a:r>
              <a:rPr sz="2500" dirty="0">
                <a:solidFill>
                  <a:srgbClr val="737373"/>
                </a:solidFill>
                <a:latin typeface="Roboto"/>
                <a:cs typeface="Roboto"/>
              </a:rPr>
              <a:t>promocional</a:t>
            </a:r>
            <a:r>
              <a:rPr sz="2500" spc="-85" dirty="0">
                <a:solidFill>
                  <a:srgbClr val="737373"/>
                </a:solidFill>
                <a:latin typeface="Roboto"/>
                <a:cs typeface="Roboto"/>
              </a:rPr>
              <a:t> </a:t>
            </a:r>
            <a:r>
              <a:rPr sz="2500" dirty="0">
                <a:solidFill>
                  <a:srgbClr val="737373"/>
                </a:solidFill>
                <a:latin typeface="Roboto"/>
                <a:cs typeface="Roboto"/>
              </a:rPr>
              <a:t>mercados</a:t>
            </a:r>
            <a:r>
              <a:rPr sz="2500" spc="-90" dirty="0">
                <a:solidFill>
                  <a:srgbClr val="737373"/>
                </a:solidFill>
                <a:latin typeface="Roboto"/>
                <a:cs typeface="Roboto"/>
              </a:rPr>
              <a:t> </a:t>
            </a:r>
            <a:r>
              <a:rPr sz="2500" spc="-25" dirty="0">
                <a:solidFill>
                  <a:srgbClr val="737373"/>
                </a:solidFill>
                <a:latin typeface="Roboto"/>
                <a:cs typeface="Roboto"/>
              </a:rPr>
              <a:t>90º</a:t>
            </a:r>
            <a:endParaRPr sz="2500">
              <a:latin typeface="Roboto"/>
              <a:cs typeface="Roboto"/>
            </a:endParaRPr>
          </a:p>
        </p:txBody>
      </p:sp>
      <p:sp>
        <p:nvSpPr>
          <p:cNvPr id="93" name="object 93"/>
          <p:cNvSpPr txBox="1"/>
          <p:nvPr/>
        </p:nvSpPr>
        <p:spPr>
          <a:xfrm>
            <a:off x="9807936" y="1948302"/>
            <a:ext cx="2892425" cy="410209"/>
          </a:xfrm>
          <a:prstGeom prst="rect">
            <a:avLst/>
          </a:prstGeom>
        </p:spPr>
        <p:txBody>
          <a:bodyPr vert="horz" wrap="square" lIns="0" tIns="15875" rIns="0" bIns="0" rtlCol="0">
            <a:spAutoFit/>
          </a:bodyPr>
          <a:lstStyle/>
          <a:p>
            <a:pPr marL="12700">
              <a:lnSpc>
                <a:spcPct val="100000"/>
              </a:lnSpc>
              <a:spcBef>
                <a:spcPts val="125"/>
              </a:spcBef>
            </a:pPr>
            <a:r>
              <a:rPr sz="2500" dirty="0">
                <a:solidFill>
                  <a:srgbClr val="737373"/>
                </a:solidFill>
                <a:latin typeface="Roboto"/>
                <a:cs typeface="Roboto"/>
              </a:rPr>
              <a:t>Mercados</a:t>
            </a:r>
            <a:r>
              <a:rPr sz="2500" spc="-60" dirty="0">
                <a:solidFill>
                  <a:srgbClr val="737373"/>
                </a:solidFill>
                <a:latin typeface="Roboto"/>
                <a:cs typeface="Roboto"/>
              </a:rPr>
              <a:t> </a:t>
            </a:r>
            <a:r>
              <a:rPr sz="2500" spc="-10" dirty="0">
                <a:solidFill>
                  <a:srgbClr val="737373"/>
                </a:solidFill>
                <a:latin typeface="Roboto"/>
                <a:cs typeface="Roboto"/>
              </a:rPr>
              <a:t>limítrofes</a:t>
            </a:r>
            <a:endParaRPr sz="2500">
              <a:latin typeface="Roboto"/>
              <a:cs typeface="Roboto"/>
            </a:endParaRPr>
          </a:p>
        </p:txBody>
      </p:sp>
      <p:sp>
        <p:nvSpPr>
          <p:cNvPr id="94" name="object 94"/>
          <p:cNvSpPr txBox="1"/>
          <p:nvPr/>
        </p:nvSpPr>
        <p:spPr>
          <a:xfrm>
            <a:off x="14899696" y="6086962"/>
            <a:ext cx="2575560" cy="791210"/>
          </a:xfrm>
          <a:prstGeom prst="rect">
            <a:avLst/>
          </a:prstGeom>
        </p:spPr>
        <p:txBody>
          <a:bodyPr vert="horz" wrap="square" lIns="0" tIns="15875" rIns="0" bIns="0" rtlCol="0">
            <a:spAutoFit/>
          </a:bodyPr>
          <a:lstStyle/>
          <a:p>
            <a:pPr marL="12700" marR="5080">
              <a:lnSpc>
                <a:spcPct val="100000"/>
              </a:lnSpc>
              <a:spcBef>
                <a:spcPts val="125"/>
              </a:spcBef>
              <a:tabLst>
                <a:tab pos="835025" algn="l"/>
              </a:tabLst>
            </a:pPr>
            <a:r>
              <a:rPr sz="2500" b="1" spc="160" dirty="0">
                <a:solidFill>
                  <a:srgbClr val="21408B"/>
                </a:solidFill>
                <a:latin typeface="Arial"/>
                <a:cs typeface="Arial"/>
              </a:rPr>
              <a:t>A</a:t>
            </a:r>
            <a:r>
              <a:rPr sz="2500" b="1" spc="50" dirty="0">
                <a:solidFill>
                  <a:srgbClr val="21408B"/>
                </a:solidFill>
                <a:latin typeface="Arial"/>
                <a:cs typeface="Arial"/>
              </a:rPr>
              <a:t> </a:t>
            </a:r>
            <a:r>
              <a:rPr sz="2500" b="1" dirty="0">
                <a:solidFill>
                  <a:srgbClr val="21408B"/>
                </a:solidFill>
                <a:latin typeface="Arial"/>
                <a:cs typeface="Arial"/>
              </a:rPr>
              <a:t>DEFINIR</a:t>
            </a:r>
            <a:r>
              <a:rPr sz="2500" b="1" spc="55" dirty="0">
                <a:solidFill>
                  <a:srgbClr val="21408B"/>
                </a:solidFill>
                <a:latin typeface="Arial"/>
                <a:cs typeface="Arial"/>
              </a:rPr>
              <a:t> </a:t>
            </a:r>
            <a:r>
              <a:rPr sz="2500" b="1" spc="175" dirty="0">
                <a:solidFill>
                  <a:srgbClr val="21408B"/>
                </a:solidFill>
                <a:latin typeface="Arial"/>
                <a:cs typeface="Arial"/>
              </a:rPr>
              <a:t>CON </a:t>
            </a:r>
            <a:r>
              <a:rPr sz="2500" b="1" spc="-25" dirty="0">
                <a:solidFill>
                  <a:srgbClr val="21408B"/>
                </a:solidFill>
                <a:latin typeface="Arial"/>
                <a:cs typeface="Arial"/>
              </a:rPr>
              <a:t>LAS</a:t>
            </a:r>
            <a:r>
              <a:rPr sz="2500" b="1" dirty="0">
                <a:solidFill>
                  <a:srgbClr val="21408B"/>
                </a:solidFill>
                <a:latin typeface="Arial"/>
                <a:cs typeface="Arial"/>
              </a:rPr>
              <a:t>	</a:t>
            </a:r>
            <a:r>
              <a:rPr sz="2500" b="1" spc="-10" dirty="0">
                <a:solidFill>
                  <a:srgbClr val="21408B"/>
                </a:solidFill>
                <a:latin typeface="Arial"/>
                <a:cs typeface="Arial"/>
              </a:rPr>
              <a:t>REGIONES</a:t>
            </a:r>
            <a:endParaRPr sz="2500">
              <a:latin typeface="Arial"/>
              <a:cs typeface="Arial"/>
            </a:endParaRPr>
          </a:p>
        </p:txBody>
      </p:sp>
      <p:sp>
        <p:nvSpPr>
          <p:cNvPr id="95" name="object 95"/>
          <p:cNvSpPr txBox="1"/>
          <p:nvPr/>
        </p:nvSpPr>
        <p:spPr>
          <a:xfrm>
            <a:off x="2389529" y="5453202"/>
            <a:ext cx="1151890" cy="836294"/>
          </a:xfrm>
          <a:prstGeom prst="rect">
            <a:avLst/>
          </a:prstGeom>
        </p:spPr>
        <p:txBody>
          <a:bodyPr vert="horz" wrap="square" lIns="0" tIns="27305" rIns="0" bIns="0" rtlCol="0">
            <a:spAutoFit/>
          </a:bodyPr>
          <a:lstStyle/>
          <a:p>
            <a:pPr marL="12065" marR="5080" algn="ctr">
              <a:lnSpc>
                <a:spcPts val="1580"/>
              </a:lnSpc>
              <a:spcBef>
                <a:spcPts val="215"/>
              </a:spcBef>
            </a:pPr>
            <a:r>
              <a:rPr sz="1350" dirty="0">
                <a:solidFill>
                  <a:srgbClr val="737373"/>
                </a:solidFill>
                <a:latin typeface="Roboto"/>
                <a:cs typeface="Roboto"/>
              </a:rPr>
              <a:t>Volver</a:t>
            </a:r>
            <a:r>
              <a:rPr sz="1350" spc="10" dirty="0">
                <a:solidFill>
                  <a:srgbClr val="737373"/>
                </a:solidFill>
                <a:latin typeface="Roboto"/>
                <a:cs typeface="Roboto"/>
              </a:rPr>
              <a:t> </a:t>
            </a:r>
            <a:r>
              <a:rPr sz="1350" dirty="0">
                <a:solidFill>
                  <a:srgbClr val="737373"/>
                </a:solidFill>
                <a:latin typeface="Roboto"/>
                <a:cs typeface="Roboto"/>
              </a:rPr>
              <a:t>a</a:t>
            </a:r>
            <a:r>
              <a:rPr sz="1350" spc="10" dirty="0">
                <a:solidFill>
                  <a:srgbClr val="737373"/>
                </a:solidFill>
                <a:latin typeface="Roboto"/>
                <a:cs typeface="Roboto"/>
              </a:rPr>
              <a:t> </a:t>
            </a:r>
            <a:r>
              <a:rPr sz="1350" dirty="0">
                <a:solidFill>
                  <a:srgbClr val="737373"/>
                </a:solidFill>
                <a:latin typeface="Roboto"/>
                <a:cs typeface="Roboto"/>
              </a:rPr>
              <a:t>ser</a:t>
            </a:r>
            <a:r>
              <a:rPr sz="1350" spc="15" dirty="0">
                <a:solidFill>
                  <a:srgbClr val="737373"/>
                </a:solidFill>
                <a:latin typeface="Roboto"/>
                <a:cs typeface="Roboto"/>
              </a:rPr>
              <a:t> </a:t>
            </a:r>
            <a:r>
              <a:rPr sz="1350" spc="-25" dirty="0">
                <a:solidFill>
                  <a:srgbClr val="737373"/>
                </a:solidFill>
                <a:latin typeface="Roboto"/>
                <a:cs typeface="Roboto"/>
              </a:rPr>
              <a:t>el </a:t>
            </a:r>
            <a:r>
              <a:rPr sz="1350" b="1" dirty="0">
                <a:solidFill>
                  <a:srgbClr val="E3112B"/>
                </a:solidFill>
                <a:latin typeface="Roboto"/>
                <a:cs typeface="Roboto"/>
              </a:rPr>
              <a:t>1er</a:t>
            </a:r>
            <a:r>
              <a:rPr sz="1350" b="1" spc="60" dirty="0">
                <a:solidFill>
                  <a:srgbClr val="E3112B"/>
                </a:solidFill>
                <a:latin typeface="Roboto"/>
                <a:cs typeface="Roboto"/>
              </a:rPr>
              <a:t> </a:t>
            </a:r>
            <a:r>
              <a:rPr sz="1350" b="1" dirty="0">
                <a:solidFill>
                  <a:srgbClr val="E3112B"/>
                </a:solidFill>
                <a:latin typeface="Roboto"/>
                <a:cs typeface="Roboto"/>
              </a:rPr>
              <a:t>destino</a:t>
            </a:r>
            <a:r>
              <a:rPr sz="1350" b="1" spc="60" dirty="0">
                <a:solidFill>
                  <a:srgbClr val="E3112B"/>
                </a:solidFill>
                <a:latin typeface="Roboto"/>
                <a:cs typeface="Roboto"/>
              </a:rPr>
              <a:t> </a:t>
            </a:r>
            <a:r>
              <a:rPr sz="1350" b="1" spc="-25" dirty="0">
                <a:solidFill>
                  <a:srgbClr val="E3112B"/>
                </a:solidFill>
                <a:latin typeface="Roboto"/>
                <a:cs typeface="Roboto"/>
              </a:rPr>
              <a:t>en </a:t>
            </a:r>
            <a:r>
              <a:rPr sz="1350" b="1" dirty="0">
                <a:solidFill>
                  <a:srgbClr val="E3112B"/>
                </a:solidFill>
                <a:latin typeface="Roboto"/>
                <a:cs typeface="Roboto"/>
              </a:rPr>
              <a:t>llegadas</a:t>
            </a:r>
            <a:r>
              <a:rPr sz="1350" b="1" spc="45" dirty="0">
                <a:solidFill>
                  <a:srgbClr val="E3112B"/>
                </a:solidFill>
                <a:latin typeface="Roboto"/>
                <a:cs typeface="Roboto"/>
              </a:rPr>
              <a:t> </a:t>
            </a:r>
            <a:r>
              <a:rPr sz="1350" dirty="0">
                <a:solidFill>
                  <a:srgbClr val="737373"/>
                </a:solidFill>
                <a:latin typeface="Roboto"/>
                <a:cs typeface="Roboto"/>
              </a:rPr>
              <a:t>de</a:t>
            </a:r>
            <a:r>
              <a:rPr sz="1350" spc="55" dirty="0">
                <a:solidFill>
                  <a:srgbClr val="737373"/>
                </a:solidFill>
                <a:latin typeface="Roboto"/>
                <a:cs typeface="Roboto"/>
              </a:rPr>
              <a:t> </a:t>
            </a:r>
            <a:r>
              <a:rPr sz="1350" spc="-25" dirty="0">
                <a:solidFill>
                  <a:srgbClr val="737373"/>
                </a:solidFill>
                <a:latin typeface="Roboto"/>
                <a:cs typeface="Roboto"/>
              </a:rPr>
              <a:t>la </a:t>
            </a:r>
            <a:r>
              <a:rPr sz="1350" spc="-10" dirty="0">
                <a:solidFill>
                  <a:srgbClr val="737373"/>
                </a:solidFill>
                <a:latin typeface="Roboto"/>
                <a:cs typeface="Roboto"/>
              </a:rPr>
              <a:t>región</a:t>
            </a:r>
            <a:endParaRPr sz="1350">
              <a:latin typeface="Roboto"/>
              <a:cs typeface="Roboto"/>
            </a:endParaRPr>
          </a:p>
        </p:txBody>
      </p:sp>
      <p:sp>
        <p:nvSpPr>
          <p:cNvPr id="96" name="object 96"/>
          <p:cNvSpPr txBox="1"/>
          <p:nvPr/>
        </p:nvSpPr>
        <p:spPr>
          <a:xfrm>
            <a:off x="11260621" y="7789247"/>
            <a:ext cx="1356360" cy="1036319"/>
          </a:xfrm>
          <a:prstGeom prst="rect">
            <a:avLst/>
          </a:prstGeom>
        </p:spPr>
        <p:txBody>
          <a:bodyPr vert="horz" wrap="square" lIns="0" tIns="27305" rIns="0" bIns="0" rtlCol="0">
            <a:spAutoFit/>
          </a:bodyPr>
          <a:lstStyle/>
          <a:p>
            <a:pPr marL="12065" marR="5080" indent="-635" algn="ctr">
              <a:lnSpc>
                <a:spcPts val="1580"/>
              </a:lnSpc>
              <a:spcBef>
                <a:spcPts val="215"/>
              </a:spcBef>
            </a:pPr>
            <a:r>
              <a:rPr sz="1350" dirty="0">
                <a:solidFill>
                  <a:srgbClr val="737373"/>
                </a:solidFill>
                <a:latin typeface="Roboto"/>
                <a:cs typeface="Roboto"/>
              </a:rPr>
              <a:t>Aumentar</a:t>
            </a:r>
            <a:r>
              <a:rPr sz="1350" spc="10" dirty="0">
                <a:solidFill>
                  <a:srgbClr val="737373"/>
                </a:solidFill>
                <a:latin typeface="Roboto"/>
                <a:cs typeface="Roboto"/>
              </a:rPr>
              <a:t> </a:t>
            </a:r>
            <a:r>
              <a:rPr sz="1350" b="1" spc="-20" dirty="0">
                <a:solidFill>
                  <a:srgbClr val="E3112B"/>
                </a:solidFill>
                <a:latin typeface="Roboto"/>
                <a:cs typeface="Roboto"/>
              </a:rPr>
              <a:t>gasto </a:t>
            </a:r>
            <a:r>
              <a:rPr sz="1350" b="1" dirty="0">
                <a:solidFill>
                  <a:srgbClr val="E3112B"/>
                </a:solidFill>
                <a:latin typeface="Roboto"/>
                <a:cs typeface="Roboto"/>
              </a:rPr>
              <a:t>diario</a:t>
            </a:r>
            <a:r>
              <a:rPr sz="1350" b="1" spc="30" dirty="0">
                <a:solidFill>
                  <a:srgbClr val="E3112B"/>
                </a:solidFill>
                <a:latin typeface="Roboto"/>
                <a:cs typeface="Roboto"/>
              </a:rPr>
              <a:t> </a:t>
            </a:r>
            <a:r>
              <a:rPr sz="1350" b="1" dirty="0">
                <a:solidFill>
                  <a:srgbClr val="E3112B"/>
                </a:solidFill>
                <a:latin typeface="Roboto"/>
                <a:cs typeface="Roboto"/>
              </a:rPr>
              <a:t>y</a:t>
            </a:r>
            <a:r>
              <a:rPr sz="1350" b="1" spc="35" dirty="0">
                <a:solidFill>
                  <a:srgbClr val="E3112B"/>
                </a:solidFill>
                <a:latin typeface="Roboto"/>
                <a:cs typeface="Roboto"/>
              </a:rPr>
              <a:t> </a:t>
            </a:r>
            <a:r>
              <a:rPr sz="1350" b="1" spc="-10" dirty="0">
                <a:solidFill>
                  <a:srgbClr val="E3112B"/>
                </a:solidFill>
                <a:latin typeface="Roboto"/>
                <a:cs typeface="Roboto"/>
              </a:rPr>
              <a:t>estadía </a:t>
            </a:r>
            <a:r>
              <a:rPr sz="1350" dirty="0">
                <a:solidFill>
                  <a:srgbClr val="737373"/>
                </a:solidFill>
                <a:latin typeface="Roboto"/>
                <a:cs typeface="Roboto"/>
              </a:rPr>
              <a:t>para</a:t>
            </a:r>
            <a:r>
              <a:rPr sz="1350" spc="15" dirty="0">
                <a:solidFill>
                  <a:srgbClr val="737373"/>
                </a:solidFill>
                <a:latin typeface="Roboto"/>
                <a:cs typeface="Roboto"/>
              </a:rPr>
              <a:t> </a:t>
            </a:r>
            <a:r>
              <a:rPr sz="1350" spc="-10" dirty="0">
                <a:solidFill>
                  <a:srgbClr val="737373"/>
                </a:solidFill>
                <a:latin typeface="Roboto"/>
                <a:cs typeface="Roboto"/>
              </a:rPr>
              <a:t>incrementar </a:t>
            </a:r>
            <a:r>
              <a:rPr sz="1350" dirty="0">
                <a:solidFill>
                  <a:srgbClr val="737373"/>
                </a:solidFill>
                <a:latin typeface="Roboto"/>
                <a:cs typeface="Roboto"/>
              </a:rPr>
              <a:t>el</a:t>
            </a:r>
            <a:r>
              <a:rPr sz="1350" spc="50" dirty="0">
                <a:solidFill>
                  <a:srgbClr val="737373"/>
                </a:solidFill>
                <a:latin typeface="Roboto"/>
                <a:cs typeface="Roboto"/>
              </a:rPr>
              <a:t> </a:t>
            </a:r>
            <a:r>
              <a:rPr sz="1350" b="1" dirty="0">
                <a:solidFill>
                  <a:srgbClr val="E3112B"/>
                </a:solidFill>
                <a:latin typeface="Roboto"/>
                <a:cs typeface="Roboto"/>
              </a:rPr>
              <a:t>ingreso</a:t>
            </a:r>
            <a:r>
              <a:rPr sz="1350" b="1" spc="50" dirty="0">
                <a:solidFill>
                  <a:srgbClr val="E3112B"/>
                </a:solidFill>
                <a:latin typeface="Roboto"/>
                <a:cs typeface="Roboto"/>
              </a:rPr>
              <a:t> </a:t>
            </a:r>
            <a:r>
              <a:rPr sz="1350" b="1" spc="-25" dirty="0">
                <a:solidFill>
                  <a:srgbClr val="E3112B"/>
                </a:solidFill>
                <a:latin typeface="Roboto"/>
                <a:cs typeface="Roboto"/>
              </a:rPr>
              <a:t>de </a:t>
            </a:r>
            <a:r>
              <a:rPr sz="1350" b="1" spc="-10" dirty="0">
                <a:solidFill>
                  <a:srgbClr val="E3112B"/>
                </a:solidFill>
                <a:latin typeface="Roboto"/>
                <a:cs typeface="Roboto"/>
              </a:rPr>
              <a:t>divisas</a:t>
            </a:r>
            <a:endParaRPr sz="1350">
              <a:latin typeface="Roboto"/>
              <a:cs typeface="Roboto"/>
            </a:endParaRPr>
          </a:p>
        </p:txBody>
      </p:sp>
      <p:sp>
        <p:nvSpPr>
          <p:cNvPr id="97" name="object 97"/>
          <p:cNvSpPr txBox="1"/>
          <p:nvPr/>
        </p:nvSpPr>
        <p:spPr>
          <a:xfrm>
            <a:off x="12892730" y="7789247"/>
            <a:ext cx="1112520" cy="636270"/>
          </a:xfrm>
          <a:prstGeom prst="rect">
            <a:avLst/>
          </a:prstGeom>
        </p:spPr>
        <p:txBody>
          <a:bodyPr vert="horz" wrap="square" lIns="0" tIns="27305" rIns="0" bIns="0" rtlCol="0">
            <a:spAutoFit/>
          </a:bodyPr>
          <a:lstStyle/>
          <a:p>
            <a:pPr marL="132715" marR="5080" indent="-120650">
              <a:lnSpc>
                <a:spcPts val="1580"/>
              </a:lnSpc>
              <a:spcBef>
                <a:spcPts val="215"/>
              </a:spcBef>
            </a:pPr>
            <a:r>
              <a:rPr sz="1350" dirty="0">
                <a:solidFill>
                  <a:srgbClr val="737373"/>
                </a:solidFill>
                <a:latin typeface="Roboto"/>
                <a:cs typeface="Roboto"/>
              </a:rPr>
              <a:t>Contribuir</a:t>
            </a:r>
            <a:r>
              <a:rPr sz="1350" spc="-5" dirty="0">
                <a:solidFill>
                  <a:srgbClr val="737373"/>
                </a:solidFill>
                <a:latin typeface="Roboto"/>
                <a:cs typeface="Roboto"/>
              </a:rPr>
              <a:t> </a:t>
            </a:r>
            <a:r>
              <a:rPr sz="1350" dirty="0">
                <a:solidFill>
                  <a:srgbClr val="737373"/>
                </a:solidFill>
                <a:latin typeface="Roboto"/>
                <a:cs typeface="Roboto"/>
              </a:rPr>
              <a:t>a </a:t>
            </a:r>
            <a:r>
              <a:rPr sz="1350" spc="-25" dirty="0">
                <a:solidFill>
                  <a:srgbClr val="737373"/>
                </a:solidFill>
                <a:latin typeface="Roboto"/>
                <a:cs typeface="Roboto"/>
              </a:rPr>
              <a:t>la </a:t>
            </a:r>
            <a:r>
              <a:rPr sz="1350" b="1" spc="-10" dirty="0">
                <a:solidFill>
                  <a:srgbClr val="E3112B"/>
                </a:solidFill>
                <a:latin typeface="Roboto"/>
                <a:cs typeface="Roboto"/>
              </a:rPr>
              <a:t>dispersión geográfica</a:t>
            </a:r>
            <a:endParaRPr sz="1350">
              <a:latin typeface="Roboto"/>
              <a:cs typeface="Roboto"/>
            </a:endParaRPr>
          </a:p>
        </p:txBody>
      </p:sp>
      <p:sp>
        <p:nvSpPr>
          <p:cNvPr id="98" name="object 98"/>
          <p:cNvSpPr txBox="1"/>
          <p:nvPr/>
        </p:nvSpPr>
        <p:spPr>
          <a:xfrm>
            <a:off x="799744" y="5453202"/>
            <a:ext cx="968375" cy="636270"/>
          </a:xfrm>
          <a:prstGeom prst="rect">
            <a:avLst/>
          </a:prstGeom>
        </p:spPr>
        <p:txBody>
          <a:bodyPr vert="horz" wrap="square" lIns="0" tIns="27305" rIns="0" bIns="0" rtlCol="0">
            <a:spAutoFit/>
          </a:bodyPr>
          <a:lstStyle/>
          <a:p>
            <a:pPr marL="12065" marR="5080" algn="ctr">
              <a:lnSpc>
                <a:spcPts val="1580"/>
              </a:lnSpc>
              <a:spcBef>
                <a:spcPts val="215"/>
              </a:spcBef>
            </a:pPr>
            <a:r>
              <a:rPr sz="1350" b="1" spc="-10" dirty="0">
                <a:solidFill>
                  <a:srgbClr val="E1092F"/>
                </a:solidFill>
                <a:latin typeface="Roboto"/>
                <a:cs typeface="Roboto"/>
              </a:rPr>
              <a:t>Recuperar </a:t>
            </a:r>
            <a:r>
              <a:rPr sz="1350" spc="-10" dirty="0">
                <a:solidFill>
                  <a:srgbClr val="737373"/>
                </a:solidFill>
                <a:latin typeface="Roboto"/>
                <a:cs typeface="Roboto"/>
              </a:rPr>
              <a:t>llegadas </a:t>
            </a:r>
            <a:r>
              <a:rPr sz="1350" dirty="0">
                <a:solidFill>
                  <a:srgbClr val="737373"/>
                </a:solidFill>
                <a:latin typeface="Roboto"/>
                <a:cs typeface="Roboto"/>
              </a:rPr>
              <a:t>tras</a:t>
            </a:r>
            <a:r>
              <a:rPr sz="1350" spc="-5" dirty="0">
                <a:solidFill>
                  <a:srgbClr val="737373"/>
                </a:solidFill>
                <a:latin typeface="Roboto"/>
                <a:cs typeface="Roboto"/>
              </a:rPr>
              <a:t> </a:t>
            </a:r>
            <a:r>
              <a:rPr sz="1350" dirty="0">
                <a:solidFill>
                  <a:srgbClr val="737373"/>
                </a:solidFill>
                <a:latin typeface="Roboto"/>
                <a:cs typeface="Roboto"/>
              </a:rPr>
              <a:t>el</a:t>
            </a:r>
            <a:r>
              <a:rPr sz="1350" spc="-5" dirty="0">
                <a:solidFill>
                  <a:srgbClr val="737373"/>
                </a:solidFill>
                <a:latin typeface="Roboto"/>
                <a:cs typeface="Roboto"/>
              </a:rPr>
              <a:t> </a:t>
            </a:r>
            <a:r>
              <a:rPr sz="1350" spc="-10" dirty="0">
                <a:solidFill>
                  <a:srgbClr val="737373"/>
                </a:solidFill>
                <a:latin typeface="Roboto"/>
                <a:cs typeface="Roboto"/>
              </a:rPr>
              <a:t>covid</a:t>
            </a:r>
            <a:endParaRPr sz="1350">
              <a:latin typeface="Roboto"/>
              <a:cs typeface="Roboto"/>
            </a:endParaRPr>
          </a:p>
        </p:txBody>
      </p:sp>
      <p:sp>
        <p:nvSpPr>
          <p:cNvPr id="99" name="object 99"/>
          <p:cNvSpPr txBox="1"/>
          <p:nvPr/>
        </p:nvSpPr>
        <p:spPr>
          <a:xfrm>
            <a:off x="10107841" y="5453202"/>
            <a:ext cx="1421130" cy="636270"/>
          </a:xfrm>
          <a:prstGeom prst="rect">
            <a:avLst/>
          </a:prstGeom>
        </p:spPr>
        <p:txBody>
          <a:bodyPr vert="horz" wrap="square" lIns="0" tIns="27305" rIns="0" bIns="0" rtlCol="0">
            <a:spAutoFit/>
          </a:bodyPr>
          <a:lstStyle/>
          <a:p>
            <a:pPr marL="12700" marR="5080" algn="ctr">
              <a:lnSpc>
                <a:spcPts val="1580"/>
              </a:lnSpc>
              <a:spcBef>
                <a:spcPts val="215"/>
              </a:spcBef>
            </a:pPr>
            <a:r>
              <a:rPr sz="1350" dirty="0">
                <a:solidFill>
                  <a:srgbClr val="737373"/>
                </a:solidFill>
                <a:latin typeface="Roboto"/>
                <a:cs typeface="Roboto"/>
              </a:rPr>
              <a:t>Mantener</a:t>
            </a:r>
            <a:r>
              <a:rPr sz="1350" spc="-15" dirty="0">
                <a:solidFill>
                  <a:srgbClr val="737373"/>
                </a:solidFill>
                <a:latin typeface="Roboto"/>
                <a:cs typeface="Roboto"/>
              </a:rPr>
              <a:t> </a:t>
            </a:r>
            <a:r>
              <a:rPr sz="1350" spc="-10" dirty="0">
                <a:solidFill>
                  <a:srgbClr val="737373"/>
                </a:solidFill>
                <a:latin typeface="Roboto"/>
                <a:cs typeface="Roboto"/>
              </a:rPr>
              <a:t>elevado </a:t>
            </a:r>
            <a:r>
              <a:rPr sz="1350" dirty="0">
                <a:solidFill>
                  <a:srgbClr val="737373"/>
                </a:solidFill>
                <a:latin typeface="Roboto"/>
                <a:cs typeface="Roboto"/>
              </a:rPr>
              <a:t>número</a:t>
            </a:r>
            <a:r>
              <a:rPr sz="1350" spc="20" dirty="0">
                <a:solidFill>
                  <a:srgbClr val="737373"/>
                </a:solidFill>
                <a:latin typeface="Roboto"/>
                <a:cs typeface="Roboto"/>
              </a:rPr>
              <a:t> </a:t>
            </a:r>
            <a:r>
              <a:rPr sz="1350" spc="-35" dirty="0">
                <a:solidFill>
                  <a:srgbClr val="737373"/>
                </a:solidFill>
                <a:latin typeface="Roboto"/>
                <a:cs typeface="Roboto"/>
              </a:rPr>
              <a:t>de </a:t>
            </a:r>
            <a:r>
              <a:rPr sz="1350" b="1" spc="-10" dirty="0">
                <a:solidFill>
                  <a:srgbClr val="E1092F"/>
                </a:solidFill>
                <a:latin typeface="Roboto"/>
                <a:cs typeface="Roboto"/>
              </a:rPr>
              <a:t>llegadas</a:t>
            </a:r>
            <a:endParaRPr sz="1350">
              <a:latin typeface="Roboto"/>
              <a:cs typeface="Roboto"/>
            </a:endParaRPr>
          </a:p>
        </p:txBody>
      </p:sp>
      <p:sp>
        <p:nvSpPr>
          <p:cNvPr id="100" name="object 100"/>
          <p:cNvSpPr txBox="1"/>
          <p:nvPr/>
        </p:nvSpPr>
        <p:spPr>
          <a:xfrm>
            <a:off x="2249652" y="7789247"/>
            <a:ext cx="1238885" cy="1036319"/>
          </a:xfrm>
          <a:prstGeom prst="rect">
            <a:avLst/>
          </a:prstGeom>
        </p:spPr>
        <p:txBody>
          <a:bodyPr vert="horz" wrap="square" lIns="0" tIns="27305" rIns="0" bIns="0" rtlCol="0">
            <a:spAutoFit/>
          </a:bodyPr>
          <a:lstStyle/>
          <a:p>
            <a:pPr marL="12700" marR="5080" indent="-635" algn="ctr">
              <a:lnSpc>
                <a:spcPts val="1580"/>
              </a:lnSpc>
              <a:spcBef>
                <a:spcPts val="215"/>
              </a:spcBef>
            </a:pPr>
            <a:r>
              <a:rPr sz="1350" spc="-10" dirty="0">
                <a:solidFill>
                  <a:srgbClr val="737373"/>
                </a:solidFill>
                <a:latin typeface="Roboto"/>
                <a:cs typeface="Roboto"/>
              </a:rPr>
              <a:t>Asegurar llegadas consolidando </a:t>
            </a:r>
            <a:r>
              <a:rPr sz="1350" dirty="0">
                <a:solidFill>
                  <a:srgbClr val="737373"/>
                </a:solidFill>
                <a:latin typeface="Roboto"/>
                <a:cs typeface="Roboto"/>
              </a:rPr>
              <a:t>ser</a:t>
            </a:r>
            <a:r>
              <a:rPr sz="1350" spc="25" dirty="0">
                <a:solidFill>
                  <a:srgbClr val="737373"/>
                </a:solidFill>
                <a:latin typeface="Roboto"/>
                <a:cs typeface="Roboto"/>
              </a:rPr>
              <a:t> </a:t>
            </a:r>
            <a:r>
              <a:rPr sz="1350" dirty="0">
                <a:solidFill>
                  <a:srgbClr val="737373"/>
                </a:solidFill>
                <a:latin typeface="Roboto"/>
                <a:cs typeface="Roboto"/>
              </a:rPr>
              <a:t>la</a:t>
            </a:r>
            <a:r>
              <a:rPr sz="1350" spc="25" dirty="0">
                <a:solidFill>
                  <a:srgbClr val="737373"/>
                </a:solidFill>
                <a:latin typeface="Roboto"/>
                <a:cs typeface="Roboto"/>
              </a:rPr>
              <a:t> </a:t>
            </a:r>
            <a:r>
              <a:rPr sz="1350" b="1" dirty="0">
                <a:solidFill>
                  <a:srgbClr val="E3112B"/>
                </a:solidFill>
                <a:latin typeface="Roboto"/>
                <a:cs typeface="Roboto"/>
              </a:rPr>
              <a:t>puerta</a:t>
            </a:r>
            <a:r>
              <a:rPr sz="1350" b="1" spc="25" dirty="0">
                <a:solidFill>
                  <a:srgbClr val="E3112B"/>
                </a:solidFill>
                <a:latin typeface="Roboto"/>
                <a:cs typeface="Roboto"/>
              </a:rPr>
              <a:t> </a:t>
            </a:r>
            <a:r>
              <a:rPr sz="1350" b="1" spc="-25" dirty="0">
                <a:solidFill>
                  <a:srgbClr val="E3112B"/>
                </a:solidFill>
                <a:latin typeface="Roboto"/>
                <a:cs typeface="Roboto"/>
              </a:rPr>
              <a:t>de </a:t>
            </a:r>
            <a:r>
              <a:rPr sz="1350" b="1" spc="-10" dirty="0">
                <a:solidFill>
                  <a:srgbClr val="E3112B"/>
                </a:solidFill>
                <a:latin typeface="Roboto"/>
                <a:cs typeface="Roboto"/>
              </a:rPr>
              <a:t>Sudamérica</a:t>
            </a:r>
            <a:endParaRPr sz="1350">
              <a:latin typeface="Roboto"/>
              <a:cs typeface="Roboto"/>
            </a:endParaRPr>
          </a:p>
        </p:txBody>
      </p:sp>
      <p:sp>
        <p:nvSpPr>
          <p:cNvPr id="101" name="object 101"/>
          <p:cNvSpPr txBox="1"/>
          <p:nvPr/>
        </p:nvSpPr>
        <p:spPr>
          <a:xfrm>
            <a:off x="11921295" y="5453202"/>
            <a:ext cx="1688464" cy="436245"/>
          </a:xfrm>
          <a:prstGeom prst="rect">
            <a:avLst/>
          </a:prstGeom>
        </p:spPr>
        <p:txBody>
          <a:bodyPr vert="horz" wrap="square" lIns="0" tIns="16510" rIns="0" bIns="0" rtlCol="0">
            <a:spAutoFit/>
          </a:bodyPr>
          <a:lstStyle/>
          <a:p>
            <a:pPr algn="ctr">
              <a:lnSpc>
                <a:spcPts val="1600"/>
              </a:lnSpc>
              <a:spcBef>
                <a:spcPts val="130"/>
              </a:spcBef>
            </a:pPr>
            <a:r>
              <a:rPr sz="1350" dirty="0">
                <a:solidFill>
                  <a:srgbClr val="737373"/>
                </a:solidFill>
                <a:latin typeface="Roboto"/>
                <a:cs typeface="Roboto"/>
              </a:rPr>
              <a:t>Contribuir</a:t>
            </a:r>
            <a:r>
              <a:rPr sz="1350" spc="-5" dirty="0">
                <a:solidFill>
                  <a:srgbClr val="737373"/>
                </a:solidFill>
                <a:latin typeface="Roboto"/>
                <a:cs typeface="Roboto"/>
              </a:rPr>
              <a:t> </a:t>
            </a:r>
            <a:r>
              <a:rPr sz="1350" dirty="0">
                <a:solidFill>
                  <a:srgbClr val="737373"/>
                </a:solidFill>
                <a:latin typeface="Roboto"/>
                <a:cs typeface="Roboto"/>
              </a:rPr>
              <a:t>con</a:t>
            </a:r>
            <a:r>
              <a:rPr sz="1350" spc="-5" dirty="0">
                <a:solidFill>
                  <a:srgbClr val="737373"/>
                </a:solidFill>
                <a:latin typeface="Roboto"/>
                <a:cs typeface="Roboto"/>
              </a:rPr>
              <a:t> </a:t>
            </a:r>
            <a:r>
              <a:rPr sz="1350" spc="-25" dirty="0">
                <a:solidFill>
                  <a:srgbClr val="737373"/>
                </a:solidFill>
                <a:latin typeface="Roboto"/>
                <a:cs typeface="Roboto"/>
              </a:rPr>
              <a:t>la</a:t>
            </a:r>
            <a:endParaRPr sz="1350">
              <a:latin typeface="Roboto"/>
              <a:cs typeface="Roboto"/>
            </a:endParaRPr>
          </a:p>
          <a:p>
            <a:pPr algn="ctr">
              <a:lnSpc>
                <a:spcPts val="1595"/>
              </a:lnSpc>
            </a:pPr>
            <a:r>
              <a:rPr sz="1350" b="1" spc="-10" dirty="0">
                <a:solidFill>
                  <a:srgbClr val="E3112B"/>
                </a:solidFill>
                <a:latin typeface="Roboto"/>
                <a:cs typeface="Roboto"/>
              </a:rPr>
              <a:t>desestacionalización</a:t>
            </a:r>
            <a:endParaRPr sz="1350">
              <a:latin typeface="Roboto"/>
              <a:cs typeface="Roboto"/>
            </a:endParaRPr>
          </a:p>
        </p:txBody>
      </p:sp>
      <p:sp>
        <p:nvSpPr>
          <p:cNvPr id="102" name="object 102"/>
          <p:cNvSpPr txBox="1"/>
          <p:nvPr/>
        </p:nvSpPr>
        <p:spPr>
          <a:xfrm>
            <a:off x="1025689" y="7789247"/>
            <a:ext cx="934719" cy="836294"/>
          </a:xfrm>
          <a:prstGeom prst="rect">
            <a:avLst/>
          </a:prstGeom>
        </p:spPr>
        <p:txBody>
          <a:bodyPr vert="horz" wrap="square" lIns="0" tIns="27305" rIns="0" bIns="0" rtlCol="0">
            <a:spAutoFit/>
          </a:bodyPr>
          <a:lstStyle/>
          <a:p>
            <a:pPr marL="12700" marR="5080" indent="-635" algn="ctr">
              <a:lnSpc>
                <a:spcPts val="1580"/>
              </a:lnSpc>
              <a:spcBef>
                <a:spcPts val="215"/>
              </a:spcBef>
            </a:pPr>
            <a:r>
              <a:rPr sz="1350" dirty="0">
                <a:solidFill>
                  <a:srgbClr val="737373"/>
                </a:solidFill>
                <a:latin typeface="Roboto"/>
                <a:cs typeface="Roboto"/>
              </a:rPr>
              <a:t>Cooperar</a:t>
            </a:r>
            <a:r>
              <a:rPr sz="1350" spc="80" dirty="0">
                <a:solidFill>
                  <a:srgbClr val="737373"/>
                </a:solidFill>
                <a:latin typeface="Roboto"/>
                <a:cs typeface="Roboto"/>
              </a:rPr>
              <a:t> </a:t>
            </a:r>
            <a:r>
              <a:rPr sz="1350" spc="-50" dirty="0">
                <a:solidFill>
                  <a:srgbClr val="737373"/>
                </a:solidFill>
                <a:latin typeface="Roboto"/>
                <a:cs typeface="Roboto"/>
              </a:rPr>
              <a:t>y </a:t>
            </a:r>
            <a:r>
              <a:rPr sz="1350" spc="-10" dirty="0">
                <a:solidFill>
                  <a:srgbClr val="737373"/>
                </a:solidFill>
                <a:latin typeface="Roboto"/>
                <a:cs typeface="Roboto"/>
              </a:rPr>
              <a:t>gestionar </a:t>
            </a:r>
            <a:r>
              <a:rPr sz="1350" b="1" spc="-10" dirty="0">
                <a:solidFill>
                  <a:srgbClr val="E3112B"/>
                </a:solidFill>
                <a:latin typeface="Roboto"/>
                <a:cs typeface="Roboto"/>
              </a:rPr>
              <a:t>barreras migratorias</a:t>
            </a:r>
            <a:endParaRPr sz="1350">
              <a:latin typeface="Roboto"/>
              <a:cs typeface="Roboto"/>
            </a:endParaRPr>
          </a:p>
        </p:txBody>
      </p:sp>
      <p:sp>
        <p:nvSpPr>
          <p:cNvPr id="103" name="object 103"/>
          <p:cNvSpPr txBox="1"/>
          <p:nvPr/>
        </p:nvSpPr>
        <p:spPr>
          <a:xfrm>
            <a:off x="9662915" y="7789247"/>
            <a:ext cx="1400810" cy="1036319"/>
          </a:xfrm>
          <a:prstGeom prst="rect">
            <a:avLst/>
          </a:prstGeom>
        </p:spPr>
        <p:txBody>
          <a:bodyPr vert="horz" wrap="square" lIns="0" tIns="27305" rIns="0" bIns="0" rtlCol="0">
            <a:spAutoFit/>
          </a:bodyPr>
          <a:lstStyle/>
          <a:p>
            <a:pPr marL="12700" marR="5080" indent="-635" algn="ctr">
              <a:lnSpc>
                <a:spcPts val="1580"/>
              </a:lnSpc>
              <a:spcBef>
                <a:spcPts val="215"/>
              </a:spcBef>
            </a:pPr>
            <a:r>
              <a:rPr sz="1350" spc="-10" dirty="0">
                <a:solidFill>
                  <a:srgbClr val="737373"/>
                </a:solidFill>
                <a:latin typeface="Roboto"/>
                <a:cs typeface="Roboto"/>
              </a:rPr>
              <a:t>Promocionar </a:t>
            </a:r>
            <a:r>
              <a:rPr sz="1350" b="1" spc="-10" dirty="0">
                <a:solidFill>
                  <a:srgbClr val="E3112B"/>
                </a:solidFill>
                <a:latin typeface="Roboto"/>
                <a:cs typeface="Roboto"/>
              </a:rPr>
              <a:t>experiencias complementarias </a:t>
            </a:r>
            <a:r>
              <a:rPr sz="1350" dirty="0">
                <a:solidFill>
                  <a:srgbClr val="737373"/>
                </a:solidFill>
                <a:latin typeface="Roboto"/>
                <a:cs typeface="Roboto"/>
              </a:rPr>
              <a:t>para</a:t>
            </a:r>
            <a:r>
              <a:rPr sz="1350" spc="-30" dirty="0">
                <a:solidFill>
                  <a:srgbClr val="737373"/>
                </a:solidFill>
                <a:latin typeface="Roboto"/>
                <a:cs typeface="Roboto"/>
              </a:rPr>
              <a:t> </a:t>
            </a:r>
            <a:r>
              <a:rPr sz="1350" dirty="0">
                <a:solidFill>
                  <a:srgbClr val="737373"/>
                </a:solidFill>
                <a:latin typeface="Roboto"/>
                <a:cs typeface="Roboto"/>
              </a:rPr>
              <a:t>incentivar</a:t>
            </a:r>
            <a:r>
              <a:rPr sz="1350" spc="-30" dirty="0">
                <a:solidFill>
                  <a:srgbClr val="737373"/>
                </a:solidFill>
                <a:latin typeface="Roboto"/>
                <a:cs typeface="Roboto"/>
              </a:rPr>
              <a:t> </a:t>
            </a:r>
            <a:r>
              <a:rPr sz="1350" spc="-25" dirty="0">
                <a:solidFill>
                  <a:srgbClr val="737373"/>
                </a:solidFill>
                <a:latin typeface="Roboto"/>
                <a:cs typeface="Roboto"/>
              </a:rPr>
              <a:t>la </a:t>
            </a:r>
            <a:r>
              <a:rPr sz="1350" b="1" spc="-10" dirty="0">
                <a:solidFill>
                  <a:srgbClr val="E3112B"/>
                </a:solidFill>
                <a:latin typeface="Roboto"/>
                <a:cs typeface="Roboto"/>
              </a:rPr>
              <a:t>repetición</a:t>
            </a:r>
            <a:endParaRPr sz="1350">
              <a:latin typeface="Roboto"/>
              <a:cs typeface="Roboto"/>
            </a:endParaRPr>
          </a:p>
        </p:txBody>
      </p:sp>
      <p:sp>
        <p:nvSpPr>
          <p:cNvPr id="104" name="object 104"/>
          <p:cNvSpPr txBox="1"/>
          <p:nvPr/>
        </p:nvSpPr>
        <p:spPr>
          <a:xfrm>
            <a:off x="5454386" y="7766828"/>
            <a:ext cx="2372995" cy="303530"/>
          </a:xfrm>
          <a:prstGeom prst="rect">
            <a:avLst/>
          </a:prstGeom>
        </p:spPr>
        <p:txBody>
          <a:bodyPr vert="horz" wrap="square" lIns="0" tIns="15875" rIns="0" bIns="0" rtlCol="0">
            <a:spAutoFit/>
          </a:bodyPr>
          <a:lstStyle/>
          <a:p>
            <a:pPr>
              <a:lnSpc>
                <a:spcPct val="100000"/>
              </a:lnSpc>
              <a:spcBef>
                <a:spcPts val="125"/>
              </a:spcBef>
            </a:pPr>
            <a:r>
              <a:rPr sz="1800" b="1" dirty="0">
                <a:solidFill>
                  <a:srgbClr val="FFFFFF"/>
                </a:solidFill>
                <a:latin typeface="Roboto"/>
                <a:cs typeface="Roboto"/>
              </a:rPr>
              <a:t>Campañas</a:t>
            </a:r>
            <a:r>
              <a:rPr sz="1800" b="1" spc="65" dirty="0">
                <a:solidFill>
                  <a:srgbClr val="FFFFFF"/>
                </a:solidFill>
                <a:latin typeface="Roboto"/>
                <a:cs typeface="Roboto"/>
              </a:rPr>
              <a:t> </a:t>
            </a:r>
            <a:r>
              <a:rPr sz="1800" b="1" spc="-10" dirty="0">
                <a:solidFill>
                  <a:srgbClr val="FFFFFF"/>
                </a:solidFill>
                <a:latin typeface="Roboto"/>
                <a:cs typeface="Roboto"/>
              </a:rPr>
              <a:t>Específicas</a:t>
            </a:r>
            <a:endParaRPr sz="1800">
              <a:latin typeface="Roboto"/>
              <a:cs typeface="Roboto"/>
            </a:endParaRPr>
          </a:p>
        </p:txBody>
      </p:sp>
      <p:sp>
        <p:nvSpPr>
          <p:cNvPr id="105" name="object 105"/>
          <p:cNvSpPr txBox="1"/>
          <p:nvPr/>
        </p:nvSpPr>
        <p:spPr>
          <a:xfrm>
            <a:off x="4798094" y="7564108"/>
            <a:ext cx="348615" cy="713740"/>
          </a:xfrm>
          <a:prstGeom prst="rect">
            <a:avLst/>
          </a:prstGeom>
        </p:spPr>
        <p:txBody>
          <a:bodyPr vert="horz" wrap="square" lIns="0" tIns="13970" rIns="0" bIns="0" rtlCol="0">
            <a:spAutoFit/>
          </a:bodyPr>
          <a:lstStyle/>
          <a:p>
            <a:pPr>
              <a:lnSpc>
                <a:spcPct val="100000"/>
              </a:lnSpc>
              <a:spcBef>
                <a:spcPts val="110"/>
              </a:spcBef>
            </a:pPr>
            <a:r>
              <a:rPr sz="4500" b="1" spc="5" dirty="0">
                <a:solidFill>
                  <a:srgbClr val="F5A316"/>
                </a:solidFill>
                <a:latin typeface="OpenSans-ExtraBold"/>
                <a:cs typeface="OpenSans-ExtraBold"/>
              </a:rPr>
              <a:t>2</a:t>
            </a:r>
            <a:endParaRPr sz="4500">
              <a:latin typeface="OpenSans-ExtraBold"/>
              <a:cs typeface="OpenSans-ExtraBold"/>
            </a:endParaRPr>
          </a:p>
        </p:txBody>
      </p:sp>
      <p:sp>
        <p:nvSpPr>
          <p:cNvPr id="106" name="object 106"/>
          <p:cNvSpPr txBox="1"/>
          <p:nvPr/>
        </p:nvSpPr>
        <p:spPr>
          <a:xfrm>
            <a:off x="4798094" y="8745857"/>
            <a:ext cx="348615" cy="713740"/>
          </a:xfrm>
          <a:prstGeom prst="rect">
            <a:avLst/>
          </a:prstGeom>
        </p:spPr>
        <p:txBody>
          <a:bodyPr vert="horz" wrap="square" lIns="0" tIns="13970" rIns="0" bIns="0" rtlCol="0">
            <a:spAutoFit/>
          </a:bodyPr>
          <a:lstStyle/>
          <a:p>
            <a:pPr>
              <a:lnSpc>
                <a:spcPct val="100000"/>
              </a:lnSpc>
              <a:spcBef>
                <a:spcPts val="110"/>
              </a:spcBef>
            </a:pPr>
            <a:r>
              <a:rPr sz="4500" b="1" spc="5" dirty="0">
                <a:solidFill>
                  <a:srgbClr val="F5A316"/>
                </a:solidFill>
                <a:latin typeface="OpenSans-ExtraBold"/>
                <a:cs typeface="OpenSans-ExtraBold"/>
              </a:rPr>
              <a:t>2</a:t>
            </a:r>
            <a:endParaRPr sz="4500">
              <a:latin typeface="OpenSans-ExtraBold"/>
              <a:cs typeface="OpenSans-ExtraBold"/>
            </a:endParaRPr>
          </a:p>
        </p:txBody>
      </p:sp>
      <p:sp>
        <p:nvSpPr>
          <p:cNvPr id="107" name="object 107"/>
          <p:cNvSpPr txBox="1"/>
          <p:nvPr/>
        </p:nvSpPr>
        <p:spPr>
          <a:xfrm>
            <a:off x="7123141" y="1830423"/>
            <a:ext cx="556895" cy="685165"/>
          </a:xfrm>
          <a:prstGeom prst="rect">
            <a:avLst/>
          </a:prstGeom>
        </p:spPr>
        <p:txBody>
          <a:bodyPr vert="horz" wrap="square" lIns="0" tIns="33020" rIns="0" bIns="0" rtlCol="0">
            <a:spAutoFit/>
          </a:bodyPr>
          <a:lstStyle/>
          <a:p>
            <a:pPr marL="12700" marR="5080">
              <a:lnSpc>
                <a:spcPts val="2550"/>
              </a:lnSpc>
              <a:spcBef>
                <a:spcPts val="260"/>
              </a:spcBef>
            </a:pPr>
            <a:r>
              <a:rPr sz="2200" b="1" spc="-25" dirty="0">
                <a:solidFill>
                  <a:srgbClr val="737373"/>
                </a:solidFill>
                <a:latin typeface="Roboto"/>
                <a:cs typeface="Roboto"/>
              </a:rPr>
              <a:t>B2B C2A</a:t>
            </a:r>
            <a:endParaRPr sz="2200">
              <a:latin typeface="Roboto"/>
              <a:cs typeface="Roboto"/>
            </a:endParaRPr>
          </a:p>
        </p:txBody>
      </p:sp>
      <p:sp>
        <p:nvSpPr>
          <p:cNvPr id="108" name="object 108"/>
          <p:cNvSpPr/>
          <p:nvPr/>
        </p:nvSpPr>
        <p:spPr>
          <a:xfrm>
            <a:off x="6894775" y="2016383"/>
            <a:ext cx="0" cy="362585"/>
          </a:xfrm>
          <a:custGeom>
            <a:avLst/>
            <a:gdLst/>
            <a:ahLst/>
            <a:cxnLst/>
            <a:rect l="l" t="t" r="r" b="b"/>
            <a:pathLst>
              <a:path h="362585">
                <a:moveTo>
                  <a:pt x="0" y="362038"/>
                </a:moveTo>
                <a:lnTo>
                  <a:pt x="0" y="0"/>
                </a:lnTo>
              </a:path>
            </a:pathLst>
          </a:custGeom>
          <a:ln w="19192">
            <a:solidFill>
              <a:srgbClr val="737373"/>
            </a:solidFill>
          </a:ln>
        </p:spPr>
        <p:txBody>
          <a:bodyPr wrap="square" lIns="0" tIns="0" rIns="0" bIns="0" rtlCol="0"/>
          <a:lstStyle/>
          <a:p>
            <a:endParaRPr/>
          </a:p>
        </p:txBody>
      </p:sp>
      <p:pic>
        <p:nvPicPr>
          <p:cNvPr id="109" name="object 109"/>
          <p:cNvPicPr/>
          <p:nvPr/>
        </p:nvPicPr>
        <p:blipFill>
          <a:blip r:embed="rId12" cstate="print"/>
          <a:stretch>
            <a:fillRect/>
          </a:stretch>
        </p:blipFill>
        <p:spPr>
          <a:xfrm>
            <a:off x="17316450" y="237491"/>
            <a:ext cx="742949" cy="819149"/>
          </a:xfrm>
          <a:prstGeom prst="rect">
            <a:avLst/>
          </a:prstGeom>
        </p:spPr>
      </p:pic>
      <p:sp>
        <p:nvSpPr>
          <p:cNvPr id="110" name="object 110"/>
          <p:cNvSpPr txBox="1">
            <a:spLocks noGrp="1"/>
          </p:cNvSpPr>
          <p:nvPr>
            <p:ph type="ftr" sz="quarter" idx="5"/>
          </p:nvPr>
        </p:nvSpPr>
        <p:spPr>
          <a:prstGeom prst="rect">
            <a:avLst/>
          </a:prstGeom>
        </p:spPr>
        <p:txBody>
          <a:bodyPr vert="horz" wrap="square" lIns="0" tIns="0" rIns="0" bIns="0" rtlCol="0">
            <a:spAutoFit/>
          </a:bodyPr>
          <a:lstStyle/>
          <a:p>
            <a:pPr marL="12700">
              <a:lnSpc>
                <a:spcPts val="1220"/>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spc="-10" dirty="0"/>
              <a:t>2023/2027</a:t>
            </a:r>
          </a:p>
        </p:txBody>
      </p:sp>
      <p:sp>
        <p:nvSpPr>
          <p:cNvPr id="111" name="object 111"/>
          <p:cNvSpPr txBox="1">
            <a:spLocks noGrp="1"/>
          </p:cNvSpPr>
          <p:nvPr>
            <p:ph type="sldNum" sz="quarter" idx="7"/>
          </p:nvPr>
        </p:nvSpPr>
        <p:spPr>
          <a:prstGeom prst="rect">
            <a:avLst/>
          </a:prstGeom>
        </p:spPr>
        <p:txBody>
          <a:bodyPr vert="horz" wrap="square" lIns="0" tIns="0" rIns="0" bIns="0" rtlCol="0">
            <a:spAutoFit/>
          </a:bodyPr>
          <a:lstStyle/>
          <a:p>
            <a:pPr marL="12700">
              <a:lnSpc>
                <a:spcPts val="1030"/>
              </a:lnSpc>
            </a:pPr>
            <a:r>
              <a:rPr dirty="0"/>
              <a:t>I</a:t>
            </a:r>
            <a:r>
              <a:rPr spc="-15" dirty="0"/>
              <a:t> </a:t>
            </a:r>
            <a:r>
              <a:rPr spc="25" dirty="0"/>
              <a:t>41</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72981" y="211237"/>
            <a:ext cx="17919065" cy="9909810"/>
          </a:xfrm>
          <a:custGeom>
            <a:avLst/>
            <a:gdLst/>
            <a:ahLst/>
            <a:cxnLst/>
            <a:rect l="l" t="t" r="r" b="b"/>
            <a:pathLst>
              <a:path w="17919065" h="9909810">
                <a:moveTo>
                  <a:pt x="0" y="0"/>
                </a:moveTo>
                <a:lnTo>
                  <a:pt x="17918660" y="0"/>
                </a:lnTo>
                <a:lnTo>
                  <a:pt x="17918660" y="9909273"/>
                </a:lnTo>
                <a:lnTo>
                  <a:pt x="0" y="9909273"/>
                </a:lnTo>
                <a:lnTo>
                  <a:pt x="0" y="0"/>
                </a:lnTo>
                <a:close/>
              </a:path>
            </a:pathLst>
          </a:custGeom>
          <a:solidFill>
            <a:srgbClr val="E3112B"/>
          </a:solidFill>
        </p:spPr>
        <p:txBody>
          <a:bodyPr wrap="square" lIns="0" tIns="0" rIns="0" bIns="0" rtlCol="0"/>
          <a:lstStyle/>
          <a:p>
            <a:endParaRPr/>
          </a:p>
        </p:txBody>
      </p:sp>
      <p:pic>
        <p:nvPicPr>
          <p:cNvPr id="3" name="object 3"/>
          <p:cNvPicPr/>
          <p:nvPr/>
        </p:nvPicPr>
        <p:blipFill>
          <a:blip r:embed="rId2" cstate="print"/>
          <a:stretch>
            <a:fillRect/>
          </a:stretch>
        </p:blipFill>
        <p:spPr>
          <a:xfrm>
            <a:off x="7683235" y="3396760"/>
            <a:ext cx="2924174" cy="3495674"/>
          </a:xfrm>
          <a:prstGeom prst="rect">
            <a:avLst/>
          </a:prstGeom>
        </p:spPr>
      </p:pic>
      <p:pic>
        <p:nvPicPr>
          <p:cNvPr id="5" name="Picture 4" descr="A black and white sign&#10;&#10;Description automatically generated">
            <a:extLst>
              <a:ext uri="{FF2B5EF4-FFF2-40B4-BE49-F238E27FC236}">
                <a16:creationId xmlns:a16="http://schemas.microsoft.com/office/drawing/2014/main" id="{2E8CB296-3F7E-BC11-D9E8-F23AD951BE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495301"/>
            <a:ext cx="2858267" cy="175260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113694"/>
            <a:ext cx="17954625" cy="8675370"/>
            <a:chOff x="166956" y="1113694"/>
            <a:chExt cx="17954625" cy="8675370"/>
          </a:xfrm>
        </p:grpSpPr>
        <p:sp>
          <p:nvSpPr>
            <p:cNvPr id="3" name="object 3"/>
            <p:cNvSpPr/>
            <p:nvPr/>
          </p:nvSpPr>
          <p:spPr>
            <a:xfrm>
              <a:off x="166956" y="1113694"/>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2043579" y="7540187"/>
              <a:ext cx="3036570" cy="1179195"/>
            </a:xfrm>
            <a:custGeom>
              <a:avLst/>
              <a:gdLst/>
              <a:ahLst/>
              <a:cxnLst/>
              <a:rect l="l" t="t" r="r" b="b"/>
              <a:pathLst>
                <a:path w="3036570" h="1179195">
                  <a:moveTo>
                    <a:pt x="2495421" y="1953"/>
                  </a:moveTo>
                  <a:lnTo>
                    <a:pt x="541035" y="1953"/>
                  </a:lnTo>
                  <a:lnTo>
                    <a:pt x="589372" y="0"/>
                  </a:lnTo>
                  <a:lnTo>
                    <a:pt x="2447083" y="0"/>
                  </a:lnTo>
                  <a:lnTo>
                    <a:pt x="2495421" y="1953"/>
                  </a:lnTo>
                  <a:close/>
                </a:path>
                <a:path w="3036570" h="1179195">
                  <a:moveTo>
                    <a:pt x="2447099" y="1178745"/>
                  </a:moveTo>
                  <a:lnTo>
                    <a:pt x="589357" y="1178745"/>
                  </a:lnTo>
                  <a:lnTo>
                    <a:pt x="541035" y="1176792"/>
                  </a:lnTo>
                  <a:lnTo>
                    <a:pt x="493773" y="1171032"/>
                  </a:lnTo>
                  <a:lnTo>
                    <a:pt x="447739" y="1161617"/>
                  </a:lnTo>
                  <a:lnTo>
                    <a:pt x="403085" y="1148699"/>
                  </a:lnTo>
                  <a:lnTo>
                    <a:pt x="359962" y="1132430"/>
                  </a:lnTo>
                  <a:lnTo>
                    <a:pt x="318522" y="1112961"/>
                  </a:lnTo>
                  <a:lnTo>
                    <a:pt x="278916" y="1090444"/>
                  </a:lnTo>
                  <a:lnTo>
                    <a:pt x="241296" y="1065031"/>
                  </a:lnTo>
                  <a:lnTo>
                    <a:pt x="205815" y="1036873"/>
                  </a:lnTo>
                  <a:lnTo>
                    <a:pt x="172623" y="1006122"/>
                  </a:lnTo>
                  <a:lnTo>
                    <a:pt x="141872" y="972930"/>
                  </a:lnTo>
                  <a:lnTo>
                    <a:pt x="113714" y="937449"/>
                  </a:lnTo>
                  <a:lnTo>
                    <a:pt x="88301" y="899829"/>
                  </a:lnTo>
                  <a:lnTo>
                    <a:pt x="65784" y="860223"/>
                  </a:lnTo>
                  <a:lnTo>
                    <a:pt x="46315" y="818783"/>
                  </a:lnTo>
                  <a:lnTo>
                    <a:pt x="30046" y="775660"/>
                  </a:lnTo>
                  <a:lnTo>
                    <a:pt x="17128" y="731006"/>
                  </a:lnTo>
                  <a:lnTo>
                    <a:pt x="7713" y="684972"/>
                  </a:lnTo>
                  <a:lnTo>
                    <a:pt x="1953" y="637710"/>
                  </a:lnTo>
                  <a:lnTo>
                    <a:pt x="0" y="589372"/>
                  </a:lnTo>
                  <a:lnTo>
                    <a:pt x="1953" y="541035"/>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2" y="65784"/>
                  </a:lnTo>
                  <a:lnTo>
                    <a:pt x="359962" y="46315"/>
                  </a:lnTo>
                  <a:lnTo>
                    <a:pt x="403085" y="30046"/>
                  </a:lnTo>
                  <a:lnTo>
                    <a:pt x="447739" y="17128"/>
                  </a:lnTo>
                  <a:lnTo>
                    <a:pt x="493773" y="7713"/>
                  </a:lnTo>
                  <a:lnTo>
                    <a:pt x="541035" y="1953"/>
                  </a:lnTo>
                  <a:lnTo>
                    <a:pt x="2495421" y="1953"/>
                  </a:lnTo>
                  <a:lnTo>
                    <a:pt x="2542682" y="7713"/>
                  </a:lnTo>
                  <a:lnTo>
                    <a:pt x="2588716" y="17128"/>
                  </a:lnTo>
                  <a:lnTo>
                    <a:pt x="2633370" y="30046"/>
                  </a:lnTo>
                  <a:lnTo>
                    <a:pt x="2676493" y="46315"/>
                  </a:lnTo>
                  <a:lnTo>
                    <a:pt x="2717934" y="65784"/>
                  </a:lnTo>
                  <a:lnTo>
                    <a:pt x="2757539" y="88301"/>
                  </a:lnTo>
                  <a:lnTo>
                    <a:pt x="2795159" y="113714"/>
                  </a:lnTo>
                  <a:lnTo>
                    <a:pt x="2830640" y="141872"/>
                  </a:lnTo>
                  <a:lnTo>
                    <a:pt x="2863832" y="172623"/>
                  </a:lnTo>
                  <a:lnTo>
                    <a:pt x="2894583" y="205815"/>
                  </a:lnTo>
                  <a:lnTo>
                    <a:pt x="2922741" y="241296"/>
                  </a:lnTo>
                  <a:lnTo>
                    <a:pt x="2948154" y="278916"/>
                  </a:lnTo>
                  <a:lnTo>
                    <a:pt x="2970671" y="318522"/>
                  </a:lnTo>
                  <a:lnTo>
                    <a:pt x="2990140" y="359962"/>
                  </a:lnTo>
                  <a:lnTo>
                    <a:pt x="3006409" y="403085"/>
                  </a:lnTo>
                  <a:lnTo>
                    <a:pt x="3019327" y="447739"/>
                  </a:lnTo>
                  <a:lnTo>
                    <a:pt x="3028742" y="493773"/>
                  </a:lnTo>
                  <a:lnTo>
                    <a:pt x="3034502" y="541035"/>
                  </a:lnTo>
                  <a:lnTo>
                    <a:pt x="3036456" y="589372"/>
                  </a:lnTo>
                  <a:lnTo>
                    <a:pt x="3034502" y="637710"/>
                  </a:lnTo>
                  <a:lnTo>
                    <a:pt x="3028742" y="684972"/>
                  </a:lnTo>
                  <a:lnTo>
                    <a:pt x="3019327" y="731006"/>
                  </a:lnTo>
                  <a:lnTo>
                    <a:pt x="3006409" y="775660"/>
                  </a:lnTo>
                  <a:lnTo>
                    <a:pt x="2990140" y="818783"/>
                  </a:lnTo>
                  <a:lnTo>
                    <a:pt x="2970671" y="860223"/>
                  </a:lnTo>
                  <a:lnTo>
                    <a:pt x="2948154" y="899829"/>
                  </a:lnTo>
                  <a:lnTo>
                    <a:pt x="2922741" y="937449"/>
                  </a:lnTo>
                  <a:lnTo>
                    <a:pt x="2894583" y="972930"/>
                  </a:lnTo>
                  <a:lnTo>
                    <a:pt x="2863832" y="1006122"/>
                  </a:lnTo>
                  <a:lnTo>
                    <a:pt x="2830640" y="1036873"/>
                  </a:lnTo>
                  <a:lnTo>
                    <a:pt x="2795159" y="1065031"/>
                  </a:lnTo>
                  <a:lnTo>
                    <a:pt x="2757539" y="1090444"/>
                  </a:lnTo>
                  <a:lnTo>
                    <a:pt x="2717934" y="1112961"/>
                  </a:lnTo>
                  <a:lnTo>
                    <a:pt x="2676493" y="1132430"/>
                  </a:lnTo>
                  <a:lnTo>
                    <a:pt x="2633370" y="1148699"/>
                  </a:lnTo>
                  <a:lnTo>
                    <a:pt x="2588716" y="1161617"/>
                  </a:lnTo>
                  <a:lnTo>
                    <a:pt x="2542682" y="1171032"/>
                  </a:lnTo>
                  <a:lnTo>
                    <a:pt x="2495421" y="1176792"/>
                  </a:lnTo>
                  <a:lnTo>
                    <a:pt x="2447099" y="1178745"/>
                  </a:lnTo>
                  <a:close/>
                </a:path>
              </a:pathLst>
            </a:custGeom>
            <a:solidFill>
              <a:srgbClr val="21408B"/>
            </a:solidFill>
          </p:spPr>
          <p:txBody>
            <a:bodyPr wrap="square" lIns="0" tIns="0" rIns="0" bIns="0" rtlCol="0"/>
            <a:lstStyle/>
            <a:p>
              <a:endParaRPr/>
            </a:p>
          </p:txBody>
        </p:sp>
        <p:sp>
          <p:nvSpPr>
            <p:cNvPr id="5" name="object 5"/>
            <p:cNvSpPr/>
            <p:nvPr/>
          </p:nvSpPr>
          <p:spPr>
            <a:xfrm>
              <a:off x="2018757" y="3686610"/>
              <a:ext cx="3086100" cy="3086100"/>
            </a:xfrm>
            <a:custGeom>
              <a:avLst/>
              <a:gdLst/>
              <a:ahLst/>
              <a:cxnLst/>
              <a:rect l="l" t="t" r="r" b="b"/>
              <a:pathLst>
                <a:path w="3086100" h="3086100">
                  <a:moveTo>
                    <a:pt x="1543076" y="3086099"/>
                  </a:moveTo>
                  <a:lnTo>
                    <a:pt x="1494987" y="3085365"/>
                  </a:lnTo>
                  <a:lnTo>
                    <a:pt x="1447291" y="3083177"/>
                  </a:lnTo>
                  <a:lnTo>
                    <a:pt x="1399983" y="3079555"/>
                  </a:lnTo>
                  <a:lnTo>
                    <a:pt x="1353083" y="3074522"/>
                  </a:lnTo>
                  <a:lnTo>
                    <a:pt x="1306613" y="3068098"/>
                  </a:lnTo>
                  <a:lnTo>
                    <a:pt x="1260594" y="3060306"/>
                  </a:lnTo>
                  <a:lnTo>
                    <a:pt x="1215048" y="3051166"/>
                  </a:lnTo>
                  <a:lnTo>
                    <a:pt x="1169996" y="3040700"/>
                  </a:lnTo>
                  <a:lnTo>
                    <a:pt x="1125459" y="3028929"/>
                  </a:lnTo>
                  <a:lnTo>
                    <a:pt x="1081460" y="3015874"/>
                  </a:lnTo>
                  <a:lnTo>
                    <a:pt x="1038018" y="3001557"/>
                  </a:lnTo>
                  <a:lnTo>
                    <a:pt x="995155" y="2985999"/>
                  </a:lnTo>
                  <a:lnTo>
                    <a:pt x="952894" y="2969221"/>
                  </a:lnTo>
                  <a:lnTo>
                    <a:pt x="911254" y="2951246"/>
                  </a:lnTo>
                  <a:lnTo>
                    <a:pt x="870258" y="2932093"/>
                  </a:lnTo>
                  <a:lnTo>
                    <a:pt x="829926" y="2911785"/>
                  </a:lnTo>
                  <a:lnTo>
                    <a:pt x="790281" y="2890342"/>
                  </a:lnTo>
                  <a:lnTo>
                    <a:pt x="751343" y="2867787"/>
                  </a:lnTo>
                  <a:lnTo>
                    <a:pt x="713134" y="2844140"/>
                  </a:lnTo>
                  <a:lnTo>
                    <a:pt x="675675" y="2819423"/>
                  </a:lnTo>
                  <a:lnTo>
                    <a:pt x="638987" y="2793657"/>
                  </a:lnTo>
                  <a:lnTo>
                    <a:pt x="603092" y="2766864"/>
                  </a:lnTo>
                  <a:lnTo>
                    <a:pt x="568012" y="2739064"/>
                  </a:lnTo>
                  <a:lnTo>
                    <a:pt x="533766" y="2710280"/>
                  </a:lnTo>
                  <a:lnTo>
                    <a:pt x="500378" y="2680532"/>
                  </a:lnTo>
                  <a:lnTo>
                    <a:pt x="467868" y="2649842"/>
                  </a:lnTo>
                  <a:lnTo>
                    <a:pt x="436257" y="2618231"/>
                  </a:lnTo>
                  <a:lnTo>
                    <a:pt x="405567" y="2585721"/>
                  </a:lnTo>
                  <a:lnTo>
                    <a:pt x="375819" y="2552332"/>
                  </a:lnTo>
                  <a:lnTo>
                    <a:pt x="347034" y="2518087"/>
                  </a:lnTo>
                  <a:lnTo>
                    <a:pt x="319235" y="2483006"/>
                  </a:lnTo>
                  <a:lnTo>
                    <a:pt x="292441" y="2447112"/>
                  </a:lnTo>
                  <a:lnTo>
                    <a:pt x="266676" y="2410424"/>
                  </a:lnTo>
                  <a:lnTo>
                    <a:pt x="241959" y="2372965"/>
                  </a:lnTo>
                  <a:lnTo>
                    <a:pt x="218312" y="2334756"/>
                  </a:lnTo>
                  <a:lnTo>
                    <a:pt x="195757" y="2295818"/>
                  </a:lnTo>
                  <a:lnTo>
                    <a:pt x="174314" y="2256172"/>
                  </a:lnTo>
                  <a:lnTo>
                    <a:pt x="154006" y="2215841"/>
                  </a:lnTo>
                  <a:lnTo>
                    <a:pt x="134853" y="2174845"/>
                  </a:lnTo>
                  <a:lnTo>
                    <a:pt x="116878"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7"/>
                  </a:lnTo>
                  <a:lnTo>
                    <a:pt x="734" y="1591111"/>
                  </a:lnTo>
                  <a:lnTo>
                    <a:pt x="0" y="1543049"/>
                  </a:lnTo>
                  <a:lnTo>
                    <a:pt x="734" y="1494987"/>
                  </a:lnTo>
                  <a:lnTo>
                    <a:pt x="2922" y="1447291"/>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8" y="952894"/>
                  </a:lnTo>
                  <a:lnTo>
                    <a:pt x="134853" y="911254"/>
                  </a:lnTo>
                  <a:lnTo>
                    <a:pt x="154006" y="870258"/>
                  </a:lnTo>
                  <a:lnTo>
                    <a:pt x="174314" y="829927"/>
                  </a:lnTo>
                  <a:lnTo>
                    <a:pt x="195757" y="790281"/>
                  </a:lnTo>
                  <a:lnTo>
                    <a:pt x="218312" y="751343"/>
                  </a:lnTo>
                  <a:lnTo>
                    <a:pt x="241959" y="713134"/>
                  </a:lnTo>
                  <a:lnTo>
                    <a:pt x="266676" y="675675"/>
                  </a:lnTo>
                  <a:lnTo>
                    <a:pt x="292441" y="638987"/>
                  </a:lnTo>
                  <a:lnTo>
                    <a:pt x="319235" y="603092"/>
                  </a:lnTo>
                  <a:lnTo>
                    <a:pt x="347034" y="568012"/>
                  </a:lnTo>
                  <a:lnTo>
                    <a:pt x="375819" y="533766"/>
                  </a:lnTo>
                  <a:lnTo>
                    <a:pt x="405567" y="500378"/>
                  </a:lnTo>
                  <a:lnTo>
                    <a:pt x="436257" y="467868"/>
                  </a:lnTo>
                  <a:lnTo>
                    <a:pt x="467868" y="436257"/>
                  </a:lnTo>
                  <a:lnTo>
                    <a:pt x="500378" y="405567"/>
                  </a:lnTo>
                  <a:lnTo>
                    <a:pt x="533766" y="375819"/>
                  </a:lnTo>
                  <a:lnTo>
                    <a:pt x="568012" y="347034"/>
                  </a:lnTo>
                  <a:lnTo>
                    <a:pt x="603092" y="319235"/>
                  </a:lnTo>
                  <a:lnTo>
                    <a:pt x="638987" y="292442"/>
                  </a:lnTo>
                  <a:lnTo>
                    <a:pt x="675675" y="266676"/>
                  </a:lnTo>
                  <a:lnTo>
                    <a:pt x="713134" y="241959"/>
                  </a:lnTo>
                  <a:lnTo>
                    <a:pt x="751343" y="218312"/>
                  </a:lnTo>
                  <a:lnTo>
                    <a:pt x="790281" y="195757"/>
                  </a:lnTo>
                  <a:lnTo>
                    <a:pt x="829926" y="174314"/>
                  </a:lnTo>
                  <a:lnTo>
                    <a:pt x="870258" y="154006"/>
                  </a:lnTo>
                  <a:lnTo>
                    <a:pt x="911254" y="134853"/>
                  </a:lnTo>
                  <a:lnTo>
                    <a:pt x="952894" y="116878"/>
                  </a:lnTo>
                  <a:lnTo>
                    <a:pt x="995155" y="100100"/>
                  </a:lnTo>
                  <a:lnTo>
                    <a:pt x="1038018" y="84542"/>
                  </a:lnTo>
                  <a:lnTo>
                    <a:pt x="1081460" y="70225"/>
                  </a:lnTo>
                  <a:lnTo>
                    <a:pt x="1125459" y="57170"/>
                  </a:lnTo>
                  <a:lnTo>
                    <a:pt x="1169996" y="45399"/>
                  </a:lnTo>
                  <a:lnTo>
                    <a:pt x="1215048" y="34933"/>
                  </a:lnTo>
                  <a:lnTo>
                    <a:pt x="1260594" y="25793"/>
                  </a:lnTo>
                  <a:lnTo>
                    <a:pt x="1306613" y="18000"/>
                  </a:lnTo>
                  <a:lnTo>
                    <a:pt x="1353083" y="11577"/>
                  </a:lnTo>
                  <a:lnTo>
                    <a:pt x="1399983"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5" y="134853"/>
                  </a:lnTo>
                  <a:lnTo>
                    <a:pt x="2215841" y="154006"/>
                  </a:lnTo>
                  <a:lnTo>
                    <a:pt x="2256172" y="174314"/>
                  </a:lnTo>
                  <a:lnTo>
                    <a:pt x="2295818" y="195757"/>
                  </a:lnTo>
                  <a:lnTo>
                    <a:pt x="2334756" y="218312"/>
                  </a:lnTo>
                  <a:lnTo>
                    <a:pt x="2372965" y="241959"/>
                  </a:lnTo>
                  <a:lnTo>
                    <a:pt x="2410424" y="266676"/>
                  </a:lnTo>
                  <a:lnTo>
                    <a:pt x="2447112" y="292442"/>
                  </a:lnTo>
                  <a:lnTo>
                    <a:pt x="2483006" y="319235"/>
                  </a:lnTo>
                  <a:lnTo>
                    <a:pt x="2518087" y="347034"/>
                  </a:lnTo>
                  <a:lnTo>
                    <a:pt x="2552333"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6" y="911254"/>
                  </a:lnTo>
                  <a:lnTo>
                    <a:pt x="2969221" y="952894"/>
                  </a:lnTo>
                  <a:lnTo>
                    <a:pt x="2985999" y="995156"/>
                  </a:lnTo>
                  <a:lnTo>
                    <a:pt x="3001557" y="1038018"/>
                  </a:lnTo>
                  <a:lnTo>
                    <a:pt x="3015874" y="1081460"/>
                  </a:lnTo>
                  <a:lnTo>
                    <a:pt x="3028928" y="1125460"/>
                  </a:lnTo>
                  <a:lnTo>
                    <a:pt x="3040700" y="1169996"/>
                  </a:lnTo>
                  <a:lnTo>
                    <a:pt x="3051166" y="1215048"/>
                  </a:lnTo>
                  <a:lnTo>
                    <a:pt x="3060306" y="1260594"/>
                  </a:lnTo>
                  <a:lnTo>
                    <a:pt x="3068098" y="1306613"/>
                  </a:lnTo>
                  <a:lnTo>
                    <a:pt x="3074522" y="1353083"/>
                  </a:lnTo>
                  <a:lnTo>
                    <a:pt x="3079555" y="1399983"/>
                  </a:lnTo>
                  <a:lnTo>
                    <a:pt x="3083176" y="1447291"/>
                  </a:lnTo>
                  <a:lnTo>
                    <a:pt x="3085365" y="1494987"/>
                  </a:lnTo>
                  <a:lnTo>
                    <a:pt x="3086099" y="1543049"/>
                  </a:lnTo>
                  <a:lnTo>
                    <a:pt x="3085365" y="1591111"/>
                  </a:lnTo>
                  <a:lnTo>
                    <a:pt x="3083176" y="1638807"/>
                  </a:lnTo>
                  <a:lnTo>
                    <a:pt x="3079555" y="1686116"/>
                  </a:lnTo>
                  <a:lnTo>
                    <a:pt x="3074522" y="1733016"/>
                  </a:lnTo>
                  <a:lnTo>
                    <a:pt x="3068098" y="1779486"/>
                  </a:lnTo>
                  <a:lnTo>
                    <a:pt x="3060306" y="1825505"/>
                  </a:lnTo>
                  <a:lnTo>
                    <a:pt x="3051166" y="1871051"/>
                  </a:lnTo>
                  <a:lnTo>
                    <a:pt x="3040700" y="1916103"/>
                  </a:lnTo>
                  <a:lnTo>
                    <a:pt x="3028928" y="1960639"/>
                  </a:lnTo>
                  <a:lnTo>
                    <a:pt x="3015874" y="2004639"/>
                  </a:lnTo>
                  <a:lnTo>
                    <a:pt x="3001557" y="2048081"/>
                  </a:lnTo>
                  <a:lnTo>
                    <a:pt x="2985999" y="2090943"/>
                  </a:lnTo>
                  <a:lnTo>
                    <a:pt x="2969221" y="2133205"/>
                  </a:lnTo>
                  <a:lnTo>
                    <a:pt x="2951246"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6"/>
                  </a:lnTo>
                  <a:lnTo>
                    <a:pt x="2739064" y="2518087"/>
                  </a:lnTo>
                  <a:lnTo>
                    <a:pt x="2710280" y="2552332"/>
                  </a:lnTo>
                  <a:lnTo>
                    <a:pt x="2680532" y="2585721"/>
                  </a:lnTo>
                  <a:lnTo>
                    <a:pt x="2649842" y="2618231"/>
                  </a:lnTo>
                  <a:lnTo>
                    <a:pt x="2618231" y="2649842"/>
                  </a:lnTo>
                  <a:lnTo>
                    <a:pt x="2585721" y="2680532"/>
                  </a:lnTo>
                  <a:lnTo>
                    <a:pt x="2552333" y="2710280"/>
                  </a:lnTo>
                  <a:lnTo>
                    <a:pt x="2518087" y="2739064"/>
                  </a:lnTo>
                  <a:lnTo>
                    <a:pt x="2483006" y="2766864"/>
                  </a:lnTo>
                  <a:lnTo>
                    <a:pt x="2447112" y="2793657"/>
                  </a:lnTo>
                  <a:lnTo>
                    <a:pt x="2410424" y="2819423"/>
                  </a:lnTo>
                  <a:lnTo>
                    <a:pt x="2372965" y="2844140"/>
                  </a:lnTo>
                  <a:lnTo>
                    <a:pt x="2334756" y="2867787"/>
                  </a:lnTo>
                  <a:lnTo>
                    <a:pt x="2295818" y="2890342"/>
                  </a:lnTo>
                  <a:lnTo>
                    <a:pt x="2256172" y="2911785"/>
                  </a:lnTo>
                  <a:lnTo>
                    <a:pt x="2215841" y="2932093"/>
                  </a:lnTo>
                  <a:lnTo>
                    <a:pt x="2174845"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8"/>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6" name="object 6"/>
            <p:cNvSpPr/>
            <p:nvPr/>
          </p:nvSpPr>
          <p:spPr>
            <a:xfrm>
              <a:off x="2857131" y="4437709"/>
              <a:ext cx="1410335" cy="1704339"/>
            </a:xfrm>
            <a:custGeom>
              <a:avLst/>
              <a:gdLst/>
              <a:ahLst/>
              <a:cxnLst/>
              <a:rect l="l" t="t" r="r" b="b"/>
              <a:pathLst>
                <a:path w="1410335" h="1704339">
                  <a:moveTo>
                    <a:pt x="530402" y="1267675"/>
                  </a:moveTo>
                  <a:lnTo>
                    <a:pt x="357124" y="1051687"/>
                  </a:lnTo>
                  <a:lnTo>
                    <a:pt x="344741" y="1044778"/>
                  </a:lnTo>
                  <a:lnTo>
                    <a:pt x="326072" y="1037361"/>
                  </a:lnTo>
                  <a:lnTo>
                    <a:pt x="305092" y="1034249"/>
                  </a:lnTo>
                  <a:lnTo>
                    <a:pt x="285762" y="1040231"/>
                  </a:lnTo>
                  <a:lnTo>
                    <a:pt x="273659" y="1054100"/>
                  </a:lnTo>
                  <a:lnTo>
                    <a:pt x="270192" y="1069174"/>
                  </a:lnTo>
                  <a:lnTo>
                    <a:pt x="271805" y="1082713"/>
                  </a:lnTo>
                  <a:lnTo>
                    <a:pt x="274891" y="1091946"/>
                  </a:lnTo>
                  <a:lnTo>
                    <a:pt x="331279" y="1180109"/>
                  </a:lnTo>
                  <a:lnTo>
                    <a:pt x="335381" y="1190434"/>
                  </a:lnTo>
                  <a:lnTo>
                    <a:pt x="314236" y="1224292"/>
                  </a:lnTo>
                  <a:lnTo>
                    <a:pt x="303491" y="1225105"/>
                  </a:lnTo>
                  <a:lnTo>
                    <a:pt x="293141" y="1222006"/>
                  </a:lnTo>
                  <a:lnTo>
                    <a:pt x="284289" y="1215072"/>
                  </a:lnTo>
                  <a:lnTo>
                    <a:pt x="111607" y="1014082"/>
                  </a:lnTo>
                  <a:lnTo>
                    <a:pt x="109258" y="1007021"/>
                  </a:lnTo>
                  <a:lnTo>
                    <a:pt x="113372" y="622376"/>
                  </a:lnTo>
                  <a:lnTo>
                    <a:pt x="107010" y="606869"/>
                  </a:lnTo>
                  <a:lnTo>
                    <a:pt x="94716" y="593356"/>
                  </a:lnTo>
                  <a:lnTo>
                    <a:pt x="78676" y="583692"/>
                  </a:lnTo>
                  <a:lnTo>
                    <a:pt x="61087" y="579767"/>
                  </a:lnTo>
                  <a:lnTo>
                    <a:pt x="34734" y="584314"/>
                  </a:lnTo>
                  <a:lnTo>
                    <a:pt x="16560" y="597433"/>
                  </a:lnTo>
                  <a:lnTo>
                    <a:pt x="5372" y="613029"/>
                  </a:lnTo>
                  <a:lnTo>
                    <a:pt x="0" y="625017"/>
                  </a:lnTo>
                  <a:lnTo>
                    <a:pt x="0" y="1089304"/>
                  </a:lnTo>
                  <a:lnTo>
                    <a:pt x="270789" y="1414297"/>
                  </a:lnTo>
                  <a:lnTo>
                    <a:pt x="273138" y="1421066"/>
                  </a:lnTo>
                  <a:lnTo>
                    <a:pt x="273138" y="1427822"/>
                  </a:lnTo>
                  <a:lnTo>
                    <a:pt x="273138" y="1508340"/>
                  </a:lnTo>
                  <a:lnTo>
                    <a:pt x="528637" y="1508340"/>
                  </a:lnTo>
                  <a:lnTo>
                    <a:pt x="530402" y="1267675"/>
                  </a:lnTo>
                  <a:close/>
                </a:path>
                <a:path w="1410335" h="1704339">
                  <a:moveTo>
                    <a:pt x="580923" y="1567395"/>
                  </a:moveTo>
                  <a:lnTo>
                    <a:pt x="223799" y="1567395"/>
                  </a:lnTo>
                  <a:lnTo>
                    <a:pt x="223799" y="1704340"/>
                  </a:lnTo>
                  <a:lnTo>
                    <a:pt x="580923" y="1704340"/>
                  </a:lnTo>
                  <a:lnTo>
                    <a:pt x="580923" y="1567395"/>
                  </a:lnTo>
                  <a:close/>
                </a:path>
                <a:path w="1410335" h="1704339">
                  <a:moveTo>
                    <a:pt x="1167117" y="455472"/>
                  </a:moveTo>
                  <a:lnTo>
                    <a:pt x="1164729" y="408952"/>
                  </a:lnTo>
                  <a:lnTo>
                    <a:pt x="1157706" y="363766"/>
                  </a:lnTo>
                  <a:lnTo>
                    <a:pt x="1146302" y="320141"/>
                  </a:lnTo>
                  <a:lnTo>
                    <a:pt x="1130731" y="278307"/>
                  </a:lnTo>
                  <a:lnTo>
                    <a:pt x="1111250" y="238506"/>
                  </a:lnTo>
                  <a:lnTo>
                    <a:pt x="1088072" y="200939"/>
                  </a:lnTo>
                  <a:lnTo>
                    <a:pt x="1061440" y="165874"/>
                  </a:lnTo>
                  <a:lnTo>
                    <a:pt x="1031582" y="133515"/>
                  </a:lnTo>
                  <a:lnTo>
                    <a:pt x="998740" y="104101"/>
                  </a:lnTo>
                  <a:lnTo>
                    <a:pt x="963142" y="77863"/>
                  </a:lnTo>
                  <a:lnTo>
                    <a:pt x="925029" y="55029"/>
                  </a:lnTo>
                  <a:lnTo>
                    <a:pt x="884631" y="35839"/>
                  </a:lnTo>
                  <a:lnTo>
                    <a:pt x="860310" y="27063"/>
                  </a:lnTo>
                  <a:lnTo>
                    <a:pt x="860310" y="536829"/>
                  </a:lnTo>
                  <a:lnTo>
                    <a:pt x="858088" y="563422"/>
                  </a:lnTo>
                  <a:lnTo>
                    <a:pt x="849579" y="589305"/>
                  </a:lnTo>
                  <a:lnTo>
                    <a:pt x="834961" y="613562"/>
                  </a:lnTo>
                  <a:lnTo>
                    <a:pt x="834364" y="613562"/>
                  </a:lnTo>
                  <a:lnTo>
                    <a:pt x="817397" y="629932"/>
                  </a:lnTo>
                  <a:lnTo>
                    <a:pt x="793953" y="643864"/>
                  </a:lnTo>
                  <a:lnTo>
                    <a:pt x="765606" y="654761"/>
                  </a:lnTo>
                  <a:lnTo>
                    <a:pt x="733933" y="662051"/>
                  </a:lnTo>
                  <a:lnTo>
                    <a:pt x="733933" y="719937"/>
                  </a:lnTo>
                  <a:lnTo>
                    <a:pt x="731608" y="731342"/>
                  </a:lnTo>
                  <a:lnTo>
                    <a:pt x="725297" y="740689"/>
                  </a:lnTo>
                  <a:lnTo>
                    <a:pt x="715962" y="747001"/>
                  </a:lnTo>
                  <a:lnTo>
                    <a:pt x="704557" y="749312"/>
                  </a:lnTo>
                  <a:lnTo>
                    <a:pt x="693153" y="747001"/>
                  </a:lnTo>
                  <a:lnTo>
                    <a:pt x="683818" y="740689"/>
                  </a:lnTo>
                  <a:lnTo>
                    <a:pt x="677506" y="731342"/>
                  </a:lnTo>
                  <a:lnTo>
                    <a:pt x="675195" y="719937"/>
                  </a:lnTo>
                  <a:lnTo>
                    <a:pt x="675195" y="663803"/>
                  </a:lnTo>
                  <a:lnTo>
                    <a:pt x="645731" y="659663"/>
                  </a:lnTo>
                  <a:lnTo>
                    <a:pt x="589330" y="640918"/>
                  </a:lnTo>
                  <a:lnTo>
                    <a:pt x="554685" y="618045"/>
                  </a:lnTo>
                  <a:lnTo>
                    <a:pt x="549948" y="596442"/>
                  </a:lnTo>
                  <a:lnTo>
                    <a:pt x="554189" y="585647"/>
                  </a:lnTo>
                  <a:lnTo>
                    <a:pt x="562343" y="577329"/>
                  </a:lnTo>
                  <a:lnTo>
                    <a:pt x="572693" y="572858"/>
                  </a:lnTo>
                  <a:lnTo>
                    <a:pt x="583933" y="572579"/>
                  </a:lnTo>
                  <a:lnTo>
                    <a:pt x="594715" y="576834"/>
                  </a:lnTo>
                  <a:lnTo>
                    <a:pt x="625284" y="592785"/>
                  </a:lnTo>
                  <a:lnTo>
                    <a:pt x="654456" y="602030"/>
                  </a:lnTo>
                  <a:lnTo>
                    <a:pt x="680910" y="606082"/>
                  </a:lnTo>
                  <a:lnTo>
                    <a:pt x="703389" y="606501"/>
                  </a:lnTo>
                  <a:lnTo>
                    <a:pt x="734733" y="602424"/>
                  </a:lnTo>
                  <a:lnTo>
                    <a:pt x="760069" y="594791"/>
                  </a:lnTo>
                  <a:lnTo>
                    <a:pt x="778141" y="585889"/>
                  </a:lnTo>
                  <a:lnTo>
                    <a:pt x="787679" y="578002"/>
                  </a:lnTo>
                  <a:lnTo>
                    <a:pt x="790981" y="572579"/>
                  </a:lnTo>
                  <a:lnTo>
                    <a:pt x="795210" y="565670"/>
                  </a:lnTo>
                  <a:lnTo>
                    <a:pt x="799680" y="552767"/>
                  </a:lnTo>
                  <a:lnTo>
                    <a:pt x="801014" y="539699"/>
                  </a:lnTo>
                  <a:lnTo>
                    <a:pt x="799122" y="526872"/>
                  </a:lnTo>
                  <a:lnTo>
                    <a:pt x="766216" y="489102"/>
                  </a:lnTo>
                  <a:lnTo>
                    <a:pt x="731583" y="474865"/>
                  </a:lnTo>
                  <a:lnTo>
                    <a:pt x="723061" y="471919"/>
                  </a:lnTo>
                  <a:lnTo>
                    <a:pt x="658914" y="447967"/>
                  </a:lnTo>
                  <a:lnTo>
                    <a:pt x="623277" y="427659"/>
                  </a:lnTo>
                  <a:lnTo>
                    <a:pt x="591947" y="399580"/>
                  </a:lnTo>
                  <a:lnTo>
                    <a:pt x="568871" y="361734"/>
                  </a:lnTo>
                  <a:lnTo>
                    <a:pt x="562241" y="336435"/>
                  </a:lnTo>
                  <a:lnTo>
                    <a:pt x="562495" y="310527"/>
                  </a:lnTo>
                  <a:lnTo>
                    <a:pt x="582968" y="260642"/>
                  </a:lnTo>
                  <a:lnTo>
                    <a:pt x="623392" y="223697"/>
                  </a:lnTo>
                  <a:lnTo>
                    <a:pt x="675487" y="205689"/>
                  </a:lnTo>
                  <a:lnTo>
                    <a:pt x="675487" y="149567"/>
                  </a:lnTo>
                  <a:lnTo>
                    <a:pt x="677799" y="138163"/>
                  </a:lnTo>
                  <a:lnTo>
                    <a:pt x="684110" y="128816"/>
                  </a:lnTo>
                  <a:lnTo>
                    <a:pt x="693445" y="122504"/>
                  </a:lnTo>
                  <a:lnTo>
                    <a:pt x="704850" y="120180"/>
                  </a:lnTo>
                  <a:lnTo>
                    <a:pt x="716254" y="122504"/>
                  </a:lnTo>
                  <a:lnTo>
                    <a:pt x="725601" y="128816"/>
                  </a:lnTo>
                  <a:lnTo>
                    <a:pt x="731901" y="138163"/>
                  </a:lnTo>
                  <a:lnTo>
                    <a:pt x="734225" y="149567"/>
                  </a:lnTo>
                  <a:lnTo>
                    <a:pt x="734225" y="209511"/>
                  </a:lnTo>
                  <a:lnTo>
                    <a:pt x="755573" y="215379"/>
                  </a:lnTo>
                  <a:lnTo>
                    <a:pt x="798068" y="232613"/>
                  </a:lnTo>
                  <a:lnTo>
                    <a:pt x="828459" y="262585"/>
                  </a:lnTo>
                  <a:lnTo>
                    <a:pt x="828230" y="273812"/>
                  </a:lnTo>
                  <a:lnTo>
                    <a:pt x="823506" y="284441"/>
                  </a:lnTo>
                  <a:lnTo>
                    <a:pt x="815022" y="292455"/>
                  </a:lnTo>
                  <a:lnTo>
                    <a:pt x="804519" y="296456"/>
                  </a:lnTo>
                  <a:lnTo>
                    <a:pt x="793318" y="296227"/>
                  </a:lnTo>
                  <a:lnTo>
                    <a:pt x="782675" y="291503"/>
                  </a:lnTo>
                  <a:lnTo>
                    <a:pt x="764819" y="281419"/>
                  </a:lnTo>
                  <a:lnTo>
                    <a:pt x="743292" y="272834"/>
                  </a:lnTo>
                  <a:lnTo>
                    <a:pt x="721271" y="266458"/>
                  </a:lnTo>
                  <a:lnTo>
                    <a:pt x="701916" y="262991"/>
                  </a:lnTo>
                  <a:lnTo>
                    <a:pt x="697801" y="262699"/>
                  </a:lnTo>
                  <a:lnTo>
                    <a:pt x="678675" y="264274"/>
                  </a:lnTo>
                  <a:lnTo>
                    <a:pt x="644029" y="280758"/>
                  </a:lnTo>
                  <a:lnTo>
                    <a:pt x="621995" y="313093"/>
                  </a:lnTo>
                  <a:lnTo>
                    <a:pt x="620560" y="325551"/>
                  </a:lnTo>
                  <a:lnTo>
                    <a:pt x="623506" y="339394"/>
                  </a:lnTo>
                  <a:lnTo>
                    <a:pt x="661568" y="382117"/>
                  </a:lnTo>
                  <a:lnTo>
                    <a:pt x="714844" y="406984"/>
                  </a:lnTo>
                  <a:lnTo>
                    <a:pt x="741565" y="415798"/>
                  </a:lnTo>
                  <a:lnTo>
                    <a:pt x="755548" y="420458"/>
                  </a:lnTo>
                  <a:lnTo>
                    <a:pt x="799528" y="440131"/>
                  </a:lnTo>
                  <a:lnTo>
                    <a:pt x="844067" y="483463"/>
                  </a:lnTo>
                  <a:lnTo>
                    <a:pt x="860310" y="536829"/>
                  </a:lnTo>
                  <a:lnTo>
                    <a:pt x="860310" y="27063"/>
                  </a:lnTo>
                  <a:lnTo>
                    <a:pt x="842175" y="20497"/>
                  </a:lnTo>
                  <a:lnTo>
                    <a:pt x="797902" y="9271"/>
                  </a:lnTo>
                  <a:lnTo>
                    <a:pt x="752055" y="2349"/>
                  </a:lnTo>
                  <a:lnTo>
                    <a:pt x="704850" y="0"/>
                  </a:lnTo>
                  <a:lnTo>
                    <a:pt x="657656" y="2349"/>
                  </a:lnTo>
                  <a:lnTo>
                    <a:pt x="611797" y="9271"/>
                  </a:lnTo>
                  <a:lnTo>
                    <a:pt x="567537" y="20497"/>
                  </a:lnTo>
                  <a:lnTo>
                    <a:pt x="525081" y="35839"/>
                  </a:lnTo>
                  <a:lnTo>
                    <a:pt x="484682" y="55029"/>
                  </a:lnTo>
                  <a:lnTo>
                    <a:pt x="446570" y="77863"/>
                  </a:lnTo>
                  <a:lnTo>
                    <a:pt x="410972" y="104101"/>
                  </a:lnTo>
                  <a:lnTo>
                    <a:pt x="378129" y="133515"/>
                  </a:lnTo>
                  <a:lnTo>
                    <a:pt x="348272" y="165874"/>
                  </a:lnTo>
                  <a:lnTo>
                    <a:pt x="321640" y="200939"/>
                  </a:lnTo>
                  <a:lnTo>
                    <a:pt x="298462" y="238506"/>
                  </a:lnTo>
                  <a:lnTo>
                    <a:pt x="278968" y="278307"/>
                  </a:lnTo>
                  <a:lnTo>
                    <a:pt x="263410" y="320141"/>
                  </a:lnTo>
                  <a:lnTo>
                    <a:pt x="251993" y="363766"/>
                  </a:lnTo>
                  <a:lnTo>
                    <a:pt x="244983" y="408952"/>
                  </a:lnTo>
                  <a:lnTo>
                    <a:pt x="242595" y="455472"/>
                  </a:lnTo>
                  <a:lnTo>
                    <a:pt x="244983" y="501980"/>
                  </a:lnTo>
                  <a:lnTo>
                    <a:pt x="251993" y="547166"/>
                  </a:lnTo>
                  <a:lnTo>
                    <a:pt x="263410" y="590791"/>
                  </a:lnTo>
                  <a:lnTo>
                    <a:pt x="278968" y="632625"/>
                  </a:lnTo>
                  <a:lnTo>
                    <a:pt x="298462" y="672439"/>
                  </a:lnTo>
                  <a:lnTo>
                    <a:pt x="321640" y="709993"/>
                  </a:lnTo>
                  <a:lnTo>
                    <a:pt x="348272" y="745058"/>
                  </a:lnTo>
                  <a:lnTo>
                    <a:pt x="378129" y="777417"/>
                  </a:lnTo>
                  <a:lnTo>
                    <a:pt x="410972" y="806831"/>
                  </a:lnTo>
                  <a:lnTo>
                    <a:pt x="446570" y="833069"/>
                  </a:lnTo>
                  <a:lnTo>
                    <a:pt x="484682" y="855903"/>
                  </a:lnTo>
                  <a:lnTo>
                    <a:pt x="525081" y="875106"/>
                  </a:lnTo>
                  <a:lnTo>
                    <a:pt x="567537" y="890435"/>
                  </a:lnTo>
                  <a:lnTo>
                    <a:pt x="611797" y="901674"/>
                  </a:lnTo>
                  <a:lnTo>
                    <a:pt x="657656" y="908583"/>
                  </a:lnTo>
                  <a:lnTo>
                    <a:pt x="704850" y="910932"/>
                  </a:lnTo>
                  <a:lnTo>
                    <a:pt x="752055" y="908583"/>
                  </a:lnTo>
                  <a:lnTo>
                    <a:pt x="797902" y="901674"/>
                  </a:lnTo>
                  <a:lnTo>
                    <a:pt x="842175" y="890435"/>
                  </a:lnTo>
                  <a:lnTo>
                    <a:pt x="884631" y="875106"/>
                  </a:lnTo>
                  <a:lnTo>
                    <a:pt x="925029" y="855903"/>
                  </a:lnTo>
                  <a:lnTo>
                    <a:pt x="963142" y="833069"/>
                  </a:lnTo>
                  <a:lnTo>
                    <a:pt x="998740" y="806831"/>
                  </a:lnTo>
                  <a:lnTo>
                    <a:pt x="1031582" y="777417"/>
                  </a:lnTo>
                  <a:lnTo>
                    <a:pt x="1057503" y="749312"/>
                  </a:lnTo>
                  <a:lnTo>
                    <a:pt x="1061440" y="745058"/>
                  </a:lnTo>
                  <a:lnTo>
                    <a:pt x="1088072" y="709993"/>
                  </a:lnTo>
                  <a:lnTo>
                    <a:pt x="1111250" y="672439"/>
                  </a:lnTo>
                  <a:lnTo>
                    <a:pt x="1130731" y="632625"/>
                  </a:lnTo>
                  <a:lnTo>
                    <a:pt x="1146302" y="590791"/>
                  </a:lnTo>
                  <a:lnTo>
                    <a:pt x="1157706" y="547166"/>
                  </a:lnTo>
                  <a:lnTo>
                    <a:pt x="1164729" y="501980"/>
                  </a:lnTo>
                  <a:lnTo>
                    <a:pt x="1167117" y="455472"/>
                  </a:lnTo>
                  <a:close/>
                </a:path>
                <a:path w="1410335" h="1704339">
                  <a:moveTo>
                    <a:pt x="1185913" y="1567395"/>
                  </a:moveTo>
                  <a:lnTo>
                    <a:pt x="828789" y="1567395"/>
                  </a:lnTo>
                  <a:lnTo>
                    <a:pt x="828789" y="1704340"/>
                  </a:lnTo>
                  <a:lnTo>
                    <a:pt x="1185913" y="1704340"/>
                  </a:lnTo>
                  <a:lnTo>
                    <a:pt x="1185913" y="1567395"/>
                  </a:lnTo>
                  <a:close/>
                </a:path>
                <a:path w="1410335" h="1704339">
                  <a:moveTo>
                    <a:pt x="1409992" y="620318"/>
                  </a:moveTo>
                  <a:lnTo>
                    <a:pt x="1408531" y="608330"/>
                  </a:lnTo>
                  <a:lnTo>
                    <a:pt x="1402257" y="594271"/>
                  </a:lnTo>
                  <a:lnTo>
                    <a:pt x="1388313" y="582587"/>
                  </a:lnTo>
                  <a:lnTo>
                    <a:pt x="1363891" y="577710"/>
                  </a:lnTo>
                  <a:lnTo>
                    <a:pt x="1345565" y="579907"/>
                  </a:lnTo>
                  <a:lnTo>
                    <a:pt x="1323581" y="588035"/>
                  </a:lnTo>
                  <a:lnTo>
                    <a:pt x="1304785" y="604367"/>
                  </a:lnTo>
                  <a:lnTo>
                    <a:pt x="1296339" y="631190"/>
                  </a:lnTo>
                  <a:lnTo>
                    <a:pt x="1300454" y="1006729"/>
                  </a:lnTo>
                  <a:lnTo>
                    <a:pt x="1298105" y="1013790"/>
                  </a:lnTo>
                  <a:lnTo>
                    <a:pt x="1125410" y="1214780"/>
                  </a:lnTo>
                  <a:lnTo>
                    <a:pt x="1116698" y="1221701"/>
                  </a:lnTo>
                  <a:lnTo>
                    <a:pt x="1106322" y="1224800"/>
                  </a:lnTo>
                  <a:lnTo>
                    <a:pt x="1095514" y="1223987"/>
                  </a:lnTo>
                  <a:lnTo>
                    <a:pt x="1085469" y="1219187"/>
                  </a:lnTo>
                  <a:lnTo>
                    <a:pt x="1077976" y="1211008"/>
                  </a:lnTo>
                  <a:lnTo>
                    <a:pt x="1074127" y="1200924"/>
                  </a:lnTo>
                  <a:lnTo>
                    <a:pt x="1074204" y="1190142"/>
                  </a:lnTo>
                  <a:lnTo>
                    <a:pt x="1078420" y="1179804"/>
                  </a:lnTo>
                  <a:lnTo>
                    <a:pt x="1135100" y="1091653"/>
                  </a:lnTo>
                  <a:lnTo>
                    <a:pt x="1138072" y="1082713"/>
                  </a:lnTo>
                  <a:lnTo>
                    <a:pt x="1139698" y="1069251"/>
                  </a:lnTo>
                  <a:lnTo>
                    <a:pt x="1136307" y="1054138"/>
                  </a:lnTo>
                  <a:lnTo>
                    <a:pt x="1124242" y="1040231"/>
                  </a:lnTo>
                  <a:lnTo>
                    <a:pt x="1104950" y="1034300"/>
                  </a:lnTo>
                  <a:lnTo>
                    <a:pt x="1084046" y="1037475"/>
                  </a:lnTo>
                  <a:lnTo>
                    <a:pt x="1065390" y="1044905"/>
                  </a:lnTo>
                  <a:lnTo>
                    <a:pt x="1052868" y="1051687"/>
                  </a:lnTo>
                  <a:lnTo>
                    <a:pt x="879602" y="1267675"/>
                  </a:lnTo>
                  <a:lnTo>
                    <a:pt x="881354" y="1508340"/>
                  </a:lnTo>
                  <a:lnTo>
                    <a:pt x="1136865" y="1508340"/>
                  </a:lnTo>
                  <a:lnTo>
                    <a:pt x="1136865" y="1420774"/>
                  </a:lnTo>
                  <a:lnTo>
                    <a:pt x="1139215" y="1414005"/>
                  </a:lnTo>
                  <a:lnTo>
                    <a:pt x="1409992" y="1089012"/>
                  </a:lnTo>
                  <a:lnTo>
                    <a:pt x="1409992" y="620318"/>
                  </a:lnTo>
                  <a:close/>
                </a:path>
              </a:pathLst>
            </a:custGeom>
            <a:solidFill>
              <a:srgbClr val="FFFFFF"/>
            </a:solidFill>
          </p:spPr>
          <p:txBody>
            <a:bodyPr wrap="square" lIns="0" tIns="0" rIns="0" bIns="0" rtlCol="0"/>
            <a:lstStyle/>
            <a:p>
              <a:endParaRPr/>
            </a:p>
          </p:txBody>
        </p:sp>
      </p:grpSp>
      <p:sp>
        <p:nvSpPr>
          <p:cNvPr id="7" name="object 7"/>
          <p:cNvSpPr txBox="1"/>
          <p:nvPr/>
        </p:nvSpPr>
        <p:spPr>
          <a:xfrm>
            <a:off x="2477593" y="7621689"/>
            <a:ext cx="2104390" cy="927100"/>
          </a:xfrm>
          <a:prstGeom prst="rect">
            <a:avLst/>
          </a:prstGeom>
        </p:spPr>
        <p:txBody>
          <a:bodyPr vert="horz" wrap="square" lIns="0" tIns="34925" rIns="0" bIns="0" rtlCol="0">
            <a:spAutoFit/>
          </a:bodyPr>
          <a:lstStyle/>
          <a:p>
            <a:pPr marL="12065" marR="5080" algn="ctr">
              <a:lnSpc>
                <a:spcPts val="2330"/>
              </a:lnSpc>
              <a:spcBef>
                <a:spcPts val="275"/>
              </a:spcBef>
            </a:pPr>
            <a:r>
              <a:rPr sz="2000" b="1" spc="-10" dirty="0">
                <a:solidFill>
                  <a:srgbClr val="FFFFFF"/>
                </a:solidFill>
                <a:latin typeface="Roboto"/>
                <a:cs typeface="Roboto"/>
              </a:rPr>
              <a:t>Situación </a:t>
            </a:r>
            <a:r>
              <a:rPr sz="2000" b="1" dirty="0">
                <a:solidFill>
                  <a:srgbClr val="FFFFFF"/>
                </a:solidFill>
                <a:latin typeface="Roboto"/>
                <a:cs typeface="Roboto"/>
              </a:rPr>
              <a:t>económico-</a:t>
            </a:r>
            <a:r>
              <a:rPr sz="2000" b="1" spc="-10" dirty="0">
                <a:solidFill>
                  <a:srgbClr val="FFFFFF"/>
                </a:solidFill>
                <a:latin typeface="Roboto"/>
                <a:cs typeface="Roboto"/>
              </a:rPr>
              <a:t>social </a:t>
            </a:r>
            <a:r>
              <a:rPr sz="2000" b="1" dirty="0">
                <a:solidFill>
                  <a:srgbClr val="FFFFFF"/>
                </a:solidFill>
                <a:latin typeface="Roboto"/>
                <a:cs typeface="Roboto"/>
              </a:rPr>
              <a:t>de</a:t>
            </a:r>
            <a:r>
              <a:rPr sz="2000" b="1" spc="50" dirty="0">
                <a:solidFill>
                  <a:srgbClr val="FFFFFF"/>
                </a:solidFill>
                <a:latin typeface="Roboto"/>
                <a:cs typeface="Roboto"/>
              </a:rPr>
              <a:t> </a:t>
            </a:r>
            <a:r>
              <a:rPr sz="2000" b="1" spc="-10" dirty="0">
                <a:solidFill>
                  <a:srgbClr val="FFFFFF"/>
                </a:solidFill>
                <a:latin typeface="Roboto"/>
                <a:cs typeface="Roboto"/>
              </a:rPr>
              <a:t>Argentina</a:t>
            </a:r>
            <a:endParaRPr sz="2000">
              <a:latin typeface="Roboto"/>
              <a:cs typeface="Roboto"/>
            </a:endParaRPr>
          </a:p>
        </p:txBody>
      </p:sp>
      <p:grpSp>
        <p:nvGrpSpPr>
          <p:cNvPr id="8" name="object 8"/>
          <p:cNvGrpSpPr/>
          <p:nvPr/>
        </p:nvGrpSpPr>
        <p:grpSpPr>
          <a:xfrm>
            <a:off x="5811656" y="3686610"/>
            <a:ext cx="3086100" cy="5032375"/>
            <a:chOff x="5811656" y="3686610"/>
            <a:chExt cx="3086100" cy="5032375"/>
          </a:xfrm>
        </p:grpSpPr>
        <p:sp>
          <p:nvSpPr>
            <p:cNvPr id="9" name="object 9"/>
            <p:cNvSpPr/>
            <p:nvPr/>
          </p:nvSpPr>
          <p:spPr>
            <a:xfrm>
              <a:off x="5861300" y="7540187"/>
              <a:ext cx="3036570" cy="1179195"/>
            </a:xfrm>
            <a:custGeom>
              <a:avLst/>
              <a:gdLst/>
              <a:ahLst/>
              <a:cxnLst/>
              <a:rect l="l" t="t" r="r" b="b"/>
              <a:pathLst>
                <a:path w="3036570" h="1179195">
                  <a:moveTo>
                    <a:pt x="2495421" y="1953"/>
                  </a:moveTo>
                  <a:lnTo>
                    <a:pt x="541034" y="1953"/>
                  </a:lnTo>
                  <a:lnTo>
                    <a:pt x="589372" y="0"/>
                  </a:lnTo>
                  <a:lnTo>
                    <a:pt x="2447083" y="0"/>
                  </a:lnTo>
                  <a:lnTo>
                    <a:pt x="2495421" y="1953"/>
                  </a:lnTo>
                  <a:close/>
                </a:path>
                <a:path w="3036570" h="1179195">
                  <a:moveTo>
                    <a:pt x="2447098" y="1178745"/>
                  </a:moveTo>
                  <a:lnTo>
                    <a:pt x="589356" y="1178745"/>
                  </a:lnTo>
                  <a:lnTo>
                    <a:pt x="541034" y="1176792"/>
                  </a:lnTo>
                  <a:lnTo>
                    <a:pt x="493773" y="1171032"/>
                  </a:lnTo>
                  <a:lnTo>
                    <a:pt x="447739" y="1161617"/>
                  </a:lnTo>
                  <a:lnTo>
                    <a:pt x="403085" y="1148699"/>
                  </a:lnTo>
                  <a:lnTo>
                    <a:pt x="359962" y="1132430"/>
                  </a:lnTo>
                  <a:lnTo>
                    <a:pt x="318521" y="1112961"/>
                  </a:lnTo>
                  <a:lnTo>
                    <a:pt x="278916" y="1090444"/>
                  </a:lnTo>
                  <a:lnTo>
                    <a:pt x="241296" y="1065031"/>
                  </a:lnTo>
                  <a:lnTo>
                    <a:pt x="205815" y="1036873"/>
                  </a:lnTo>
                  <a:lnTo>
                    <a:pt x="172623" y="1006122"/>
                  </a:lnTo>
                  <a:lnTo>
                    <a:pt x="141872" y="972930"/>
                  </a:lnTo>
                  <a:lnTo>
                    <a:pt x="113714" y="937449"/>
                  </a:lnTo>
                  <a:lnTo>
                    <a:pt x="88301" y="899829"/>
                  </a:lnTo>
                  <a:lnTo>
                    <a:pt x="65784" y="860223"/>
                  </a:lnTo>
                  <a:lnTo>
                    <a:pt x="46315" y="818783"/>
                  </a:lnTo>
                  <a:lnTo>
                    <a:pt x="30046" y="775660"/>
                  </a:lnTo>
                  <a:lnTo>
                    <a:pt x="17128" y="731006"/>
                  </a:lnTo>
                  <a:lnTo>
                    <a:pt x="7713" y="684972"/>
                  </a:lnTo>
                  <a:lnTo>
                    <a:pt x="1953" y="637710"/>
                  </a:lnTo>
                  <a:lnTo>
                    <a:pt x="0" y="589372"/>
                  </a:lnTo>
                  <a:lnTo>
                    <a:pt x="1953" y="541035"/>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1" y="65784"/>
                  </a:lnTo>
                  <a:lnTo>
                    <a:pt x="359962" y="46315"/>
                  </a:lnTo>
                  <a:lnTo>
                    <a:pt x="403085" y="30046"/>
                  </a:lnTo>
                  <a:lnTo>
                    <a:pt x="447739" y="17128"/>
                  </a:lnTo>
                  <a:lnTo>
                    <a:pt x="493773" y="7713"/>
                  </a:lnTo>
                  <a:lnTo>
                    <a:pt x="541034" y="1953"/>
                  </a:lnTo>
                  <a:lnTo>
                    <a:pt x="2495421" y="1953"/>
                  </a:lnTo>
                  <a:lnTo>
                    <a:pt x="2542682" y="7713"/>
                  </a:lnTo>
                  <a:lnTo>
                    <a:pt x="2588716" y="17128"/>
                  </a:lnTo>
                  <a:lnTo>
                    <a:pt x="2633370" y="30046"/>
                  </a:lnTo>
                  <a:lnTo>
                    <a:pt x="2676493" y="46315"/>
                  </a:lnTo>
                  <a:lnTo>
                    <a:pt x="2717934" y="65784"/>
                  </a:lnTo>
                  <a:lnTo>
                    <a:pt x="2757539" y="88301"/>
                  </a:lnTo>
                  <a:lnTo>
                    <a:pt x="2795159" y="113714"/>
                  </a:lnTo>
                  <a:lnTo>
                    <a:pt x="2830640" y="141872"/>
                  </a:lnTo>
                  <a:lnTo>
                    <a:pt x="2863832" y="172623"/>
                  </a:lnTo>
                  <a:lnTo>
                    <a:pt x="2894583" y="205815"/>
                  </a:lnTo>
                  <a:lnTo>
                    <a:pt x="2922741" y="241296"/>
                  </a:lnTo>
                  <a:lnTo>
                    <a:pt x="2948154" y="278916"/>
                  </a:lnTo>
                  <a:lnTo>
                    <a:pt x="2970671" y="318522"/>
                  </a:lnTo>
                  <a:lnTo>
                    <a:pt x="2990140" y="359962"/>
                  </a:lnTo>
                  <a:lnTo>
                    <a:pt x="3006409" y="403085"/>
                  </a:lnTo>
                  <a:lnTo>
                    <a:pt x="3019327" y="447739"/>
                  </a:lnTo>
                  <a:lnTo>
                    <a:pt x="3028741" y="493773"/>
                  </a:lnTo>
                  <a:lnTo>
                    <a:pt x="3034502" y="541035"/>
                  </a:lnTo>
                  <a:lnTo>
                    <a:pt x="3036455" y="589372"/>
                  </a:lnTo>
                  <a:lnTo>
                    <a:pt x="3034502" y="637710"/>
                  </a:lnTo>
                  <a:lnTo>
                    <a:pt x="3028741" y="684972"/>
                  </a:lnTo>
                  <a:lnTo>
                    <a:pt x="3019327" y="731006"/>
                  </a:lnTo>
                  <a:lnTo>
                    <a:pt x="3006409" y="775660"/>
                  </a:lnTo>
                  <a:lnTo>
                    <a:pt x="2990140" y="818783"/>
                  </a:lnTo>
                  <a:lnTo>
                    <a:pt x="2970671" y="860223"/>
                  </a:lnTo>
                  <a:lnTo>
                    <a:pt x="2948154" y="899829"/>
                  </a:lnTo>
                  <a:lnTo>
                    <a:pt x="2922741" y="937449"/>
                  </a:lnTo>
                  <a:lnTo>
                    <a:pt x="2894583" y="972930"/>
                  </a:lnTo>
                  <a:lnTo>
                    <a:pt x="2863832" y="1006122"/>
                  </a:lnTo>
                  <a:lnTo>
                    <a:pt x="2830640" y="1036873"/>
                  </a:lnTo>
                  <a:lnTo>
                    <a:pt x="2795159" y="1065031"/>
                  </a:lnTo>
                  <a:lnTo>
                    <a:pt x="2757539" y="1090444"/>
                  </a:lnTo>
                  <a:lnTo>
                    <a:pt x="2717934" y="1112961"/>
                  </a:lnTo>
                  <a:lnTo>
                    <a:pt x="2676493" y="1132430"/>
                  </a:lnTo>
                  <a:lnTo>
                    <a:pt x="2633370" y="1148699"/>
                  </a:lnTo>
                  <a:lnTo>
                    <a:pt x="2588716" y="1161617"/>
                  </a:lnTo>
                  <a:lnTo>
                    <a:pt x="2542682" y="1171032"/>
                  </a:lnTo>
                  <a:lnTo>
                    <a:pt x="2495421" y="1176792"/>
                  </a:lnTo>
                  <a:lnTo>
                    <a:pt x="2447098" y="1178745"/>
                  </a:lnTo>
                  <a:close/>
                </a:path>
              </a:pathLst>
            </a:custGeom>
            <a:solidFill>
              <a:srgbClr val="21408B"/>
            </a:solidFill>
          </p:spPr>
          <p:txBody>
            <a:bodyPr wrap="square" lIns="0" tIns="0" rIns="0" bIns="0" rtlCol="0"/>
            <a:lstStyle/>
            <a:p>
              <a:endParaRPr/>
            </a:p>
          </p:txBody>
        </p:sp>
        <p:sp>
          <p:nvSpPr>
            <p:cNvPr id="10" name="object 10"/>
            <p:cNvSpPr/>
            <p:nvPr/>
          </p:nvSpPr>
          <p:spPr>
            <a:xfrm>
              <a:off x="5811656" y="3686610"/>
              <a:ext cx="3086100" cy="3086100"/>
            </a:xfrm>
            <a:custGeom>
              <a:avLst/>
              <a:gdLst/>
              <a:ahLst/>
              <a:cxnLst/>
              <a:rect l="l" t="t" r="r" b="b"/>
              <a:pathLst>
                <a:path w="3086100" h="3086100">
                  <a:moveTo>
                    <a:pt x="1543076" y="3086099"/>
                  </a:moveTo>
                  <a:lnTo>
                    <a:pt x="1494987" y="3085365"/>
                  </a:lnTo>
                  <a:lnTo>
                    <a:pt x="1447291" y="3083177"/>
                  </a:lnTo>
                  <a:lnTo>
                    <a:pt x="1399982" y="3079555"/>
                  </a:lnTo>
                  <a:lnTo>
                    <a:pt x="1353082" y="3074522"/>
                  </a:lnTo>
                  <a:lnTo>
                    <a:pt x="1306612" y="3068098"/>
                  </a:lnTo>
                  <a:lnTo>
                    <a:pt x="1260594" y="3060306"/>
                  </a:lnTo>
                  <a:lnTo>
                    <a:pt x="1215048" y="3051166"/>
                  </a:lnTo>
                  <a:lnTo>
                    <a:pt x="1169996" y="3040700"/>
                  </a:lnTo>
                  <a:lnTo>
                    <a:pt x="1125459" y="3028929"/>
                  </a:lnTo>
                  <a:lnTo>
                    <a:pt x="1081460" y="3015874"/>
                  </a:lnTo>
                  <a:lnTo>
                    <a:pt x="1038018" y="3001557"/>
                  </a:lnTo>
                  <a:lnTo>
                    <a:pt x="995155" y="2985999"/>
                  </a:lnTo>
                  <a:lnTo>
                    <a:pt x="952894" y="2969221"/>
                  </a:lnTo>
                  <a:lnTo>
                    <a:pt x="911254" y="2951246"/>
                  </a:lnTo>
                  <a:lnTo>
                    <a:pt x="870258" y="2932093"/>
                  </a:lnTo>
                  <a:lnTo>
                    <a:pt x="829926" y="2911785"/>
                  </a:lnTo>
                  <a:lnTo>
                    <a:pt x="790281" y="2890342"/>
                  </a:lnTo>
                  <a:lnTo>
                    <a:pt x="751343" y="2867787"/>
                  </a:lnTo>
                  <a:lnTo>
                    <a:pt x="713134" y="2844140"/>
                  </a:lnTo>
                  <a:lnTo>
                    <a:pt x="675675" y="2819423"/>
                  </a:lnTo>
                  <a:lnTo>
                    <a:pt x="638987" y="2793657"/>
                  </a:lnTo>
                  <a:lnTo>
                    <a:pt x="603092" y="2766864"/>
                  </a:lnTo>
                  <a:lnTo>
                    <a:pt x="568012" y="2739064"/>
                  </a:lnTo>
                  <a:lnTo>
                    <a:pt x="533766" y="2710280"/>
                  </a:lnTo>
                  <a:lnTo>
                    <a:pt x="500378" y="2680532"/>
                  </a:lnTo>
                  <a:lnTo>
                    <a:pt x="467868" y="2649842"/>
                  </a:lnTo>
                  <a:lnTo>
                    <a:pt x="436257" y="2618231"/>
                  </a:lnTo>
                  <a:lnTo>
                    <a:pt x="405567" y="2585721"/>
                  </a:lnTo>
                  <a:lnTo>
                    <a:pt x="375819" y="2552332"/>
                  </a:lnTo>
                  <a:lnTo>
                    <a:pt x="347034" y="2518087"/>
                  </a:lnTo>
                  <a:lnTo>
                    <a:pt x="319235" y="2483006"/>
                  </a:lnTo>
                  <a:lnTo>
                    <a:pt x="292441" y="2447112"/>
                  </a:lnTo>
                  <a:lnTo>
                    <a:pt x="266676" y="2410424"/>
                  </a:lnTo>
                  <a:lnTo>
                    <a:pt x="241959" y="2372965"/>
                  </a:lnTo>
                  <a:lnTo>
                    <a:pt x="218312" y="2334756"/>
                  </a:lnTo>
                  <a:lnTo>
                    <a:pt x="195757" y="2295818"/>
                  </a:lnTo>
                  <a:lnTo>
                    <a:pt x="174314" y="2256172"/>
                  </a:lnTo>
                  <a:lnTo>
                    <a:pt x="154006" y="2215841"/>
                  </a:lnTo>
                  <a:lnTo>
                    <a:pt x="134853" y="2174845"/>
                  </a:lnTo>
                  <a:lnTo>
                    <a:pt x="116878"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7"/>
                  </a:lnTo>
                  <a:lnTo>
                    <a:pt x="734" y="1591111"/>
                  </a:lnTo>
                  <a:lnTo>
                    <a:pt x="0" y="1543045"/>
                  </a:lnTo>
                  <a:lnTo>
                    <a:pt x="734" y="1494987"/>
                  </a:lnTo>
                  <a:lnTo>
                    <a:pt x="2922" y="1447291"/>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8" y="952894"/>
                  </a:lnTo>
                  <a:lnTo>
                    <a:pt x="134853" y="911254"/>
                  </a:lnTo>
                  <a:lnTo>
                    <a:pt x="154006" y="870258"/>
                  </a:lnTo>
                  <a:lnTo>
                    <a:pt x="174314" y="829927"/>
                  </a:lnTo>
                  <a:lnTo>
                    <a:pt x="195757" y="790281"/>
                  </a:lnTo>
                  <a:lnTo>
                    <a:pt x="218312" y="751343"/>
                  </a:lnTo>
                  <a:lnTo>
                    <a:pt x="241959" y="713134"/>
                  </a:lnTo>
                  <a:lnTo>
                    <a:pt x="266676" y="675675"/>
                  </a:lnTo>
                  <a:lnTo>
                    <a:pt x="292441" y="638987"/>
                  </a:lnTo>
                  <a:lnTo>
                    <a:pt x="319235" y="603092"/>
                  </a:lnTo>
                  <a:lnTo>
                    <a:pt x="347034" y="568012"/>
                  </a:lnTo>
                  <a:lnTo>
                    <a:pt x="375819" y="533766"/>
                  </a:lnTo>
                  <a:lnTo>
                    <a:pt x="405567" y="500378"/>
                  </a:lnTo>
                  <a:lnTo>
                    <a:pt x="436257" y="467868"/>
                  </a:lnTo>
                  <a:lnTo>
                    <a:pt x="467868" y="436257"/>
                  </a:lnTo>
                  <a:lnTo>
                    <a:pt x="500378" y="405567"/>
                  </a:lnTo>
                  <a:lnTo>
                    <a:pt x="533766" y="375819"/>
                  </a:lnTo>
                  <a:lnTo>
                    <a:pt x="568012" y="347034"/>
                  </a:lnTo>
                  <a:lnTo>
                    <a:pt x="603092" y="319235"/>
                  </a:lnTo>
                  <a:lnTo>
                    <a:pt x="638987" y="292442"/>
                  </a:lnTo>
                  <a:lnTo>
                    <a:pt x="675675" y="266676"/>
                  </a:lnTo>
                  <a:lnTo>
                    <a:pt x="713134" y="241959"/>
                  </a:lnTo>
                  <a:lnTo>
                    <a:pt x="751343" y="218312"/>
                  </a:lnTo>
                  <a:lnTo>
                    <a:pt x="790281" y="195757"/>
                  </a:lnTo>
                  <a:lnTo>
                    <a:pt x="829926" y="174314"/>
                  </a:lnTo>
                  <a:lnTo>
                    <a:pt x="870258" y="154006"/>
                  </a:lnTo>
                  <a:lnTo>
                    <a:pt x="911254" y="134853"/>
                  </a:lnTo>
                  <a:lnTo>
                    <a:pt x="952894" y="116878"/>
                  </a:lnTo>
                  <a:lnTo>
                    <a:pt x="995155" y="100100"/>
                  </a:lnTo>
                  <a:lnTo>
                    <a:pt x="1038018" y="84542"/>
                  </a:lnTo>
                  <a:lnTo>
                    <a:pt x="1081460" y="70225"/>
                  </a:lnTo>
                  <a:lnTo>
                    <a:pt x="1125459" y="57170"/>
                  </a:lnTo>
                  <a:lnTo>
                    <a:pt x="1169996" y="45399"/>
                  </a:lnTo>
                  <a:lnTo>
                    <a:pt x="1215048" y="34933"/>
                  </a:lnTo>
                  <a:lnTo>
                    <a:pt x="1260594" y="25793"/>
                  </a:lnTo>
                  <a:lnTo>
                    <a:pt x="1306612" y="18000"/>
                  </a:lnTo>
                  <a:lnTo>
                    <a:pt x="1353082" y="11577"/>
                  </a:lnTo>
                  <a:lnTo>
                    <a:pt x="1399982"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5" y="134853"/>
                  </a:lnTo>
                  <a:lnTo>
                    <a:pt x="2215841" y="154006"/>
                  </a:lnTo>
                  <a:lnTo>
                    <a:pt x="2256172" y="174314"/>
                  </a:lnTo>
                  <a:lnTo>
                    <a:pt x="2295818" y="195757"/>
                  </a:lnTo>
                  <a:lnTo>
                    <a:pt x="2334756" y="218312"/>
                  </a:lnTo>
                  <a:lnTo>
                    <a:pt x="2372965" y="241959"/>
                  </a:lnTo>
                  <a:lnTo>
                    <a:pt x="2410424" y="266676"/>
                  </a:lnTo>
                  <a:lnTo>
                    <a:pt x="2447112" y="292442"/>
                  </a:lnTo>
                  <a:lnTo>
                    <a:pt x="2483006" y="319235"/>
                  </a:lnTo>
                  <a:lnTo>
                    <a:pt x="2518087" y="347034"/>
                  </a:lnTo>
                  <a:lnTo>
                    <a:pt x="2552332"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5" y="911254"/>
                  </a:lnTo>
                  <a:lnTo>
                    <a:pt x="2969221" y="952894"/>
                  </a:lnTo>
                  <a:lnTo>
                    <a:pt x="2985999" y="995156"/>
                  </a:lnTo>
                  <a:lnTo>
                    <a:pt x="3001557" y="1038018"/>
                  </a:lnTo>
                  <a:lnTo>
                    <a:pt x="3015874" y="1081460"/>
                  </a:lnTo>
                  <a:lnTo>
                    <a:pt x="3028928" y="1125460"/>
                  </a:lnTo>
                  <a:lnTo>
                    <a:pt x="3040700" y="1169996"/>
                  </a:lnTo>
                  <a:lnTo>
                    <a:pt x="3051166" y="1215048"/>
                  </a:lnTo>
                  <a:lnTo>
                    <a:pt x="3060306" y="1260594"/>
                  </a:lnTo>
                  <a:lnTo>
                    <a:pt x="3068098" y="1306613"/>
                  </a:lnTo>
                  <a:lnTo>
                    <a:pt x="3074522" y="1353083"/>
                  </a:lnTo>
                  <a:lnTo>
                    <a:pt x="3079555" y="1399983"/>
                  </a:lnTo>
                  <a:lnTo>
                    <a:pt x="3083176" y="1447291"/>
                  </a:lnTo>
                  <a:lnTo>
                    <a:pt x="3085365" y="1494987"/>
                  </a:lnTo>
                  <a:lnTo>
                    <a:pt x="3086099" y="1543049"/>
                  </a:lnTo>
                  <a:lnTo>
                    <a:pt x="3085365" y="1591111"/>
                  </a:lnTo>
                  <a:lnTo>
                    <a:pt x="3083176" y="1638807"/>
                  </a:lnTo>
                  <a:lnTo>
                    <a:pt x="3079555" y="1686116"/>
                  </a:lnTo>
                  <a:lnTo>
                    <a:pt x="3074522" y="1733016"/>
                  </a:lnTo>
                  <a:lnTo>
                    <a:pt x="3068098" y="1779486"/>
                  </a:lnTo>
                  <a:lnTo>
                    <a:pt x="3060306" y="1825505"/>
                  </a:lnTo>
                  <a:lnTo>
                    <a:pt x="3051166" y="1871051"/>
                  </a:lnTo>
                  <a:lnTo>
                    <a:pt x="3040700" y="1916103"/>
                  </a:lnTo>
                  <a:lnTo>
                    <a:pt x="3028928" y="1960639"/>
                  </a:lnTo>
                  <a:lnTo>
                    <a:pt x="3015874" y="2004639"/>
                  </a:lnTo>
                  <a:lnTo>
                    <a:pt x="3001557" y="2048081"/>
                  </a:lnTo>
                  <a:lnTo>
                    <a:pt x="2985999" y="2090943"/>
                  </a:lnTo>
                  <a:lnTo>
                    <a:pt x="2969221" y="2133205"/>
                  </a:lnTo>
                  <a:lnTo>
                    <a:pt x="2951245"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6"/>
                  </a:lnTo>
                  <a:lnTo>
                    <a:pt x="2739064" y="2518087"/>
                  </a:lnTo>
                  <a:lnTo>
                    <a:pt x="2710280" y="2552332"/>
                  </a:lnTo>
                  <a:lnTo>
                    <a:pt x="2680532" y="2585721"/>
                  </a:lnTo>
                  <a:lnTo>
                    <a:pt x="2649842" y="2618231"/>
                  </a:lnTo>
                  <a:lnTo>
                    <a:pt x="2618231" y="2649842"/>
                  </a:lnTo>
                  <a:lnTo>
                    <a:pt x="2585721" y="2680532"/>
                  </a:lnTo>
                  <a:lnTo>
                    <a:pt x="2552332" y="2710280"/>
                  </a:lnTo>
                  <a:lnTo>
                    <a:pt x="2518087" y="2739064"/>
                  </a:lnTo>
                  <a:lnTo>
                    <a:pt x="2483006" y="2766864"/>
                  </a:lnTo>
                  <a:lnTo>
                    <a:pt x="2447112" y="2793657"/>
                  </a:lnTo>
                  <a:lnTo>
                    <a:pt x="2410424" y="2819423"/>
                  </a:lnTo>
                  <a:lnTo>
                    <a:pt x="2372965" y="2844140"/>
                  </a:lnTo>
                  <a:lnTo>
                    <a:pt x="2334756" y="2867787"/>
                  </a:lnTo>
                  <a:lnTo>
                    <a:pt x="2295818" y="2890342"/>
                  </a:lnTo>
                  <a:lnTo>
                    <a:pt x="2256172" y="2911785"/>
                  </a:lnTo>
                  <a:lnTo>
                    <a:pt x="2215841" y="2932093"/>
                  </a:lnTo>
                  <a:lnTo>
                    <a:pt x="2174845"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8"/>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11" name="object 11"/>
            <p:cNvSpPr/>
            <p:nvPr/>
          </p:nvSpPr>
          <p:spPr>
            <a:xfrm>
              <a:off x="6610998" y="4390224"/>
              <a:ext cx="1485900" cy="1487170"/>
            </a:xfrm>
            <a:custGeom>
              <a:avLst/>
              <a:gdLst/>
              <a:ahLst/>
              <a:cxnLst/>
              <a:rect l="l" t="t" r="r" b="b"/>
              <a:pathLst>
                <a:path w="1485900" h="1487170">
                  <a:moveTo>
                    <a:pt x="635812" y="665251"/>
                  </a:moveTo>
                  <a:lnTo>
                    <a:pt x="625830" y="640295"/>
                  </a:lnTo>
                  <a:lnTo>
                    <a:pt x="607466" y="621131"/>
                  </a:lnTo>
                  <a:lnTo>
                    <a:pt x="582739" y="610577"/>
                  </a:lnTo>
                  <a:lnTo>
                    <a:pt x="535990" y="486740"/>
                  </a:lnTo>
                  <a:lnTo>
                    <a:pt x="480390" y="507746"/>
                  </a:lnTo>
                  <a:lnTo>
                    <a:pt x="524662" y="625005"/>
                  </a:lnTo>
                  <a:lnTo>
                    <a:pt x="510159" y="638949"/>
                  </a:lnTo>
                  <a:lnTo>
                    <a:pt x="499592" y="663575"/>
                  </a:lnTo>
                  <a:lnTo>
                    <a:pt x="456501" y="858431"/>
                  </a:lnTo>
                  <a:lnTo>
                    <a:pt x="323507" y="922172"/>
                  </a:lnTo>
                  <a:lnTo>
                    <a:pt x="222999" y="922197"/>
                  </a:lnTo>
                  <a:lnTo>
                    <a:pt x="266293" y="916355"/>
                  </a:lnTo>
                  <a:lnTo>
                    <a:pt x="305320" y="899858"/>
                  </a:lnTo>
                  <a:lnTo>
                    <a:pt x="338404" y="874268"/>
                  </a:lnTo>
                  <a:lnTo>
                    <a:pt x="363982" y="841184"/>
                  </a:lnTo>
                  <a:lnTo>
                    <a:pt x="380479" y="802157"/>
                  </a:lnTo>
                  <a:lnTo>
                    <a:pt x="386334" y="758761"/>
                  </a:lnTo>
                  <a:lnTo>
                    <a:pt x="380479" y="715352"/>
                  </a:lnTo>
                  <a:lnTo>
                    <a:pt x="363982" y="676325"/>
                  </a:lnTo>
                  <a:lnTo>
                    <a:pt x="338404" y="643229"/>
                  </a:lnTo>
                  <a:lnTo>
                    <a:pt x="305320" y="617651"/>
                  </a:lnTo>
                  <a:lnTo>
                    <a:pt x="266293" y="601154"/>
                  </a:lnTo>
                  <a:lnTo>
                    <a:pt x="222885" y="595312"/>
                  </a:lnTo>
                  <a:lnTo>
                    <a:pt x="179476" y="601154"/>
                  </a:lnTo>
                  <a:lnTo>
                    <a:pt x="140449" y="617651"/>
                  </a:lnTo>
                  <a:lnTo>
                    <a:pt x="107353" y="643229"/>
                  </a:lnTo>
                  <a:lnTo>
                    <a:pt x="81775" y="676325"/>
                  </a:lnTo>
                  <a:lnTo>
                    <a:pt x="65278" y="715352"/>
                  </a:lnTo>
                  <a:lnTo>
                    <a:pt x="59436" y="758761"/>
                  </a:lnTo>
                  <a:lnTo>
                    <a:pt x="65278" y="802157"/>
                  </a:lnTo>
                  <a:lnTo>
                    <a:pt x="81775" y="841184"/>
                  </a:lnTo>
                  <a:lnTo>
                    <a:pt x="107353" y="874268"/>
                  </a:lnTo>
                  <a:lnTo>
                    <a:pt x="140449" y="899858"/>
                  </a:lnTo>
                  <a:lnTo>
                    <a:pt x="179476" y="916355"/>
                  </a:lnTo>
                  <a:lnTo>
                    <a:pt x="222758" y="922197"/>
                  </a:lnTo>
                  <a:lnTo>
                    <a:pt x="153403" y="922210"/>
                  </a:lnTo>
                  <a:lnTo>
                    <a:pt x="105930" y="930376"/>
                  </a:lnTo>
                  <a:lnTo>
                    <a:pt x="63944" y="947293"/>
                  </a:lnTo>
                  <a:lnTo>
                    <a:pt x="30353" y="972896"/>
                  </a:lnTo>
                  <a:lnTo>
                    <a:pt x="8077" y="1007148"/>
                  </a:lnTo>
                  <a:lnTo>
                    <a:pt x="0" y="1049959"/>
                  </a:lnTo>
                  <a:lnTo>
                    <a:pt x="0" y="1480197"/>
                  </a:lnTo>
                  <a:lnTo>
                    <a:pt x="6654" y="1486852"/>
                  </a:lnTo>
                  <a:lnTo>
                    <a:pt x="401193" y="1486852"/>
                  </a:lnTo>
                  <a:lnTo>
                    <a:pt x="409397" y="1486852"/>
                  </a:lnTo>
                  <a:lnTo>
                    <a:pt x="416052" y="1480197"/>
                  </a:lnTo>
                  <a:lnTo>
                    <a:pt x="416052" y="1095844"/>
                  </a:lnTo>
                  <a:lnTo>
                    <a:pt x="550164" y="987285"/>
                  </a:lnTo>
                  <a:lnTo>
                    <a:pt x="580351" y="946277"/>
                  </a:lnTo>
                  <a:lnTo>
                    <a:pt x="635698" y="693318"/>
                  </a:lnTo>
                  <a:lnTo>
                    <a:pt x="635812" y="665251"/>
                  </a:lnTo>
                  <a:close/>
                </a:path>
                <a:path w="1485900" h="1487170">
                  <a:moveTo>
                    <a:pt x="827163" y="343865"/>
                  </a:moveTo>
                  <a:lnTo>
                    <a:pt x="718197" y="13843"/>
                  </a:lnTo>
                  <a:lnTo>
                    <a:pt x="712812" y="7632"/>
                  </a:lnTo>
                  <a:lnTo>
                    <a:pt x="698665" y="558"/>
                  </a:lnTo>
                  <a:lnTo>
                    <a:pt x="690435" y="0"/>
                  </a:lnTo>
                  <a:lnTo>
                    <a:pt x="48437" y="216014"/>
                  </a:lnTo>
                  <a:lnTo>
                    <a:pt x="42252" y="221424"/>
                  </a:lnTo>
                  <a:lnTo>
                    <a:pt x="35242" y="235572"/>
                  </a:lnTo>
                  <a:lnTo>
                    <a:pt x="34709" y="243738"/>
                  </a:lnTo>
                  <a:lnTo>
                    <a:pt x="146773" y="573709"/>
                  </a:lnTo>
                  <a:lnTo>
                    <a:pt x="152184" y="579856"/>
                  </a:lnTo>
                  <a:lnTo>
                    <a:pt x="163385" y="585381"/>
                  </a:lnTo>
                  <a:lnTo>
                    <a:pt x="167881" y="586397"/>
                  </a:lnTo>
                  <a:lnTo>
                    <a:pt x="172364" y="586397"/>
                  </a:lnTo>
                  <a:lnTo>
                    <a:pt x="178866" y="585863"/>
                  </a:lnTo>
                  <a:lnTo>
                    <a:pt x="606628" y="439318"/>
                  </a:lnTo>
                  <a:lnTo>
                    <a:pt x="813231" y="371475"/>
                  </a:lnTo>
                  <a:lnTo>
                    <a:pt x="819442" y="366128"/>
                  </a:lnTo>
                  <a:lnTo>
                    <a:pt x="826541" y="352031"/>
                  </a:lnTo>
                  <a:lnTo>
                    <a:pt x="827163" y="343865"/>
                  </a:lnTo>
                  <a:close/>
                </a:path>
                <a:path w="1485900" h="1487170">
                  <a:moveTo>
                    <a:pt x="1426464" y="937069"/>
                  </a:moveTo>
                  <a:lnTo>
                    <a:pt x="1420609" y="893673"/>
                  </a:lnTo>
                  <a:lnTo>
                    <a:pt x="1404112" y="854646"/>
                  </a:lnTo>
                  <a:lnTo>
                    <a:pt x="1378534" y="821550"/>
                  </a:lnTo>
                  <a:lnTo>
                    <a:pt x="1345438" y="795972"/>
                  </a:lnTo>
                  <a:lnTo>
                    <a:pt x="1306410" y="779462"/>
                  </a:lnTo>
                  <a:lnTo>
                    <a:pt x="1263015" y="773620"/>
                  </a:lnTo>
                  <a:lnTo>
                    <a:pt x="1219619" y="779462"/>
                  </a:lnTo>
                  <a:lnTo>
                    <a:pt x="1180592" y="795972"/>
                  </a:lnTo>
                  <a:lnTo>
                    <a:pt x="1147495" y="821550"/>
                  </a:lnTo>
                  <a:lnTo>
                    <a:pt x="1121918" y="854646"/>
                  </a:lnTo>
                  <a:lnTo>
                    <a:pt x="1105420" y="893673"/>
                  </a:lnTo>
                  <a:lnTo>
                    <a:pt x="1099566" y="937069"/>
                  </a:lnTo>
                  <a:lnTo>
                    <a:pt x="1105420" y="980465"/>
                  </a:lnTo>
                  <a:lnTo>
                    <a:pt x="1121918" y="1019492"/>
                  </a:lnTo>
                  <a:lnTo>
                    <a:pt x="1147495" y="1052576"/>
                  </a:lnTo>
                  <a:lnTo>
                    <a:pt x="1180592" y="1078166"/>
                  </a:lnTo>
                  <a:lnTo>
                    <a:pt x="1219619" y="1094663"/>
                  </a:lnTo>
                  <a:lnTo>
                    <a:pt x="1263015" y="1100518"/>
                  </a:lnTo>
                  <a:lnTo>
                    <a:pt x="1306410" y="1094663"/>
                  </a:lnTo>
                  <a:lnTo>
                    <a:pt x="1345438" y="1078166"/>
                  </a:lnTo>
                  <a:lnTo>
                    <a:pt x="1378534" y="1052576"/>
                  </a:lnTo>
                  <a:lnTo>
                    <a:pt x="1404112" y="1019492"/>
                  </a:lnTo>
                  <a:lnTo>
                    <a:pt x="1420609" y="980465"/>
                  </a:lnTo>
                  <a:lnTo>
                    <a:pt x="1426464" y="937069"/>
                  </a:lnTo>
                  <a:close/>
                </a:path>
                <a:path w="1485900" h="1487170">
                  <a:moveTo>
                    <a:pt x="1451190" y="407250"/>
                  </a:moveTo>
                  <a:lnTo>
                    <a:pt x="835190" y="178663"/>
                  </a:lnTo>
                  <a:lnTo>
                    <a:pt x="881049" y="317563"/>
                  </a:lnTo>
                  <a:lnTo>
                    <a:pt x="884910" y="334721"/>
                  </a:lnTo>
                  <a:lnTo>
                    <a:pt x="876084" y="385762"/>
                  </a:lnTo>
                  <a:lnTo>
                    <a:pt x="840422" y="423252"/>
                  </a:lnTo>
                  <a:lnTo>
                    <a:pt x="667080" y="481965"/>
                  </a:lnTo>
                  <a:lnTo>
                    <a:pt x="661225" y="499910"/>
                  </a:lnTo>
                  <a:lnTo>
                    <a:pt x="680059" y="537324"/>
                  </a:lnTo>
                  <a:lnTo>
                    <a:pt x="1307261" y="746391"/>
                  </a:lnTo>
                  <a:lnTo>
                    <a:pt x="1313535" y="746899"/>
                  </a:lnTo>
                  <a:lnTo>
                    <a:pt x="1322552" y="745490"/>
                  </a:lnTo>
                  <a:lnTo>
                    <a:pt x="1330642" y="741464"/>
                  </a:lnTo>
                  <a:lnTo>
                    <a:pt x="1337208" y="735139"/>
                  </a:lnTo>
                  <a:lnTo>
                    <a:pt x="1341653" y="726808"/>
                  </a:lnTo>
                  <a:lnTo>
                    <a:pt x="1451190" y="407250"/>
                  </a:lnTo>
                  <a:close/>
                </a:path>
                <a:path w="1485900" h="1487170">
                  <a:moveTo>
                    <a:pt x="1485900" y="1225296"/>
                  </a:moveTo>
                  <a:lnTo>
                    <a:pt x="1477556" y="1172337"/>
                  </a:lnTo>
                  <a:lnTo>
                    <a:pt x="1453235" y="1133157"/>
                  </a:lnTo>
                  <a:lnTo>
                    <a:pt x="1414043" y="1108862"/>
                  </a:lnTo>
                  <a:lnTo>
                    <a:pt x="1361084" y="1100518"/>
                  </a:lnTo>
                  <a:lnTo>
                    <a:pt x="1263015" y="1100518"/>
                  </a:lnTo>
                  <a:lnTo>
                    <a:pt x="1162354" y="1100518"/>
                  </a:lnTo>
                  <a:lnTo>
                    <a:pt x="1029398" y="1036802"/>
                  </a:lnTo>
                  <a:lnTo>
                    <a:pt x="986345" y="842022"/>
                  </a:lnTo>
                  <a:lnTo>
                    <a:pt x="975753" y="817346"/>
                  </a:lnTo>
                  <a:lnTo>
                    <a:pt x="961186" y="803313"/>
                  </a:lnTo>
                  <a:lnTo>
                    <a:pt x="1005497" y="686079"/>
                  </a:lnTo>
                  <a:lnTo>
                    <a:pt x="949909" y="665073"/>
                  </a:lnTo>
                  <a:lnTo>
                    <a:pt x="903097" y="788924"/>
                  </a:lnTo>
                  <a:lnTo>
                    <a:pt x="878459" y="799465"/>
                  </a:lnTo>
                  <a:lnTo>
                    <a:pt x="860107" y="818642"/>
                  </a:lnTo>
                  <a:lnTo>
                    <a:pt x="850112" y="843648"/>
                  </a:lnTo>
                  <a:lnTo>
                    <a:pt x="850226" y="871804"/>
                  </a:lnTo>
                  <a:lnTo>
                    <a:pt x="900722" y="1109395"/>
                  </a:lnTo>
                  <a:lnTo>
                    <a:pt x="923963" y="1154125"/>
                  </a:lnTo>
                  <a:lnTo>
                    <a:pt x="1069848" y="1259293"/>
                  </a:lnTo>
                  <a:lnTo>
                    <a:pt x="1069848" y="1480197"/>
                  </a:lnTo>
                  <a:lnTo>
                    <a:pt x="1076502" y="1486852"/>
                  </a:lnTo>
                  <a:lnTo>
                    <a:pt x="1471041" y="1486852"/>
                  </a:lnTo>
                  <a:lnTo>
                    <a:pt x="1479245" y="1486852"/>
                  </a:lnTo>
                  <a:lnTo>
                    <a:pt x="1485900" y="1480197"/>
                  </a:lnTo>
                  <a:lnTo>
                    <a:pt x="1485900" y="1225296"/>
                  </a:lnTo>
                  <a:close/>
                </a:path>
              </a:pathLst>
            </a:custGeom>
            <a:solidFill>
              <a:srgbClr val="FFFFFF"/>
            </a:solidFill>
          </p:spPr>
          <p:txBody>
            <a:bodyPr wrap="square" lIns="0" tIns="0" rIns="0" bIns="0" rtlCol="0"/>
            <a:lstStyle/>
            <a:p>
              <a:endParaRPr/>
            </a:p>
          </p:txBody>
        </p:sp>
      </p:grpSp>
      <p:sp>
        <p:nvSpPr>
          <p:cNvPr id="12" name="object 12"/>
          <p:cNvSpPr txBox="1"/>
          <p:nvPr/>
        </p:nvSpPr>
        <p:spPr>
          <a:xfrm>
            <a:off x="6133934" y="7927637"/>
            <a:ext cx="2441575" cy="336550"/>
          </a:xfrm>
          <a:prstGeom prst="rect">
            <a:avLst/>
          </a:prstGeom>
        </p:spPr>
        <p:txBody>
          <a:bodyPr vert="horz" wrap="square" lIns="0" tIns="17145" rIns="0" bIns="0" rtlCol="0">
            <a:spAutoFit/>
          </a:bodyPr>
          <a:lstStyle/>
          <a:p>
            <a:pPr marL="12700">
              <a:lnSpc>
                <a:spcPct val="100000"/>
              </a:lnSpc>
              <a:spcBef>
                <a:spcPts val="135"/>
              </a:spcBef>
            </a:pPr>
            <a:r>
              <a:rPr sz="2000" b="1" dirty="0">
                <a:solidFill>
                  <a:srgbClr val="FFFFFF"/>
                </a:solidFill>
                <a:latin typeface="Roboto"/>
                <a:cs typeface="Roboto"/>
              </a:rPr>
              <a:t>Estallido</a:t>
            </a:r>
            <a:r>
              <a:rPr sz="2000" b="1" spc="30" dirty="0">
                <a:solidFill>
                  <a:srgbClr val="FFFFFF"/>
                </a:solidFill>
                <a:latin typeface="Roboto"/>
                <a:cs typeface="Roboto"/>
              </a:rPr>
              <a:t> </a:t>
            </a:r>
            <a:r>
              <a:rPr sz="2000" b="1" dirty="0">
                <a:solidFill>
                  <a:srgbClr val="FFFFFF"/>
                </a:solidFill>
                <a:latin typeface="Roboto"/>
                <a:cs typeface="Roboto"/>
              </a:rPr>
              <a:t>social</a:t>
            </a:r>
            <a:r>
              <a:rPr sz="2000" b="1" spc="35" dirty="0">
                <a:solidFill>
                  <a:srgbClr val="FFFFFF"/>
                </a:solidFill>
                <a:latin typeface="Roboto"/>
                <a:cs typeface="Roboto"/>
              </a:rPr>
              <a:t> </a:t>
            </a:r>
            <a:r>
              <a:rPr sz="2000" b="1" spc="-20" dirty="0">
                <a:solidFill>
                  <a:srgbClr val="FFFFFF"/>
                </a:solidFill>
                <a:latin typeface="Roboto"/>
                <a:cs typeface="Roboto"/>
              </a:rPr>
              <a:t>2019</a:t>
            </a:r>
            <a:endParaRPr sz="2000">
              <a:latin typeface="Roboto"/>
              <a:cs typeface="Roboto"/>
            </a:endParaRPr>
          </a:p>
        </p:txBody>
      </p:sp>
      <p:sp>
        <p:nvSpPr>
          <p:cNvPr id="13" name="object 13"/>
          <p:cNvSpPr txBox="1"/>
          <p:nvPr/>
        </p:nvSpPr>
        <p:spPr>
          <a:xfrm>
            <a:off x="5256519" y="1864490"/>
            <a:ext cx="7775575" cy="1062990"/>
          </a:xfrm>
          <a:prstGeom prst="rect">
            <a:avLst/>
          </a:prstGeom>
        </p:spPr>
        <p:txBody>
          <a:bodyPr vert="horz" wrap="square" lIns="0" tIns="33655" rIns="0" bIns="0" rtlCol="0">
            <a:spAutoFit/>
          </a:bodyPr>
          <a:lstStyle/>
          <a:p>
            <a:pPr marL="12700" marR="5080" indent="152400">
              <a:lnSpc>
                <a:spcPts val="4050"/>
              </a:lnSpc>
              <a:spcBef>
                <a:spcPts val="265"/>
              </a:spcBef>
            </a:pPr>
            <a:r>
              <a:rPr sz="3400" b="1" dirty="0">
                <a:solidFill>
                  <a:srgbClr val="E3112B"/>
                </a:solidFill>
                <a:latin typeface="Roboto"/>
                <a:cs typeface="Roboto"/>
              </a:rPr>
              <a:t>Chile</a:t>
            </a:r>
            <a:r>
              <a:rPr sz="3400" b="1" spc="100" dirty="0">
                <a:solidFill>
                  <a:srgbClr val="E3112B"/>
                </a:solidFill>
                <a:latin typeface="Roboto"/>
                <a:cs typeface="Roboto"/>
              </a:rPr>
              <a:t> </a:t>
            </a:r>
            <a:r>
              <a:rPr sz="3400" b="1" dirty="0">
                <a:solidFill>
                  <a:srgbClr val="E3112B"/>
                </a:solidFill>
                <a:latin typeface="Roboto"/>
                <a:cs typeface="Roboto"/>
              </a:rPr>
              <a:t>pierde</a:t>
            </a:r>
            <a:r>
              <a:rPr sz="3400" b="1" spc="105" dirty="0">
                <a:solidFill>
                  <a:srgbClr val="E3112B"/>
                </a:solidFill>
                <a:latin typeface="Roboto"/>
                <a:cs typeface="Roboto"/>
              </a:rPr>
              <a:t> </a:t>
            </a:r>
            <a:r>
              <a:rPr sz="3400" b="1" dirty="0">
                <a:solidFill>
                  <a:srgbClr val="E3112B"/>
                </a:solidFill>
                <a:latin typeface="Roboto"/>
                <a:cs typeface="Roboto"/>
              </a:rPr>
              <a:t>mercado</a:t>
            </a:r>
            <a:r>
              <a:rPr sz="3400" b="1" spc="105" dirty="0">
                <a:solidFill>
                  <a:srgbClr val="E3112B"/>
                </a:solidFill>
                <a:latin typeface="Roboto"/>
                <a:cs typeface="Roboto"/>
              </a:rPr>
              <a:t> </a:t>
            </a:r>
            <a:r>
              <a:rPr sz="3400" b="1" dirty="0">
                <a:solidFill>
                  <a:srgbClr val="E3112B"/>
                </a:solidFill>
                <a:latin typeface="Roboto"/>
                <a:cs typeface="Roboto"/>
              </a:rPr>
              <a:t>desde</a:t>
            </a:r>
            <a:r>
              <a:rPr sz="3400" b="1" spc="100" dirty="0">
                <a:solidFill>
                  <a:srgbClr val="E3112B"/>
                </a:solidFill>
                <a:latin typeface="Roboto"/>
                <a:cs typeface="Roboto"/>
              </a:rPr>
              <a:t> </a:t>
            </a:r>
            <a:r>
              <a:rPr sz="3400" b="1" dirty="0">
                <a:solidFill>
                  <a:srgbClr val="E3112B"/>
                </a:solidFill>
                <a:latin typeface="Roboto"/>
                <a:cs typeface="Roboto"/>
              </a:rPr>
              <a:t>2017</a:t>
            </a:r>
            <a:r>
              <a:rPr sz="3400" b="1" spc="105" dirty="0">
                <a:solidFill>
                  <a:srgbClr val="E3112B"/>
                </a:solidFill>
                <a:latin typeface="Roboto"/>
                <a:cs typeface="Roboto"/>
              </a:rPr>
              <a:t> </a:t>
            </a:r>
            <a:r>
              <a:rPr sz="3400" b="1" spc="-25" dirty="0">
                <a:solidFill>
                  <a:srgbClr val="E3112B"/>
                </a:solidFill>
                <a:latin typeface="Roboto"/>
                <a:cs typeface="Roboto"/>
              </a:rPr>
              <a:t>por </a:t>
            </a:r>
            <a:r>
              <a:rPr sz="3400" b="1" dirty="0">
                <a:solidFill>
                  <a:srgbClr val="E3112B"/>
                </a:solidFill>
                <a:latin typeface="Roboto"/>
                <a:cs typeface="Roboto"/>
              </a:rPr>
              <a:t>factores</a:t>
            </a:r>
            <a:r>
              <a:rPr sz="3400" b="1" spc="105" dirty="0">
                <a:solidFill>
                  <a:srgbClr val="E3112B"/>
                </a:solidFill>
                <a:latin typeface="Roboto"/>
                <a:cs typeface="Roboto"/>
              </a:rPr>
              <a:t> </a:t>
            </a:r>
            <a:r>
              <a:rPr sz="3400" b="1" dirty="0">
                <a:solidFill>
                  <a:srgbClr val="E3112B"/>
                </a:solidFill>
                <a:latin typeface="Roboto"/>
                <a:cs typeface="Roboto"/>
              </a:rPr>
              <a:t>externos</a:t>
            </a:r>
            <a:r>
              <a:rPr sz="3400" b="1" spc="110" dirty="0">
                <a:solidFill>
                  <a:srgbClr val="E3112B"/>
                </a:solidFill>
                <a:latin typeface="Roboto"/>
                <a:cs typeface="Roboto"/>
              </a:rPr>
              <a:t> </a:t>
            </a:r>
            <a:r>
              <a:rPr sz="3400" b="1" dirty="0">
                <a:solidFill>
                  <a:srgbClr val="E3112B"/>
                </a:solidFill>
                <a:latin typeface="Roboto"/>
                <a:cs typeface="Roboto"/>
              </a:rPr>
              <a:t>al</a:t>
            </a:r>
            <a:r>
              <a:rPr sz="3400" b="1" spc="110" dirty="0">
                <a:solidFill>
                  <a:srgbClr val="E3112B"/>
                </a:solidFill>
                <a:latin typeface="Roboto"/>
                <a:cs typeface="Roboto"/>
              </a:rPr>
              <a:t> </a:t>
            </a:r>
            <a:r>
              <a:rPr sz="3400" b="1" dirty="0">
                <a:solidFill>
                  <a:srgbClr val="E3112B"/>
                </a:solidFill>
                <a:latin typeface="Roboto"/>
                <a:cs typeface="Roboto"/>
              </a:rPr>
              <a:t>marketing</a:t>
            </a:r>
            <a:r>
              <a:rPr sz="3400" b="1" spc="105" dirty="0">
                <a:solidFill>
                  <a:srgbClr val="E3112B"/>
                </a:solidFill>
                <a:latin typeface="Roboto"/>
                <a:cs typeface="Roboto"/>
              </a:rPr>
              <a:t> </a:t>
            </a:r>
            <a:r>
              <a:rPr sz="3400" b="1" spc="-10" dirty="0">
                <a:solidFill>
                  <a:srgbClr val="E3112B"/>
                </a:solidFill>
                <a:latin typeface="Roboto"/>
                <a:cs typeface="Roboto"/>
              </a:rPr>
              <a:t>turístico</a:t>
            </a:r>
            <a:endParaRPr sz="3400">
              <a:latin typeface="Roboto"/>
              <a:cs typeface="Roboto"/>
            </a:endParaRPr>
          </a:p>
        </p:txBody>
      </p:sp>
      <p:sp>
        <p:nvSpPr>
          <p:cNvPr id="14" name="object 14"/>
          <p:cNvSpPr/>
          <p:nvPr/>
        </p:nvSpPr>
        <p:spPr>
          <a:xfrm>
            <a:off x="166954" y="184835"/>
            <a:ext cx="17954625" cy="1381125"/>
          </a:xfrm>
          <a:custGeom>
            <a:avLst/>
            <a:gdLst/>
            <a:ahLst/>
            <a:cxnLst/>
            <a:rect l="l" t="t" r="r" b="b"/>
            <a:pathLst>
              <a:path w="17954625" h="1381125">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sp>
        <p:nvSpPr>
          <p:cNvPr id="15" name="object 15"/>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1.</a:t>
            </a:r>
            <a:r>
              <a:rPr spc="-110" dirty="0"/>
              <a:t> </a:t>
            </a:r>
            <a:r>
              <a:rPr spc="-30" dirty="0"/>
              <a:t>Situación</a:t>
            </a:r>
            <a:r>
              <a:rPr spc="-105" dirty="0"/>
              <a:t> </a:t>
            </a:r>
            <a:r>
              <a:rPr spc="-10" dirty="0"/>
              <a:t>general</a:t>
            </a:r>
            <a:r>
              <a:rPr spc="-110" dirty="0"/>
              <a:t> </a:t>
            </a:r>
            <a:r>
              <a:rPr dirty="0"/>
              <a:t>del</a:t>
            </a:r>
            <a:r>
              <a:rPr spc="-105" dirty="0"/>
              <a:t> </a:t>
            </a:r>
            <a:r>
              <a:rPr spc="-10" dirty="0"/>
              <a:t>turismo</a:t>
            </a:r>
            <a:r>
              <a:rPr spc="-105" dirty="0"/>
              <a:t> </a:t>
            </a:r>
            <a:r>
              <a:rPr dirty="0"/>
              <a:t>hacia</a:t>
            </a:r>
            <a:r>
              <a:rPr spc="-110" dirty="0"/>
              <a:t> </a:t>
            </a:r>
            <a:r>
              <a:rPr spc="-10" dirty="0"/>
              <a:t>Chile</a:t>
            </a:r>
          </a:p>
        </p:txBody>
      </p:sp>
      <p:grpSp>
        <p:nvGrpSpPr>
          <p:cNvPr id="16" name="object 16"/>
          <p:cNvGrpSpPr/>
          <p:nvPr/>
        </p:nvGrpSpPr>
        <p:grpSpPr>
          <a:xfrm>
            <a:off x="9604556" y="3686610"/>
            <a:ext cx="3110865" cy="5032375"/>
            <a:chOff x="9604556" y="3686610"/>
            <a:chExt cx="3110865" cy="5032375"/>
          </a:xfrm>
        </p:grpSpPr>
        <p:sp>
          <p:nvSpPr>
            <p:cNvPr id="17" name="object 17"/>
            <p:cNvSpPr/>
            <p:nvPr/>
          </p:nvSpPr>
          <p:spPr>
            <a:xfrm>
              <a:off x="9678807" y="7540187"/>
              <a:ext cx="3036570" cy="1179195"/>
            </a:xfrm>
            <a:custGeom>
              <a:avLst/>
              <a:gdLst/>
              <a:ahLst/>
              <a:cxnLst/>
              <a:rect l="l" t="t" r="r" b="b"/>
              <a:pathLst>
                <a:path w="3036570" h="1179195">
                  <a:moveTo>
                    <a:pt x="2495420" y="1953"/>
                  </a:moveTo>
                  <a:lnTo>
                    <a:pt x="541034" y="1953"/>
                  </a:lnTo>
                  <a:lnTo>
                    <a:pt x="589372" y="0"/>
                  </a:lnTo>
                  <a:lnTo>
                    <a:pt x="2447083" y="0"/>
                  </a:lnTo>
                  <a:lnTo>
                    <a:pt x="2495420" y="1953"/>
                  </a:lnTo>
                  <a:close/>
                </a:path>
                <a:path w="3036570" h="1179195">
                  <a:moveTo>
                    <a:pt x="2447098" y="1178745"/>
                  </a:moveTo>
                  <a:lnTo>
                    <a:pt x="589356" y="1178745"/>
                  </a:lnTo>
                  <a:lnTo>
                    <a:pt x="541034" y="1176792"/>
                  </a:lnTo>
                  <a:lnTo>
                    <a:pt x="493773" y="1171032"/>
                  </a:lnTo>
                  <a:lnTo>
                    <a:pt x="447739" y="1161617"/>
                  </a:lnTo>
                  <a:lnTo>
                    <a:pt x="403085" y="1148699"/>
                  </a:lnTo>
                  <a:lnTo>
                    <a:pt x="359962" y="1132430"/>
                  </a:lnTo>
                  <a:lnTo>
                    <a:pt x="318522" y="1112961"/>
                  </a:lnTo>
                  <a:lnTo>
                    <a:pt x="278916" y="1090444"/>
                  </a:lnTo>
                  <a:lnTo>
                    <a:pt x="241296" y="1065031"/>
                  </a:lnTo>
                  <a:lnTo>
                    <a:pt x="205815" y="1036873"/>
                  </a:lnTo>
                  <a:lnTo>
                    <a:pt x="172623" y="1006122"/>
                  </a:lnTo>
                  <a:lnTo>
                    <a:pt x="141872" y="972930"/>
                  </a:lnTo>
                  <a:lnTo>
                    <a:pt x="113714" y="937449"/>
                  </a:lnTo>
                  <a:lnTo>
                    <a:pt x="88301" y="899829"/>
                  </a:lnTo>
                  <a:lnTo>
                    <a:pt x="65784" y="860223"/>
                  </a:lnTo>
                  <a:lnTo>
                    <a:pt x="46315" y="818783"/>
                  </a:lnTo>
                  <a:lnTo>
                    <a:pt x="30046" y="775660"/>
                  </a:lnTo>
                  <a:lnTo>
                    <a:pt x="17128" y="731006"/>
                  </a:lnTo>
                  <a:lnTo>
                    <a:pt x="7713" y="684972"/>
                  </a:lnTo>
                  <a:lnTo>
                    <a:pt x="1953" y="637710"/>
                  </a:lnTo>
                  <a:lnTo>
                    <a:pt x="0" y="589372"/>
                  </a:lnTo>
                  <a:lnTo>
                    <a:pt x="1953" y="541035"/>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2" y="65784"/>
                  </a:lnTo>
                  <a:lnTo>
                    <a:pt x="359962" y="46315"/>
                  </a:lnTo>
                  <a:lnTo>
                    <a:pt x="403085" y="30046"/>
                  </a:lnTo>
                  <a:lnTo>
                    <a:pt x="447739" y="17128"/>
                  </a:lnTo>
                  <a:lnTo>
                    <a:pt x="493773" y="7713"/>
                  </a:lnTo>
                  <a:lnTo>
                    <a:pt x="541034" y="1953"/>
                  </a:lnTo>
                  <a:lnTo>
                    <a:pt x="2495420" y="1953"/>
                  </a:lnTo>
                  <a:lnTo>
                    <a:pt x="2542682" y="7713"/>
                  </a:lnTo>
                  <a:lnTo>
                    <a:pt x="2588716" y="17128"/>
                  </a:lnTo>
                  <a:lnTo>
                    <a:pt x="2633370" y="30046"/>
                  </a:lnTo>
                  <a:lnTo>
                    <a:pt x="2676493" y="46315"/>
                  </a:lnTo>
                  <a:lnTo>
                    <a:pt x="2717933" y="65784"/>
                  </a:lnTo>
                  <a:lnTo>
                    <a:pt x="2757539" y="88301"/>
                  </a:lnTo>
                  <a:lnTo>
                    <a:pt x="2795159" y="113714"/>
                  </a:lnTo>
                  <a:lnTo>
                    <a:pt x="2830640" y="141872"/>
                  </a:lnTo>
                  <a:lnTo>
                    <a:pt x="2863832" y="172623"/>
                  </a:lnTo>
                  <a:lnTo>
                    <a:pt x="2894583" y="205815"/>
                  </a:lnTo>
                  <a:lnTo>
                    <a:pt x="2922741" y="241296"/>
                  </a:lnTo>
                  <a:lnTo>
                    <a:pt x="2948154" y="278916"/>
                  </a:lnTo>
                  <a:lnTo>
                    <a:pt x="2970671" y="318522"/>
                  </a:lnTo>
                  <a:lnTo>
                    <a:pt x="2990140" y="359962"/>
                  </a:lnTo>
                  <a:lnTo>
                    <a:pt x="3006409" y="403085"/>
                  </a:lnTo>
                  <a:lnTo>
                    <a:pt x="3019327" y="447739"/>
                  </a:lnTo>
                  <a:lnTo>
                    <a:pt x="3028741" y="493773"/>
                  </a:lnTo>
                  <a:lnTo>
                    <a:pt x="3034502" y="541035"/>
                  </a:lnTo>
                  <a:lnTo>
                    <a:pt x="3036455" y="589372"/>
                  </a:lnTo>
                  <a:lnTo>
                    <a:pt x="3034502" y="637710"/>
                  </a:lnTo>
                  <a:lnTo>
                    <a:pt x="3028741" y="684972"/>
                  </a:lnTo>
                  <a:lnTo>
                    <a:pt x="3019327" y="731006"/>
                  </a:lnTo>
                  <a:lnTo>
                    <a:pt x="3006409" y="775660"/>
                  </a:lnTo>
                  <a:lnTo>
                    <a:pt x="2990140" y="818783"/>
                  </a:lnTo>
                  <a:lnTo>
                    <a:pt x="2970671" y="860223"/>
                  </a:lnTo>
                  <a:lnTo>
                    <a:pt x="2948154" y="899829"/>
                  </a:lnTo>
                  <a:lnTo>
                    <a:pt x="2922741" y="937449"/>
                  </a:lnTo>
                  <a:lnTo>
                    <a:pt x="2894583" y="972930"/>
                  </a:lnTo>
                  <a:lnTo>
                    <a:pt x="2863832" y="1006122"/>
                  </a:lnTo>
                  <a:lnTo>
                    <a:pt x="2830640" y="1036873"/>
                  </a:lnTo>
                  <a:lnTo>
                    <a:pt x="2795159" y="1065031"/>
                  </a:lnTo>
                  <a:lnTo>
                    <a:pt x="2757539" y="1090444"/>
                  </a:lnTo>
                  <a:lnTo>
                    <a:pt x="2717933" y="1112961"/>
                  </a:lnTo>
                  <a:lnTo>
                    <a:pt x="2676493" y="1132430"/>
                  </a:lnTo>
                  <a:lnTo>
                    <a:pt x="2633370" y="1148699"/>
                  </a:lnTo>
                  <a:lnTo>
                    <a:pt x="2588716" y="1161617"/>
                  </a:lnTo>
                  <a:lnTo>
                    <a:pt x="2542682" y="1171032"/>
                  </a:lnTo>
                  <a:lnTo>
                    <a:pt x="2495420" y="1176792"/>
                  </a:lnTo>
                  <a:lnTo>
                    <a:pt x="2447098" y="1178745"/>
                  </a:lnTo>
                  <a:close/>
                </a:path>
              </a:pathLst>
            </a:custGeom>
            <a:solidFill>
              <a:srgbClr val="21408B"/>
            </a:solidFill>
          </p:spPr>
          <p:txBody>
            <a:bodyPr wrap="square" lIns="0" tIns="0" rIns="0" bIns="0" rtlCol="0"/>
            <a:lstStyle/>
            <a:p>
              <a:endParaRPr/>
            </a:p>
          </p:txBody>
        </p:sp>
        <p:pic>
          <p:nvPicPr>
            <p:cNvPr id="18" name="object 18"/>
            <p:cNvPicPr/>
            <p:nvPr/>
          </p:nvPicPr>
          <p:blipFill>
            <a:blip r:embed="rId2" cstate="print"/>
            <a:stretch>
              <a:fillRect/>
            </a:stretch>
          </p:blipFill>
          <p:spPr>
            <a:xfrm>
              <a:off x="9604556" y="3686610"/>
              <a:ext cx="3086099" cy="3086099"/>
            </a:xfrm>
            <a:prstGeom prst="rect">
              <a:avLst/>
            </a:prstGeom>
          </p:spPr>
        </p:pic>
      </p:grpSp>
      <p:sp>
        <p:nvSpPr>
          <p:cNvPr id="19" name="object 19"/>
          <p:cNvSpPr txBox="1"/>
          <p:nvPr/>
        </p:nvSpPr>
        <p:spPr>
          <a:xfrm>
            <a:off x="10383144" y="7784762"/>
            <a:ext cx="1699895" cy="622300"/>
          </a:xfrm>
          <a:prstGeom prst="rect">
            <a:avLst/>
          </a:prstGeom>
        </p:spPr>
        <p:txBody>
          <a:bodyPr vert="horz" wrap="square" lIns="0" tIns="42545" rIns="0" bIns="0" rtlCol="0">
            <a:spAutoFit/>
          </a:bodyPr>
          <a:lstStyle/>
          <a:p>
            <a:pPr marL="114300" marR="5080" indent="-102235">
              <a:lnSpc>
                <a:spcPts val="2250"/>
              </a:lnSpc>
              <a:spcBef>
                <a:spcPts val="335"/>
              </a:spcBef>
            </a:pPr>
            <a:r>
              <a:rPr sz="2000" b="1" spc="-25" dirty="0">
                <a:solidFill>
                  <a:srgbClr val="FFFFFF"/>
                </a:solidFill>
                <a:latin typeface="Roboto"/>
                <a:cs typeface="Roboto"/>
              </a:rPr>
              <a:t>Covid-</a:t>
            </a:r>
            <a:r>
              <a:rPr sz="2000" b="1" dirty="0">
                <a:solidFill>
                  <a:srgbClr val="FFFFFF"/>
                </a:solidFill>
                <a:latin typeface="Roboto"/>
                <a:cs typeface="Roboto"/>
              </a:rPr>
              <a:t>19</a:t>
            </a:r>
            <a:r>
              <a:rPr sz="2000" b="1" spc="-50" dirty="0">
                <a:solidFill>
                  <a:srgbClr val="FFFFFF"/>
                </a:solidFill>
                <a:latin typeface="Roboto"/>
                <a:cs typeface="Roboto"/>
              </a:rPr>
              <a:t> </a:t>
            </a:r>
            <a:r>
              <a:rPr sz="2000" b="1" dirty="0">
                <a:solidFill>
                  <a:srgbClr val="FFFFFF"/>
                </a:solidFill>
                <a:latin typeface="Roboto"/>
                <a:cs typeface="Roboto"/>
              </a:rPr>
              <a:t>y</a:t>
            </a:r>
            <a:r>
              <a:rPr sz="2000" b="1" spc="-45" dirty="0">
                <a:solidFill>
                  <a:srgbClr val="FFFFFF"/>
                </a:solidFill>
                <a:latin typeface="Roboto"/>
                <a:cs typeface="Roboto"/>
              </a:rPr>
              <a:t> </a:t>
            </a:r>
            <a:r>
              <a:rPr sz="2000" b="1" spc="-25" dirty="0">
                <a:solidFill>
                  <a:srgbClr val="FFFFFF"/>
                </a:solidFill>
                <a:latin typeface="Roboto"/>
                <a:cs typeface="Roboto"/>
              </a:rPr>
              <a:t>sus </a:t>
            </a:r>
            <a:r>
              <a:rPr sz="2000" b="1" spc="-10" dirty="0">
                <a:solidFill>
                  <a:srgbClr val="FFFFFF"/>
                </a:solidFill>
                <a:latin typeface="Roboto"/>
                <a:cs typeface="Roboto"/>
              </a:rPr>
              <a:t>restricciones</a:t>
            </a:r>
            <a:endParaRPr sz="2000">
              <a:latin typeface="Roboto"/>
              <a:cs typeface="Roboto"/>
            </a:endParaRPr>
          </a:p>
        </p:txBody>
      </p:sp>
      <p:grpSp>
        <p:nvGrpSpPr>
          <p:cNvPr id="20" name="object 20"/>
          <p:cNvGrpSpPr/>
          <p:nvPr/>
        </p:nvGrpSpPr>
        <p:grpSpPr>
          <a:xfrm>
            <a:off x="13183141" y="3759519"/>
            <a:ext cx="3086100" cy="4959985"/>
            <a:chOff x="13183141" y="3759519"/>
            <a:chExt cx="3086100" cy="4959985"/>
          </a:xfrm>
        </p:grpSpPr>
        <p:sp>
          <p:nvSpPr>
            <p:cNvPr id="21" name="object 21"/>
            <p:cNvSpPr/>
            <p:nvPr/>
          </p:nvSpPr>
          <p:spPr>
            <a:xfrm>
              <a:off x="13207962" y="7540185"/>
              <a:ext cx="3036570" cy="1179195"/>
            </a:xfrm>
            <a:custGeom>
              <a:avLst/>
              <a:gdLst/>
              <a:ahLst/>
              <a:cxnLst/>
              <a:rect l="l" t="t" r="r" b="b"/>
              <a:pathLst>
                <a:path w="3036569" h="1179195">
                  <a:moveTo>
                    <a:pt x="2447094" y="1178745"/>
                  </a:moveTo>
                  <a:lnTo>
                    <a:pt x="589361" y="1178745"/>
                  </a:lnTo>
                  <a:lnTo>
                    <a:pt x="541034" y="1176792"/>
                  </a:lnTo>
                  <a:lnTo>
                    <a:pt x="493772" y="1171032"/>
                  </a:lnTo>
                  <a:lnTo>
                    <a:pt x="447739" y="1161617"/>
                  </a:lnTo>
                  <a:lnTo>
                    <a:pt x="403084" y="1148699"/>
                  </a:lnTo>
                  <a:lnTo>
                    <a:pt x="359961" y="1132430"/>
                  </a:lnTo>
                  <a:lnTo>
                    <a:pt x="318521" y="1112961"/>
                  </a:lnTo>
                  <a:lnTo>
                    <a:pt x="278915" y="1090444"/>
                  </a:lnTo>
                  <a:lnTo>
                    <a:pt x="241296" y="1065031"/>
                  </a:lnTo>
                  <a:lnTo>
                    <a:pt x="205814" y="1036873"/>
                  </a:lnTo>
                  <a:lnTo>
                    <a:pt x="172622" y="1006122"/>
                  </a:lnTo>
                  <a:lnTo>
                    <a:pt x="141871" y="972930"/>
                  </a:lnTo>
                  <a:lnTo>
                    <a:pt x="113714" y="937449"/>
                  </a:lnTo>
                  <a:lnTo>
                    <a:pt x="88300" y="899829"/>
                  </a:lnTo>
                  <a:lnTo>
                    <a:pt x="65784" y="860223"/>
                  </a:lnTo>
                  <a:lnTo>
                    <a:pt x="46315" y="818783"/>
                  </a:lnTo>
                  <a:lnTo>
                    <a:pt x="30046" y="775660"/>
                  </a:lnTo>
                  <a:lnTo>
                    <a:pt x="17128" y="731006"/>
                  </a:lnTo>
                  <a:lnTo>
                    <a:pt x="7713" y="684972"/>
                  </a:lnTo>
                  <a:lnTo>
                    <a:pt x="1953" y="637710"/>
                  </a:lnTo>
                  <a:lnTo>
                    <a:pt x="0" y="589386"/>
                  </a:lnTo>
                  <a:lnTo>
                    <a:pt x="1953" y="541035"/>
                  </a:lnTo>
                  <a:lnTo>
                    <a:pt x="7713" y="493773"/>
                  </a:lnTo>
                  <a:lnTo>
                    <a:pt x="17128" y="447739"/>
                  </a:lnTo>
                  <a:lnTo>
                    <a:pt x="30046" y="403085"/>
                  </a:lnTo>
                  <a:lnTo>
                    <a:pt x="46315" y="359962"/>
                  </a:lnTo>
                  <a:lnTo>
                    <a:pt x="65784" y="318522"/>
                  </a:lnTo>
                  <a:lnTo>
                    <a:pt x="88300" y="278916"/>
                  </a:lnTo>
                  <a:lnTo>
                    <a:pt x="113714" y="241296"/>
                  </a:lnTo>
                  <a:lnTo>
                    <a:pt x="141871" y="205815"/>
                  </a:lnTo>
                  <a:lnTo>
                    <a:pt x="172622" y="172623"/>
                  </a:lnTo>
                  <a:lnTo>
                    <a:pt x="205814" y="141872"/>
                  </a:lnTo>
                  <a:lnTo>
                    <a:pt x="241296" y="113714"/>
                  </a:lnTo>
                  <a:lnTo>
                    <a:pt x="278915" y="88301"/>
                  </a:lnTo>
                  <a:lnTo>
                    <a:pt x="318521" y="65784"/>
                  </a:lnTo>
                  <a:lnTo>
                    <a:pt x="359961" y="46315"/>
                  </a:lnTo>
                  <a:lnTo>
                    <a:pt x="403084" y="30046"/>
                  </a:lnTo>
                  <a:lnTo>
                    <a:pt x="447739" y="17128"/>
                  </a:lnTo>
                  <a:lnTo>
                    <a:pt x="493772" y="7713"/>
                  </a:lnTo>
                  <a:lnTo>
                    <a:pt x="541034" y="1953"/>
                  </a:lnTo>
                  <a:lnTo>
                    <a:pt x="589372" y="0"/>
                  </a:lnTo>
                  <a:lnTo>
                    <a:pt x="2447083" y="0"/>
                  </a:lnTo>
                  <a:lnTo>
                    <a:pt x="2495420" y="1953"/>
                  </a:lnTo>
                  <a:lnTo>
                    <a:pt x="2542682" y="7713"/>
                  </a:lnTo>
                  <a:lnTo>
                    <a:pt x="2588716" y="17128"/>
                  </a:lnTo>
                  <a:lnTo>
                    <a:pt x="2633370" y="30046"/>
                  </a:lnTo>
                  <a:lnTo>
                    <a:pt x="2676493" y="46315"/>
                  </a:lnTo>
                  <a:lnTo>
                    <a:pt x="2717933" y="65784"/>
                  </a:lnTo>
                  <a:lnTo>
                    <a:pt x="2757539" y="88301"/>
                  </a:lnTo>
                  <a:lnTo>
                    <a:pt x="2795158" y="113714"/>
                  </a:lnTo>
                  <a:lnTo>
                    <a:pt x="2830640" y="141872"/>
                  </a:lnTo>
                  <a:lnTo>
                    <a:pt x="2863832" y="172623"/>
                  </a:lnTo>
                  <a:lnTo>
                    <a:pt x="2894583" y="205815"/>
                  </a:lnTo>
                  <a:lnTo>
                    <a:pt x="2922741" y="241296"/>
                  </a:lnTo>
                  <a:lnTo>
                    <a:pt x="2948154" y="278916"/>
                  </a:lnTo>
                  <a:lnTo>
                    <a:pt x="2970671" y="318522"/>
                  </a:lnTo>
                  <a:lnTo>
                    <a:pt x="2990140" y="359962"/>
                  </a:lnTo>
                  <a:lnTo>
                    <a:pt x="3006409" y="403085"/>
                  </a:lnTo>
                  <a:lnTo>
                    <a:pt x="3019327" y="447739"/>
                  </a:lnTo>
                  <a:lnTo>
                    <a:pt x="3028742" y="493773"/>
                  </a:lnTo>
                  <a:lnTo>
                    <a:pt x="3034502" y="541035"/>
                  </a:lnTo>
                  <a:lnTo>
                    <a:pt x="3036455" y="589359"/>
                  </a:lnTo>
                  <a:lnTo>
                    <a:pt x="3034502" y="637710"/>
                  </a:lnTo>
                  <a:lnTo>
                    <a:pt x="3028742" y="684972"/>
                  </a:lnTo>
                  <a:lnTo>
                    <a:pt x="3019327" y="731006"/>
                  </a:lnTo>
                  <a:lnTo>
                    <a:pt x="3006409" y="775660"/>
                  </a:lnTo>
                  <a:lnTo>
                    <a:pt x="2990140" y="818783"/>
                  </a:lnTo>
                  <a:lnTo>
                    <a:pt x="2970671" y="860223"/>
                  </a:lnTo>
                  <a:lnTo>
                    <a:pt x="2948154" y="899829"/>
                  </a:lnTo>
                  <a:lnTo>
                    <a:pt x="2922741" y="937449"/>
                  </a:lnTo>
                  <a:lnTo>
                    <a:pt x="2894583" y="972930"/>
                  </a:lnTo>
                  <a:lnTo>
                    <a:pt x="2863832" y="1006122"/>
                  </a:lnTo>
                  <a:lnTo>
                    <a:pt x="2830640" y="1036873"/>
                  </a:lnTo>
                  <a:lnTo>
                    <a:pt x="2795158" y="1065031"/>
                  </a:lnTo>
                  <a:lnTo>
                    <a:pt x="2757539" y="1090444"/>
                  </a:lnTo>
                  <a:lnTo>
                    <a:pt x="2717933" y="1112961"/>
                  </a:lnTo>
                  <a:lnTo>
                    <a:pt x="2676493" y="1132430"/>
                  </a:lnTo>
                  <a:lnTo>
                    <a:pt x="2633370" y="1148699"/>
                  </a:lnTo>
                  <a:lnTo>
                    <a:pt x="2588716" y="1161617"/>
                  </a:lnTo>
                  <a:lnTo>
                    <a:pt x="2542682" y="1171032"/>
                  </a:lnTo>
                  <a:lnTo>
                    <a:pt x="2495420" y="1176792"/>
                  </a:lnTo>
                  <a:lnTo>
                    <a:pt x="2447094" y="1178745"/>
                  </a:lnTo>
                  <a:close/>
                </a:path>
              </a:pathLst>
            </a:custGeom>
            <a:solidFill>
              <a:srgbClr val="21408B"/>
            </a:solidFill>
          </p:spPr>
          <p:txBody>
            <a:bodyPr wrap="square" lIns="0" tIns="0" rIns="0" bIns="0" rtlCol="0"/>
            <a:lstStyle/>
            <a:p>
              <a:endParaRPr/>
            </a:p>
          </p:txBody>
        </p:sp>
        <p:sp>
          <p:nvSpPr>
            <p:cNvPr id="22" name="object 22"/>
            <p:cNvSpPr/>
            <p:nvPr/>
          </p:nvSpPr>
          <p:spPr>
            <a:xfrm>
              <a:off x="13183141" y="3759519"/>
              <a:ext cx="3086100" cy="3086100"/>
            </a:xfrm>
            <a:custGeom>
              <a:avLst/>
              <a:gdLst/>
              <a:ahLst/>
              <a:cxnLst/>
              <a:rect l="l" t="t" r="r" b="b"/>
              <a:pathLst>
                <a:path w="3086100" h="3086100">
                  <a:moveTo>
                    <a:pt x="1543049" y="3086099"/>
                  </a:moveTo>
                  <a:lnTo>
                    <a:pt x="1494987" y="3085365"/>
                  </a:lnTo>
                  <a:lnTo>
                    <a:pt x="1447291" y="3083177"/>
                  </a:lnTo>
                  <a:lnTo>
                    <a:pt x="1399983" y="3079555"/>
                  </a:lnTo>
                  <a:lnTo>
                    <a:pt x="1353083" y="3074522"/>
                  </a:lnTo>
                  <a:lnTo>
                    <a:pt x="1306613" y="3068098"/>
                  </a:lnTo>
                  <a:lnTo>
                    <a:pt x="1260594" y="3060306"/>
                  </a:lnTo>
                  <a:lnTo>
                    <a:pt x="1215048" y="3051166"/>
                  </a:lnTo>
                  <a:lnTo>
                    <a:pt x="1169996" y="3040700"/>
                  </a:lnTo>
                  <a:lnTo>
                    <a:pt x="1125460" y="3028929"/>
                  </a:lnTo>
                  <a:lnTo>
                    <a:pt x="1081460" y="3015874"/>
                  </a:lnTo>
                  <a:lnTo>
                    <a:pt x="1038018" y="3001557"/>
                  </a:lnTo>
                  <a:lnTo>
                    <a:pt x="995155" y="2985999"/>
                  </a:lnTo>
                  <a:lnTo>
                    <a:pt x="952894" y="2969221"/>
                  </a:lnTo>
                  <a:lnTo>
                    <a:pt x="911254" y="2951246"/>
                  </a:lnTo>
                  <a:lnTo>
                    <a:pt x="870258" y="2932093"/>
                  </a:lnTo>
                  <a:lnTo>
                    <a:pt x="829926" y="2911785"/>
                  </a:lnTo>
                  <a:lnTo>
                    <a:pt x="790281" y="2890342"/>
                  </a:lnTo>
                  <a:lnTo>
                    <a:pt x="751343" y="2867787"/>
                  </a:lnTo>
                  <a:lnTo>
                    <a:pt x="713134" y="2844140"/>
                  </a:lnTo>
                  <a:lnTo>
                    <a:pt x="675675" y="2819423"/>
                  </a:lnTo>
                  <a:lnTo>
                    <a:pt x="638987" y="2793657"/>
                  </a:lnTo>
                  <a:lnTo>
                    <a:pt x="603092" y="2766864"/>
                  </a:lnTo>
                  <a:lnTo>
                    <a:pt x="568012" y="2739064"/>
                  </a:lnTo>
                  <a:lnTo>
                    <a:pt x="533766" y="2710280"/>
                  </a:lnTo>
                  <a:lnTo>
                    <a:pt x="500378" y="2680532"/>
                  </a:lnTo>
                  <a:lnTo>
                    <a:pt x="467868" y="2649842"/>
                  </a:lnTo>
                  <a:lnTo>
                    <a:pt x="436257" y="2618231"/>
                  </a:lnTo>
                  <a:lnTo>
                    <a:pt x="405567" y="2585721"/>
                  </a:lnTo>
                  <a:lnTo>
                    <a:pt x="375819" y="2552332"/>
                  </a:lnTo>
                  <a:lnTo>
                    <a:pt x="347034" y="2518087"/>
                  </a:lnTo>
                  <a:lnTo>
                    <a:pt x="319235" y="2483006"/>
                  </a:lnTo>
                  <a:lnTo>
                    <a:pt x="292441" y="2447112"/>
                  </a:lnTo>
                  <a:lnTo>
                    <a:pt x="266676" y="2410424"/>
                  </a:lnTo>
                  <a:lnTo>
                    <a:pt x="241959" y="2372965"/>
                  </a:lnTo>
                  <a:lnTo>
                    <a:pt x="218312" y="2334756"/>
                  </a:lnTo>
                  <a:lnTo>
                    <a:pt x="195757" y="2295818"/>
                  </a:lnTo>
                  <a:lnTo>
                    <a:pt x="174314" y="2256172"/>
                  </a:lnTo>
                  <a:lnTo>
                    <a:pt x="154006" y="2215841"/>
                  </a:lnTo>
                  <a:lnTo>
                    <a:pt x="134853" y="2174845"/>
                  </a:lnTo>
                  <a:lnTo>
                    <a:pt x="116878"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7"/>
                  </a:lnTo>
                  <a:lnTo>
                    <a:pt x="734" y="1591111"/>
                  </a:lnTo>
                  <a:lnTo>
                    <a:pt x="0" y="1543049"/>
                  </a:lnTo>
                  <a:lnTo>
                    <a:pt x="734" y="1494987"/>
                  </a:lnTo>
                  <a:lnTo>
                    <a:pt x="2922" y="1447291"/>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8" y="952894"/>
                  </a:lnTo>
                  <a:lnTo>
                    <a:pt x="134853" y="911254"/>
                  </a:lnTo>
                  <a:lnTo>
                    <a:pt x="154006" y="870258"/>
                  </a:lnTo>
                  <a:lnTo>
                    <a:pt x="174314" y="829927"/>
                  </a:lnTo>
                  <a:lnTo>
                    <a:pt x="195757" y="790281"/>
                  </a:lnTo>
                  <a:lnTo>
                    <a:pt x="218312" y="751343"/>
                  </a:lnTo>
                  <a:lnTo>
                    <a:pt x="241959" y="713134"/>
                  </a:lnTo>
                  <a:lnTo>
                    <a:pt x="266676" y="675675"/>
                  </a:lnTo>
                  <a:lnTo>
                    <a:pt x="292441" y="638987"/>
                  </a:lnTo>
                  <a:lnTo>
                    <a:pt x="319235" y="603092"/>
                  </a:lnTo>
                  <a:lnTo>
                    <a:pt x="347034" y="568012"/>
                  </a:lnTo>
                  <a:lnTo>
                    <a:pt x="375819" y="533766"/>
                  </a:lnTo>
                  <a:lnTo>
                    <a:pt x="405567" y="500378"/>
                  </a:lnTo>
                  <a:lnTo>
                    <a:pt x="436257" y="467868"/>
                  </a:lnTo>
                  <a:lnTo>
                    <a:pt x="467868" y="436257"/>
                  </a:lnTo>
                  <a:lnTo>
                    <a:pt x="500378" y="405567"/>
                  </a:lnTo>
                  <a:lnTo>
                    <a:pt x="533766" y="375819"/>
                  </a:lnTo>
                  <a:lnTo>
                    <a:pt x="568012" y="347034"/>
                  </a:lnTo>
                  <a:lnTo>
                    <a:pt x="603092" y="319235"/>
                  </a:lnTo>
                  <a:lnTo>
                    <a:pt x="638987" y="292442"/>
                  </a:lnTo>
                  <a:lnTo>
                    <a:pt x="675675" y="266676"/>
                  </a:lnTo>
                  <a:lnTo>
                    <a:pt x="713134" y="241959"/>
                  </a:lnTo>
                  <a:lnTo>
                    <a:pt x="751343" y="218312"/>
                  </a:lnTo>
                  <a:lnTo>
                    <a:pt x="790281" y="195757"/>
                  </a:lnTo>
                  <a:lnTo>
                    <a:pt x="829926" y="174314"/>
                  </a:lnTo>
                  <a:lnTo>
                    <a:pt x="870258" y="154006"/>
                  </a:lnTo>
                  <a:lnTo>
                    <a:pt x="911254" y="134853"/>
                  </a:lnTo>
                  <a:lnTo>
                    <a:pt x="952894" y="116878"/>
                  </a:lnTo>
                  <a:lnTo>
                    <a:pt x="995155" y="100100"/>
                  </a:lnTo>
                  <a:lnTo>
                    <a:pt x="1038018" y="84542"/>
                  </a:lnTo>
                  <a:lnTo>
                    <a:pt x="1081460" y="70225"/>
                  </a:lnTo>
                  <a:lnTo>
                    <a:pt x="1125460" y="57170"/>
                  </a:lnTo>
                  <a:lnTo>
                    <a:pt x="1169996" y="45399"/>
                  </a:lnTo>
                  <a:lnTo>
                    <a:pt x="1215048" y="34933"/>
                  </a:lnTo>
                  <a:lnTo>
                    <a:pt x="1260594" y="25793"/>
                  </a:lnTo>
                  <a:lnTo>
                    <a:pt x="1306613" y="18000"/>
                  </a:lnTo>
                  <a:lnTo>
                    <a:pt x="1353083" y="11577"/>
                  </a:lnTo>
                  <a:lnTo>
                    <a:pt x="1399983" y="6544"/>
                  </a:lnTo>
                  <a:lnTo>
                    <a:pt x="1447291" y="2922"/>
                  </a:lnTo>
                  <a:lnTo>
                    <a:pt x="1494987" y="734"/>
                  </a:lnTo>
                  <a:lnTo>
                    <a:pt x="1543049" y="0"/>
                  </a:lnTo>
                  <a:lnTo>
                    <a:pt x="1591112" y="734"/>
                  </a:lnTo>
                  <a:lnTo>
                    <a:pt x="1638808" y="2922"/>
                  </a:lnTo>
                  <a:lnTo>
                    <a:pt x="1686116" y="6544"/>
                  </a:lnTo>
                  <a:lnTo>
                    <a:pt x="1733016" y="11577"/>
                  </a:lnTo>
                  <a:lnTo>
                    <a:pt x="1779486" y="18000"/>
                  </a:lnTo>
                  <a:lnTo>
                    <a:pt x="1825505" y="25793"/>
                  </a:lnTo>
                  <a:lnTo>
                    <a:pt x="1871051" y="34933"/>
                  </a:lnTo>
                  <a:lnTo>
                    <a:pt x="1916103" y="45399"/>
                  </a:lnTo>
                  <a:lnTo>
                    <a:pt x="1960640" y="57170"/>
                  </a:lnTo>
                  <a:lnTo>
                    <a:pt x="2004639" y="70225"/>
                  </a:lnTo>
                  <a:lnTo>
                    <a:pt x="2048081" y="84542"/>
                  </a:lnTo>
                  <a:lnTo>
                    <a:pt x="2090944" y="100100"/>
                  </a:lnTo>
                  <a:lnTo>
                    <a:pt x="2133205" y="116878"/>
                  </a:lnTo>
                  <a:lnTo>
                    <a:pt x="2174845" y="134853"/>
                  </a:lnTo>
                  <a:lnTo>
                    <a:pt x="2215841" y="154006"/>
                  </a:lnTo>
                  <a:lnTo>
                    <a:pt x="2256173" y="174314"/>
                  </a:lnTo>
                  <a:lnTo>
                    <a:pt x="2295818" y="195757"/>
                  </a:lnTo>
                  <a:lnTo>
                    <a:pt x="2334756" y="218312"/>
                  </a:lnTo>
                  <a:lnTo>
                    <a:pt x="2372965" y="241959"/>
                  </a:lnTo>
                  <a:lnTo>
                    <a:pt x="2410424" y="266676"/>
                  </a:lnTo>
                  <a:lnTo>
                    <a:pt x="2447112" y="292442"/>
                  </a:lnTo>
                  <a:lnTo>
                    <a:pt x="2483007" y="319235"/>
                  </a:lnTo>
                  <a:lnTo>
                    <a:pt x="2518087" y="347034"/>
                  </a:lnTo>
                  <a:lnTo>
                    <a:pt x="2552333" y="375819"/>
                  </a:lnTo>
                  <a:lnTo>
                    <a:pt x="2585721" y="405567"/>
                  </a:lnTo>
                  <a:lnTo>
                    <a:pt x="2618232" y="436257"/>
                  </a:lnTo>
                  <a:lnTo>
                    <a:pt x="2649842" y="467868"/>
                  </a:lnTo>
                  <a:lnTo>
                    <a:pt x="2680532" y="500378"/>
                  </a:lnTo>
                  <a:lnTo>
                    <a:pt x="2710280" y="533766"/>
                  </a:lnTo>
                  <a:lnTo>
                    <a:pt x="2739065" y="568012"/>
                  </a:lnTo>
                  <a:lnTo>
                    <a:pt x="2766864" y="603092"/>
                  </a:lnTo>
                  <a:lnTo>
                    <a:pt x="2793658" y="638987"/>
                  </a:lnTo>
                  <a:lnTo>
                    <a:pt x="2819423" y="675675"/>
                  </a:lnTo>
                  <a:lnTo>
                    <a:pt x="2844140" y="713134"/>
                  </a:lnTo>
                  <a:lnTo>
                    <a:pt x="2867787" y="751343"/>
                  </a:lnTo>
                  <a:lnTo>
                    <a:pt x="2890343" y="790281"/>
                  </a:lnTo>
                  <a:lnTo>
                    <a:pt x="2911785" y="829927"/>
                  </a:lnTo>
                  <a:lnTo>
                    <a:pt x="2932093" y="870258"/>
                  </a:lnTo>
                  <a:lnTo>
                    <a:pt x="2951246" y="911254"/>
                  </a:lnTo>
                  <a:lnTo>
                    <a:pt x="2969221" y="952894"/>
                  </a:lnTo>
                  <a:lnTo>
                    <a:pt x="2985999" y="995156"/>
                  </a:lnTo>
                  <a:lnTo>
                    <a:pt x="3001557" y="1038018"/>
                  </a:lnTo>
                  <a:lnTo>
                    <a:pt x="3015874" y="1081460"/>
                  </a:lnTo>
                  <a:lnTo>
                    <a:pt x="3028929" y="1125460"/>
                  </a:lnTo>
                  <a:lnTo>
                    <a:pt x="3040700" y="1169996"/>
                  </a:lnTo>
                  <a:lnTo>
                    <a:pt x="3051166" y="1215048"/>
                  </a:lnTo>
                  <a:lnTo>
                    <a:pt x="3060306" y="1260594"/>
                  </a:lnTo>
                  <a:lnTo>
                    <a:pt x="3068098" y="1306613"/>
                  </a:lnTo>
                  <a:lnTo>
                    <a:pt x="3074522" y="1353083"/>
                  </a:lnTo>
                  <a:lnTo>
                    <a:pt x="3079555" y="1399983"/>
                  </a:lnTo>
                  <a:lnTo>
                    <a:pt x="3083177" y="1447291"/>
                  </a:lnTo>
                  <a:lnTo>
                    <a:pt x="3085365" y="1494987"/>
                  </a:lnTo>
                  <a:lnTo>
                    <a:pt x="3086099" y="1543049"/>
                  </a:lnTo>
                  <a:lnTo>
                    <a:pt x="3085365" y="1591111"/>
                  </a:lnTo>
                  <a:lnTo>
                    <a:pt x="3083177" y="1638807"/>
                  </a:lnTo>
                  <a:lnTo>
                    <a:pt x="3079555" y="1686116"/>
                  </a:lnTo>
                  <a:lnTo>
                    <a:pt x="3074522" y="1733016"/>
                  </a:lnTo>
                  <a:lnTo>
                    <a:pt x="3068098" y="1779486"/>
                  </a:lnTo>
                  <a:lnTo>
                    <a:pt x="3060306" y="1825505"/>
                  </a:lnTo>
                  <a:lnTo>
                    <a:pt x="3051166" y="1871051"/>
                  </a:lnTo>
                  <a:lnTo>
                    <a:pt x="3040700" y="1916103"/>
                  </a:lnTo>
                  <a:lnTo>
                    <a:pt x="3028929" y="1960639"/>
                  </a:lnTo>
                  <a:lnTo>
                    <a:pt x="3015874" y="2004639"/>
                  </a:lnTo>
                  <a:lnTo>
                    <a:pt x="3001557" y="2048081"/>
                  </a:lnTo>
                  <a:lnTo>
                    <a:pt x="2985999" y="2090943"/>
                  </a:lnTo>
                  <a:lnTo>
                    <a:pt x="2969221" y="2133205"/>
                  </a:lnTo>
                  <a:lnTo>
                    <a:pt x="2951246" y="2174845"/>
                  </a:lnTo>
                  <a:lnTo>
                    <a:pt x="2932093" y="2215841"/>
                  </a:lnTo>
                  <a:lnTo>
                    <a:pt x="2911785" y="2256172"/>
                  </a:lnTo>
                  <a:lnTo>
                    <a:pt x="2890343" y="2295818"/>
                  </a:lnTo>
                  <a:lnTo>
                    <a:pt x="2867787" y="2334756"/>
                  </a:lnTo>
                  <a:lnTo>
                    <a:pt x="2844140" y="2372965"/>
                  </a:lnTo>
                  <a:lnTo>
                    <a:pt x="2819423" y="2410424"/>
                  </a:lnTo>
                  <a:lnTo>
                    <a:pt x="2793658" y="2447112"/>
                  </a:lnTo>
                  <a:lnTo>
                    <a:pt x="2766864" y="2483006"/>
                  </a:lnTo>
                  <a:lnTo>
                    <a:pt x="2739065" y="2518087"/>
                  </a:lnTo>
                  <a:lnTo>
                    <a:pt x="2710280" y="2552332"/>
                  </a:lnTo>
                  <a:lnTo>
                    <a:pt x="2680532" y="2585721"/>
                  </a:lnTo>
                  <a:lnTo>
                    <a:pt x="2649842" y="2618231"/>
                  </a:lnTo>
                  <a:lnTo>
                    <a:pt x="2618232" y="2649842"/>
                  </a:lnTo>
                  <a:lnTo>
                    <a:pt x="2585721" y="2680532"/>
                  </a:lnTo>
                  <a:lnTo>
                    <a:pt x="2552333" y="2710280"/>
                  </a:lnTo>
                  <a:lnTo>
                    <a:pt x="2518087" y="2739064"/>
                  </a:lnTo>
                  <a:lnTo>
                    <a:pt x="2483007" y="2766864"/>
                  </a:lnTo>
                  <a:lnTo>
                    <a:pt x="2447112" y="2793657"/>
                  </a:lnTo>
                  <a:lnTo>
                    <a:pt x="2410424" y="2819423"/>
                  </a:lnTo>
                  <a:lnTo>
                    <a:pt x="2372965" y="2844140"/>
                  </a:lnTo>
                  <a:lnTo>
                    <a:pt x="2334756" y="2867787"/>
                  </a:lnTo>
                  <a:lnTo>
                    <a:pt x="2295818" y="2890342"/>
                  </a:lnTo>
                  <a:lnTo>
                    <a:pt x="2256173" y="2911785"/>
                  </a:lnTo>
                  <a:lnTo>
                    <a:pt x="2215841" y="2932093"/>
                  </a:lnTo>
                  <a:lnTo>
                    <a:pt x="2174845" y="2951246"/>
                  </a:lnTo>
                  <a:lnTo>
                    <a:pt x="2133205" y="2969221"/>
                  </a:lnTo>
                  <a:lnTo>
                    <a:pt x="2090944" y="2985999"/>
                  </a:lnTo>
                  <a:lnTo>
                    <a:pt x="2048081" y="3001557"/>
                  </a:lnTo>
                  <a:lnTo>
                    <a:pt x="2004639" y="3015874"/>
                  </a:lnTo>
                  <a:lnTo>
                    <a:pt x="1960640" y="3028929"/>
                  </a:lnTo>
                  <a:lnTo>
                    <a:pt x="1916103" y="3040700"/>
                  </a:lnTo>
                  <a:lnTo>
                    <a:pt x="1871051" y="3051166"/>
                  </a:lnTo>
                  <a:lnTo>
                    <a:pt x="1825505" y="3060306"/>
                  </a:lnTo>
                  <a:lnTo>
                    <a:pt x="1779486" y="3068098"/>
                  </a:lnTo>
                  <a:lnTo>
                    <a:pt x="1733016" y="3074522"/>
                  </a:lnTo>
                  <a:lnTo>
                    <a:pt x="1686116" y="3079555"/>
                  </a:lnTo>
                  <a:lnTo>
                    <a:pt x="1638808" y="3083177"/>
                  </a:lnTo>
                  <a:lnTo>
                    <a:pt x="1591112" y="3085365"/>
                  </a:lnTo>
                  <a:lnTo>
                    <a:pt x="1543049" y="3086099"/>
                  </a:lnTo>
                  <a:close/>
                </a:path>
              </a:pathLst>
            </a:custGeom>
            <a:solidFill>
              <a:srgbClr val="F5A316"/>
            </a:solidFill>
          </p:spPr>
          <p:txBody>
            <a:bodyPr wrap="square" lIns="0" tIns="0" rIns="0" bIns="0" rtlCol="0"/>
            <a:lstStyle/>
            <a:p>
              <a:endParaRPr/>
            </a:p>
          </p:txBody>
        </p:sp>
        <p:sp>
          <p:nvSpPr>
            <p:cNvPr id="23" name="object 23"/>
            <p:cNvSpPr/>
            <p:nvPr/>
          </p:nvSpPr>
          <p:spPr>
            <a:xfrm>
              <a:off x="13893254" y="4713058"/>
              <a:ext cx="1666239" cy="1155065"/>
            </a:xfrm>
            <a:custGeom>
              <a:avLst/>
              <a:gdLst/>
              <a:ahLst/>
              <a:cxnLst/>
              <a:rect l="l" t="t" r="r" b="b"/>
              <a:pathLst>
                <a:path w="1666240" h="1155064">
                  <a:moveTo>
                    <a:pt x="1066355" y="416102"/>
                  </a:moveTo>
                  <a:lnTo>
                    <a:pt x="1057744" y="373621"/>
                  </a:lnTo>
                  <a:lnTo>
                    <a:pt x="1034326" y="338950"/>
                  </a:lnTo>
                  <a:lnTo>
                    <a:pt x="999693" y="315582"/>
                  </a:lnTo>
                  <a:lnTo>
                    <a:pt x="957465" y="307009"/>
                  </a:lnTo>
                  <a:lnTo>
                    <a:pt x="344258" y="307009"/>
                  </a:lnTo>
                  <a:lnTo>
                    <a:pt x="452742" y="179882"/>
                  </a:lnTo>
                  <a:lnTo>
                    <a:pt x="473684" y="142125"/>
                  </a:lnTo>
                  <a:lnTo>
                    <a:pt x="478434" y="100482"/>
                  </a:lnTo>
                  <a:lnTo>
                    <a:pt x="467360" y="59982"/>
                  </a:lnTo>
                  <a:lnTo>
                    <a:pt x="440867" y="25679"/>
                  </a:lnTo>
                  <a:lnTo>
                    <a:pt x="403186" y="4711"/>
                  </a:lnTo>
                  <a:lnTo>
                    <a:pt x="361657" y="0"/>
                  </a:lnTo>
                  <a:lnTo>
                    <a:pt x="321360" y="11214"/>
                  </a:lnTo>
                  <a:lnTo>
                    <a:pt x="287362" y="37985"/>
                  </a:lnTo>
                  <a:lnTo>
                    <a:pt x="26200" y="343103"/>
                  </a:lnTo>
                  <a:lnTo>
                    <a:pt x="6197" y="377761"/>
                  </a:lnTo>
                  <a:lnTo>
                    <a:pt x="0" y="416102"/>
                  </a:lnTo>
                  <a:lnTo>
                    <a:pt x="1384" y="435470"/>
                  </a:lnTo>
                  <a:lnTo>
                    <a:pt x="14452" y="472681"/>
                  </a:lnTo>
                  <a:lnTo>
                    <a:pt x="287362" y="794626"/>
                  </a:lnTo>
                  <a:lnTo>
                    <a:pt x="321373" y="821169"/>
                  </a:lnTo>
                  <a:lnTo>
                    <a:pt x="361708" y="832256"/>
                  </a:lnTo>
                  <a:lnTo>
                    <a:pt x="403352" y="827506"/>
                  </a:lnTo>
                  <a:lnTo>
                    <a:pt x="441274" y="806526"/>
                  </a:lnTo>
                  <a:lnTo>
                    <a:pt x="467779" y="772452"/>
                  </a:lnTo>
                  <a:lnTo>
                    <a:pt x="478840" y="732040"/>
                  </a:lnTo>
                  <a:lnTo>
                    <a:pt x="474091" y="690321"/>
                  </a:lnTo>
                  <a:lnTo>
                    <a:pt x="453148" y="652322"/>
                  </a:lnTo>
                  <a:lnTo>
                    <a:pt x="344678" y="525195"/>
                  </a:lnTo>
                  <a:lnTo>
                    <a:pt x="957465" y="525195"/>
                  </a:lnTo>
                  <a:lnTo>
                    <a:pt x="999871" y="516572"/>
                  </a:lnTo>
                  <a:lnTo>
                    <a:pt x="1034478" y="493102"/>
                  </a:lnTo>
                  <a:lnTo>
                    <a:pt x="1057808" y="458406"/>
                  </a:lnTo>
                  <a:lnTo>
                    <a:pt x="1066355" y="416102"/>
                  </a:lnTo>
                  <a:close/>
                </a:path>
                <a:path w="1666240" h="1155064">
                  <a:moveTo>
                    <a:pt x="1666062" y="738441"/>
                  </a:moveTo>
                  <a:lnTo>
                    <a:pt x="1659864" y="700049"/>
                  </a:lnTo>
                  <a:lnTo>
                    <a:pt x="1639862" y="665035"/>
                  </a:lnTo>
                  <a:lnTo>
                    <a:pt x="1378686" y="359918"/>
                  </a:lnTo>
                  <a:lnTo>
                    <a:pt x="1344460" y="333375"/>
                  </a:lnTo>
                  <a:lnTo>
                    <a:pt x="1304036" y="322287"/>
                  </a:lnTo>
                  <a:lnTo>
                    <a:pt x="1262468" y="327050"/>
                  </a:lnTo>
                  <a:lnTo>
                    <a:pt x="1224775" y="348030"/>
                  </a:lnTo>
                  <a:lnTo>
                    <a:pt x="1198283" y="382333"/>
                  </a:lnTo>
                  <a:lnTo>
                    <a:pt x="1187221" y="422821"/>
                  </a:lnTo>
                  <a:lnTo>
                    <a:pt x="1191971" y="464464"/>
                  </a:lnTo>
                  <a:lnTo>
                    <a:pt x="1212900" y="502221"/>
                  </a:lnTo>
                  <a:lnTo>
                    <a:pt x="1321384" y="629361"/>
                  </a:lnTo>
                  <a:lnTo>
                    <a:pt x="708583" y="629361"/>
                  </a:lnTo>
                  <a:lnTo>
                    <a:pt x="666356" y="637921"/>
                  </a:lnTo>
                  <a:lnTo>
                    <a:pt x="631736" y="661289"/>
                  </a:lnTo>
                  <a:lnTo>
                    <a:pt x="608304" y="695972"/>
                  </a:lnTo>
                  <a:lnTo>
                    <a:pt x="599694" y="738441"/>
                  </a:lnTo>
                  <a:lnTo>
                    <a:pt x="608253" y="780745"/>
                  </a:lnTo>
                  <a:lnTo>
                    <a:pt x="631571" y="815441"/>
                  </a:lnTo>
                  <a:lnTo>
                    <a:pt x="666191" y="838911"/>
                  </a:lnTo>
                  <a:lnTo>
                    <a:pt x="708583" y="847534"/>
                  </a:lnTo>
                  <a:lnTo>
                    <a:pt x="1321384" y="847534"/>
                  </a:lnTo>
                  <a:lnTo>
                    <a:pt x="1212900" y="974661"/>
                  </a:lnTo>
                  <a:lnTo>
                    <a:pt x="1191971" y="1012659"/>
                  </a:lnTo>
                  <a:lnTo>
                    <a:pt x="1187221" y="1054379"/>
                  </a:lnTo>
                  <a:lnTo>
                    <a:pt x="1198283" y="1094790"/>
                  </a:lnTo>
                  <a:lnTo>
                    <a:pt x="1224775" y="1128864"/>
                  </a:lnTo>
                  <a:lnTo>
                    <a:pt x="1262697" y="1149845"/>
                  </a:lnTo>
                  <a:lnTo>
                    <a:pt x="1304340" y="1154595"/>
                  </a:lnTo>
                  <a:lnTo>
                    <a:pt x="1344688" y="1143508"/>
                  </a:lnTo>
                  <a:lnTo>
                    <a:pt x="1378686" y="1116977"/>
                  </a:lnTo>
                  <a:lnTo>
                    <a:pt x="1639862" y="811860"/>
                  </a:lnTo>
                  <a:lnTo>
                    <a:pt x="1659864" y="776846"/>
                  </a:lnTo>
                  <a:lnTo>
                    <a:pt x="1664665" y="757821"/>
                  </a:lnTo>
                  <a:lnTo>
                    <a:pt x="1666062" y="738441"/>
                  </a:lnTo>
                  <a:close/>
                </a:path>
              </a:pathLst>
            </a:custGeom>
            <a:solidFill>
              <a:srgbClr val="FFFFFF"/>
            </a:solidFill>
          </p:spPr>
          <p:txBody>
            <a:bodyPr wrap="square" lIns="0" tIns="0" rIns="0" bIns="0" rtlCol="0"/>
            <a:lstStyle/>
            <a:p>
              <a:endParaRPr/>
            </a:p>
          </p:txBody>
        </p:sp>
      </p:grpSp>
      <p:sp>
        <p:nvSpPr>
          <p:cNvPr id="24" name="object 24"/>
          <p:cNvSpPr txBox="1"/>
          <p:nvPr/>
        </p:nvSpPr>
        <p:spPr>
          <a:xfrm>
            <a:off x="13992716" y="7800818"/>
            <a:ext cx="1466850" cy="622300"/>
          </a:xfrm>
          <a:prstGeom prst="rect">
            <a:avLst/>
          </a:prstGeom>
        </p:spPr>
        <p:txBody>
          <a:bodyPr vert="horz" wrap="square" lIns="0" tIns="42545" rIns="0" bIns="0" rtlCol="0">
            <a:spAutoFit/>
          </a:bodyPr>
          <a:lstStyle/>
          <a:p>
            <a:pPr marL="12700" marR="5080" indent="64769">
              <a:lnSpc>
                <a:spcPts val="2250"/>
              </a:lnSpc>
              <a:spcBef>
                <a:spcPts val="335"/>
              </a:spcBef>
            </a:pPr>
            <a:r>
              <a:rPr sz="2000" b="1" dirty="0">
                <a:solidFill>
                  <a:srgbClr val="FFFFFF"/>
                </a:solidFill>
                <a:latin typeface="Roboto"/>
                <a:cs typeface="Roboto"/>
              </a:rPr>
              <a:t>Gestión</a:t>
            </a:r>
            <a:r>
              <a:rPr sz="2000" b="1" spc="90" dirty="0">
                <a:solidFill>
                  <a:srgbClr val="FFFFFF"/>
                </a:solidFill>
                <a:latin typeface="Roboto"/>
                <a:cs typeface="Roboto"/>
              </a:rPr>
              <a:t> </a:t>
            </a:r>
            <a:r>
              <a:rPr sz="2000" b="1" spc="-25" dirty="0">
                <a:solidFill>
                  <a:srgbClr val="FFFFFF"/>
                </a:solidFill>
                <a:latin typeface="Roboto"/>
                <a:cs typeface="Roboto"/>
              </a:rPr>
              <a:t>de </a:t>
            </a:r>
            <a:r>
              <a:rPr sz="2000" b="1" spc="-10" dirty="0">
                <a:solidFill>
                  <a:srgbClr val="FFFFFF"/>
                </a:solidFill>
                <a:latin typeface="Roboto"/>
                <a:cs typeface="Roboto"/>
              </a:rPr>
              <a:t>migraciones</a:t>
            </a:r>
            <a:endParaRPr sz="2000">
              <a:latin typeface="Roboto"/>
              <a:cs typeface="Roboto"/>
            </a:endParaRPr>
          </a:p>
        </p:txBody>
      </p:sp>
      <p:pic>
        <p:nvPicPr>
          <p:cNvPr id="25" name="object 25"/>
          <p:cNvPicPr/>
          <p:nvPr/>
        </p:nvPicPr>
        <p:blipFill>
          <a:blip r:embed="rId3" cstate="print"/>
          <a:stretch>
            <a:fillRect/>
          </a:stretch>
        </p:blipFill>
        <p:spPr>
          <a:xfrm>
            <a:off x="17316450" y="237491"/>
            <a:ext cx="742949" cy="819149"/>
          </a:xfrm>
          <a:prstGeom prst="rect">
            <a:avLst/>
          </a:prstGeom>
        </p:spPr>
      </p:pic>
      <p:sp>
        <p:nvSpPr>
          <p:cNvPr id="26" name="object 26"/>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27" name="object 27"/>
          <p:cNvSpPr txBox="1"/>
          <p:nvPr/>
        </p:nvSpPr>
        <p:spPr>
          <a:xfrm>
            <a:off x="17811802" y="9932972"/>
            <a:ext cx="203835"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01</a:t>
            </a:r>
            <a:endParaRPr sz="900">
              <a:latin typeface="Arial"/>
              <a:cs typeface="Aria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32"/>
            <a:ext cx="17954625" cy="9604375"/>
            <a:chOff x="166956" y="184832"/>
            <a:chExt cx="17954625" cy="9604375"/>
          </a:xfrm>
        </p:grpSpPr>
        <p:sp>
          <p:nvSpPr>
            <p:cNvPr id="3" name="object 3"/>
            <p:cNvSpPr/>
            <p:nvPr/>
          </p:nvSpPr>
          <p:spPr>
            <a:xfrm>
              <a:off x="166956" y="1113693"/>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4" y="184835"/>
              <a:ext cx="17954625" cy="8534400"/>
            </a:xfrm>
            <a:custGeom>
              <a:avLst/>
              <a:gdLst/>
              <a:ahLst/>
              <a:cxnLst/>
              <a:rect l="l" t="t" r="r" b="b"/>
              <a:pathLst>
                <a:path w="17954625" h="8534400">
                  <a:moveTo>
                    <a:pt x="6503670" y="7944739"/>
                  </a:moveTo>
                  <a:lnTo>
                    <a:pt x="6501714" y="7896390"/>
                  </a:lnTo>
                  <a:lnTo>
                    <a:pt x="6495961" y="7849133"/>
                  </a:lnTo>
                  <a:lnTo>
                    <a:pt x="6486550" y="7803096"/>
                  </a:lnTo>
                  <a:lnTo>
                    <a:pt x="6473622" y="7758443"/>
                  </a:lnTo>
                  <a:lnTo>
                    <a:pt x="6457353" y="7715326"/>
                  </a:lnTo>
                  <a:lnTo>
                    <a:pt x="6437884" y="7673886"/>
                  </a:lnTo>
                  <a:lnTo>
                    <a:pt x="6415367" y="7634275"/>
                  </a:lnTo>
                  <a:lnTo>
                    <a:pt x="6389954" y="7596657"/>
                  </a:lnTo>
                  <a:lnTo>
                    <a:pt x="6361798" y="7561173"/>
                  </a:lnTo>
                  <a:lnTo>
                    <a:pt x="6331051" y="7527976"/>
                  </a:lnTo>
                  <a:lnTo>
                    <a:pt x="6297854" y="7497229"/>
                  </a:lnTo>
                  <a:lnTo>
                    <a:pt x="6262370" y="7469073"/>
                  </a:lnTo>
                  <a:lnTo>
                    <a:pt x="6224752" y="7443660"/>
                  </a:lnTo>
                  <a:lnTo>
                    <a:pt x="6185154" y="7421143"/>
                  </a:lnTo>
                  <a:lnTo>
                    <a:pt x="6143714" y="7401674"/>
                  </a:lnTo>
                  <a:lnTo>
                    <a:pt x="6100584" y="7385405"/>
                  </a:lnTo>
                  <a:lnTo>
                    <a:pt x="6055931" y="7372490"/>
                  </a:lnTo>
                  <a:lnTo>
                    <a:pt x="6009894" y="7363066"/>
                  </a:lnTo>
                  <a:lnTo>
                    <a:pt x="5962637" y="7357313"/>
                  </a:lnTo>
                  <a:lnTo>
                    <a:pt x="5914301" y="7355357"/>
                  </a:lnTo>
                  <a:lnTo>
                    <a:pt x="4056596" y="7355357"/>
                  </a:lnTo>
                  <a:lnTo>
                    <a:pt x="4008247" y="7357313"/>
                  </a:lnTo>
                  <a:lnTo>
                    <a:pt x="3960990" y="7363066"/>
                  </a:lnTo>
                  <a:lnTo>
                    <a:pt x="3914952" y="7372490"/>
                  </a:lnTo>
                  <a:lnTo>
                    <a:pt x="3870299" y="7385405"/>
                  </a:lnTo>
                  <a:lnTo>
                    <a:pt x="3827183" y="7401674"/>
                  </a:lnTo>
                  <a:lnTo>
                    <a:pt x="3785743" y="7421143"/>
                  </a:lnTo>
                  <a:lnTo>
                    <a:pt x="3746131" y="7443660"/>
                  </a:lnTo>
                  <a:lnTo>
                    <a:pt x="3708514" y="7469073"/>
                  </a:lnTo>
                  <a:lnTo>
                    <a:pt x="3673030" y="7497229"/>
                  </a:lnTo>
                  <a:lnTo>
                    <a:pt x="3639845" y="7527976"/>
                  </a:lnTo>
                  <a:lnTo>
                    <a:pt x="3609086" y="7561173"/>
                  </a:lnTo>
                  <a:lnTo>
                    <a:pt x="3580930" y="7596657"/>
                  </a:lnTo>
                  <a:lnTo>
                    <a:pt x="3555517" y="7634275"/>
                  </a:lnTo>
                  <a:lnTo>
                    <a:pt x="3533000" y="7673886"/>
                  </a:lnTo>
                  <a:lnTo>
                    <a:pt x="3513531" y="7715326"/>
                  </a:lnTo>
                  <a:lnTo>
                    <a:pt x="3497262" y="7758443"/>
                  </a:lnTo>
                  <a:lnTo>
                    <a:pt x="3484346" y="7803096"/>
                  </a:lnTo>
                  <a:lnTo>
                    <a:pt x="3474936" y="7849133"/>
                  </a:lnTo>
                  <a:lnTo>
                    <a:pt x="3469170" y="7896390"/>
                  </a:lnTo>
                  <a:lnTo>
                    <a:pt x="3467214" y="7944726"/>
                  </a:lnTo>
                  <a:lnTo>
                    <a:pt x="3469170" y="7993075"/>
                  </a:lnTo>
                  <a:lnTo>
                    <a:pt x="3474936" y="8040332"/>
                  </a:lnTo>
                  <a:lnTo>
                    <a:pt x="3484346" y="8086369"/>
                  </a:lnTo>
                  <a:lnTo>
                    <a:pt x="3497262" y="8131022"/>
                  </a:lnTo>
                  <a:lnTo>
                    <a:pt x="3513531" y="8174139"/>
                  </a:lnTo>
                  <a:lnTo>
                    <a:pt x="3533000" y="8215579"/>
                  </a:lnTo>
                  <a:lnTo>
                    <a:pt x="3555517" y="8255190"/>
                  </a:lnTo>
                  <a:lnTo>
                    <a:pt x="3580930" y="8292808"/>
                  </a:lnTo>
                  <a:lnTo>
                    <a:pt x="3609086" y="8328292"/>
                  </a:lnTo>
                  <a:lnTo>
                    <a:pt x="3639845" y="8361477"/>
                  </a:lnTo>
                  <a:lnTo>
                    <a:pt x="3673030" y="8392236"/>
                  </a:lnTo>
                  <a:lnTo>
                    <a:pt x="3708514" y="8420392"/>
                  </a:lnTo>
                  <a:lnTo>
                    <a:pt x="3746131" y="8445805"/>
                  </a:lnTo>
                  <a:lnTo>
                    <a:pt x="3785743" y="8468322"/>
                  </a:lnTo>
                  <a:lnTo>
                    <a:pt x="3827183" y="8487791"/>
                  </a:lnTo>
                  <a:lnTo>
                    <a:pt x="3870299" y="8504060"/>
                  </a:lnTo>
                  <a:lnTo>
                    <a:pt x="3914952" y="8516976"/>
                  </a:lnTo>
                  <a:lnTo>
                    <a:pt x="3960990" y="8526386"/>
                  </a:lnTo>
                  <a:lnTo>
                    <a:pt x="4008247" y="8532152"/>
                  </a:lnTo>
                  <a:lnTo>
                    <a:pt x="4056583" y="8534108"/>
                  </a:lnTo>
                  <a:lnTo>
                    <a:pt x="5914301" y="8534108"/>
                  </a:lnTo>
                  <a:lnTo>
                    <a:pt x="5962637" y="8532152"/>
                  </a:lnTo>
                  <a:lnTo>
                    <a:pt x="6009894" y="8526386"/>
                  </a:lnTo>
                  <a:lnTo>
                    <a:pt x="6055931" y="8516976"/>
                  </a:lnTo>
                  <a:lnTo>
                    <a:pt x="6100584" y="8504060"/>
                  </a:lnTo>
                  <a:lnTo>
                    <a:pt x="6143714" y="8487791"/>
                  </a:lnTo>
                  <a:lnTo>
                    <a:pt x="6185154" y="8468322"/>
                  </a:lnTo>
                  <a:lnTo>
                    <a:pt x="6224752" y="8445805"/>
                  </a:lnTo>
                  <a:lnTo>
                    <a:pt x="6262370" y="8420392"/>
                  </a:lnTo>
                  <a:lnTo>
                    <a:pt x="6297854" y="8392236"/>
                  </a:lnTo>
                  <a:lnTo>
                    <a:pt x="6331051" y="8361477"/>
                  </a:lnTo>
                  <a:lnTo>
                    <a:pt x="6361798" y="8328292"/>
                  </a:lnTo>
                  <a:lnTo>
                    <a:pt x="6389954" y="8292808"/>
                  </a:lnTo>
                  <a:lnTo>
                    <a:pt x="6415367" y="8255190"/>
                  </a:lnTo>
                  <a:lnTo>
                    <a:pt x="6437884" y="8215579"/>
                  </a:lnTo>
                  <a:lnTo>
                    <a:pt x="6457353" y="8174139"/>
                  </a:lnTo>
                  <a:lnTo>
                    <a:pt x="6473622" y="8131022"/>
                  </a:lnTo>
                  <a:lnTo>
                    <a:pt x="6486550" y="8086369"/>
                  </a:lnTo>
                  <a:lnTo>
                    <a:pt x="6495961" y="8040332"/>
                  </a:lnTo>
                  <a:lnTo>
                    <a:pt x="6501714" y="7993075"/>
                  </a:lnTo>
                  <a:lnTo>
                    <a:pt x="6503670" y="7944739"/>
                  </a:lnTo>
                  <a:close/>
                </a:path>
                <a:path w="17954625" h="8534400">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sp>
          <p:nvSpPr>
            <p:cNvPr id="5" name="object 5"/>
            <p:cNvSpPr/>
            <p:nvPr/>
          </p:nvSpPr>
          <p:spPr>
            <a:xfrm>
              <a:off x="3609356" y="3686611"/>
              <a:ext cx="3086100" cy="3086100"/>
            </a:xfrm>
            <a:custGeom>
              <a:avLst/>
              <a:gdLst/>
              <a:ahLst/>
              <a:cxnLst/>
              <a:rect l="l" t="t" r="r" b="b"/>
              <a:pathLst>
                <a:path w="3086100" h="3086100">
                  <a:moveTo>
                    <a:pt x="1543056" y="3086099"/>
                  </a:moveTo>
                  <a:lnTo>
                    <a:pt x="1494987" y="3085365"/>
                  </a:lnTo>
                  <a:lnTo>
                    <a:pt x="1447291" y="3083177"/>
                  </a:lnTo>
                  <a:lnTo>
                    <a:pt x="1399983" y="3079555"/>
                  </a:lnTo>
                  <a:lnTo>
                    <a:pt x="1353083" y="3074522"/>
                  </a:lnTo>
                  <a:lnTo>
                    <a:pt x="1306613" y="3068099"/>
                  </a:lnTo>
                  <a:lnTo>
                    <a:pt x="1260594" y="3060306"/>
                  </a:lnTo>
                  <a:lnTo>
                    <a:pt x="1215048" y="3051166"/>
                  </a:lnTo>
                  <a:lnTo>
                    <a:pt x="1169996" y="3040700"/>
                  </a:lnTo>
                  <a:lnTo>
                    <a:pt x="1125460" y="3028929"/>
                  </a:lnTo>
                  <a:lnTo>
                    <a:pt x="1081460" y="3015874"/>
                  </a:lnTo>
                  <a:lnTo>
                    <a:pt x="1038018" y="3001557"/>
                  </a:lnTo>
                  <a:lnTo>
                    <a:pt x="995156" y="2985999"/>
                  </a:lnTo>
                  <a:lnTo>
                    <a:pt x="952894" y="2969221"/>
                  </a:lnTo>
                  <a:lnTo>
                    <a:pt x="911254" y="2951246"/>
                  </a:lnTo>
                  <a:lnTo>
                    <a:pt x="870258" y="2932093"/>
                  </a:lnTo>
                  <a:lnTo>
                    <a:pt x="829927" y="2911785"/>
                  </a:lnTo>
                  <a:lnTo>
                    <a:pt x="790281" y="2890342"/>
                  </a:lnTo>
                  <a:lnTo>
                    <a:pt x="751343" y="2867787"/>
                  </a:lnTo>
                  <a:lnTo>
                    <a:pt x="713134" y="2844140"/>
                  </a:lnTo>
                  <a:lnTo>
                    <a:pt x="675675" y="2819423"/>
                  </a:lnTo>
                  <a:lnTo>
                    <a:pt x="638987" y="2793658"/>
                  </a:lnTo>
                  <a:lnTo>
                    <a:pt x="603092" y="2766864"/>
                  </a:lnTo>
                  <a:lnTo>
                    <a:pt x="568012" y="2739065"/>
                  </a:lnTo>
                  <a:lnTo>
                    <a:pt x="533766" y="2710280"/>
                  </a:lnTo>
                  <a:lnTo>
                    <a:pt x="500378" y="2680532"/>
                  </a:lnTo>
                  <a:lnTo>
                    <a:pt x="467868" y="2649842"/>
                  </a:lnTo>
                  <a:lnTo>
                    <a:pt x="436257" y="2618231"/>
                  </a:lnTo>
                  <a:lnTo>
                    <a:pt x="405567" y="2585721"/>
                  </a:lnTo>
                  <a:lnTo>
                    <a:pt x="375819" y="2552333"/>
                  </a:lnTo>
                  <a:lnTo>
                    <a:pt x="347034" y="2518087"/>
                  </a:lnTo>
                  <a:lnTo>
                    <a:pt x="319235" y="2483007"/>
                  </a:lnTo>
                  <a:lnTo>
                    <a:pt x="292441" y="2447112"/>
                  </a:lnTo>
                  <a:lnTo>
                    <a:pt x="266676" y="2410424"/>
                  </a:lnTo>
                  <a:lnTo>
                    <a:pt x="241959" y="2372965"/>
                  </a:lnTo>
                  <a:lnTo>
                    <a:pt x="218312" y="2334756"/>
                  </a:lnTo>
                  <a:lnTo>
                    <a:pt x="195757" y="2295818"/>
                  </a:lnTo>
                  <a:lnTo>
                    <a:pt x="174314" y="2256172"/>
                  </a:lnTo>
                  <a:lnTo>
                    <a:pt x="154006" y="2215841"/>
                  </a:lnTo>
                  <a:lnTo>
                    <a:pt x="134853" y="2174845"/>
                  </a:lnTo>
                  <a:lnTo>
                    <a:pt x="116878"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8"/>
                  </a:lnTo>
                  <a:lnTo>
                    <a:pt x="734" y="1591112"/>
                  </a:lnTo>
                  <a:lnTo>
                    <a:pt x="0" y="1543046"/>
                  </a:lnTo>
                  <a:lnTo>
                    <a:pt x="734" y="1494988"/>
                  </a:lnTo>
                  <a:lnTo>
                    <a:pt x="2922" y="1447292"/>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8" y="952894"/>
                  </a:lnTo>
                  <a:lnTo>
                    <a:pt x="134853" y="911254"/>
                  </a:lnTo>
                  <a:lnTo>
                    <a:pt x="154006" y="870258"/>
                  </a:lnTo>
                  <a:lnTo>
                    <a:pt x="174314" y="829927"/>
                  </a:lnTo>
                  <a:lnTo>
                    <a:pt x="195757" y="790281"/>
                  </a:lnTo>
                  <a:lnTo>
                    <a:pt x="218312" y="751343"/>
                  </a:lnTo>
                  <a:lnTo>
                    <a:pt x="241959" y="713134"/>
                  </a:lnTo>
                  <a:lnTo>
                    <a:pt x="266676" y="675675"/>
                  </a:lnTo>
                  <a:lnTo>
                    <a:pt x="292441" y="638987"/>
                  </a:lnTo>
                  <a:lnTo>
                    <a:pt x="319235" y="603092"/>
                  </a:lnTo>
                  <a:lnTo>
                    <a:pt x="347034" y="568012"/>
                  </a:lnTo>
                  <a:lnTo>
                    <a:pt x="375819" y="533766"/>
                  </a:lnTo>
                  <a:lnTo>
                    <a:pt x="405567" y="500378"/>
                  </a:lnTo>
                  <a:lnTo>
                    <a:pt x="436257" y="467868"/>
                  </a:lnTo>
                  <a:lnTo>
                    <a:pt x="467868" y="436257"/>
                  </a:lnTo>
                  <a:lnTo>
                    <a:pt x="500378" y="405567"/>
                  </a:lnTo>
                  <a:lnTo>
                    <a:pt x="533766" y="375819"/>
                  </a:lnTo>
                  <a:lnTo>
                    <a:pt x="568012" y="347034"/>
                  </a:lnTo>
                  <a:lnTo>
                    <a:pt x="603092" y="319235"/>
                  </a:lnTo>
                  <a:lnTo>
                    <a:pt x="638987" y="292442"/>
                  </a:lnTo>
                  <a:lnTo>
                    <a:pt x="675675" y="266676"/>
                  </a:lnTo>
                  <a:lnTo>
                    <a:pt x="713134" y="241959"/>
                  </a:lnTo>
                  <a:lnTo>
                    <a:pt x="751343" y="218312"/>
                  </a:lnTo>
                  <a:lnTo>
                    <a:pt x="790281" y="195757"/>
                  </a:lnTo>
                  <a:lnTo>
                    <a:pt x="829927" y="174314"/>
                  </a:lnTo>
                  <a:lnTo>
                    <a:pt x="870258" y="154006"/>
                  </a:lnTo>
                  <a:lnTo>
                    <a:pt x="911254" y="134853"/>
                  </a:lnTo>
                  <a:lnTo>
                    <a:pt x="952894" y="116878"/>
                  </a:lnTo>
                  <a:lnTo>
                    <a:pt x="995156" y="100100"/>
                  </a:lnTo>
                  <a:lnTo>
                    <a:pt x="1038018" y="84542"/>
                  </a:lnTo>
                  <a:lnTo>
                    <a:pt x="1081460" y="70225"/>
                  </a:lnTo>
                  <a:lnTo>
                    <a:pt x="1125460" y="57170"/>
                  </a:lnTo>
                  <a:lnTo>
                    <a:pt x="1169996" y="45399"/>
                  </a:lnTo>
                  <a:lnTo>
                    <a:pt x="1215048" y="34933"/>
                  </a:lnTo>
                  <a:lnTo>
                    <a:pt x="1260594" y="25793"/>
                  </a:lnTo>
                  <a:lnTo>
                    <a:pt x="1306613" y="18000"/>
                  </a:lnTo>
                  <a:lnTo>
                    <a:pt x="1353083" y="11577"/>
                  </a:lnTo>
                  <a:lnTo>
                    <a:pt x="1399983"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5" y="134853"/>
                  </a:lnTo>
                  <a:lnTo>
                    <a:pt x="2215841" y="154006"/>
                  </a:lnTo>
                  <a:lnTo>
                    <a:pt x="2256172" y="174314"/>
                  </a:lnTo>
                  <a:lnTo>
                    <a:pt x="2295818" y="195757"/>
                  </a:lnTo>
                  <a:lnTo>
                    <a:pt x="2334756" y="218312"/>
                  </a:lnTo>
                  <a:lnTo>
                    <a:pt x="2372965" y="241959"/>
                  </a:lnTo>
                  <a:lnTo>
                    <a:pt x="2410424" y="266676"/>
                  </a:lnTo>
                  <a:lnTo>
                    <a:pt x="2447111" y="292442"/>
                  </a:lnTo>
                  <a:lnTo>
                    <a:pt x="2483006" y="319235"/>
                  </a:lnTo>
                  <a:lnTo>
                    <a:pt x="2518087" y="347034"/>
                  </a:lnTo>
                  <a:lnTo>
                    <a:pt x="2552332"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5" y="911254"/>
                  </a:lnTo>
                  <a:lnTo>
                    <a:pt x="2969221" y="952894"/>
                  </a:lnTo>
                  <a:lnTo>
                    <a:pt x="2985999" y="995156"/>
                  </a:lnTo>
                  <a:lnTo>
                    <a:pt x="3001556" y="1038018"/>
                  </a:lnTo>
                  <a:lnTo>
                    <a:pt x="3015874" y="1081460"/>
                  </a:lnTo>
                  <a:lnTo>
                    <a:pt x="3028928" y="1125460"/>
                  </a:lnTo>
                  <a:lnTo>
                    <a:pt x="3040699" y="1169996"/>
                  </a:lnTo>
                  <a:lnTo>
                    <a:pt x="3051166" y="1215048"/>
                  </a:lnTo>
                  <a:lnTo>
                    <a:pt x="3060306" y="1260594"/>
                  </a:lnTo>
                  <a:lnTo>
                    <a:pt x="3068098" y="1306613"/>
                  </a:lnTo>
                  <a:lnTo>
                    <a:pt x="3074522" y="1353083"/>
                  </a:lnTo>
                  <a:lnTo>
                    <a:pt x="3079555" y="1399983"/>
                  </a:lnTo>
                  <a:lnTo>
                    <a:pt x="3083176" y="1447292"/>
                  </a:lnTo>
                  <a:lnTo>
                    <a:pt x="3085365" y="1494988"/>
                  </a:lnTo>
                  <a:lnTo>
                    <a:pt x="3086099" y="1543050"/>
                  </a:lnTo>
                  <a:lnTo>
                    <a:pt x="3085365" y="1591112"/>
                  </a:lnTo>
                  <a:lnTo>
                    <a:pt x="3083176" y="1638808"/>
                  </a:lnTo>
                  <a:lnTo>
                    <a:pt x="3079555" y="1686116"/>
                  </a:lnTo>
                  <a:lnTo>
                    <a:pt x="3074522" y="1733016"/>
                  </a:lnTo>
                  <a:lnTo>
                    <a:pt x="3068098" y="1779486"/>
                  </a:lnTo>
                  <a:lnTo>
                    <a:pt x="3060306" y="1825505"/>
                  </a:lnTo>
                  <a:lnTo>
                    <a:pt x="3051166" y="1871051"/>
                  </a:lnTo>
                  <a:lnTo>
                    <a:pt x="3040699" y="1916103"/>
                  </a:lnTo>
                  <a:lnTo>
                    <a:pt x="3028928" y="1960639"/>
                  </a:lnTo>
                  <a:lnTo>
                    <a:pt x="3015874" y="2004639"/>
                  </a:lnTo>
                  <a:lnTo>
                    <a:pt x="3001556" y="2048081"/>
                  </a:lnTo>
                  <a:lnTo>
                    <a:pt x="2985999" y="2090943"/>
                  </a:lnTo>
                  <a:lnTo>
                    <a:pt x="2969221" y="2133205"/>
                  </a:lnTo>
                  <a:lnTo>
                    <a:pt x="2951245"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7"/>
                  </a:lnTo>
                  <a:lnTo>
                    <a:pt x="2739064" y="2518087"/>
                  </a:lnTo>
                  <a:lnTo>
                    <a:pt x="2710280" y="2552333"/>
                  </a:lnTo>
                  <a:lnTo>
                    <a:pt x="2680532" y="2585721"/>
                  </a:lnTo>
                  <a:lnTo>
                    <a:pt x="2649842" y="2618231"/>
                  </a:lnTo>
                  <a:lnTo>
                    <a:pt x="2618231" y="2649842"/>
                  </a:lnTo>
                  <a:lnTo>
                    <a:pt x="2585721" y="2680532"/>
                  </a:lnTo>
                  <a:lnTo>
                    <a:pt x="2552332" y="2710280"/>
                  </a:lnTo>
                  <a:lnTo>
                    <a:pt x="2518087" y="2739065"/>
                  </a:lnTo>
                  <a:lnTo>
                    <a:pt x="2483006" y="2766864"/>
                  </a:lnTo>
                  <a:lnTo>
                    <a:pt x="2447111" y="2793658"/>
                  </a:lnTo>
                  <a:lnTo>
                    <a:pt x="2410424" y="2819423"/>
                  </a:lnTo>
                  <a:lnTo>
                    <a:pt x="2372965" y="2844140"/>
                  </a:lnTo>
                  <a:lnTo>
                    <a:pt x="2334756" y="2867787"/>
                  </a:lnTo>
                  <a:lnTo>
                    <a:pt x="2295818" y="2890342"/>
                  </a:lnTo>
                  <a:lnTo>
                    <a:pt x="2256172" y="2911785"/>
                  </a:lnTo>
                  <a:lnTo>
                    <a:pt x="2215841" y="2932093"/>
                  </a:lnTo>
                  <a:lnTo>
                    <a:pt x="2174845"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9"/>
                  </a:lnTo>
                  <a:lnTo>
                    <a:pt x="1733016" y="3074522"/>
                  </a:lnTo>
                  <a:lnTo>
                    <a:pt x="1686116" y="3079555"/>
                  </a:lnTo>
                  <a:lnTo>
                    <a:pt x="1638807" y="3083177"/>
                  </a:lnTo>
                  <a:lnTo>
                    <a:pt x="1591111" y="3085365"/>
                  </a:lnTo>
                  <a:lnTo>
                    <a:pt x="1543056" y="3086099"/>
                  </a:lnTo>
                  <a:close/>
                </a:path>
              </a:pathLst>
            </a:custGeom>
            <a:solidFill>
              <a:srgbClr val="F5A316"/>
            </a:solidFill>
          </p:spPr>
          <p:txBody>
            <a:bodyPr wrap="square" lIns="0" tIns="0" rIns="0" bIns="0" rtlCol="0"/>
            <a:lstStyle/>
            <a:p>
              <a:endParaRPr/>
            </a:p>
          </p:txBody>
        </p:sp>
        <p:sp>
          <p:nvSpPr>
            <p:cNvPr id="6" name="object 6"/>
            <p:cNvSpPr/>
            <p:nvPr/>
          </p:nvSpPr>
          <p:spPr>
            <a:xfrm>
              <a:off x="5431192" y="3686611"/>
              <a:ext cx="1224915" cy="1224915"/>
            </a:xfrm>
            <a:custGeom>
              <a:avLst/>
              <a:gdLst/>
              <a:ahLst/>
              <a:cxnLst/>
              <a:rect l="l" t="t" r="r" b="b"/>
              <a:pathLst>
                <a:path w="1224915" h="1224914">
                  <a:moveTo>
                    <a:pt x="918281" y="612187"/>
                  </a:moveTo>
                  <a:lnTo>
                    <a:pt x="306093" y="612187"/>
                  </a:lnTo>
                  <a:lnTo>
                    <a:pt x="306093" y="0"/>
                  </a:lnTo>
                  <a:lnTo>
                    <a:pt x="918281" y="0"/>
                  </a:lnTo>
                  <a:lnTo>
                    <a:pt x="918281" y="612187"/>
                  </a:lnTo>
                  <a:close/>
                </a:path>
                <a:path w="1224915" h="1224914">
                  <a:moveTo>
                    <a:pt x="612188" y="1224375"/>
                  </a:moveTo>
                  <a:lnTo>
                    <a:pt x="0" y="612188"/>
                  </a:lnTo>
                  <a:lnTo>
                    <a:pt x="1224375" y="612187"/>
                  </a:lnTo>
                  <a:lnTo>
                    <a:pt x="612188" y="1224375"/>
                  </a:lnTo>
                  <a:close/>
                </a:path>
              </a:pathLst>
            </a:custGeom>
            <a:solidFill>
              <a:srgbClr val="E3112B">
                <a:alpha val="80778"/>
              </a:srgbClr>
            </a:solidFill>
          </p:spPr>
          <p:txBody>
            <a:bodyPr wrap="square" lIns="0" tIns="0" rIns="0" bIns="0" rtlCol="0"/>
            <a:lstStyle/>
            <a:p>
              <a:endParaRPr/>
            </a:p>
          </p:txBody>
        </p:sp>
        <p:sp>
          <p:nvSpPr>
            <p:cNvPr id="7" name="object 7"/>
            <p:cNvSpPr/>
            <p:nvPr/>
          </p:nvSpPr>
          <p:spPr>
            <a:xfrm>
              <a:off x="4324870" y="4394532"/>
              <a:ext cx="1715135" cy="1659255"/>
            </a:xfrm>
            <a:custGeom>
              <a:avLst/>
              <a:gdLst/>
              <a:ahLst/>
              <a:cxnLst/>
              <a:rect l="l" t="t" r="r" b="b"/>
              <a:pathLst>
                <a:path w="1715135" h="1659254">
                  <a:moveTo>
                    <a:pt x="237329" y="369597"/>
                  </a:moveTo>
                  <a:lnTo>
                    <a:pt x="226397" y="367381"/>
                  </a:lnTo>
                  <a:lnTo>
                    <a:pt x="217473" y="361341"/>
                  </a:lnTo>
                  <a:lnTo>
                    <a:pt x="211459" y="352385"/>
                  </a:lnTo>
                  <a:lnTo>
                    <a:pt x="209254" y="341421"/>
                  </a:lnTo>
                  <a:lnTo>
                    <a:pt x="209259" y="60960"/>
                  </a:lnTo>
                  <a:lnTo>
                    <a:pt x="227051" y="17921"/>
                  </a:lnTo>
                  <a:lnTo>
                    <a:pt x="269947" y="0"/>
                  </a:lnTo>
                  <a:lnTo>
                    <a:pt x="557898" y="0"/>
                  </a:lnTo>
                  <a:lnTo>
                    <a:pt x="600753" y="17965"/>
                  </a:lnTo>
                  <a:lnTo>
                    <a:pt x="615593" y="43210"/>
                  </a:lnTo>
                  <a:lnTo>
                    <a:pt x="311996" y="43210"/>
                  </a:lnTo>
                  <a:lnTo>
                    <a:pt x="302608" y="44170"/>
                  </a:lnTo>
                  <a:lnTo>
                    <a:pt x="269031" y="71854"/>
                  </a:lnTo>
                  <a:lnTo>
                    <a:pt x="265361" y="90083"/>
                  </a:lnTo>
                  <a:lnTo>
                    <a:pt x="265361" y="341421"/>
                  </a:lnTo>
                  <a:lnTo>
                    <a:pt x="263157" y="352385"/>
                  </a:lnTo>
                  <a:lnTo>
                    <a:pt x="257148" y="361341"/>
                  </a:lnTo>
                  <a:lnTo>
                    <a:pt x="248237" y="367381"/>
                  </a:lnTo>
                  <a:lnTo>
                    <a:pt x="237329" y="369597"/>
                  </a:lnTo>
                  <a:close/>
                </a:path>
                <a:path w="1715135" h="1659254">
                  <a:moveTo>
                    <a:pt x="590516" y="369554"/>
                  </a:moveTo>
                  <a:lnTo>
                    <a:pt x="562493" y="341421"/>
                  </a:lnTo>
                  <a:lnTo>
                    <a:pt x="562484" y="90083"/>
                  </a:lnTo>
                  <a:lnTo>
                    <a:pt x="561529" y="80648"/>
                  </a:lnTo>
                  <a:lnTo>
                    <a:pt x="533986" y="46899"/>
                  </a:lnTo>
                  <a:lnTo>
                    <a:pt x="515850" y="43210"/>
                  </a:lnTo>
                  <a:lnTo>
                    <a:pt x="615593" y="43210"/>
                  </a:lnTo>
                  <a:lnTo>
                    <a:pt x="617311" y="48740"/>
                  </a:lnTo>
                  <a:lnTo>
                    <a:pt x="618548" y="60960"/>
                  </a:lnTo>
                  <a:lnTo>
                    <a:pt x="618540" y="341421"/>
                  </a:lnTo>
                  <a:lnTo>
                    <a:pt x="616344" y="352342"/>
                  </a:lnTo>
                  <a:lnTo>
                    <a:pt x="610335" y="361298"/>
                  </a:lnTo>
                  <a:lnTo>
                    <a:pt x="601424" y="367338"/>
                  </a:lnTo>
                  <a:lnTo>
                    <a:pt x="590516" y="369554"/>
                  </a:lnTo>
                  <a:close/>
                </a:path>
                <a:path w="1715135" h="1659254">
                  <a:moveTo>
                    <a:pt x="799728" y="705849"/>
                  </a:moveTo>
                  <a:lnTo>
                    <a:pt x="28032" y="705849"/>
                  </a:lnTo>
                  <a:lnTo>
                    <a:pt x="17124" y="703633"/>
                  </a:lnTo>
                  <a:lnTo>
                    <a:pt x="8218" y="697588"/>
                  </a:lnTo>
                  <a:lnTo>
                    <a:pt x="2222" y="688619"/>
                  </a:lnTo>
                  <a:lnTo>
                    <a:pt x="51" y="677674"/>
                  </a:lnTo>
                  <a:lnTo>
                    <a:pt x="42" y="523829"/>
                  </a:lnTo>
                  <a:lnTo>
                    <a:pt x="1971" y="504757"/>
                  </a:lnTo>
                  <a:lnTo>
                    <a:pt x="27869" y="456708"/>
                  </a:lnTo>
                  <a:lnTo>
                    <a:pt x="75580" y="430778"/>
                  </a:lnTo>
                  <a:lnTo>
                    <a:pt x="94554" y="428834"/>
                  </a:lnTo>
                  <a:lnTo>
                    <a:pt x="733205" y="428834"/>
                  </a:lnTo>
                  <a:lnTo>
                    <a:pt x="786010" y="445137"/>
                  </a:lnTo>
                  <a:lnTo>
                    <a:pt x="820312" y="486962"/>
                  </a:lnTo>
                  <a:lnTo>
                    <a:pt x="827760" y="677674"/>
                  </a:lnTo>
                  <a:lnTo>
                    <a:pt x="825556" y="688637"/>
                  </a:lnTo>
                  <a:lnTo>
                    <a:pt x="819546" y="697593"/>
                  </a:lnTo>
                  <a:lnTo>
                    <a:pt x="810636" y="703634"/>
                  </a:lnTo>
                  <a:lnTo>
                    <a:pt x="799728" y="705849"/>
                  </a:lnTo>
                  <a:close/>
                </a:path>
                <a:path w="1715135" h="1659254">
                  <a:moveTo>
                    <a:pt x="998953" y="840948"/>
                  </a:moveTo>
                  <a:lnTo>
                    <a:pt x="988045" y="839678"/>
                  </a:lnTo>
                  <a:lnTo>
                    <a:pt x="979134" y="833328"/>
                  </a:lnTo>
                  <a:lnTo>
                    <a:pt x="973125" y="824438"/>
                  </a:lnTo>
                  <a:lnTo>
                    <a:pt x="970921" y="813008"/>
                  </a:lnTo>
                  <a:lnTo>
                    <a:pt x="970921" y="713948"/>
                  </a:lnTo>
                  <a:lnTo>
                    <a:pt x="988666" y="670768"/>
                  </a:lnTo>
                  <a:lnTo>
                    <a:pt x="1019400" y="652988"/>
                  </a:lnTo>
                  <a:lnTo>
                    <a:pt x="1331722" y="652988"/>
                  </a:lnTo>
                  <a:lnTo>
                    <a:pt x="1369799" y="679658"/>
                  </a:lnTo>
                  <a:lnTo>
                    <a:pt x="1376995" y="694898"/>
                  </a:lnTo>
                  <a:lnTo>
                    <a:pt x="1073662" y="694898"/>
                  </a:lnTo>
                  <a:lnTo>
                    <a:pt x="1064269" y="696168"/>
                  </a:lnTo>
                  <a:lnTo>
                    <a:pt x="1030714" y="724108"/>
                  </a:lnTo>
                  <a:lnTo>
                    <a:pt x="1027028" y="741888"/>
                  </a:lnTo>
                  <a:lnTo>
                    <a:pt x="1027028" y="813008"/>
                  </a:lnTo>
                  <a:lnTo>
                    <a:pt x="1024823" y="824438"/>
                  </a:lnTo>
                  <a:lnTo>
                    <a:pt x="1018809" y="833328"/>
                  </a:lnTo>
                  <a:lnTo>
                    <a:pt x="1009885" y="839678"/>
                  </a:lnTo>
                  <a:lnTo>
                    <a:pt x="998953" y="840948"/>
                  </a:lnTo>
                  <a:close/>
                </a:path>
                <a:path w="1715135" h="1659254">
                  <a:moveTo>
                    <a:pt x="1352183" y="840948"/>
                  </a:moveTo>
                  <a:lnTo>
                    <a:pt x="1341275" y="839678"/>
                  </a:lnTo>
                  <a:lnTo>
                    <a:pt x="1332364" y="833328"/>
                  </a:lnTo>
                  <a:lnTo>
                    <a:pt x="1326355" y="824438"/>
                  </a:lnTo>
                  <a:lnTo>
                    <a:pt x="1324151" y="813008"/>
                  </a:lnTo>
                  <a:lnTo>
                    <a:pt x="1324151" y="741888"/>
                  </a:lnTo>
                  <a:lnTo>
                    <a:pt x="1323202" y="732998"/>
                  </a:lnTo>
                  <a:lnTo>
                    <a:pt x="1295636" y="698708"/>
                  </a:lnTo>
                  <a:lnTo>
                    <a:pt x="1277516" y="694898"/>
                  </a:lnTo>
                  <a:lnTo>
                    <a:pt x="1376995" y="694898"/>
                  </a:lnTo>
                  <a:lnTo>
                    <a:pt x="1378972" y="701248"/>
                  </a:lnTo>
                  <a:lnTo>
                    <a:pt x="1380215" y="713948"/>
                  </a:lnTo>
                  <a:lnTo>
                    <a:pt x="1380215" y="813008"/>
                  </a:lnTo>
                  <a:lnTo>
                    <a:pt x="1378011" y="824438"/>
                  </a:lnTo>
                  <a:lnTo>
                    <a:pt x="1372001" y="833328"/>
                  </a:lnTo>
                  <a:lnTo>
                    <a:pt x="1363091" y="839678"/>
                  </a:lnTo>
                  <a:lnTo>
                    <a:pt x="1352183" y="840948"/>
                  </a:lnTo>
                  <a:close/>
                </a:path>
                <a:path w="1715135" h="1659254">
                  <a:moveTo>
                    <a:pt x="566213" y="940008"/>
                  </a:moveTo>
                  <a:lnTo>
                    <a:pt x="28032" y="940008"/>
                  </a:lnTo>
                  <a:lnTo>
                    <a:pt x="17124" y="937468"/>
                  </a:lnTo>
                  <a:lnTo>
                    <a:pt x="8213" y="932388"/>
                  </a:lnTo>
                  <a:lnTo>
                    <a:pt x="2204" y="923498"/>
                  </a:lnTo>
                  <a:lnTo>
                    <a:pt x="0" y="912068"/>
                  </a:lnTo>
                  <a:lnTo>
                    <a:pt x="0" y="792688"/>
                  </a:lnTo>
                  <a:lnTo>
                    <a:pt x="2204" y="781258"/>
                  </a:lnTo>
                  <a:lnTo>
                    <a:pt x="8213" y="772368"/>
                  </a:lnTo>
                  <a:lnTo>
                    <a:pt x="17124" y="766018"/>
                  </a:lnTo>
                  <a:lnTo>
                    <a:pt x="28032" y="764748"/>
                  </a:lnTo>
                  <a:lnTo>
                    <a:pt x="827803" y="764748"/>
                  </a:lnTo>
                  <a:lnTo>
                    <a:pt x="827803" y="813008"/>
                  </a:lnTo>
                  <a:lnTo>
                    <a:pt x="825599" y="824438"/>
                  </a:lnTo>
                  <a:lnTo>
                    <a:pt x="819589" y="833328"/>
                  </a:lnTo>
                  <a:lnTo>
                    <a:pt x="810679" y="839678"/>
                  </a:lnTo>
                  <a:lnTo>
                    <a:pt x="799771" y="840948"/>
                  </a:lnTo>
                  <a:lnTo>
                    <a:pt x="720990" y="840948"/>
                  </a:lnTo>
                  <a:lnTo>
                    <a:pt x="692268" y="844758"/>
                  </a:lnTo>
                  <a:lnTo>
                    <a:pt x="641143" y="866348"/>
                  </a:lnTo>
                  <a:lnTo>
                    <a:pt x="611568" y="893018"/>
                  </a:lnTo>
                  <a:lnTo>
                    <a:pt x="591545" y="923498"/>
                  </a:lnTo>
                  <a:lnTo>
                    <a:pt x="587141" y="931118"/>
                  </a:lnTo>
                  <a:lnTo>
                    <a:pt x="581193" y="936198"/>
                  </a:lnTo>
                  <a:lnTo>
                    <a:pt x="574089" y="938738"/>
                  </a:lnTo>
                  <a:lnTo>
                    <a:pt x="566213" y="940008"/>
                  </a:lnTo>
                  <a:close/>
                </a:path>
                <a:path w="1715135" h="1659254">
                  <a:moveTo>
                    <a:pt x="768610" y="1233378"/>
                  </a:moveTo>
                  <a:lnTo>
                    <a:pt x="664668" y="1233378"/>
                  </a:lnTo>
                  <a:lnTo>
                    <a:pt x="653760" y="1232108"/>
                  </a:lnTo>
                  <a:lnTo>
                    <a:pt x="644850" y="1225758"/>
                  </a:lnTo>
                  <a:lnTo>
                    <a:pt x="638840" y="1216868"/>
                  </a:lnTo>
                  <a:lnTo>
                    <a:pt x="636636" y="1205438"/>
                  </a:lnTo>
                  <a:lnTo>
                    <a:pt x="636636" y="981918"/>
                  </a:lnTo>
                  <a:lnTo>
                    <a:pt x="636850" y="978108"/>
                  </a:lnTo>
                  <a:lnTo>
                    <a:pt x="637322" y="974298"/>
                  </a:lnTo>
                  <a:lnTo>
                    <a:pt x="637493" y="974298"/>
                  </a:lnTo>
                  <a:lnTo>
                    <a:pt x="637536" y="973028"/>
                  </a:lnTo>
                  <a:lnTo>
                    <a:pt x="652744" y="936198"/>
                  </a:lnTo>
                  <a:lnTo>
                    <a:pt x="688205" y="906988"/>
                  </a:lnTo>
                  <a:lnTo>
                    <a:pt x="720990" y="900638"/>
                  </a:lnTo>
                  <a:lnTo>
                    <a:pt x="1630146" y="900638"/>
                  </a:lnTo>
                  <a:lnTo>
                    <a:pt x="1677263" y="915878"/>
                  </a:lnTo>
                  <a:lnTo>
                    <a:pt x="1707834" y="952708"/>
                  </a:lnTo>
                  <a:lnTo>
                    <a:pt x="1714328" y="985728"/>
                  </a:lnTo>
                  <a:lnTo>
                    <a:pt x="1714328" y="1121618"/>
                  </a:lnTo>
                  <a:lnTo>
                    <a:pt x="854120" y="1121618"/>
                  </a:lnTo>
                  <a:lnTo>
                    <a:pt x="831758" y="1126698"/>
                  </a:lnTo>
                  <a:lnTo>
                    <a:pt x="813487" y="1139398"/>
                  </a:lnTo>
                  <a:lnTo>
                    <a:pt x="801162" y="1157178"/>
                  </a:lnTo>
                  <a:lnTo>
                    <a:pt x="796642" y="1180038"/>
                  </a:lnTo>
                  <a:lnTo>
                    <a:pt x="796642" y="1205438"/>
                  </a:lnTo>
                  <a:lnTo>
                    <a:pt x="794438" y="1216868"/>
                  </a:lnTo>
                  <a:lnTo>
                    <a:pt x="788428" y="1225758"/>
                  </a:lnTo>
                  <a:lnTo>
                    <a:pt x="779518" y="1232108"/>
                  </a:lnTo>
                  <a:lnTo>
                    <a:pt x="768610" y="1233378"/>
                  </a:lnTo>
                  <a:close/>
                </a:path>
                <a:path w="1715135" h="1659254">
                  <a:moveTo>
                    <a:pt x="549711" y="1174958"/>
                  </a:moveTo>
                  <a:lnTo>
                    <a:pt x="28032" y="1174958"/>
                  </a:lnTo>
                  <a:lnTo>
                    <a:pt x="17124" y="1173688"/>
                  </a:lnTo>
                  <a:lnTo>
                    <a:pt x="8213" y="1167338"/>
                  </a:lnTo>
                  <a:lnTo>
                    <a:pt x="2204" y="1158448"/>
                  </a:lnTo>
                  <a:lnTo>
                    <a:pt x="0" y="1147018"/>
                  </a:lnTo>
                  <a:lnTo>
                    <a:pt x="0" y="1027638"/>
                  </a:lnTo>
                  <a:lnTo>
                    <a:pt x="2204" y="1016208"/>
                  </a:lnTo>
                  <a:lnTo>
                    <a:pt x="8213" y="1007318"/>
                  </a:lnTo>
                  <a:lnTo>
                    <a:pt x="17124" y="1002238"/>
                  </a:lnTo>
                  <a:lnTo>
                    <a:pt x="28032" y="999698"/>
                  </a:lnTo>
                  <a:lnTo>
                    <a:pt x="549711" y="999698"/>
                  </a:lnTo>
                  <a:lnTo>
                    <a:pt x="560619" y="1002238"/>
                  </a:lnTo>
                  <a:lnTo>
                    <a:pt x="569530" y="1007318"/>
                  </a:lnTo>
                  <a:lnTo>
                    <a:pt x="575539" y="1016208"/>
                  </a:lnTo>
                  <a:lnTo>
                    <a:pt x="577743" y="1027638"/>
                  </a:lnTo>
                  <a:lnTo>
                    <a:pt x="577743" y="1147018"/>
                  </a:lnTo>
                  <a:lnTo>
                    <a:pt x="575539" y="1158448"/>
                  </a:lnTo>
                  <a:lnTo>
                    <a:pt x="569530" y="1167338"/>
                  </a:lnTo>
                  <a:lnTo>
                    <a:pt x="560619" y="1173688"/>
                  </a:lnTo>
                  <a:lnTo>
                    <a:pt x="549711" y="1174958"/>
                  </a:lnTo>
                  <a:close/>
                </a:path>
                <a:path w="1715135" h="1659254">
                  <a:moveTo>
                    <a:pt x="1350511" y="1233378"/>
                  </a:moveTo>
                  <a:lnTo>
                    <a:pt x="1000453" y="1233378"/>
                  </a:lnTo>
                  <a:lnTo>
                    <a:pt x="989545" y="1232108"/>
                  </a:lnTo>
                  <a:lnTo>
                    <a:pt x="980634" y="1225758"/>
                  </a:lnTo>
                  <a:lnTo>
                    <a:pt x="974625" y="1216868"/>
                  </a:lnTo>
                  <a:lnTo>
                    <a:pt x="972421" y="1205438"/>
                  </a:lnTo>
                  <a:lnTo>
                    <a:pt x="972421" y="1180038"/>
                  </a:lnTo>
                  <a:lnTo>
                    <a:pt x="967906" y="1157178"/>
                  </a:lnTo>
                  <a:lnTo>
                    <a:pt x="955592" y="1139398"/>
                  </a:lnTo>
                  <a:lnTo>
                    <a:pt x="937323" y="1126698"/>
                  </a:lnTo>
                  <a:lnTo>
                    <a:pt x="914942" y="1121618"/>
                  </a:lnTo>
                  <a:lnTo>
                    <a:pt x="1436022" y="1121618"/>
                  </a:lnTo>
                  <a:lnTo>
                    <a:pt x="1413659" y="1126698"/>
                  </a:lnTo>
                  <a:lnTo>
                    <a:pt x="1395388" y="1139398"/>
                  </a:lnTo>
                  <a:lnTo>
                    <a:pt x="1383064" y="1157178"/>
                  </a:lnTo>
                  <a:lnTo>
                    <a:pt x="1378543" y="1180038"/>
                  </a:lnTo>
                  <a:lnTo>
                    <a:pt x="1378543" y="1205438"/>
                  </a:lnTo>
                  <a:lnTo>
                    <a:pt x="1376339" y="1216868"/>
                  </a:lnTo>
                  <a:lnTo>
                    <a:pt x="1370329" y="1225758"/>
                  </a:lnTo>
                  <a:lnTo>
                    <a:pt x="1361419" y="1232108"/>
                  </a:lnTo>
                  <a:lnTo>
                    <a:pt x="1350511" y="1233378"/>
                  </a:lnTo>
                  <a:close/>
                </a:path>
                <a:path w="1715135" h="1659254">
                  <a:moveTo>
                    <a:pt x="1686296" y="1233378"/>
                  </a:moveTo>
                  <a:lnTo>
                    <a:pt x="1582354" y="1233378"/>
                  </a:lnTo>
                  <a:lnTo>
                    <a:pt x="1571446" y="1232108"/>
                  </a:lnTo>
                  <a:lnTo>
                    <a:pt x="1562536" y="1225758"/>
                  </a:lnTo>
                  <a:lnTo>
                    <a:pt x="1556526" y="1216868"/>
                  </a:lnTo>
                  <a:lnTo>
                    <a:pt x="1554322" y="1205438"/>
                  </a:lnTo>
                  <a:lnTo>
                    <a:pt x="1554322" y="1180038"/>
                  </a:lnTo>
                  <a:lnTo>
                    <a:pt x="1549807" y="1157178"/>
                  </a:lnTo>
                  <a:lnTo>
                    <a:pt x="1537493" y="1139398"/>
                  </a:lnTo>
                  <a:lnTo>
                    <a:pt x="1519224" y="1126698"/>
                  </a:lnTo>
                  <a:lnTo>
                    <a:pt x="1496843" y="1121618"/>
                  </a:lnTo>
                  <a:lnTo>
                    <a:pt x="1714328" y="1121618"/>
                  </a:lnTo>
                  <a:lnTo>
                    <a:pt x="1714328" y="1205438"/>
                  </a:lnTo>
                  <a:lnTo>
                    <a:pt x="1712124" y="1216868"/>
                  </a:lnTo>
                  <a:lnTo>
                    <a:pt x="1706114" y="1225758"/>
                  </a:lnTo>
                  <a:lnTo>
                    <a:pt x="1697204" y="1232108"/>
                  </a:lnTo>
                  <a:lnTo>
                    <a:pt x="1686296" y="1233378"/>
                  </a:lnTo>
                  <a:close/>
                </a:path>
                <a:path w="1715135" h="1659254">
                  <a:moveTo>
                    <a:pt x="885582" y="1345138"/>
                  </a:moveTo>
                  <a:lnTo>
                    <a:pt x="883653" y="1345138"/>
                  </a:lnTo>
                  <a:lnTo>
                    <a:pt x="872745" y="1343868"/>
                  </a:lnTo>
                  <a:lnTo>
                    <a:pt x="863834" y="1337518"/>
                  </a:lnTo>
                  <a:lnTo>
                    <a:pt x="857825" y="1328628"/>
                  </a:lnTo>
                  <a:lnTo>
                    <a:pt x="855621" y="1317198"/>
                  </a:lnTo>
                  <a:lnTo>
                    <a:pt x="855621" y="1209248"/>
                  </a:lnTo>
                  <a:lnTo>
                    <a:pt x="857825" y="1197818"/>
                  </a:lnTo>
                  <a:lnTo>
                    <a:pt x="863834" y="1188928"/>
                  </a:lnTo>
                  <a:lnTo>
                    <a:pt x="872745" y="1183848"/>
                  </a:lnTo>
                  <a:lnTo>
                    <a:pt x="883653" y="1181308"/>
                  </a:lnTo>
                  <a:lnTo>
                    <a:pt x="885582" y="1181308"/>
                  </a:lnTo>
                  <a:lnTo>
                    <a:pt x="896489" y="1183848"/>
                  </a:lnTo>
                  <a:lnTo>
                    <a:pt x="905400" y="1188928"/>
                  </a:lnTo>
                  <a:lnTo>
                    <a:pt x="911409" y="1197818"/>
                  </a:lnTo>
                  <a:lnTo>
                    <a:pt x="913614" y="1209248"/>
                  </a:lnTo>
                  <a:lnTo>
                    <a:pt x="913614" y="1317198"/>
                  </a:lnTo>
                  <a:lnTo>
                    <a:pt x="911409" y="1328628"/>
                  </a:lnTo>
                  <a:lnTo>
                    <a:pt x="905400" y="1337518"/>
                  </a:lnTo>
                  <a:lnTo>
                    <a:pt x="896489" y="1343868"/>
                  </a:lnTo>
                  <a:lnTo>
                    <a:pt x="885582" y="1345138"/>
                  </a:lnTo>
                  <a:close/>
                </a:path>
                <a:path w="1715135" h="1659254">
                  <a:moveTo>
                    <a:pt x="1467526" y="1345138"/>
                  </a:moveTo>
                  <a:lnTo>
                    <a:pt x="1465597" y="1345138"/>
                  </a:lnTo>
                  <a:lnTo>
                    <a:pt x="1454689" y="1343868"/>
                  </a:lnTo>
                  <a:lnTo>
                    <a:pt x="1445778" y="1337518"/>
                  </a:lnTo>
                  <a:lnTo>
                    <a:pt x="1439769" y="1328628"/>
                  </a:lnTo>
                  <a:lnTo>
                    <a:pt x="1437565" y="1317198"/>
                  </a:lnTo>
                  <a:lnTo>
                    <a:pt x="1437565" y="1209248"/>
                  </a:lnTo>
                  <a:lnTo>
                    <a:pt x="1439769" y="1197818"/>
                  </a:lnTo>
                  <a:lnTo>
                    <a:pt x="1445778" y="1188928"/>
                  </a:lnTo>
                  <a:lnTo>
                    <a:pt x="1454689" y="1183848"/>
                  </a:lnTo>
                  <a:lnTo>
                    <a:pt x="1465597" y="1181308"/>
                  </a:lnTo>
                  <a:lnTo>
                    <a:pt x="1467526" y="1181308"/>
                  </a:lnTo>
                  <a:lnTo>
                    <a:pt x="1478434" y="1183848"/>
                  </a:lnTo>
                  <a:lnTo>
                    <a:pt x="1487344" y="1188928"/>
                  </a:lnTo>
                  <a:lnTo>
                    <a:pt x="1493354" y="1197818"/>
                  </a:lnTo>
                  <a:lnTo>
                    <a:pt x="1495558" y="1209248"/>
                  </a:lnTo>
                  <a:lnTo>
                    <a:pt x="1495558" y="1317198"/>
                  </a:lnTo>
                  <a:lnTo>
                    <a:pt x="1493354" y="1328628"/>
                  </a:lnTo>
                  <a:lnTo>
                    <a:pt x="1487344" y="1337518"/>
                  </a:lnTo>
                  <a:lnTo>
                    <a:pt x="1478433" y="1343868"/>
                  </a:lnTo>
                  <a:lnTo>
                    <a:pt x="1467526" y="1345138"/>
                  </a:lnTo>
                  <a:close/>
                </a:path>
                <a:path w="1715135" h="1659254">
                  <a:moveTo>
                    <a:pt x="549668" y="1511508"/>
                  </a:moveTo>
                  <a:lnTo>
                    <a:pt x="94511" y="1511508"/>
                  </a:lnTo>
                  <a:lnTo>
                    <a:pt x="75991" y="1510238"/>
                  </a:lnTo>
                  <a:lnTo>
                    <a:pt x="29060" y="1484838"/>
                  </a:lnTo>
                  <a:lnTo>
                    <a:pt x="7474" y="1453088"/>
                  </a:lnTo>
                  <a:lnTo>
                    <a:pt x="0" y="1416258"/>
                  </a:lnTo>
                  <a:lnTo>
                    <a:pt x="0" y="1262588"/>
                  </a:lnTo>
                  <a:lnTo>
                    <a:pt x="2204" y="1251158"/>
                  </a:lnTo>
                  <a:lnTo>
                    <a:pt x="8213" y="1242268"/>
                  </a:lnTo>
                  <a:lnTo>
                    <a:pt x="17124" y="1237188"/>
                  </a:lnTo>
                  <a:lnTo>
                    <a:pt x="28032" y="1234648"/>
                  </a:lnTo>
                  <a:lnTo>
                    <a:pt x="577700" y="1234648"/>
                  </a:lnTo>
                  <a:lnTo>
                    <a:pt x="577700" y="1483568"/>
                  </a:lnTo>
                  <a:lnTo>
                    <a:pt x="575496" y="1493728"/>
                  </a:lnTo>
                  <a:lnTo>
                    <a:pt x="569487" y="1502618"/>
                  </a:lnTo>
                  <a:lnTo>
                    <a:pt x="560576" y="1508968"/>
                  </a:lnTo>
                  <a:lnTo>
                    <a:pt x="549668" y="1511508"/>
                  </a:lnTo>
                  <a:close/>
                </a:path>
                <a:path w="1715135" h="1659254">
                  <a:moveTo>
                    <a:pt x="1602242" y="1658828"/>
                  </a:moveTo>
                  <a:lnTo>
                    <a:pt x="749193" y="1658828"/>
                  </a:lnTo>
                  <a:lnTo>
                    <a:pt x="705558" y="1649938"/>
                  </a:lnTo>
                  <a:lnTo>
                    <a:pt x="669822" y="1625808"/>
                  </a:lnTo>
                  <a:lnTo>
                    <a:pt x="645676" y="1590248"/>
                  </a:lnTo>
                  <a:lnTo>
                    <a:pt x="636808" y="1547068"/>
                  </a:lnTo>
                  <a:lnTo>
                    <a:pt x="636808" y="1321008"/>
                  </a:lnTo>
                  <a:lnTo>
                    <a:pt x="639012" y="1309578"/>
                  </a:lnTo>
                  <a:lnTo>
                    <a:pt x="645021" y="1300688"/>
                  </a:lnTo>
                  <a:lnTo>
                    <a:pt x="653932" y="1295608"/>
                  </a:lnTo>
                  <a:lnTo>
                    <a:pt x="664840" y="1293068"/>
                  </a:lnTo>
                  <a:lnTo>
                    <a:pt x="768781" y="1293068"/>
                  </a:lnTo>
                  <a:lnTo>
                    <a:pt x="796813" y="1321008"/>
                  </a:lnTo>
                  <a:lnTo>
                    <a:pt x="796813" y="1346408"/>
                  </a:lnTo>
                  <a:lnTo>
                    <a:pt x="801328" y="1369268"/>
                  </a:lnTo>
                  <a:lnTo>
                    <a:pt x="813642" y="1388318"/>
                  </a:lnTo>
                  <a:lnTo>
                    <a:pt x="831912" y="1399748"/>
                  </a:lnTo>
                  <a:lnTo>
                    <a:pt x="854292" y="1404828"/>
                  </a:lnTo>
                  <a:lnTo>
                    <a:pt x="1714628" y="1404828"/>
                  </a:lnTo>
                  <a:lnTo>
                    <a:pt x="1714628" y="1547068"/>
                  </a:lnTo>
                  <a:lnTo>
                    <a:pt x="1705759" y="1590248"/>
                  </a:lnTo>
                  <a:lnTo>
                    <a:pt x="1681613" y="1625808"/>
                  </a:lnTo>
                  <a:lnTo>
                    <a:pt x="1645878" y="1649938"/>
                  </a:lnTo>
                  <a:lnTo>
                    <a:pt x="1602242" y="1658828"/>
                  </a:lnTo>
                  <a:close/>
                </a:path>
                <a:path w="1715135" h="1659254">
                  <a:moveTo>
                    <a:pt x="1436193" y="1404828"/>
                  </a:moveTo>
                  <a:lnTo>
                    <a:pt x="915114" y="1404828"/>
                  </a:lnTo>
                  <a:lnTo>
                    <a:pt x="937476" y="1399748"/>
                  </a:lnTo>
                  <a:lnTo>
                    <a:pt x="955747" y="1388318"/>
                  </a:lnTo>
                  <a:lnTo>
                    <a:pt x="968072" y="1369268"/>
                  </a:lnTo>
                  <a:lnTo>
                    <a:pt x="972592" y="1346408"/>
                  </a:lnTo>
                  <a:lnTo>
                    <a:pt x="972592" y="1321008"/>
                  </a:lnTo>
                  <a:lnTo>
                    <a:pt x="974796" y="1309578"/>
                  </a:lnTo>
                  <a:lnTo>
                    <a:pt x="980806" y="1300688"/>
                  </a:lnTo>
                  <a:lnTo>
                    <a:pt x="989717" y="1295608"/>
                  </a:lnTo>
                  <a:lnTo>
                    <a:pt x="1000624" y="1293068"/>
                  </a:lnTo>
                  <a:lnTo>
                    <a:pt x="1378714" y="1293068"/>
                  </a:lnTo>
                  <a:lnTo>
                    <a:pt x="1378714" y="1346408"/>
                  </a:lnTo>
                  <a:lnTo>
                    <a:pt x="1383229" y="1369268"/>
                  </a:lnTo>
                  <a:lnTo>
                    <a:pt x="1395543" y="1388318"/>
                  </a:lnTo>
                  <a:lnTo>
                    <a:pt x="1413813" y="1399748"/>
                  </a:lnTo>
                  <a:lnTo>
                    <a:pt x="1436193" y="1404828"/>
                  </a:lnTo>
                  <a:close/>
                </a:path>
                <a:path w="1715135" h="1659254">
                  <a:moveTo>
                    <a:pt x="1714628" y="1404828"/>
                  </a:moveTo>
                  <a:lnTo>
                    <a:pt x="1497015" y="1404828"/>
                  </a:lnTo>
                  <a:lnTo>
                    <a:pt x="1519377" y="1399748"/>
                  </a:lnTo>
                  <a:lnTo>
                    <a:pt x="1537649" y="1388318"/>
                  </a:lnTo>
                  <a:lnTo>
                    <a:pt x="1549973" y="1369268"/>
                  </a:lnTo>
                  <a:lnTo>
                    <a:pt x="1554494" y="1346408"/>
                  </a:lnTo>
                  <a:lnTo>
                    <a:pt x="1554494" y="1321008"/>
                  </a:lnTo>
                  <a:lnTo>
                    <a:pt x="1556698" y="1309578"/>
                  </a:lnTo>
                  <a:lnTo>
                    <a:pt x="1562707" y="1300688"/>
                  </a:lnTo>
                  <a:lnTo>
                    <a:pt x="1571618" y="1295608"/>
                  </a:lnTo>
                  <a:lnTo>
                    <a:pt x="1582526" y="1293068"/>
                  </a:lnTo>
                  <a:lnTo>
                    <a:pt x="1686467" y="1293068"/>
                  </a:lnTo>
                  <a:lnTo>
                    <a:pt x="1697377" y="1295608"/>
                  </a:lnTo>
                  <a:lnTo>
                    <a:pt x="1706302" y="1300688"/>
                  </a:lnTo>
                  <a:lnTo>
                    <a:pt x="1712350" y="1309578"/>
                  </a:lnTo>
                  <a:lnTo>
                    <a:pt x="1714628" y="1321008"/>
                  </a:lnTo>
                  <a:lnTo>
                    <a:pt x="1714628" y="1404828"/>
                  </a:lnTo>
                  <a:close/>
                </a:path>
                <a:path w="1715135" h="1659254">
                  <a:moveTo>
                    <a:pt x="120242" y="1658828"/>
                  </a:moveTo>
                  <a:lnTo>
                    <a:pt x="82050" y="1635968"/>
                  </a:lnTo>
                  <a:lnTo>
                    <a:pt x="75437" y="1597868"/>
                  </a:lnTo>
                  <a:lnTo>
                    <a:pt x="77810" y="1587708"/>
                  </a:lnTo>
                  <a:lnTo>
                    <a:pt x="83844" y="1578818"/>
                  </a:lnTo>
                  <a:lnTo>
                    <a:pt x="92682" y="1572468"/>
                  </a:lnTo>
                  <a:lnTo>
                    <a:pt x="103470" y="1571198"/>
                  </a:lnTo>
                  <a:lnTo>
                    <a:pt x="159405" y="1571198"/>
                  </a:lnTo>
                  <a:lnTo>
                    <a:pt x="170331" y="1572468"/>
                  </a:lnTo>
                  <a:lnTo>
                    <a:pt x="179240" y="1578818"/>
                  </a:lnTo>
                  <a:lnTo>
                    <a:pt x="185239" y="1587708"/>
                  </a:lnTo>
                  <a:lnTo>
                    <a:pt x="187437" y="1599138"/>
                  </a:lnTo>
                  <a:lnTo>
                    <a:pt x="187437" y="1618188"/>
                  </a:lnTo>
                  <a:lnTo>
                    <a:pt x="177169" y="1642318"/>
                  </a:lnTo>
                  <a:lnTo>
                    <a:pt x="151968" y="1656288"/>
                  </a:lnTo>
                  <a:lnTo>
                    <a:pt x="120242" y="1658828"/>
                  </a:lnTo>
                  <a:close/>
                </a:path>
              </a:pathLst>
            </a:custGeom>
            <a:solidFill>
              <a:srgbClr val="FFFFFF"/>
            </a:solidFill>
          </p:spPr>
          <p:txBody>
            <a:bodyPr wrap="square" lIns="0" tIns="0" rIns="0" bIns="0" rtlCol="0"/>
            <a:lstStyle/>
            <a:p>
              <a:endParaRPr/>
            </a:p>
          </p:txBody>
        </p:sp>
      </p:grpSp>
      <p:sp>
        <p:nvSpPr>
          <p:cNvPr id="8" name="object 8"/>
          <p:cNvSpPr txBox="1"/>
          <p:nvPr/>
        </p:nvSpPr>
        <p:spPr>
          <a:xfrm>
            <a:off x="3975764" y="7918414"/>
            <a:ext cx="2353310" cy="383540"/>
          </a:xfrm>
          <a:prstGeom prst="rect">
            <a:avLst/>
          </a:prstGeom>
        </p:spPr>
        <p:txBody>
          <a:bodyPr vert="horz" wrap="square" lIns="0" tIns="12700" rIns="0" bIns="0" rtlCol="0">
            <a:spAutoFit/>
          </a:bodyPr>
          <a:lstStyle/>
          <a:p>
            <a:pPr marL="12700">
              <a:lnSpc>
                <a:spcPct val="100000"/>
              </a:lnSpc>
              <a:spcBef>
                <a:spcPts val="100"/>
              </a:spcBef>
            </a:pPr>
            <a:r>
              <a:rPr sz="2350" b="1" spc="-10" dirty="0">
                <a:solidFill>
                  <a:srgbClr val="FFFFFF"/>
                </a:solidFill>
                <a:latin typeface="Roboto"/>
                <a:cs typeface="Roboto"/>
              </a:rPr>
              <a:t>Comercialización</a:t>
            </a:r>
            <a:endParaRPr sz="2350">
              <a:latin typeface="Roboto"/>
              <a:cs typeface="Roboto"/>
            </a:endParaRPr>
          </a:p>
        </p:txBody>
      </p:sp>
      <p:sp>
        <p:nvSpPr>
          <p:cNvPr id="9" name="object 9"/>
          <p:cNvSpPr txBox="1"/>
          <p:nvPr/>
        </p:nvSpPr>
        <p:spPr>
          <a:xfrm>
            <a:off x="6568909" y="1765453"/>
            <a:ext cx="5150485" cy="1616075"/>
          </a:xfrm>
          <a:prstGeom prst="rect">
            <a:avLst/>
          </a:prstGeom>
        </p:spPr>
        <p:txBody>
          <a:bodyPr vert="horz" wrap="square" lIns="0" tIns="304165" rIns="0" bIns="0" rtlCol="0">
            <a:spAutoFit/>
          </a:bodyPr>
          <a:lstStyle/>
          <a:p>
            <a:pPr algn="ctr">
              <a:lnSpc>
                <a:spcPct val="100000"/>
              </a:lnSpc>
              <a:spcBef>
                <a:spcPts val="2395"/>
              </a:spcBef>
            </a:pPr>
            <a:r>
              <a:rPr sz="3300" b="1" dirty="0">
                <a:solidFill>
                  <a:srgbClr val="E3112B"/>
                </a:solidFill>
                <a:latin typeface="Roboto"/>
                <a:cs typeface="Roboto"/>
              </a:rPr>
              <a:t>Consecuencias</a:t>
            </a:r>
            <a:r>
              <a:rPr sz="3300" b="1" spc="180" dirty="0">
                <a:solidFill>
                  <a:srgbClr val="E3112B"/>
                </a:solidFill>
                <a:latin typeface="Roboto"/>
                <a:cs typeface="Roboto"/>
              </a:rPr>
              <a:t> </a:t>
            </a:r>
            <a:r>
              <a:rPr sz="3300" b="1" spc="-10" dirty="0">
                <a:solidFill>
                  <a:srgbClr val="E3112B"/>
                </a:solidFill>
                <a:latin typeface="Roboto"/>
                <a:cs typeface="Roboto"/>
              </a:rPr>
              <a:t>inmediatas</a:t>
            </a:r>
            <a:endParaRPr sz="3300">
              <a:latin typeface="Roboto"/>
              <a:cs typeface="Roboto"/>
            </a:endParaRPr>
          </a:p>
          <a:p>
            <a:pPr algn="ctr">
              <a:lnSpc>
                <a:spcPct val="100000"/>
              </a:lnSpc>
              <a:spcBef>
                <a:spcPts val="2300"/>
              </a:spcBef>
            </a:pPr>
            <a:r>
              <a:rPr sz="3300" dirty="0">
                <a:solidFill>
                  <a:srgbClr val="E3112B"/>
                </a:solidFill>
                <a:latin typeface="Roboto"/>
                <a:cs typeface="Roboto"/>
              </a:rPr>
              <a:t>Pérdida</a:t>
            </a:r>
            <a:r>
              <a:rPr sz="3300" spc="-65" dirty="0">
                <a:solidFill>
                  <a:srgbClr val="E3112B"/>
                </a:solidFill>
                <a:latin typeface="Roboto"/>
                <a:cs typeface="Roboto"/>
              </a:rPr>
              <a:t> </a:t>
            </a:r>
            <a:r>
              <a:rPr sz="3300" spc="-25" dirty="0">
                <a:solidFill>
                  <a:srgbClr val="E3112B"/>
                </a:solidFill>
                <a:latin typeface="Roboto"/>
                <a:cs typeface="Roboto"/>
              </a:rPr>
              <a:t>de:</a:t>
            </a:r>
            <a:endParaRPr sz="3300">
              <a:latin typeface="Roboto"/>
              <a:cs typeface="Roboto"/>
            </a:endParaRPr>
          </a:p>
        </p:txBody>
      </p:sp>
      <p:sp>
        <p:nvSpPr>
          <p:cNvPr id="10" name="object 10"/>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1.</a:t>
            </a:r>
            <a:r>
              <a:rPr spc="-110" dirty="0"/>
              <a:t> </a:t>
            </a:r>
            <a:r>
              <a:rPr spc="-30" dirty="0"/>
              <a:t>Situación</a:t>
            </a:r>
            <a:r>
              <a:rPr spc="-105" dirty="0"/>
              <a:t> </a:t>
            </a:r>
            <a:r>
              <a:rPr spc="-10" dirty="0"/>
              <a:t>general</a:t>
            </a:r>
            <a:r>
              <a:rPr spc="-110" dirty="0"/>
              <a:t> </a:t>
            </a:r>
            <a:r>
              <a:rPr dirty="0"/>
              <a:t>del</a:t>
            </a:r>
            <a:r>
              <a:rPr spc="-105" dirty="0"/>
              <a:t> </a:t>
            </a:r>
            <a:r>
              <a:rPr spc="-10" dirty="0"/>
              <a:t>turismo</a:t>
            </a:r>
            <a:r>
              <a:rPr spc="-105" dirty="0"/>
              <a:t> </a:t>
            </a:r>
            <a:r>
              <a:rPr dirty="0"/>
              <a:t>hacia</a:t>
            </a:r>
            <a:r>
              <a:rPr spc="-110" dirty="0"/>
              <a:t> </a:t>
            </a:r>
            <a:r>
              <a:rPr spc="-10" dirty="0"/>
              <a:t>Chile</a:t>
            </a:r>
          </a:p>
        </p:txBody>
      </p:sp>
      <p:pic>
        <p:nvPicPr>
          <p:cNvPr id="11" name="object 11"/>
          <p:cNvPicPr/>
          <p:nvPr/>
        </p:nvPicPr>
        <p:blipFill>
          <a:blip r:embed="rId2" cstate="print"/>
          <a:stretch>
            <a:fillRect/>
          </a:stretch>
        </p:blipFill>
        <p:spPr>
          <a:xfrm>
            <a:off x="17316450" y="237491"/>
            <a:ext cx="742949" cy="819149"/>
          </a:xfrm>
          <a:prstGeom prst="rect">
            <a:avLst/>
          </a:prstGeom>
        </p:spPr>
      </p:pic>
      <p:sp>
        <p:nvSpPr>
          <p:cNvPr id="12" name="object 12"/>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13" name="object 13"/>
          <p:cNvSpPr txBox="1"/>
          <p:nvPr/>
        </p:nvSpPr>
        <p:spPr>
          <a:xfrm>
            <a:off x="17811802" y="9932977"/>
            <a:ext cx="229235"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02</a:t>
            </a:r>
            <a:endParaRPr sz="900">
              <a:latin typeface="Arial"/>
              <a:cs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66956" y="184829"/>
            <a:ext cx="17954625" cy="9604375"/>
            <a:chOff x="166956" y="184829"/>
            <a:chExt cx="17954625" cy="9604375"/>
          </a:xfrm>
        </p:grpSpPr>
        <p:sp>
          <p:nvSpPr>
            <p:cNvPr id="3" name="object 3"/>
            <p:cNvSpPr/>
            <p:nvPr/>
          </p:nvSpPr>
          <p:spPr>
            <a:xfrm>
              <a:off x="166956" y="1113691"/>
              <a:ext cx="17954625" cy="8675370"/>
            </a:xfrm>
            <a:custGeom>
              <a:avLst/>
              <a:gdLst/>
              <a:ahLst/>
              <a:cxnLst/>
              <a:rect l="l" t="t" r="r" b="b"/>
              <a:pathLst>
                <a:path w="17954625" h="8675370">
                  <a:moveTo>
                    <a:pt x="0" y="8675017"/>
                  </a:moveTo>
                  <a:lnTo>
                    <a:pt x="17954029" y="8675017"/>
                  </a:lnTo>
                  <a:lnTo>
                    <a:pt x="17954029" y="0"/>
                  </a:lnTo>
                  <a:lnTo>
                    <a:pt x="0" y="0"/>
                  </a:lnTo>
                  <a:lnTo>
                    <a:pt x="0" y="8675017"/>
                  </a:lnTo>
                  <a:close/>
                </a:path>
              </a:pathLst>
            </a:custGeom>
            <a:solidFill>
              <a:srgbClr val="EFEBE2">
                <a:alpha val="55690"/>
              </a:srgbClr>
            </a:solidFill>
          </p:spPr>
          <p:txBody>
            <a:bodyPr wrap="square" lIns="0" tIns="0" rIns="0" bIns="0" rtlCol="0"/>
            <a:lstStyle/>
            <a:p>
              <a:endParaRPr/>
            </a:p>
          </p:txBody>
        </p:sp>
        <p:sp>
          <p:nvSpPr>
            <p:cNvPr id="4" name="object 4"/>
            <p:cNvSpPr/>
            <p:nvPr/>
          </p:nvSpPr>
          <p:spPr>
            <a:xfrm>
              <a:off x="166954" y="184835"/>
              <a:ext cx="17954625" cy="8534400"/>
            </a:xfrm>
            <a:custGeom>
              <a:avLst/>
              <a:gdLst/>
              <a:ahLst/>
              <a:cxnLst/>
              <a:rect l="l" t="t" r="r" b="b"/>
              <a:pathLst>
                <a:path w="17954625" h="8534400">
                  <a:moveTo>
                    <a:pt x="6503670" y="7944726"/>
                  </a:moveTo>
                  <a:lnTo>
                    <a:pt x="6501714" y="7896390"/>
                  </a:lnTo>
                  <a:lnTo>
                    <a:pt x="6495961" y="7849133"/>
                  </a:lnTo>
                  <a:lnTo>
                    <a:pt x="6486550" y="7803096"/>
                  </a:lnTo>
                  <a:lnTo>
                    <a:pt x="6473622" y="7758443"/>
                  </a:lnTo>
                  <a:lnTo>
                    <a:pt x="6457353" y="7715313"/>
                  </a:lnTo>
                  <a:lnTo>
                    <a:pt x="6437884" y="7673873"/>
                  </a:lnTo>
                  <a:lnTo>
                    <a:pt x="6415367" y="7634275"/>
                  </a:lnTo>
                  <a:lnTo>
                    <a:pt x="6389954" y="7596657"/>
                  </a:lnTo>
                  <a:lnTo>
                    <a:pt x="6361798" y="7561173"/>
                  </a:lnTo>
                  <a:lnTo>
                    <a:pt x="6331051" y="7527976"/>
                  </a:lnTo>
                  <a:lnTo>
                    <a:pt x="6297854" y="7497229"/>
                  </a:lnTo>
                  <a:lnTo>
                    <a:pt x="6262370" y="7469073"/>
                  </a:lnTo>
                  <a:lnTo>
                    <a:pt x="6224752" y="7443660"/>
                  </a:lnTo>
                  <a:lnTo>
                    <a:pt x="6185154" y="7421143"/>
                  </a:lnTo>
                  <a:lnTo>
                    <a:pt x="6143714" y="7401674"/>
                  </a:lnTo>
                  <a:lnTo>
                    <a:pt x="6100584" y="7385405"/>
                  </a:lnTo>
                  <a:lnTo>
                    <a:pt x="6055931" y="7372490"/>
                  </a:lnTo>
                  <a:lnTo>
                    <a:pt x="6009894" y="7363066"/>
                  </a:lnTo>
                  <a:lnTo>
                    <a:pt x="5962637" y="7357313"/>
                  </a:lnTo>
                  <a:lnTo>
                    <a:pt x="5914301" y="7355357"/>
                  </a:lnTo>
                  <a:lnTo>
                    <a:pt x="4056596" y="7355357"/>
                  </a:lnTo>
                  <a:lnTo>
                    <a:pt x="4008247" y="7357313"/>
                  </a:lnTo>
                  <a:lnTo>
                    <a:pt x="3960990" y="7363066"/>
                  </a:lnTo>
                  <a:lnTo>
                    <a:pt x="3914952" y="7372490"/>
                  </a:lnTo>
                  <a:lnTo>
                    <a:pt x="3870299" y="7385405"/>
                  </a:lnTo>
                  <a:lnTo>
                    <a:pt x="3827183" y="7401674"/>
                  </a:lnTo>
                  <a:lnTo>
                    <a:pt x="3785743" y="7421143"/>
                  </a:lnTo>
                  <a:lnTo>
                    <a:pt x="3746131" y="7443660"/>
                  </a:lnTo>
                  <a:lnTo>
                    <a:pt x="3708514" y="7469073"/>
                  </a:lnTo>
                  <a:lnTo>
                    <a:pt x="3673030" y="7497229"/>
                  </a:lnTo>
                  <a:lnTo>
                    <a:pt x="3639845" y="7527976"/>
                  </a:lnTo>
                  <a:lnTo>
                    <a:pt x="3609086" y="7561173"/>
                  </a:lnTo>
                  <a:lnTo>
                    <a:pt x="3580930" y="7596657"/>
                  </a:lnTo>
                  <a:lnTo>
                    <a:pt x="3555517" y="7634275"/>
                  </a:lnTo>
                  <a:lnTo>
                    <a:pt x="3533000" y="7673873"/>
                  </a:lnTo>
                  <a:lnTo>
                    <a:pt x="3513531" y="7715313"/>
                  </a:lnTo>
                  <a:lnTo>
                    <a:pt x="3497262" y="7758443"/>
                  </a:lnTo>
                  <a:lnTo>
                    <a:pt x="3484346" y="7803096"/>
                  </a:lnTo>
                  <a:lnTo>
                    <a:pt x="3474936" y="7849133"/>
                  </a:lnTo>
                  <a:lnTo>
                    <a:pt x="3469170" y="7896390"/>
                  </a:lnTo>
                  <a:lnTo>
                    <a:pt x="3467214" y="7944726"/>
                  </a:lnTo>
                  <a:lnTo>
                    <a:pt x="3469170" y="7993062"/>
                  </a:lnTo>
                  <a:lnTo>
                    <a:pt x="3474936" y="8040332"/>
                  </a:lnTo>
                  <a:lnTo>
                    <a:pt x="3484346" y="8086357"/>
                  </a:lnTo>
                  <a:lnTo>
                    <a:pt x="3497262" y="8131022"/>
                  </a:lnTo>
                  <a:lnTo>
                    <a:pt x="3513531" y="8174139"/>
                  </a:lnTo>
                  <a:lnTo>
                    <a:pt x="3533000" y="8215579"/>
                  </a:lnTo>
                  <a:lnTo>
                    <a:pt x="3555517" y="8255190"/>
                  </a:lnTo>
                  <a:lnTo>
                    <a:pt x="3580930" y="8292808"/>
                  </a:lnTo>
                  <a:lnTo>
                    <a:pt x="3609086" y="8328292"/>
                  </a:lnTo>
                  <a:lnTo>
                    <a:pt x="3639845" y="8361477"/>
                  </a:lnTo>
                  <a:lnTo>
                    <a:pt x="3673030" y="8392236"/>
                  </a:lnTo>
                  <a:lnTo>
                    <a:pt x="3708514" y="8420392"/>
                  </a:lnTo>
                  <a:lnTo>
                    <a:pt x="3746131" y="8445805"/>
                  </a:lnTo>
                  <a:lnTo>
                    <a:pt x="3785743" y="8468322"/>
                  </a:lnTo>
                  <a:lnTo>
                    <a:pt x="3827183" y="8487791"/>
                  </a:lnTo>
                  <a:lnTo>
                    <a:pt x="3870299" y="8504060"/>
                  </a:lnTo>
                  <a:lnTo>
                    <a:pt x="3914952" y="8516976"/>
                  </a:lnTo>
                  <a:lnTo>
                    <a:pt x="3960990" y="8526386"/>
                  </a:lnTo>
                  <a:lnTo>
                    <a:pt x="4008247" y="8532152"/>
                  </a:lnTo>
                  <a:lnTo>
                    <a:pt x="4056596" y="8534108"/>
                  </a:lnTo>
                  <a:lnTo>
                    <a:pt x="5914301" y="8534108"/>
                  </a:lnTo>
                  <a:lnTo>
                    <a:pt x="5962637" y="8532152"/>
                  </a:lnTo>
                  <a:lnTo>
                    <a:pt x="6009894" y="8526386"/>
                  </a:lnTo>
                  <a:lnTo>
                    <a:pt x="6055931" y="8516976"/>
                  </a:lnTo>
                  <a:lnTo>
                    <a:pt x="6100584" y="8504060"/>
                  </a:lnTo>
                  <a:lnTo>
                    <a:pt x="6143714" y="8487791"/>
                  </a:lnTo>
                  <a:lnTo>
                    <a:pt x="6185154" y="8468322"/>
                  </a:lnTo>
                  <a:lnTo>
                    <a:pt x="6224752" y="8445805"/>
                  </a:lnTo>
                  <a:lnTo>
                    <a:pt x="6262370" y="8420392"/>
                  </a:lnTo>
                  <a:lnTo>
                    <a:pt x="6297854" y="8392236"/>
                  </a:lnTo>
                  <a:lnTo>
                    <a:pt x="6331051" y="8361477"/>
                  </a:lnTo>
                  <a:lnTo>
                    <a:pt x="6361798" y="8328292"/>
                  </a:lnTo>
                  <a:lnTo>
                    <a:pt x="6389954" y="8292808"/>
                  </a:lnTo>
                  <a:lnTo>
                    <a:pt x="6415367" y="8255190"/>
                  </a:lnTo>
                  <a:lnTo>
                    <a:pt x="6437884" y="8215579"/>
                  </a:lnTo>
                  <a:lnTo>
                    <a:pt x="6457353" y="8174139"/>
                  </a:lnTo>
                  <a:lnTo>
                    <a:pt x="6473622" y="8131022"/>
                  </a:lnTo>
                  <a:lnTo>
                    <a:pt x="6486550" y="8086357"/>
                  </a:lnTo>
                  <a:lnTo>
                    <a:pt x="6495961" y="8040332"/>
                  </a:lnTo>
                  <a:lnTo>
                    <a:pt x="6501714" y="7993062"/>
                  </a:lnTo>
                  <a:lnTo>
                    <a:pt x="6503670" y="7944726"/>
                  </a:lnTo>
                  <a:close/>
                </a:path>
                <a:path w="17954625" h="8534400">
                  <a:moveTo>
                    <a:pt x="17954028" y="0"/>
                  </a:moveTo>
                  <a:lnTo>
                    <a:pt x="0" y="0"/>
                  </a:lnTo>
                  <a:lnTo>
                    <a:pt x="0" y="928865"/>
                  </a:lnTo>
                  <a:lnTo>
                    <a:pt x="296494" y="928865"/>
                  </a:lnTo>
                  <a:lnTo>
                    <a:pt x="554774" y="1380845"/>
                  </a:lnTo>
                  <a:lnTo>
                    <a:pt x="813054" y="928865"/>
                  </a:lnTo>
                  <a:lnTo>
                    <a:pt x="17954028" y="928865"/>
                  </a:lnTo>
                  <a:lnTo>
                    <a:pt x="17954028" y="0"/>
                  </a:lnTo>
                  <a:close/>
                </a:path>
              </a:pathLst>
            </a:custGeom>
            <a:solidFill>
              <a:srgbClr val="21408B"/>
            </a:solidFill>
          </p:spPr>
          <p:txBody>
            <a:bodyPr wrap="square" lIns="0" tIns="0" rIns="0" bIns="0" rtlCol="0"/>
            <a:lstStyle/>
            <a:p>
              <a:endParaRPr/>
            </a:p>
          </p:txBody>
        </p:sp>
        <p:sp>
          <p:nvSpPr>
            <p:cNvPr id="5" name="object 5"/>
            <p:cNvSpPr/>
            <p:nvPr/>
          </p:nvSpPr>
          <p:spPr>
            <a:xfrm>
              <a:off x="3609356" y="3686609"/>
              <a:ext cx="3086100" cy="3086100"/>
            </a:xfrm>
            <a:custGeom>
              <a:avLst/>
              <a:gdLst/>
              <a:ahLst/>
              <a:cxnLst/>
              <a:rect l="l" t="t" r="r" b="b"/>
              <a:pathLst>
                <a:path w="3086100" h="3086100">
                  <a:moveTo>
                    <a:pt x="1543076" y="3086099"/>
                  </a:moveTo>
                  <a:lnTo>
                    <a:pt x="1494987" y="3085365"/>
                  </a:lnTo>
                  <a:lnTo>
                    <a:pt x="1447291" y="3083177"/>
                  </a:lnTo>
                  <a:lnTo>
                    <a:pt x="1399983" y="3079555"/>
                  </a:lnTo>
                  <a:lnTo>
                    <a:pt x="1353083" y="3074522"/>
                  </a:lnTo>
                  <a:lnTo>
                    <a:pt x="1306613" y="3068099"/>
                  </a:lnTo>
                  <a:lnTo>
                    <a:pt x="1260594" y="3060306"/>
                  </a:lnTo>
                  <a:lnTo>
                    <a:pt x="1215048" y="3051166"/>
                  </a:lnTo>
                  <a:lnTo>
                    <a:pt x="1169996" y="3040700"/>
                  </a:lnTo>
                  <a:lnTo>
                    <a:pt x="1125460" y="3028929"/>
                  </a:lnTo>
                  <a:lnTo>
                    <a:pt x="1081460" y="3015874"/>
                  </a:lnTo>
                  <a:lnTo>
                    <a:pt x="1038018" y="3001557"/>
                  </a:lnTo>
                  <a:lnTo>
                    <a:pt x="995156" y="2985999"/>
                  </a:lnTo>
                  <a:lnTo>
                    <a:pt x="952894" y="2969221"/>
                  </a:lnTo>
                  <a:lnTo>
                    <a:pt x="911254" y="2951246"/>
                  </a:lnTo>
                  <a:lnTo>
                    <a:pt x="870258" y="2932093"/>
                  </a:lnTo>
                  <a:lnTo>
                    <a:pt x="829927" y="2911785"/>
                  </a:lnTo>
                  <a:lnTo>
                    <a:pt x="790281" y="2890342"/>
                  </a:lnTo>
                  <a:lnTo>
                    <a:pt x="751343" y="2867787"/>
                  </a:lnTo>
                  <a:lnTo>
                    <a:pt x="713134" y="2844140"/>
                  </a:lnTo>
                  <a:lnTo>
                    <a:pt x="675675" y="2819423"/>
                  </a:lnTo>
                  <a:lnTo>
                    <a:pt x="638987" y="2793658"/>
                  </a:lnTo>
                  <a:lnTo>
                    <a:pt x="603092" y="2766864"/>
                  </a:lnTo>
                  <a:lnTo>
                    <a:pt x="568012" y="2739065"/>
                  </a:lnTo>
                  <a:lnTo>
                    <a:pt x="533766" y="2710280"/>
                  </a:lnTo>
                  <a:lnTo>
                    <a:pt x="500378" y="2680532"/>
                  </a:lnTo>
                  <a:lnTo>
                    <a:pt x="467868" y="2649842"/>
                  </a:lnTo>
                  <a:lnTo>
                    <a:pt x="436257" y="2618231"/>
                  </a:lnTo>
                  <a:lnTo>
                    <a:pt x="405567" y="2585721"/>
                  </a:lnTo>
                  <a:lnTo>
                    <a:pt x="375819" y="2552333"/>
                  </a:lnTo>
                  <a:lnTo>
                    <a:pt x="347034" y="2518087"/>
                  </a:lnTo>
                  <a:lnTo>
                    <a:pt x="319235" y="2483007"/>
                  </a:lnTo>
                  <a:lnTo>
                    <a:pt x="292441" y="2447112"/>
                  </a:lnTo>
                  <a:lnTo>
                    <a:pt x="266676" y="2410424"/>
                  </a:lnTo>
                  <a:lnTo>
                    <a:pt x="241959" y="2372965"/>
                  </a:lnTo>
                  <a:lnTo>
                    <a:pt x="218312" y="2334756"/>
                  </a:lnTo>
                  <a:lnTo>
                    <a:pt x="195757" y="2295818"/>
                  </a:lnTo>
                  <a:lnTo>
                    <a:pt x="174314" y="2256172"/>
                  </a:lnTo>
                  <a:lnTo>
                    <a:pt x="154006" y="2215841"/>
                  </a:lnTo>
                  <a:lnTo>
                    <a:pt x="134853" y="2174845"/>
                  </a:lnTo>
                  <a:lnTo>
                    <a:pt x="116878"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8"/>
                  </a:lnTo>
                  <a:lnTo>
                    <a:pt x="734" y="1591112"/>
                  </a:lnTo>
                  <a:lnTo>
                    <a:pt x="0" y="1543046"/>
                  </a:lnTo>
                  <a:lnTo>
                    <a:pt x="734" y="1494988"/>
                  </a:lnTo>
                  <a:lnTo>
                    <a:pt x="2922" y="1447292"/>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8" y="952894"/>
                  </a:lnTo>
                  <a:lnTo>
                    <a:pt x="134853" y="911254"/>
                  </a:lnTo>
                  <a:lnTo>
                    <a:pt x="154006" y="870258"/>
                  </a:lnTo>
                  <a:lnTo>
                    <a:pt x="174314" y="829927"/>
                  </a:lnTo>
                  <a:lnTo>
                    <a:pt x="195757" y="790281"/>
                  </a:lnTo>
                  <a:lnTo>
                    <a:pt x="218312" y="751343"/>
                  </a:lnTo>
                  <a:lnTo>
                    <a:pt x="241959" y="713134"/>
                  </a:lnTo>
                  <a:lnTo>
                    <a:pt x="266676" y="675675"/>
                  </a:lnTo>
                  <a:lnTo>
                    <a:pt x="292441" y="638987"/>
                  </a:lnTo>
                  <a:lnTo>
                    <a:pt x="319235" y="603092"/>
                  </a:lnTo>
                  <a:lnTo>
                    <a:pt x="347034" y="568012"/>
                  </a:lnTo>
                  <a:lnTo>
                    <a:pt x="375819" y="533766"/>
                  </a:lnTo>
                  <a:lnTo>
                    <a:pt x="405567" y="500378"/>
                  </a:lnTo>
                  <a:lnTo>
                    <a:pt x="436257" y="467868"/>
                  </a:lnTo>
                  <a:lnTo>
                    <a:pt x="467868" y="436257"/>
                  </a:lnTo>
                  <a:lnTo>
                    <a:pt x="500378" y="405567"/>
                  </a:lnTo>
                  <a:lnTo>
                    <a:pt x="533766" y="375819"/>
                  </a:lnTo>
                  <a:lnTo>
                    <a:pt x="568012" y="347034"/>
                  </a:lnTo>
                  <a:lnTo>
                    <a:pt x="603092" y="319235"/>
                  </a:lnTo>
                  <a:lnTo>
                    <a:pt x="638987" y="292442"/>
                  </a:lnTo>
                  <a:lnTo>
                    <a:pt x="675675" y="266676"/>
                  </a:lnTo>
                  <a:lnTo>
                    <a:pt x="713134" y="241959"/>
                  </a:lnTo>
                  <a:lnTo>
                    <a:pt x="751343" y="218312"/>
                  </a:lnTo>
                  <a:lnTo>
                    <a:pt x="790281" y="195757"/>
                  </a:lnTo>
                  <a:lnTo>
                    <a:pt x="829927" y="174314"/>
                  </a:lnTo>
                  <a:lnTo>
                    <a:pt x="870258" y="154006"/>
                  </a:lnTo>
                  <a:lnTo>
                    <a:pt x="911254" y="134853"/>
                  </a:lnTo>
                  <a:lnTo>
                    <a:pt x="952894" y="116878"/>
                  </a:lnTo>
                  <a:lnTo>
                    <a:pt x="995156" y="100100"/>
                  </a:lnTo>
                  <a:lnTo>
                    <a:pt x="1038018" y="84542"/>
                  </a:lnTo>
                  <a:lnTo>
                    <a:pt x="1081460" y="70225"/>
                  </a:lnTo>
                  <a:lnTo>
                    <a:pt x="1125460" y="57170"/>
                  </a:lnTo>
                  <a:lnTo>
                    <a:pt x="1169996" y="45399"/>
                  </a:lnTo>
                  <a:lnTo>
                    <a:pt x="1215048" y="34933"/>
                  </a:lnTo>
                  <a:lnTo>
                    <a:pt x="1260594" y="25793"/>
                  </a:lnTo>
                  <a:lnTo>
                    <a:pt x="1306613" y="18000"/>
                  </a:lnTo>
                  <a:lnTo>
                    <a:pt x="1353083" y="11577"/>
                  </a:lnTo>
                  <a:lnTo>
                    <a:pt x="1399983"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5" y="134853"/>
                  </a:lnTo>
                  <a:lnTo>
                    <a:pt x="2215841" y="154006"/>
                  </a:lnTo>
                  <a:lnTo>
                    <a:pt x="2256172" y="174314"/>
                  </a:lnTo>
                  <a:lnTo>
                    <a:pt x="2295818" y="195757"/>
                  </a:lnTo>
                  <a:lnTo>
                    <a:pt x="2334756" y="218312"/>
                  </a:lnTo>
                  <a:lnTo>
                    <a:pt x="2372965" y="241959"/>
                  </a:lnTo>
                  <a:lnTo>
                    <a:pt x="2410424" y="266676"/>
                  </a:lnTo>
                  <a:lnTo>
                    <a:pt x="2447111" y="292442"/>
                  </a:lnTo>
                  <a:lnTo>
                    <a:pt x="2483006" y="319235"/>
                  </a:lnTo>
                  <a:lnTo>
                    <a:pt x="2518087" y="347034"/>
                  </a:lnTo>
                  <a:lnTo>
                    <a:pt x="2552332"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5" y="911254"/>
                  </a:lnTo>
                  <a:lnTo>
                    <a:pt x="2969221" y="952894"/>
                  </a:lnTo>
                  <a:lnTo>
                    <a:pt x="2985999" y="995156"/>
                  </a:lnTo>
                  <a:lnTo>
                    <a:pt x="3001556" y="1038018"/>
                  </a:lnTo>
                  <a:lnTo>
                    <a:pt x="3015874" y="1081460"/>
                  </a:lnTo>
                  <a:lnTo>
                    <a:pt x="3028928" y="1125460"/>
                  </a:lnTo>
                  <a:lnTo>
                    <a:pt x="3040699" y="1169996"/>
                  </a:lnTo>
                  <a:lnTo>
                    <a:pt x="3051166" y="1215048"/>
                  </a:lnTo>
                  <a:lnTo>
                    <a:pt x="3060306" y="1260594"/>
                  </a:lnTo>
                  <a:lnTo>
                    <a:pt x="3068098" y="1306613"/>
                  </a:lnTo>
                  <a:lnTo>
                    <a:pt x="3074522" y="1353083"/>
                  </a:lnTo>
                  <a:lnTo>
                    <a:pt x="3079555" y="1399983"/>
                  </a:lnTo>
                  <a:lnTo>
                    <a:pt x="3083176" y="1447292"/>
                  </a:lnTo>
                  <a:lnTo>
                    <a:pt x="3085365" y="1494988"/>
                  </a:lnTo>
                  <a:lnTo>
                    <a:pt x="3086099" y="1543050"/>
                  </a:lnTo>
                  <a:lnTo>
                    <a:pt x="3085365" y="1591112"/>
                  </a:lnTo>
                  <a:lnTo>
                    <a:pt x="3083176" y="1638808"/>
                  </a:lnTo>
                  <a:lnTo>
                    <a:pt x="3079555" y="1686116"/>
                  </a:lnTo>
                  <a:lnTo>
                    <a:pt x="3074522" y="1733016"/>
                  </a:lnTo>
                  <a:lnTo>
                    <a:pt x="3068098" y="1779486"/>
                  </a:lnTo>
                  <a:lnTo>
                    <a:pt x="3060306" y="1825505"/>
                  </a:lnTo>
                  <a:lnTo>
                    <a:pt x="3051166" y="1871051"/>
                  </a:lnTo>
                  <a:lnTo>
                    <a:pt x="3040699" y="1916103"/>
                  </a:lnTo>
                  <a:lnTo>
                    <a:pt x="3028928" y="1960639"/>
                  </a:lnTo>
                  <a:lnTo>
                    <a:pt x="3015874" y="2004639"/>
                  </a:lnTo>
                  <a:lnTo>
                    <a:pt x="3001556" y="2048081"/>
                  </a:lnTo>
                  <a:lnTo>
                    <a:pt x="2985999" y="2090943"/>
                  </a:lnTo>
                  <a:lnTo>
                    <a:pt x="2969221" y="2133205"/>
                  </a:lnTo>
                  <a:lnTo>
                    <a:pt x="2951245"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7"/>
                  </a:lnTo>
                  <a:lnTo>
                    <a:pt x="2739064" y="2518087"/>
                  </a:lnTo>
                  <a:lnTo>
                    <a:pt x="2710280" y="2552333"/>
                  </a:lnTo>
                  <a:lnTo>
                    <a:pt x="2680532" y="2585721"/>
                  </a:lnTo>
                  <a:lnTo>
                    <a:pt x="2649842" y="2618231"/>
                  </a:lnTo>
                  <a:lnTo>
                    <a:pt x="2618231" y="2649842"/>
                  </a:lnTo>
                  <a:lnTo>
                    <a:pt x="2585721" y="2680532"/>
                  </a:lnTo>
                  <a:lnTo>
                    <a:pt x="2552332" y="2710280"/>
                  </a:lnTo>
                  <a:lnTo>
                    <a:pt x="2518087" y="2739065"/>
                  </a:lnTo>
                  <a:lnTo>
                    <a:pt x="2483006" y="2766864"/>
                  </a:lnTo>
                  <a:lnTo>
                    <a:pt x="2447111" y="2793658"/>
                  </a:lnTo>
                  <a:lnTo>
                    <a:pt x="2410424" y="2819423"/>
                  </a:lnTo>
                  <a:lnTo>
                    <a:pt x="2372965" y="2844140"/>
                  </a:lnTo>
                  <a:lnTo>
                    <a:pt x="2334756" y="2867787"/>
                  </a:lnTo>
                  <a:lnTo>
                    <a:pt x="2295818" y="2890342"/>
                  </a:lnTo>
                  <a:lnTo>
                    <a:pt x="2256172" y="2911785"/>
                  </a:lnTo>
                  <a:lnTo>
                    <a:pt x="2215841" y="2932093"/>
                  </a:lnTo>
                  <a:lnTo>
                    <a:pt x="2174845"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9"/>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6" name="object 6"/>
            <p:cNvSpPr/>
            <p:nvPr/>
          </p:nvSpPr>
          <p:spPr>
            <a:xfrm>
              <a:off x="5431192" y="3686610"/>
              <a:ext cx="1224915" cy="1224915"/>
            </a:xfrm>
            <a:custGeom>
              <a:avLst/>
              <a:gdLst/>
              <a:ahLst/>
              <a:cxnLst/>
              <a:rect l="l" t="t" r="r" b="b"/>
              <a:pathLst>
                <a:path w="1224915" h="1224914">
                  <a:moveTo>
                    <a:pt x="918281" y="612187"/>
                  </a:moveTo>
                  <a:lnTo>
                    <a:pt x="306093" y="612187"/>
                  </a:lnTo>
                  <a:lnTo>
                    <a:pt x="306093" y="0"/>
                  </a:lnTo>
                  <a:lnTo>
                    <a:pt x="918281" y="0"/>
                  </a:lnTo>
                  <a:lnTo>
                    <a:pt x="918281" y="612187"/>
                  </a:lnTo>
                  <a:close/>
                </a:path>
                <a:path w="1224915" h="1224914">
                  <a:moveTo>
                    <a:pt x="612188" y="1224375"/>
                  </a:moveTo>
                  <a:lnTo>
                    <a:pt x="0" y="612188"/>
                  </a:lnTo>
                  <a:lnTo>
                    <a:pt x="1224375" y="612187"/>
                  </a:lnTo>
                  <a:lnTo>
                    <a:pt x="612188" y="1224375"/>
                  </a:lnTo>
                  <a:close/>
                </a:path>
              </a:pathLst>
            </a:custGeom>
            <a:solidFill>
              <a:srgbClr val="E3112B">
                <a:alpha val="80778"/>
              </a:srgbClr>
            </a:solidFill>
          </p:spPr>
          <p:txBody>
            <a:bodyPr wrap="square" lIns="0" tIns="0" rIns="0" bIns="0" rtlCol="0"/>
            <a:lstStyle/>
            <a:p>
              <a:endParaRPr/>
            </a:p>
          </p:txBody>
        </p:sp>
        <p:sp>
          <p:nvSpPr>
            <p:cNvPr id="7" name="object 7"/>
            <p:cNvSpPr/>
            <p:nvPr/>
          </p:nvSpPr>
          <p:spPr>
            <a:xfrm>
              <a:off x="4324870" y="4394530"/>
              <a:ext cx="1715135" cy="1659255"/>
            </a:xfrm>
            <a:custGeom>
              <a:avLst/>
              <a:gdLst/>
              <a:ahLst/>
              <a:cxnLst/>
              <a:rect l="l" t="t" r="r" b="b"/>
              <a:pathLst>
                <a:path w="1715135" h="1659254">
                  <a:moveTo>
                    <a:pt x="237329" y="369597"/>
                  </a:moveTo>
                  <a:lnTo>
                    <a:pt x="226397" y="367381"/>
                  </a:lnTo>
                  <a:lnTo>
                    <a:pt x="217473" y="361341"/>
                  </a:lnTo>
                  <a:lnTo>
                    <a:pt x="211459" y="352385"/>
                  </a:lnTo>
                  <a:lnTo>
                    <a:pt x="209254" y="341421"/>
                  </a:lnTo>
                  <a:lnTo>
                    <a:pt x="209259" y="60960"/>
                  </a:lnTo>
                  <a:lnTo>
                    <a:pt x="227051" y="17921"/>
                  </a:lnTo>
                  <a:lnTo>
                    <a:pt x="269947" y="0"/>
                  </a:lnTo>
                  <a:lnTo>
                    <a:pt x="557898" y="0"/>
                  </a:lnTo>
                  <a:lnTo>
                    <a:pt x="600753" y="17965"/>
                  </a:lnTo>
                  <a:lnTo>
                    <a:pt x="615593" y="43210"/>
                  </a:lnTo>
                  <a:lnTo>
                    <a:pt x="311996" y="43210"/>
                  </a:lnTo>
                  <a:lnTo>
                    <a:pt x="302608" y="44170"/>
                  </a:lnTo>
                  <a:lnTo>
                    <a:pt x="269031" y="71854"/>
                  </a:lnTo>
                  <a:lnTo>
                    <a:pt x="265361" y="90083"/>
                  </a:lnTo>
                  <a:lnTo>
                    <a:pt x="265361" y="341421"/>
                  </a:lnTo>
                  <a:lnTo>
                    <a:pt x="263157" y="352385"/>
                  </a:lnTo>
                  <a:lnTo>
                    <a:pt x="257148" y="361341"/>
                  </a:lnTo>
                  <a:lnTo>
                    <a:pt x="248237" y="367381"/>
                  </a:lnTo>
                  <a:lnTo>
                    <a:pt x="237329" y="369597"/>
                  </a:lnTo>
                  <a:close/>
                </a:path>
                <a:path w="1715135" h="1659254">
                  <a:moveTo>
                    <a:pt x="590516" y="369554"/>
                  </a:moveTo>
                  <a:lnTo>
                    <a:pt x="562493" y="341421"/>
                  </a:lnTo>
                  <a:lnTo>
                    <a:pt x="562484" y="90083"/>
                  </a:lnTo>
                  <a:lnTo>
                    <a:pt x="561529" y="80648"/>
                  </a:lnTo>
                  <a:lnTo>
                    <a:pt x="533986" y="46899"/>
                  </a:lnTo>
                  <a:lnTo>
                    <a:pt x="515850" y="43210"/>
                  </a:lnTo>
                  <a:lnTo>
                    <a:pt x="615593" y="43210"/>
                  </a:lnTo>
                  <a:lnTo>
                    <a:pt x="617311" y="48740"/>
                  </a:lnTo>
                  <a:lnTo>
                    <a:pt x="618548" y="60960"/>
                  </a:lnTo>
                  <a:lnTo>
                    <a:pt x="618540" y="341421"/>
                  </a:lnTo>
                  <a:lnTo>
                    <a:pt x="616344" y="352342"/>
                  </a:lnTo>
                  <a:lnTo>
                    <a:pt x="610335" y="361298"/>
                  </a:lnTo>
                  <a:lnTo>
                    <a:pt x="601424" y="367338"/>
                  </a:lnTo>
                  <a:lnTo>
                    <a:pt x="590516" y="369554"/>
                  </a:lnTo>
                  <a:close/>
                </a:path>
                <a:path w="1715135" h="1659254">
                  <a:moveTo>
                    <a:pt x="799728" y="705849"/>
                  </a:moveTo>
                  <a:lnTo>
                    <a:pt x="28032" y="705849"/>
                  </a:lnTo>
                  <a:lnTo>
                    <a:pt x="17124" y="703633"/>
                  </a:lnTo>
                  <a:lnTo>
                    <a:pt x="8218" y="697588"/>
                  </a:lnTo>
                  <a:lnTo>
                    <a:pt x="2222" y="688619"/>
                  </a:lnTo>
                  <a:lnTo>
                    <a:pt x="51" y="677674"/>
                  </a:lnTo>
                  <a:lnTo>
                    <a:pt x="42" y="523829"/>
                  </a:lnTo>
                  <a:lnTo>
                    <a:pt x="1971" y="504757"/>
                  </a:lnTo>
                  <a:lnTo>
                    <a:pt x="27869" y="456708"/>
                  </a:lnTo>
                  <a:lnTo>
                    <a:pt x="75580" y="430778"/>
                  </a:lnTo>
                  <a:lnTo>
                    <a:pt x="94554" y="428834"/>
                  </a:lnTo>
                  <a:lnTo>
                    <a:pt x="733205" y="428834"/>
                  </a:lnTo>
                  <a:lnTo>
                    <a:pt x="786010" y="445137"/>
                  </a:lnTo>
                  <a:lnTo>
                    <a:pt x="820312" y="486962"/>
                  </a:lnTo>
                  <a:lnTo>
                    <a:pt x="827760" y="677674"/>
                  </a:lnTo>
                  <a:lnTo>
                    <a:pt x="825556" y="688637"/>
                  </a:lnTo>
                  <a:lnTo>
                    <a:pt x="819546" y="697593"/>
                  </a:lnTo>
                  <a:lnTo>
                    <a:pt x="810636" y="703634"/>
                  </a:lnTo>
                  <a:lnTo>
                    <a:pt x="799728" y="705849"/>
                  </a:lnTo>
                  <a:close/>
                </a:path>
                <a:path w="1715135" h="1659254">
                  <a:moveTo>
                    <a:pt x="998953" y="840948"/>
                  </a:moveTo>
                  <a:lnTo>
                    <a:pt x="988045" y="839678"/>
                  </a:lnTo>
                  <a:lnTo>
                    <a:pt x="979134" y="833328"/>
                  </a:lnTo>
                  <a:lnTo>
                    <a:pt x="973125" y="824438"/>
                  </a:lnTo>
                  <a:lnTo>
                    <a:pt x="970921" y="813008"/>
                  </a:lnTo>
                  <a:lnTo>
                    <a:pt x="970921" y="713948"/>
                  </a:lnTo>
                  <a:lnTo>
                    <a:pt x="988666" y="670768"/>
                  </a:lnTo>
                  <a:lnTo>
                    <a:pt x="1019400" y="652988"/>
                  </a:lnTo>
                  <a:lnTo>
                    <a:pt x="1331722" y="652988"/>
                  </a:lnTo>
                  <a:lnTo>
                    <a:pt x="1369799" y="679658"/>
                  </a:lnTo>
                  <a:lnTo>
                    <a:pt x="1376995" y="694898"/>
                  </a:lnTo>
                  <a:lnTo>
                    <a:pt x="1073662" y="694898"/>
                  </a:lnTo>
                  <a:lnTo>
                    <a:pt x="1064269" y="696168"/>
                  </a:lnTo>
                  <a:lnTo>
                    <a:pt x="1030714" y="724108"/>
                  </a:lnTo>
                  <a:lnTo>
                    <a:pt x="1027028" y="741888"/>
                  </a:lnTo>
                  <a:lnTo>
                    <a:pt x="1027028" y="813008"/>
                  </a:lnTo>
                  <a:lnTo>
                    <a:pt x="1024823" y="824438"/>
                  </a:lnTo>
                  <a:lnTo>
                    <a:pt x="1018809" y="833328"/>
                  </a:lnTo>
                  <a:lnTo>
                    <a:pt x="1009885" y="839678"/>
                  </a:lnTo>
                  <a:lnTo>
                    <a:pt x="998953" y="840948"/>
                  </a:lnTo>
                  <a:close/>
                </a:path>
                <a:path w="1715135" h="1659254">
                  <a:moveTo>
                    <a:pt x="1352183" y="840948"/>
                  </a:moveTo>
                  <a:lnTo>
                    <a:pt x="1341275" y="839678"/>
                  </a:lnTo>
                  <a:lnTo>
                    <a:pt x="1332364" y="833328"/>
                  </a:lnTo>
                  <a:lnTo>
                    <a:pt x="1326355" y="824438"/>
                  </a:lnTo>
                  <a:lnTo>
                    <a:pt x="1324151" y="813008"/>
                  </a:lnTo>
                  <a:lnTo>
                    <a:pt x="1324151" y="741888"/>
                  </a:lnTo>
                  <a:lnTo>
                    <a:pt x="1323202" y="732998"/>
                  </a:lnTo>
                  <a:lnTo>
                    <a:pt x="1295636" y="698708"/>
                  </a:lnTo>
                  <a:lnTo>
                    <a:pt x="1277516" y="694898"/>
                  </a:lnTo>
                  <a:lnTo>
                    <a:pt x="1376995" y="694898"/>
                  </a:lnTo>
                  <a:lnTo>
                    <a:pt x="1378972" y="701248"/>
                  </a:lnTo>
                  <a:lnTo>
                    <a:pt x="1380215" y="713948"/>
                  </a:lnTo>
                  <a:lnTo>
                    <a:pt x="1380215" y="813008"/>
                  </a:lnTo>
                  <a:lnTo>
                    <a:pt x="1378011" y="824438"/>
                  </a:lnTo>
                  <a:lnTo>
                    <a:pt x="1372001" y="833328"/>
                  </a:lnTo>
                  <a:lnTo>
                    <a:pt x="1363091" y="839678"/>
                  </a:lnTo>
                  <a:lnTo>
                    <a:pt x="1352183" y="840948"/>
                  </a:lnTo>
                  <a:close/>
                </a:path>
                <a:path w="1715135" h="1659254">
                  <a:moveTo>
                    <a:pt x="566213" y="940008"/>
                  </a:moveTo>
                  <a:lnTo>
                    <a:pt x="28032" y="940008"/>
                  </a:lnTo>
                  <a:lnTo>
                    <a:pt x="17124" y="937468"/>
                  </a:lnTo>
                  <a:lnTo>
                    <a:pt x="8213" y="932388"/>
                  </a:lnTo>
                  <a:lnTo>
                    <a:pt x="2204" y="923498"/>
                  </a:lnTo>
                  <a:lnTo>
                    <a:pt x="0" y="912068"/>
                  </a:lnTo>
                  <a:lnTo>
                    <a:pt x="0" y="792688"/>
                  </a:lnTo>
                  <a:lnTo>
                    <a:pt x="2204" y="781258"/>
                  </a:lnTo>
                  <a:lnTo>
                    <a:pt x="8213" y="772368"/>
                  </a:lnTo>
                  <a:lnTo>
                    <a:pt x="17124" y="766018"/>
                  </a:lnTo>
                  <a:lnTo>
                    <a:pt x="28032" y="764748"/>
                  </a:lnTo>
                  <a:lnTo>
                    <a:pt x="827803" y="764748"/>
                  </a:lnTo>
                  <a:lnTo>
                    <a:pt x="827803" y="813008"/>
                  </a:lnTo>
                  <a:lnTo>
                    <a:pt x="825599" y="824438"/>
                  </a:lnTo>
                  <a:lnTo>
                    <a:pt x="819589" y="833328"/>
                  </a:lnTo>
                  <a:lnTo>
                    <a:pt x="810679" y="839678"/>
                  </a:lnTo>
                  <a:lnTo>
                    <a:pt x="799771" y="840948"/>
                  </a:lnTo>
                  <a:lnTo>
                    <a:pt x="720990" y="840948"/>
                  </a:lnTo>
                  <a:lnTo>
                    <a:pt x="692268" y="844758"/>
                  </a:lnTo>
                  <a:lnTo>
                    <a:pt x="641143" y="866348"/>
                  </a:lnTo>
                  <a:lnTo>
                    <a:pt x="611568" y="893018"/>
                  </a:lnTo>
                  <a:lnTo>
                    <a:pt x="591545" y="923498"/>
                  </a:lnTo>
                  <a:lnTo>
                    <a:pt x="587141" y="931118"/>
                  </a:lnTo>
                  <a:lnTo>
                    <a:pt x="581193" y="936198"/>
                  </a:lnTo>
                  <a:lnTo>
                    <a:pt x="574089" y="938738"/>
                  </a:lnTo>
                  <a:lnTo>
                    <a:pt x="566213" y="940008"/>
                  </a:lnTo>
                  <a:close/>
                </a:path>
                <a:path w="1715135" h="1659254">
                  <a:moveTo>
                    <a:pt x="768610" y="1233378"/>
                  </a:moveTo>
                  <a:lnTo>
                    <a:pt x="664668" y="1233378"/>
                  </a:lnTo>
                  <a:lnTo>
                    <a:pt x="653760" y="1232108"/>
                  </a:lnTo>
                  <a:lnTo>
                    <a:pt x="644850" y="1225758"/>
                  </a:lnTo>
                  <a:lnTo>
                    <a:pt x="638840" y="1216868"/>
                  </a:lnTo>
                  <a:lnTo>
                    <a:pt x="636636" y="1205438"/>
                  </a:lnTo>
                  <a:lnTo>
                    <a:pt x="636636" y="981918"/>
                  </a:lnTo>
                  <a:lnTo>
                    <a:pt x="636850" y="978108"/>
                  </a:lnTo>
                  <a:lnTo>
                    <a:pt x="637322" y="974298"/>
                  </a:lnTo>
                  <a:lnTo>
                    <a:pt x="637493" y="974298"/>
                  </a:lnTo>
                  <a:lnTo>
                    <a:pt x="637536" y="973028"/>
                  </a:lnTo>
                  <a:lnTo>
                    <a:pt x="652744" y="936198"/>
                  </a:lnTo>
                  <a:lnTo>
                    <a:pt x="688205" y="906988"/>
                  </a:lnTo>
                  <a:lnTo>
                    <a:pt x="720990" y="900638"/>
                  </a:lnTo>
                  <a:lnTo>
                    <a:pt x="1630146" y="900638"/>
                  </a:lnTo>
                  <a:lnTo>
                    <a:pt x="1677263" y="915878"/>
                  </a:lnTo>
                  <a:lnTo>
                    <a:pt x="1707834" y="952708"/>
                  </a:lnTo>
                  <a:lnTo>
                    <a:pt x="1714328" y="985728"/>
                  </a:lnTo>
                  <a:lnTo>
                    <a:pt x="1714328" y="1121618"/>
                  </a:lnTo>
                  <a:lnTo>
                    <a:pt x="854120" y="1121618"/>
                  </a:lnTo>
                  <a:lnTo>
                    <a:pt x="831758" y="1126698"/>
                  </a:lnTo>
                  <a:lnTo>
                    <a:pt x="813487" y="1139398"/>
                  </a:lnTo>
                  <a:lnTo>
                    <a:pt x="801162" y="1157178"/>
                  </a:lnTo>
                  <a:lnTo>
                    <a:pt x="796642" y="1180038"/>
                  </a:lnTo>
                  <a:lnTo>
                    <a:pt x="796642" y="1205438"/>
                  </a:lnTo>
                  <a:lnTo>
                    <a:pt x="794438" y="1216868"/>
                  </a:lnTo>
                  <a:lnTo>
                    <a:pt x="788428" y="1225758"/>
                  </a:lnTo>
                  <a:lnTo>
                    <a:pt x="779518" y="1232108"/>
                  </a:lnTo>
                  <a:lnTo>
                    <a:pt x="768610" y="1233378"/>
                  </a:lnTo>
                  <a:close/>
                </a:path>
                <a:path w="1715135" h="1659254">
                  <a:moveTo>
                    <a:pt x="549711" y="1174958"/>
                  </a:moveTo>
                  <a:lnTo>
                    <a:pt x="28032" y="1174958"/>
                  </a:lnTo>
                  <a:lnTo>
                    <a:pt x="17124" y="1173688"/>
                  </a:lnTo>
                  <a:lnTo>
                    <a:pt x="8213" y="1167338"/>
                  </a:lnTo>
                  <a:lnTo>
                    <a:pt x="2204" y="1158448"/>
                  </a:lnTo>
                  <a:lnTo>
                    <a:pt x="0" y="1147018"/>
                  </a:lnTo>
                  <a:lnTo>
                    <a:pt x="0" y="1027638"/>
                  </a:lnTo>
                  <a:lnTo>
                    <a:pt x="2204" y="1016208"/>
                  </a:lnTo>
                  <a:lnTo>
                    <a:pt x="8213" y="1007318"/>
                  </a:lnTo>
                  <a:lnTo>
                    <a:pt x="17124" y="1002238"/>
                  </a:lnTo>
                  <a:lnTo>
                    <a:pt x="28032" y="999698"/>
                  </a:lnTo>
                  <a:lnTo>
                    <a:pt x="549711" y="999698"/>
                  </a:lnTo>
                  <a:lnTo>
                    <a:pt x="560619" y="1002238"/>
                  </a:lnTo>
                  <a:lnTo>
                    <a:pt x="569530" y="1007318"/>
                  </a:lnTo>
                  <a:lnTo>
                    <a:pt x="575539" y="1016208"/>
                  </a:lnTo>
                  <a:lnTo>
                    <a:pt x="577743" y="1027638"/>
                  </a:lnTo>
                  <a:lnTo>
                    <a:pt x="577743" y="1147018"/>
                  </a:lnTo>
                  <a:lnTo>
                    <a:pt x="575539" y="1158448"/>
                  </a:lnTo>
                  <a:lnTo>
                    <a:pt x="569530" y="1167338"/>
                  </a:lnTo>
                  <a:lnTo>
                    <a:pt x="560619" y="1173688"/>
                  </a:lnTo>
                  <a:lnTo>
                    <a:pt x="549711" y="1174958"/>
                  </a:lnTo>
                  <a:close/>
                </a:path>
                <a:path w="1715135" h="1659254">
                  <a:moveTo>
                    <a:pt x="1350511" y="1233378"/>
                  </a:moveTo>
                  <a:lnTo>
                    <a:pt x="1000453" y="1233378"/>
                  </a:lnTo>
                  <a:lnTo>
                    <a:pt x="989545" y="1232108"/>
                  </a:lnTo>
                  <a:lnTo>
                    <a:pt x="980634" y="1225758"/>
                  </a:lnTo>
                  <a:lnTo>
                    <a:pt x="974625" y="1216868"/>
                  </a:lnTo>
                  <a:lnTo>
                    <a:pt x="972421" y="1205438"/>
                  </a:lnTo>
                  <a:lnTo>
                    <a:pt x="972421" y="1180038"/>
                  </a:lnTo>
                  <a:lnTo>
                    <a:pt x="967906" y="1157178"/>
                  </a:lnTo>
                  <a:lnTo>
                    <a:pt x="955592" y="1139398"/>
                  </a:lnTo>
                  <a:lnTo>
                    <a:pt x="937323" y="1126698"/>
                  </a:lnTo>
                  <a:lnTo>
                    <a:pt x="914942" y="1121618"/>
                  </a:lnTo>
                  <a:lnTo>
                    <a:pt x="1436022" y="1121618"/>
                  </a:lnTo>
                  <a:lnTo>
                    <a:pt x="1413659" y="1126698"/>
                  </a:lnTo>
                  <a:lnTo>
                    <a:pt x="1395388" y="1139398"/>
                  </a:lnTo>
                  <a:lnTo>
                    <a:pt x="1383064" y="1157178"/>
                  </a:lnTo>
                  <a:lnTo>
                    <a:pt x="1378543" y="1180038"/>
                  </a:lnTo>
                  <a:lnTo>
                    <a:pt x="1378543" y="1205438"/>
                  </a:lnTo>
                  <a:lnTo>
                    <a:pt x="1376339" y="1216868"/>
                  </a:lnTo>
                  <a:lnTo>
                    <a:pt x="1370329" y="1225758"/>
                  </a:lnTo>
                  <a:lnTo>
                    <a:pt x="1361419" y="1232108"/>
                  </a:lnTo>
                  <a:lnTo>
                    <a:pt x="1350511" y="1233378"/>
                  </a:lnTo>
                  <a:close/>
                </a:path>
                <a:path w="1715135" h="1659254">
                  <a:moveTo>
                    <a:pt x="1686296" y="1233378"/>
                  </a:moveTo>
                  <a:lnTo>
                    <a:pt x="1582354" y="1233378"/>
                  </a:lnTo>
                  <a:lnTo>
                    <a:pt x="1571446" y="1232108"/>
                  </a:lnTo>
                  <a:lnTo>
                    <a:pt x="1562536" y="1225758"/>
                  </a:lnTo>
                  <a:lnTo>
                    <a:pt x="1556526" y="1216868"/>
                  </a:lnTo>
                  <a:lnTo>
                    <a:pt x="1554322" y="1205438"/>
                  </a:lnTo>
                  <a:lnTo>
                    <a:pt x="1554322" y="1180038"/>
                  </a:lnTo>
                  <a:lnTo>
                    <a:pt x="1549807" y="1157178"/>
                  </a:lnTo>
                  <a:lnTo>
                    <a:pt x="1537493" y="1139398"/>
                  </a:lnTo>
                  <a:lnTo>
                    <a:pt x="1519224" y="1126698"/>
                  </a:lnTo>
                  <a:lnTo>
                    <a:pt x="1496843" y="1121618"/>
                  </a:lnTo>
                  <a:lnTo>
                    <a:pt x="1714328" y="1121618"/>
                  </a:lnTo>
                  <a:lnTo>
                    <a:pt x="1714328" y="1205438"/>
                  </a:lnTo>
                  <a:lnTo>
                    <a:pt x="1712124" y="1216868"/>
                  </a:lnTo>
                  <a:lnTo>
                    <a:pt x="1706114" y="1225758"/>
                  </a:lnTo>
                  <a:lnTo>
                    <a:pt x="1697204" y="1232108"/>
                  </a:lnTo>
                  <a:lnTo>
                    <a:pt x="1686296" y="1233378"/>
                  </a:lnTo>
                  <a:close/>
                </a:path>
                <a:path w="1715135" h="1659254">
                  <a:moveTo>
                    <a:pt x="885582" y="1345138"/>
                  </a:moveTo>
                  <a:lnTo>
                    <a:pt x="883653" y="1345138"/>
                  </a:lnTo>
                  <a:lnTo>
                    <a:pt x="872745" y="1343868"/>
                  </a:lnTo>
                  <a:lnTo>
                    <a:pt x="863834" y="1337518"/>
                  </a:lnTo>
                  <a:lnTo>
                    <a:pt x="857825" y="1328628"/>
                  </a:lnTo>
                  <a:lnTo>
                    <a:pt x="855621" y="1317198"/>
                  </a:lnTo>
                  <a:lnTo>
                    <a:pt x="855621" y="1209248"/>
                  </a:lnTo>
                  <a:lnTo>
                    <a:pt x="857825" y="1197818"/>
                  </a:lnTo>
                  <a:lnTo>
                    <a:pt x="863834" y="1188928"/>
                  </a:lnTo>
                  <a:lnTo>
                    <a:pt x="872745" y="1183848"/>
                  </a:lnTo>
                  <a:lnTo>
                    <a:pt x="883653" y="1181308"/>
                  </a:lnTo>
                  <a:lnTo>
                    <a:pt x="885582" y="1181308"/>
                  </a:lnTo>
                  <a:lnTo>
                    <a:pt x="896489" y="1183848"/>
                  </a:lnTo>
                  <a:lnTo>
                    <a:pt x="905400" y="1188928"/>
                  </a:lnTo>
                  <a:lnTo>
                    <a:pt x="911409" y="1197818"/>
                  </a:lnTo>
                  <a:lnTo>
                    <a:pt x="913614" y="1209248"/>
                  </a:lnTo>
                  <a:lnTo>
                    <a:pt x="913614" y="1317198"/>
                  </a:lnTo>
                  <a:lnTo>
                    <a:pt x="911409" y="1328628"/>
                  </a:lnTo>
                  <a:lnTo>
                    <a:pt x="905400" y="1337518"/>
                  </a:lnTo>
                  <a:lnTo>
                    <a:pt x="896489" y="1343868"/>
                  </a:lnTo>
                  <a:lnTo>
                    <a:pt x="885582" y="1345138"/>
                  </a:lnTo>
                  <a:close/>
                </a:path>
                <a:path w="1715135" h="1659254">
                  <a:moveTo>
                    <a:pt x="1467526" y="1345138"/>
                  </a:moveTo>
                  <a:lnTo>
                    <a:pt x="1465597" y="1345138"/>
                  </a:lnTo>
                  <a:lnTo>
                    <a:pt x="1454689" y="1343868"/>
                  </a:lnTo>
                  <a:lnTo>
                    <a:pt x="1445778" y="1337518"/>
                  </a:lnTo>
                  <a:lnTo>
                    <a:pt x="1439769" y="1328628"/>
                  </a:lnTo>
                  <a:lnTo>
                    <a:pt x="1437565" y="1317198"/>
                  </a:lnTo>
                  <a:lnTo>
                    <a:pt x="1437565" y="1209248"/>
                  </a:lnTo>
                  <a:lnTo>
                    <a:pt x="1439769" y="1197818"/>
                  </a:lnTo>
                  <a:lnTo>
                    <a:pt x="1445778" y="1188928"/>
                  </a:lnTo>
                  <a:lnTo>
                    <a:pt x="1454689" y="1183848"/>
                  </a:lnTo>
                  <a:lnTo>
                    <a:pt x="1465597" y="1181308"/>
                  </a:lnTo>
                  <a:lnTo>
                    <a:pt x="1467526" y="1181308"/>
                  </a:lnTo>
                  <a:lnTo>
                    <a:pt x="1478434" y="1183848"/>
                  </a:lnTo>
                  <a:lnTo>
                    <a:pt x="1487344" y="1188928"/>
                  </a:lnTo>
                  <a:lnTo>
                    <a:pt x="1493354" y="1197818"/>
                  </a:lnTo>
                  <a:lnTo>
                    <a:pt x="1495558" y="1209248"/>
                  </a:lnTo>
                  <a:lnTo>
                    <a:pt x="1495558" y="1317198"/>
                  </a:lnTo>
                  <a:lnTo>
                    <a:pt x="1493354" y="1328628"/>
                  </a:lnTo>
                  <a:lnTo>
                    <a:pt x="1487344" y="1337518"/>
                  </a:lnTo>
                  <a:lnTo>
                    <a:pt x="1478433" y="1343868"/>
                  </a:lnTo>
                  <a:lnTo>
                    <a:pt x="1467526" y="1345138"/>
                  </a:lnTo>
                  <a:close/>
                </a:path>
                <a:path w="1715135" h="1659254">
                  <a:moveTo>
                    <a:pt x="549668" y="1511508"/>
                  </a:moveTo>
                  <a:lnTo>
                    <a:pt x="94511" y="1511508"/>
                  </a:lnTo>
                  <a:lnTo>
                    <a:pt x="75991" y="1510238"/>
                  </a:lnTo>
                  <a:lnTo>
                    <a:pt x="29060" y="1484838"/>
                  </a:lnTo>
                  <a:lnTo>
                    <a:pt x="7474" y="1453088"/>
                  </a:lnTo>
                  <a:lnTo>
                    <a:pt x="0" y="1416258"/>
                  </a:lnTo>
                  <a:lnTo>
                    <a:pt x="0" y="1262588"/>
                  </a:lnTo>
                  <a:lnTo>
                    <a:pt x="2204" y="1251158"/>
                  </a:lnTo>
                  <a:lnTo>
                    <a:pt x="8213" y="1242268"/>
                  </a:lnTo>
                  <a:lnTo>
                    <a:pt x="17124" y="1237188"/>
                  </a:lnTo>
                  <a:lnTo>
                    <a:pt x="28032" y="1234648"/>
                  </a:lnTo>
                  <a:lnTo>
                    <a:pt x="577700" y="1234648"/>
                  </a:lnTo>
                  <a:lnTo>
                    <a:pt x="577700" y="1483568"/>
                  </a:lnTo>
                  <a:lnTo>
                    <a:pt x="575496" y="1493728"/>
                  </a:lnTo>
                  <a:lnTo>
                    <a:pt x="569487" y="1502618"/>
                  </a:lnTo>
                  <a:lnTo>
                    <a:pt x="560576" y="1508968"/>
                  </a:lnTo>
                  <a:lnTo>
                    <a:pt x="549668" y="1511508"/>
                  </a:lnTo>
                  <a:close/>
                </a:path>
                <a:path w="1715135" h="1659254">
                  <a:moveTo>
                    <a:pt x="1602242" y="1658828"/>
                  </a:moveTo>
                  <a:lnTo>
                    <a:pt x="749193" y="1658828"/>
                  </a:lnTo>
                  <a:lnTo>
                    <a:pt x="705558" y="1649938"/>
                  </a:lnTo>
                  <a:lnTo>
                    <a:pt x="669822" y="1625808"/>
                  </a:lnTo>
                  <a:lnTo>
                    <a:pt x="645676" y="1590248"/>
                  </a:lnTo>
                  <a:lnTo>
                    <a:pt x="636808" y="1547068"/>
                  </a:lnTo>
                  <a:lnTo>
                    <a:pt x="636808" y="1321008"/>
                  </a:lnTo>
                  <a:lnTo>
                    <a:pt x="639012" y="1309578"/>
                  </a:lnTo>
                  <a:lnTo>
                    <a:pt x="645021" y="1300688"/>
                  </a:lnTo>
                  <a:lnTo>
                    <a:pt x="653932" y="1295608"/>
                  </a:lnTo>
                  <a:lnTo>
                    <a:pt x="664840" y="1293068"/>
                  </a:lnTo>
                  <a:lnTo>
                    <a:pt x="768781" y="1293068"/>
                  </a:lnTo>
                  <a:lnTo>
                    <a:pt x="796813" y="1321008"/>
                  </a:lnTo>
                  <a:lnTo>
                    <a:pt x="796813" y="1346408"/>
                  </a:lnTo>
                  <a:lnTo>
                    <a:pt x="801328" y="1369268"/>
                  </a:lnTo>
                  <a:lnTo>
                    <a:pt x="813642" y="1388318"/>
                  </a:lnTo>
                  <a:lnTo>
                    <a:pt x="831912" y="1399748"/>
                  </a:lnTo>
                  <a:lnTo>
                    <a:pt x="854292" y="1404828"/>
                  </a:lnTo>
                  <a:lnTo>
                    <a:pt x="1714628" y="1404828"/>
                  </a:lnTo>
                  <a:lnTo>
                    <a:pt x="1714628" y="1547068"/>
                  </a:lnTo>
                  <a:lnTo>
                    <a:pt x="1705759" y="1590248"/>
                  </a:lnTo>
                  <a:lnTo>
                    <a:pt x="1681613" y="1625808"/>
                  </a:lnTo>
                  <a:lnTo>
                    <a:pt x="1645878" y="1649938"/>
                  </a:lnTo>
                  <a:lnTo>
                    <a:pt x="1602242" y="1658828"/>
                  </a:lnTo>
                  <a:close/>
                </a:path>
                <a:path w="1715135" h="1659254">
                  <a:moveTo>
                    <a:pt x="1436193" y="1404828"/>
                  </a:moveTo>
                  <a:lnTo>
                    <a:pt x="915114" y="1404828"/>
                  </a:lnTo>
                  <a:lnTo>
                    <a:pt x="937476" y="1399748"/>
                  </a:lnTo>
                  <a:lnTo>
                    <a:pt x="955747" y="1388318"/>
                  </a:lnTo>
                  <a:lnTo>
                    <a:pt x="968072" y="1369268"/>
                  </a:lnTo>
                  <a:lnTo>
                    <a:pt x="972592" y="1346408"/>
                  </a:lnTo>
                  <a:lnTo>
                    <a:pt x="972592" y="1321008"/>
                  </a:lnTo>
                  <a:lnTo>
                    <a:pt x="974796" y="1309578"/>
                  </a:lnTo>
                  <a:lnTo>
                    <a:pt x="980806" y="1300688"/>
                  </a:lnTo>
                  <a:lnTo>
                    <a:pt x="989717" y="1295608"/>
                  </a:lnTo>
                  <a:lnTo>
                    <a:pt x="1000624" y="1293068"/>
                  </a:lnTo>
                  <a:lnTo>
                    <a:pt x="1378714" y="1293068"/>
                  </a:lnTo>
                  <a:lnTo>
                    <a:pt x="1378714" y="1346408"/>
                  </a:lnTo>
                  <a:lnTo>
                    <a:pt x="1383229" y="1369268"/>
                  </a:lnTo>
                  <a:lnTo>
                    <a:pt x="1395543" y="1388318"/>
                  </a:lnTo>
                  <a:lnTo>
                    <a:pt x="1413813" y="1399748"/>
                  </a:lnTo>
                  <a:lnTo>
                    <a:pt x="1436193" y="1404828"/>
                  </a:lnTo>
                  <a:close/>
                </a:path>
                <a:path w="1715135" h="1659254">
                  <a:moveTo>
                    <a:pt x="1714628" y="1404828"/>
                  </a:moveTo>
                  <a:lnTo>
                    <a:pt x="1497015" y="1404828"/>
                  </a:lnTo>
                  <a:lnTo>
                    <a:pt x="1519377" y="1399748"/>
                  </a:lnTo>
                  <a:lnTo>
                    <a:pt x="1537649" y="1388318"/>
                  </a:lnTo>
                  <a:lnTo>
                    <a:pt x="1549973" y="1369268"/>
                  </a:lnTo>
                  <a:lnTo>
                    <a:pt x="1554494" y="1346408"/>
                  </a:lnTo>
                  <a:lnTo>
                    <a:pt x="1554494" y="1321008"/>
                  </a:lnTo>
                  <a:lnTo>
                    <a:pt x="1556698" y="1309578"/>
                  </a:lnTo>
                  <a:lnTo>
                    <a:pt x="1562707" y="1300688"/>
                  </a:lnTo>
                  <a:lnTo>
                    <a:pt x="1571618" y="1295608"/>
                  </a:lnTo>
                  <a:lnTo>
                    <a:pt x="1582526" y="1293068"/>
                  </a:lnTo>
                  <a:lnTo>
                    <a:pt x="1686467" y="1293068"/>
                  </a:lnTo>
                  <a:lnTo>
                    <a:pt x="1697377" y="1295608"/>
                  </a:lnTo>
                  <a:lnTo>
                    <a:pt x="1706302" y="1300688"/>
                  </a:lnTo>
                  <a:lnTo>
                    <a:pt x="1712350" y="1309578"/>
                  </a:lnTo>
                  <a:lnTo>
                    <a:pt x="1714628" y="1321008"/>
                  </a:lnTo>
                  <a:lnTo>
                    <a:pt x="1714628" y="1404828"/>
                  </a:lnTo>
                  <a:close/>
                </a:path>
                <a:path w="1715135" h="1659254">
                  <a:moveTo>
                    <a:pt x="120242" y="1658828"/>
                  </a:moveTo>
                  <a:lnTo>
                    <a:pt x="82050" y="1635968"/>
                  </a:lnTo>
                  <a:lnTo>
                    <a:pt x="75437" y="1597868"/>
                  </a:lnTo>
                  <a:lnTo>
                    <a:pt x="77810" y="1587708"/>
                  </a:lnTo>
                  <a:lnTo>
                    <a:pt x="83844" y="1578818"/>
                  </a:lnTo>
                  <a:lnTo>
                    <a:pt x="92682" y="1572468"/>
                  </a:lnTo>
                  <a:lnTo>
                    <a:pt x="103470" y="1571198"/>
                  </a:lnTo>
                  <a:lnTo>
                    <a:pt x="159405" y="1571198"/>
                  </a:lnTo>
                  <a:lnTo>
                    <a:pt x="170331" y="1572468"/>
                  </a:lnTo>
                  <a:lnTo>
                    <a:pt x="179240" y="1578818"/>
                  </a:lnTo>
                  <a:lnTo>
                    <a:pt x="185239" y="1587708"/>
                  </a:lnTo>
                  <a:lnTo>
                    <a:pt x="187437" y="1599138"/>
                  </a:lnTo>
                  <a:lnTo>
                    <a:pt x="187437" y="1618188"/>
                  </a:lnTo>
                  <a:lnTo>
                    <a:pt x="177169" y="1642318"/>
                  </a:lnTo>
                  <a:lnTo>
                    <a:pt x="151968" y="1656288"/>
                  </a:lnTo>
                  <a:lnTo>
                    <a:pt x="120242" y="1658828"/>
                  </a:lnTo>
                  <a:close/>
                </a:path>
              </a:pathLst>
            </a:custGeom>
            <a:solidFill>
              <a:srgbClr val="FFFFFF"/>
            </a:solidFill>
          </p:spPr>
          <p:txBody>
            <a:bodyPr wrap="square" lIns="0" tIns="0" rIns="0" bIns="0" rtlCol="0"/>
            <a:lstStyle/>
            <a:p>
              <a:endParaRPr/>
            </a:p>
          </p:txBody>
        </p:sp>
      </p:grpSp>
      <p:sp>
        <p:nvSpPr>
          <p:cNvPr id="8" name="object 8"/>
          <p:cNvSpPr txBox="1"/>
          <p:nvPr/>
        </p:nvSpPr>
        <p:spPr>
          <a:xfrm>
            <a:off x="3975764" y="7918412"/>
            <a:ext cx="2353310" cy="383540"/>
          </a:xfrm>
          <a:prstGeom prst="rect">
            <a:avLst/>
          </a:prstGeom>
        </p:spPr>
        <p:txBody>
          <a:bodyPr vert="horz" wrap="square" lIns="0" tIns="12700" rIns="0" bIns="0" rtlCol="0">
            <a:spAutoFit/>
          </a:bodyPr>
          <a:lstStyle/>
          <a:p>
            <a:pPr marL="12700">
              <a:lnSpc>
                <a:spcPct val="100000"/>
              </a:lnSpc>
              <a:spcBef>
                <a:spcPts val="100"/>
              </a:spcBef>
            </a:pPr>
            <a:r>
              <a:rPr sz="2350" b="1" spc="-10" dirty="0">
                <a:solidFill>
                  <a:srgbClr val="FFFFFF"/>
                </a:solidFill>
                <a:latin typeface="Roboto"/>
                <a:cs typeface="Roboto"/>
              </a:rPr>
              <a:t>Comercialización</a:t>
            </a:r>
            <a:endParaRPr sz="2350">
              <a:latin typeface="Roboto"/>
              <a:cs typeface="Roboto"/>
            </a:endParaRPr>
          </a:p>
        </p:txBody>
      </p:sp>
      <p:grpSp>
        <p:nvGrpSpPr>
          <p:cNvPr id="9" name="object 9"/>
          <p:cNvGrpSpPr/>
          <p:nvPr/>
        </p:nvGrpSpPr>
        <p:grpSpPr>
          <a:xfrm>
            <a:off x="6990730" y="3686609"/>
            <a:ext cx="3830954" cy="5032375"/>
            <a:chOff x="6990730" y="3686609"/>
            <a:chExt cx="3830954" cy="5032375"/>
          </a:xfrm>
        </p:grpSpPr>
        <p:sp>
          <p:nvSpPr>
            <p:cNvPr id="10" name="object 10"/>
            <p:cNvSpPr/>
            <p:nvPr/>
          </p:nvSpPr>
          <p:spPr>
            <a:xfrm>
              <a:off x="6990730" y="7540186"/>
              <a:ext cx="3830954" cy="1179195"/>
            </a:xfrm>
            <a:custGeom>
              <a:avLst/>
              <a:gdLst/>
              <a:ahLst/>
              <a:cxnLst/>
              <a:rect l="l" t="t" r="r" b="b"/>
              <a:pathLst>
                <a:path w="3830954" h="1179195">
                  <a:moveTo>
                    <a:pt x="3244648" y="1178745"/>
                  </a:moveTo>
                  <a:lnTo>
                    <a:pt x="589372" y="1178745"/>
                  </a:lnTo>
                  <a:lnTo>
                    <a:pt x="541034" y="1176791"/>
                  </a:lnTo>
                  <a:lnTo>
                    <a:pt x="493773" y="1171031"/>
                  </a:lnTo>
                  <a:lnTo>
                    <a:pt x="447739" y="1161616"/>
                  </a:lnTo>
                  <a:lnTo>
                    <a:pt x="403085" y="1148698"/>
                  </a:lnTo>
                  <a:lnTo>
                    <a:pt x="359962" y="1132429"/>
                  </a:lnTo>
                  <a:lnTo>
                    <a:pt x="318522" y="1112960"/>
                  </a:lnTo>
                  <a:lnTo>
                    <a:pt x="278916" y="1090443"/>
                  </a:lnTo>
                  <a:lnTo>
                    <a:pt x="241296" y="1065030"/>
                  </a:lnTo>
                  <a:lnTo>
                    <a:pt x="205815" y="1036872"/>
                  </a:lnTo>
                  <a:lnTo>
                    <a:pt x="172623" y="1006122"/>
                  </a:lnTo>
                  <a:lnTo>
                    <a:pt x="141872" y="972930"/>
                  </a:lnTo>
                  <a:lnTo>
                    <a:pt x="113714" y="937448"/>
                  </a:lnTo>
                  <a:lnTo>
                    <a:pt x="88301" y="899829"/>
                  </a:lnTo>
                  <a:lnTo>
                    <a:pt x="65784" y="860223"/>
                  </a:lnTo>
                  <a:lnTo>
                    <a:pt x="46315" y="818783"/>
                  </a:lnTo>
                  <a:lnTo>
                    <a:pt x="30046" y="775660"/>
                  </a:lnTo>
                  <a:lnTo>
                    <a:pt x="17128" y="731005"/>
                  </a:lnTo>
                  <a:lnTo>
                    <a:pt x="7713" y="684971"/>
                  </a:lnTo>
                  <a:lnTo>
                    <a:pt x="1953" y="637710"/>
                  </a:lnTo>
                  <a:lnTo>
                    <a:pt x="0" y="589372"/>
                  </a:lnTo>
                  <a:lnTo>
                    <a:pt x="1953" y="541034"/>
                  </a:lnTo>
                  <a:lnTo>
                    <a:pt x="7713" y="493773"/>
                  </a:lnTo>
                  <a:lnTo>
                    <a:pt x="17128" y="447739"/>
                  </a:lnTo>
                  <a:lnTo>
                    <a:pt x="30046" y="403085"/>
                  </a:lnTo>
                  <a:lnTo>
                    <a:pt x="46315" y="359962"/>
                  </a:lnTo>
                  <a:lnTo>
                    <a:pt x="65784" y="318522"/>
                  </a:lnTo>
                  <a:lnTo>
                    <a:pt x="88301" y="278916"/>
                  </a:lnTo>
                  <a:lnTo>
                    <a:pt x="113714" y="241296"/>
                  </a:lnTo>
                  <a:lnTo>
                    <a:pt x="141872" y="205815"/>
                  </a:lnTo>
                  <a:lnTo>
                    <a:pt x="172623" y="172623"/>
                  </a:lnTo>
                  <a:lnTo>
                    <a:pt x="205815" y="141872"/>
                  </a:lnTo>
                  <a:lnTo>
                    <a:pt x="241296" y="113714"/>
                  </a:lnTo>
                  <a:lnTo>
                    <a:pt x="278916" y="88301"/>
                  </a:lnTo>
                  <a:lnTo>
                    <a:pt x="318522" y="65784"/>
                  </a:lnTo>
                  <a:lnTo>
                    <a:pt x="359962" y="46315"/>
                  </a:lnTo>
                  <a:lnTo>
                    <a:pt x="403085" y="30046"/>
                  </a:lnTo>
                  <a:lnTo>
                    <a:pt x="447739" y="17128"/>
                  </a:lnTo>
                  <a:lnTo>
                    <a:pt x="493773" y="7713"/>
                  </a:lnTo>
                  <a:lnTo>
                    <a:pt x="541034" y="1953"/>
                  </a:lnTo>
                  <a:lnTo>
                    <a:pt x="589372" y="0"/>
                  </a:lnTo>
                  <a:lnTo>
                    <a:pt x="3244648" y="0"/>
                  </a:lnTo>
                  <a:lnTo>
                    <a:pt x="3292986" y="1953"/>
                  </a:lnTo>
                  <a:lnTo>
                    <a:pt x="3340247" y="7713"/>
                  </a:lnTo>
                  <a:lnTo>
                    <a:pt x="3386281" y="17128"/>
                  </a:lnTo>
                  <a:lnTo>
                    <a:pt x="3430935" y="30046"/>
                  </a:lnTo>
                  <a:lnTo>
                    <a:pt x="3474058" y="46315"/>
                  </a:lnTo>
                  <a:lnTo>
                    <a:pt x="3515499" y="65784"/>
                  </a:lnTo>
                  <a:lnTo>
                    <a:pt x="3555104" y="88301"/>
                  </a:lnTo>
                  <a:lnTo>
                    <a:pt x="3592724" y="113714"/>
                  </a:lnTo>
                  <a:lnTo>
                    <a:pt x="3628205" y="141872"/>
                  </a:lnTo>
                  <a:lnTo>
                    <a:pt x="3661397" y="172623"/>
                  </a:lnTo>
                  <a:lnTo>
                    <a:pt x="3692148" y="205815"/>
                  </a:lnTo>
                  <a:lnTo>
                    <a:pt x="3720306" y="241296"/>
                  </a:lnTo>
                  <a:lnTo>
                    <a:pt x="3745719" y="278916"/>
                  </a:lnTo>
                  <a:lnTo>
                    <a:pt x="3768236" y="318522"/>
                  </a:lnTo>
                  <a:lnTo>
                    <a:pt x="3787705" y="359962"/>
                  </a:lnTo>
                  <a:lnTo>
                    <a:pt x="3803974" y="403085"/>
                  </a:lnTo>
                  <a:lnTo>
                    <a:pt x="3816892" y="447739"/>
                  </a:lnTo>
                  <a:lnTo>
                    <a:pt x="3826307" y="493773"/>
                  </a:lnTo>
                  <a:lnTo>
                    <a:pt x="3830923" y="531650"/>
                  </a:lnTo>
                  <a:lnTo>
                    <a:pt x="3830923" y="647094"/>
                  </a:lnTo>
                  <a:lnTo>
                    <a:pt x="3826307" y="684971"/>
                  </a:lnTo>
                  <a:lnTo>
                    <a:pt x="3816892" y="731005"/>
                  </a:lnTo>
                  <a:lnTo>
                    <a:pt x="3803974" y="775660"/>
                  </a:lnTo>
                  <a:lnTo>
                    <a:pt x="3787705" y="818783"/>
                  </a:lnTo>
                  <a:lnTo>
                    <a:pt x="3768236" y="860223"/>
                  </a:lnTo>
                  <a:lnTo>
                    <a:pt x="3745719" y="899829"/>
                  </a:lnTo>
                  <a:lnTo>
                    <a:pt x="3720306" y="937448"/>
                  </a:lnTo>
                  <a:lnTo>
                    <a:pt x="3692148" y="972930"/>
                  </a:lnTo>
                  <a:lnTo>
                    <a:pt x="3661397" y="1006122"/>
                  </a:lnTo>
                  <a:lnTo>
                    <a:pt x="3628205" y="1036872"/>
                  </a:lnTo>
                  <a:lnTo>
                    <a:pt x="3592724" y="1065030"/>
                  </a:lnTo>
                  <a:lnTo>
                    <a:pt x="3555104" y="1090443"/>
                  </a:lnTo>
                  <a:lnTo>
                    <a:pt x="3515499" y="1112960"/>
                  </a:lnTo>
                  <a:lnTo>
                    <a:pt x="3474058" y="1132429"/>
                  </a:lnTo>
                  <a:lnTo>
                    <a:pt x="3430935" y="1148698"/>
                  </a:lnTo>
                  <a:lnTo>
                    <a:pt x="3386281" y="1161616"/>
                  </a:lnTo>
                  <a:lnTo>
                    <a:pt x="3340247" y="1171031"/>
                  </a:lnTo>
                  <a:lnTo>
                    <a:pt x="3292986" y="1176791"/>
                  </a:lnTo>
                  <a:lnTo>
                    <a:pt x="3244648" y="1178745"/>
                  </a:lnTo>
                  <a:close/>
                </a:path>
              </a:pathLst>
            </a:custGeom>
            <a:solidFill>
              <a:srgbClr val="21408B"/>
            </a:solidFill>
          </p:spPr>
          <p:txBody>
            <a:bodyPr wrap="square" lIns="0" tIns="0" rIns="0" bIns="0" rtlCol="0"/>
            <a:lstStyle/>
            <a:p>
              <a:endParaRPr/>
            </a:p>
          </p:txBody>
        </p:sp>
        <p:sp>
          <p:nvSpPr>
            <p:cNvPr id="11" name="object 11"/>
            <p:cNvSpPr/>
            <p:nvPr/>
          </p:nvSpPr>
          <p:spPr>
            <a:xfrm>
              <a:off x="7377389" y="3686609"/>
              <a:ext cx="3086100" cy="3086100"/>
            </a:xfrm>
            <a:custGeom>
              <a:avLst/>
              <a:gdLst/>
              <a:ahLst/>
              <a:cxnLst/>
              <a:rect l="l" t="t" r="r" b="b"/>
              <a:pathLst>
                <a:path w="3086100" h="3086100">
                  <a:moveTo>
                    <a:pt x="1543076" y="3086099"/>
                  </a:moveTo>
                  <a:lnTo>
                    <a:pt x="1494987" y="3085365"/>
                  </a:lnTo>
                  <a:lnTo>
                    <a:pt x="1447291" y="3083177"/>
                  </a:lnTo>
                  <a:lnTo>
                    <a:pt x="1399983" y="3079555"/>
                  </a:lnTo>
                  <a:lnTo>
                    <a:pt x="1353083" y="3074522"/>
                  </a:lnTo>
                  <a:lnTo>
                    <a:pt x="1306613" y="3068099"/>
                  </a:lnTo>
                  <a:lnTo>
                    <a:pt x="1260594" y="3060306"/>
                  </a:lnTo>
                  <a:lnTo>
                    <a:pt x="1215048" y="3051166"/>
                  </a:lnTo>
                  <a:lnTo>
                    <a:pt x="1169996" y="3040700"/>
                  </a:lnTo>
                  <a:lnTo>
                    <a:pt x="1125459" y="3028929"/>
                  </a:lnTo>
                  <a:lnTo>
                    <a:pt x="1081460" y="3015874"/>
                  </a:lnTo>
                  <a:lnTo>
                    <a:pt x="1038018" y="3001557"/>
                  </a:lnTo>
                  <a:lnTo>
                    <a:pt x="995155" y="2985999"/>
                  </a:lnTo>
                  <a:lnTo>
                    <a:pt x="952894" y="2969221"/>
                  </a:lnTo>
                  <a:lnTo>
                    <a:pt x="911254" y="2951246"/>
                  </a:lnTo>
                  <a:lnTo>
                    <a:pt x="870258" y="2932093"/>
                  </a:lnTo>
                  <a:lnTo>
                    <a:pt x="829926" y="2911785"/>
                  </a:lnTo>
                  <a:lnTo>
                    <a:pt x="790281" y="2890342"/>
                  </a:lnTo>
                  <a:lnTo>
                    <a:pt x="751343" y="2867787"/>
                  </a:lnTo>
                  <a:lnTo>
                    <a:pt x="713134" y="2844140"/>
                  </a:lnTo>
                  <a:lnTo>
                    <a:pt x="675675" y="2819423"/>
                  </a:lnTo>
                  <a:lnTo>
                    <a:pt x="638987" y="2793658"/>
                  </a:lnTo>
                  <a:lnTo>
                    <a:pt x="603092" y="2766864"/>
                  </a:lnTo>
                  <a:lnTo>
                    <a:pt x="568011" y="2739065"/>
                  </a:lnTo>
                  <a:lnTo>
                    <a:pt x="533766" y="2710280"/>
                  </a:lnTo>
                  <a:lnTo>
                    <a:pt x="500378" y="2680532"/>
                  </a:lnTo>
                  <a:lnTo>
                    <a:pt x="467867" y="2649842"/>
                  </a:lnTo>
                  <a:lnTo>
                    <a:pt x="436256" y="2618231"/>
                  </a:lnTo>
                  <a:lnTo>
                    <a:pt x="405566" y="2585721"/>
                  </a:lnTo>
                  <a:lnTo>
                    <a:pt x="375819" y="2552333"/>
                  </a:lnTo>
                  <a:lnTo>
                    <a:pt x="347034" y="2518087"/>
                  </a:lnTo>
                  <a:lnTo>
                    <a:pt x="319235" y="2483007"/>
                  </a:lnTo>
                  <a:lnTo>
                    <a:pt x="292441" y="2447112"/>
                  </a:lnTo>
                  <a:lnTo>
                    <a:pt x="266675" y="2410424"/>
                  </a:lnTo>
                  <a:lnTo>
                    <a:pt x="241958" y="2372965"/>
                  </a:lnTo>
                  <a:lnTo>
                    <a:pt x="218312" y="2334756"/>
                  </a:lnTo>
                  <a:lnTo>
                    <a:pt x="195756" y="2295818"/>
                  </a:lnTo>
                  <a:lnTo>
                    <a:pt x="174314" y="2256172"/>
                  </a:lnTo>
                  <a:lnTo>
                    <a:pt x="154006" y="2215841"/>
                  </a:lnTo>
                  <a:lnTo>
                    <a:pt x="134853" y="2174845"/>
                  </a:lnTo>
                  <a:lnTo>
                    <a:pt x="116877" y="2133205"/>
                  </a:lnTo>
                  <a:lnTo>
                    <a:pt x="100100" y="2090943"/>
                  </a:lnTo>
                  <a:lnTo>
                    <a:pt x="84542" y="2048081"/>
                  </a:lnTo>
                  <a:lnTo>
                    <a:pt x="70225" y="2004639"/>
                  </a:lnTo>
                  <a:lnTo>
                    <a:pt x="57170" y="1960639"/>
                  </a:lnTo>
                  <a:lnTo>
                    <a:pt x="45399" y="1916103"/>
                  </a:lnTo>
                  <a:lnTo>
                    <a:pt x="34933" y="1871051"/>
                  </a:lnTo>
                  <a:lnTo>
                    <a:pt x="25793" y="1825505"/>
                  </a:lnTo>
                  <a:lnTo>
                    <a:pt x="18000" y="1779486"/>
                  </a:lnTo>
                  <a:lnTo>
                    <a:pt x="11577" y="1733016"/>
                  </a:lnTo>
                  <a:lnTo>
                    <a:pt x="6544" y="1686116"/>
                  </a:lnTo>
                  <a:lnTo>
                    <a:pt x="2922" y="1638808"/>
                  </a:lnTo>
                  <a:lnTo>
                    <a:pt x="734" y="1591112"/>
                  </a:lnTo>
                  <a:lnTo>
                    <a:pt x="0" y="1543045"/>
                  </a:lnTo>
                  <a:lnTo>
                    <a:pt x="734" y="1494988"/>
                  </a:lnTo>
                  <a:lnTo>
                    <a:pt x="2922" y="1447292"/>
                  </a:lnTo>
                  <a:lnTo>
                    <a:pt x="6544" y="1399983"/>
                  </a:lnTo>
                  <a:lnTo>
                    <a:pt x="11577" y="1353083"/>
                  </a:lnTo>
                  <a:lnTo>
                    <a:pt x="18000" y="1306613"/>
                  </a:lnTo>
                  <a:lnTo>
                    <a:pt x="25793" y="1260594"/>
                  </a:lnTo>
                  <a:lnTo>
                    <a:pt x="34933" y="1215048"/>
                  </a:lnTo>
                  <a:lnTo>
                    <a:pt x="45399" y="1169996"/>
                  </a:lnTo>
                  <a:lnTo>
                    <a:pt x="57170" y="1125460"/>
                  </a:lnTo>
                  <a:lnTo>
                    <a:pt x="70225" y="1081460"/>
                  </a:lnTo>
                  <a:lnTo>
                    <a:pt x="84542" y="1038018"/>
                  </a:lnTo>
                  <a:lnTo>
                    <a:pt x="100100" y="995156"/>
                  </a:lnTo>
                  <a:lnTo>
                    <a:pt x="116877" y="952894"/>
                  </a:lnTo>
                  <a:lnTo>
                    <a:pt x="134853" y="911254"/>
                  </a:lnTo>
                  <a:lnTo>
                    <a:pt x="154006" y="870258"/>
                  </a:lnTo>
                  <a:lnTo>
                    <a:pt x="174314" y="829927"/>
                  </a:lnTo>
                  <a:lnTo>
                    <a:pt x="195756" y="790281"/>
                  </a:lnTo>
                  <a:lnTo>
                    <a:pt x="218312" y="751343"/>
                  </a:lnTo>
                  <a:lnTo>
                    <a:pt x="241958" y="713134"/>
                  </a:lnTo>
                  <a:lnTo>
                    <a:pt x="266675" y="675675"/>
                  </a:lnTo>
                  <a:lnTo>
                    <a:pt x="292441" y="638987"/>
                  </a:lnTo>
                  <a:lnTo>
                    <a:pt x="319235" y="603092"/>
                  </a:lnTo>
                  <a:lnTo>
                    <a:pt x="347034" y="568012"/>
                  </a:lnTo>
                  <a:lnTo>
                    <a:pt x="375819" y="533766"/>
                  </a:lnTo>
                  <a:lnTo>
                    <a:pt x="405566" y="500378"/>
                  </a:lnTo>
                  <a:lnTo>
                    <a:pt x="436256" y="467868"/>
                  </a:lnTo>
                  <a:lnTo>
                    <a:pt x="467867" y="436257"/>
                  </a:lnTo>
                  <a:lnTo>
                    <a:pt x="500378" y="405567"/>
                  </a:lnTo>
                  <a:lnTo>
                    <a:pt x="533766" y="375819"/>
                  </a:lnTo>
                  <a:lnTo>
                    <a:pt x="568011" y="347034"/>
                  </a:lnTo>
                  <a:lnTo>
                    <a:pt x="603092" y="319235"/>
                  </a:lnTo>
                  <a:lnTo>
                    <a:pt x="638987" y="292442"/>
                  </a:lnTo>
                  <a:lnTo>
                    <a:pt x="675675" y="266676"/>
                  </a:lnTo>
                  <a:lnTo>
                    <a:pt x="713134" y="241959"/>
                  </a:lnTo>
                  <a:lnTo>
                    <a:pt x="751343" y="218312"/>
                  </a:lnTo>
                  <a:lnTo>
                    <a:pt x="790281" y="195757"/>
                  </a:lnTo>
                  <a:lnTo>
                    <a:pt x="829926" y="174314"/>
                  </a:lnTo>
                  <a:lnTo>
                    <a:pt x="870258" y="154006"/>
                  </a:lnTo>
                  <a:lnTo>
                    <a:pt x="911254" y="134853"/>
                  </a:lnTo>
                  <a:lnTo>
                    <a:pt x="952894" y="116878"/>
                  </a:lnTo>
                  <a:lnTo>
                    <a:pt x="995155" y="100100"/>
                  </a:lnTo>
                  <a:lnTo>
                    <a:pt x="1038018" y="84542"/>
                  </a:lnTo>
                  <a:lnTo>
                    <a:pt x="1081460" y="70225"/>
                  </a:lnTo>
                  <a:lnTo>
                    <a:pt x="1125459" y="57170"/>
                  </a:lnTo>
                  <a:lnTo>
                    <a:pt x="1169996" y="45399"/>
                  </a:lnTo>
                  <a:lnTo>
                    <a:pt x="1215048" y="34933"/>
                  </a:lnTo>
                  <a:lnTo>
                    <a:pt x="1260594" y="25793"/>
                  </a:lnTo>
                  <a:lnTo>
                    <a:pt x="1306613" y="18000"/>
                  </a:lnTo>
                  <a:lnTo>
                    <a:pt x="1353083" y="11577"/>
                  </a:lnTo>
                  <a:lnTo>
                    <a:pt x="1399983" y="6544"/>
                  </a:lnTo>
                  <a:lnTo>
                    <a:pt x="1447291" y="2922"/>
                  </a:lnTo>
                  <a:lnTo>
                    <a:pt x="1494987" y="734"/>
                  </a:lnTo>
                  <a:lnTo>
                    <a:pt x="1543049" y="0"/>
                  </a:lnTo>
                  <a:lnTo>
                    <a:pt x="1591111" y="734"/>
                  </a:lnTo>
                  <a:lnTo>
                    <a:pt x="1638807" y="2922"/>
                  </a:lnTo>
                  <a:lnTo>
                    <a:pt x="1686116" y="6544"/>
                  </a:lnTo>
                  <a:lnTo>
                    <a:pt x="1733016" y="11577"/>
                  </a:lnTo>
                  <a:lnTo>
                    <a:pt x="1779486" y="18000"/>
                  </a:lnTo>
                  <a:lnTo>
                    <a:pt x="1825505" y="25793"/>
                  </a:lnTo>
                  <a:lnTo>
                    <a:pt x="1871051" y="34933"/>
                  </a:lnTo>
                  <a:lnTo>
                    <a:pt x="1916103" y="45399"/>
                  </a:lnTo>
                  <a:lnTo>
                    <a:pt x="1960639" y="57170"/>
                  </a:lnTo>
                  <a:lnTo>
                    <a:pt x="2004639" y="70225"/>
                  </a:lnTo>
                  <a:lnTo>
                    <a:pt x="2048081" y="84542"/>
                  </a:lnTo>
                  <a:lnTo>
                    <a:pt x="2090943" y="100100"/>
                  </a:lnTo>
                  <a:lnTo>
                    <a:pt x="2133205" y="116878"/>
                  </a:lnTo>
                  <a:lnTo>
                    <a:pt x="2174844" y="134853"/>
                  </a:lnTo>
                  <a:lnTo>
                    <a:pt x="2215841" y="154006"/>
                  </a:lnTo>
                  <a:lnTo>
                    <a:pt x="2256172" y="174314"/>
                  </a:lnTo>
                  <a:lnTo>
                    <a:pt x="2295818" y="195757"/>
                  </a:lnTo>
                  <a:lnTo>
                    <a:pt x="2334755" y="218312"/>
                  </a:lnTo>
                  <a:lnTo>
                    <a:pt x="2372965" y="241959"/>
                  </a:lnTo>
                  <a:lnTo>
                    <a:pt x="2410424" y="266676"/>
                  </a:lnTo>
                  <a:lnTo>
                    <a:pt x="2447111" y="292442"/>
                  </a:lnTo>
                  <a:lnTo>
                    <a:pt x="2483006" y="319235"/>
                  </a:lnTo>
                  <a:lnTo>
                    <a:pt x="2518087" y="347034"/>
                  </a:lnTo>
                  <a:lnTo>
                    <a:pt x="2552332" y="375819"/>
                  </a:lnTo>
                  <a:lnTo>
                    <a:pt x="2585721" y="405567"/>
                  </a:lnTo>
                  <a:lnTo>
                    <a:pt x="2618231" y="436257"/>
                  </a:lnTo>
                  <a:lnTo>
                    <a:pt x="2649842" y="467868"/>
                  </a:lnTo>
                  <a:lnTo>
                    <a:pt x="2680532" y="500378"/>
                  </a:lnTo>
                  <a:lnTo>
                    <a:pt x="2710280" y="533766"/>
                  </a:lnTo>
                  <a:lnTo>
                    <a:pt x="2739064" y="568012"/>
                  </a:lnTo>
                  <a:lnTo>
                    <a:pt x="2766864" y="603092"/>
                  </a:lnTo>
                  <a:lnTo>
                    <a:pt x="2793657" y="638987"/>
                  </a:lnTo>
                  <a:lnTo>
                    <a:pt x="2819423" y="675675"/>
                  </a:lnTo>
                  <a:lnTo>
                    <a:pt x="2844140" y="713134"/>
                  </a:lnTo>
                  <a:lnTo>
                    <a:pt x="2867787" y="751343"/>
                  </a:lnTo>
                  <a:lnTo>
                    <a:pt x="2890342" y="790281"/>
                  </a:lnTo>
                  <a:lnTo>
                    <a:pt x="2911785" y="829927"/>
                  </a:lnTo>
                  <a:lnTo>
                    <a:pt x="2932093" y="870258"/>
                  </a:lnTo>
                  <a:lnTo>
                    <a:pt x="2951246" y="911254"/>
                  </a:lnTo>
                  <a:lnTo>
                    <a:pt x="2969221" y="952894"/>
                  </a:lnTo>
                  <a:lnTo>
                    <a:pt x="2985999" y="995156"/>
                  </a:lnTo>
                  <a:lnTo>
                    <a:pt x="3001557" y="1038018"/>
                  </a:lnTo>
                  <a:lnTo>
                    <a:pt x="3015874" y="1081460"/>
                  </a:lnTo>
                  <a:lnTo>
                    <a:pt x="3028929" y="1125460"/>
                  </a:lnTo>
                  <a:lnTo>
                    <a:pt x="3040700" y="1169996"/>
                  </a:lnTo>
                  <a:lnTo>
                    <a:pt x="3051166" y="1215048"/>
                  </a:lnTo>
                  <a:lnTo>
                    <a:pt x="3060306" y="1260594"/>
                  </a:lnTo>
                  <a:lnTo>
                    <a:pt x="3068098" y="1306613"/>
                  </a:lnTo>
                  <a:lnTo>
                    <a:pt x="3074522" y="1353083"/>
                  </a:lnTo>
                  <a:lnTo>
                    <a:pt x="3079555" y="1399983"/>
                  </a:lnTo>
                  <a:lnTo>
                    <a:pt x="3083177" y="1447292"/>
                  </a:lnTo>
                  <a:lnTo>
                    <a:pt x="3085365" y="1494988"/>
                  </a:lnTo>
                  <a:lnTo>
                    <a:pt x="3086099" y="1543050"/>
                  </a:lnTo>
                  <a:lnTo>
                    <a:pt x="3085365" y="1591112"/>
                  </a:lnTo>
                  <a:lnTo>
                    <a:pt x="3083177" y="1638808"/>
                  </a:lnTo>
                  <a:lnTo>
                    <a:pt x="3079555" y="1686116"/>
                  </a:lnTo>
                  <a:lnTo>
                    <a:pt x="3074522" y="1733016"/>
                  </a:lnTo>
                  <a:lnTo>
                    <a:pt x="3068098" y="1779486"/>
                  </a:lnTo>
                  <a:lnTo>
                    <a:pt x="3060306" y="1825505"/>
                  </a:lnTo>
                  <a:lnTo>
                    <a:pt x="3051166" y="1871051"/>
                  </a:lnTo>
                  <a:lnTo>
                    <a:pt x="3040700" y="1916103"/>
                  </a:lnTo>
                  <a:lnTo>
                    <a:pt x="3028929" y="1960639"/>
                  </a:lnTo>
                  <a:lnTo>
                    <a:pt x="3015874" y="2004639"/>
                  </a:lnTo>
                  <a:lnTo>
                    <a:pt x="3001557" y="2048081"/>
                  </a:lnTo>
                  <a:lnTo>
                    <a:pt x="2985999" y="2090943"/>
                  </a:lnTo>
                  <a:lnTo>
                    <a:pt x="2969221" y="2133205"/>
                  </a:lnTo>
                  <a:lnTo>
                    <a:pt x="2951246" y="2174845"/>
                  </a:lnTo>
                  <a:lnTo>
                    <a:pt x="2932093" y="2215841"/>
                  </a:lnTo>
                  <a:lnTo>
                    <a:pt x="2911785" y="2256172"/>
                  </a:lnTo>
                  <a:lnTo>
                    <a:pt x="2890342" y="2295818"/>
                  </a:lnTo>
                  <a:lnTo>
                    <a:pt x="2867787" y="2334756"/>
                  </a:lnTo>
                  <a:lnTo>
                    <a:pt x="2844140" y="2372965"/>
                  </a:lnTo>
                  <a:lnTo>
                    <a:pt x="2819423" y="2410424"/>
                  </a:lnTo>
                  <a:lnTo>
                    <a:pt x="2793657" y="2447112"/>
                  </a:lnTo>
                  <a:lnTo>
                    <a:pt x="2766864" y="2483007"/>
                  </a:lnTo>
                  <a:lnTo>
                    <a:pt x="2739064" y="2518087"/>
                  </a:lnTo>
                  <a:lnTo>
                    <a:pt x="2710280" y="2552333"/>
                  </a:lnTo>
                  <a:lnTo>
                    <a:pt x="2680532" y="2585721"/>
                  </a:lnTo>
                  <a:lnTo>
                    <a:pt x="2649842" y="2618231"/>
                  </a:lnTo>
                  <a:lnTo>
                    <a:pt x="2618231" y="2649842"/>
                  </a:lnTo>
                  <a:lnTo>
                    <a:pt x="2585721" y="2680532"/>
                  </a:lnTo>
                  <a:lnTo>
                    <a:pt x="2552332" y="2710280"/>
                  </a:lnTo>
                  <a:lnTo>
                    <a:pt x="2518087" y="2739065"/>
                  </a:lnTo>
                  <a:lnTo>
                    <a:pt x="2483006" y="2766864"/>
                  </a:lnTo>
                  <a:lnTo>
                    <a:pt x="2447111" y="2793658"/>
                  </a:lnTo>
                  <a:lnTo>
                    <a:pt x="2410424" y="2819423"/>
                  </a:lnTo>
                  <a:lnTo>
                    <a:pt x="2372965" y="2844140"/>
                  </a:lnTo>
                  <a:lnTo>
                    <a:pt x="2334755" y="2867787"/>
                  </a:lnTo>
                  <a:lnTo>
                    <a:pt x="2295818" y="2890342"/>
                  </a:lnTo>
                  <a:lnTo>
                    <a:pt x="2256172" y="2911785"/>
                  </a:lnTo>
                  <a:lnTo>
                    <a:pt x="2215841" y="2932093"/>
                  </a:lnTo>
                  <a:lnTo>
                    <a:pt x="2174844" y="2951246"/>
                  </a:lnTo>
                  <a:lnTo>
                    <a:pt x="2133205" y="2969221"/>
                  </a:lnTo>
                  <a:lnTo>
                    <a:pt x="2090943" y="2985999"/>
                  </a:lnTo>
                  <a:lnTo>
                    <a:pt x="2048081" y="3001557"/>
                  </a:lnTo>
                  <a:lnTo>
                    <a:pt x="2004639" y="3015874"/>
                  </a:lnTo>
                  <a:lnTo>
                    <a:pt x="1960639" y="3028929"/>
                  </a:lnTo>
                  <a:lnTo>
                    <a:pt x="1916103" y="3040700"/>
                  </a:lnTo>
                  <a:lnTo>
                    <a:pt x="1871051" y="3051166"/>
                  </a:lnTo>
                  <a:lnTo>
                    <a:pt x="1825505" y="3060306"/>
                  </a:lnTo>
                  <a:lnTo>
                    <a:pt x="1779486" y="3068099"/>
                  </a:lnTo>
                  <a:lnTo>
                    <a:pt x="1733016" y="3074522"/>
                  </a:lnTo>
                  <a:lnTo>
                    <a:pt x="1686116" y="3079555"/>
                  </a:lnTo>
                  <a:lnTo>
                    <a:pt x="1638807" y="3083177"/>
                  </a:lnTo>
                  <a:lnTo>
                    <a:pt x="1591111" y="3085365"/>
                  </a:lnTo>
                  <a:lnTo>
                    <a:pt x="1543076" y="3086099"/>
                  </a:lnTo>
                  <a:close/>
                </a:path>
              </a:pathLst>
            </a:custGeom>
            <a:solidFill>
              <a:srgbClr val="F5A316"/>
            </a:solidFill>
          </p:spPr>
          <p:txBody>
            <a:bodyPr wrap="square" lIns="0" tIns="0" rIns="0" bIns="0" rtlCol="0"/>
            <a:lstStyle/>
            <a:p>
              <a:endParaRPr/>
            </a:p>
          </p:txBody>
        </p:sp>
        <p:sp>
          <p:nvSpPr>
            <p:cNvPr id="12" name="object 12"/>
            <p:cNvSpPr/>
            <p:nvPr/>
          </p:nvSpPr>
          <p:spPr>
            <a:xfrm>
              <a:off x="8347999" y="4447135"/>
              <a:ext cx="1143635" cy="1633855"/>
            </a:xfrm>
            <a:custGeom>
              <a:avLst/>
              <a:gdLst/>
              <a:ahLst/>
              <a:cxnLst/>
              <a:rect l="l" t="t" r="r" b="b"/>
              <a:pathLst>
                <a:path w="1143634" h="1633854">
                  <a:moveTo>
                    <a:pt x="563083" y="1633607"/>
                  </a:moveTo>
                  <a:lnTo>
                    <a:pt x="518569" y="1627634"/>
                  </a:lnTo>
                  <a:lnTo>
                    <a:pt x="476537" y="1613269"/>
                  </a:lnTo>
                  <a:lnTo>
                    <a:pt x="438006" y="1591388"/>
                  </a:lnTo>
                  <a:lnTo>
                    <a:pt x="403997" y="1562864"/>
                  </a:lnTo>
                  <a:lnTo>
                    <a:pt x="375527" y="1528573"/>
                  </a:lnTo>
                  <a:lnTo>
                    <a:pt x="353617" y="1489388"/>
                  </a:lnTo>
                  <a:lnTo>
                    <a:pt x="339266" y="1446098"/>
                  </a:lnTo>
                  <a:lnTo>
                    <a:pt x="337708" y="1439250"/>
                  </a:lnTo>
                  <a:lnTo>
                    <a:pt x="331692" y="1430818"/>
                  </a:lnTo>
                  <a:lnTo>
                    <a:pt x="288625" y="1404815"/>
                  </a:lnTo>
                  <a:lnTo>
                    <a:pt x="261825" y="1375172"/>
                  </a:lnTo>
                  <a:lnTo>
                    <a:pt x="244992" y="1338973"/>
                  </a:lnTo>
                  <a:lnTo>
                    <a:pt x="238053" y="1296254"/>
                  </a:lnTo>
                  <a:lnTo>
                    <a:pt x="237407" y="1250773"/>
                  </a:lnTo>
                  <a:lnTo>
                    <a:pt x="237507" y="1240020"/>
                  </a:lnTo>
                  <a:lnTo>
                    <a:pt x="237925" y="1221267"/>
                  </a:lnTo>
                  <a:lnTo>
                    <a:pt x="236294" y="1170554"/>
                  </a:lnTo>
                  <a:lnTo>
                    <a:pt x="228579" y="1122113"/>
                  </a:lnTo>
                  <a:lnTo>
                    <a:pt x="214893" y="1075869"/>
                  </a:lnTo>
                  <a:lnTo>
                    <a:pt x="195303" y="1031664"/>
                  </a:lnTo>
                  <a:lnTo>
                    <a:pt x="170012" y="989594"/>
                  </a:lnTo>
                  <a:lnTo>
                    <a:pt x="139166" y="949570"/>
                  </a:lnTo>
                  <a:lnTo>
                    <a:pt x="108631" y="911289"/>
                  </a:lnTo>
                  <a:lnTo>
                    <a:pt x="81715" y="871618"/>
                  </a:lnTo>
                  <a:lnTo>
                    <a:pt x="58486" y="830575"/>
                  </a:lnTo>
                  <a:lnTo>
                    <a:pt x="39010" y="788182"/>
                  </a:lnTo>
                  <a:lnTo>
                    <a:pt x="23357" y="744459"/>
                  </a:lnTo>
                  <a:lnTo>
                    <a:pt x="11592" y="699425"/>
                  </a:lnTo>
                  <a:lnTo>
                    <a:pt x="3784" y="653101"/>
                  </a:lnTo>
                  <a:lnTo>
                    <a:pt x="0" y="605507"/>
                  </a:lnTo>
                  <a:lnTo>
                    <a:pt x="306" y="556662"/>
                  </a:lnTo>
                  <a:lnTo>
                    <a:pt x="4833" y="502755"/>
                  </a:lnTo>
                  <a:lnTo>
                    <a:pt x="13102" y="451283"/>
                  </a:lnTo>
                  <a:lnTo>
                    <a:pt x="25093" y="402247"/>
                  </a:lnTo>
                  <a:lnTo>
                    <a:pt x="40785" y="355650"/>
                  </a:lnTo>
                  <a:lnTo>
                    <a:pt x="60157" y="311492"/>
                  </a:lnTo>
                  <a:lnTo>
                    <a:pt x="83187" y="269777"/>
                  </a:lnTo>
                  <a:lnTo>
                    <a:pt x="109856" y="230506"/>
                  </a:lnTo>
                  <a:lnTo>
                    <a:pt x="140141" y="193681"/>
                  </a:lnTo>
                  <a:lnTo>
                    <a:pt x="174022" y="159304"/>
                  </a:lnTo>
                  <a:lnTo>
                    <a:pt x="211479" y="127376"/>
                  </a:lnTo>
                  <a:lnTo>
                    <a:pt x="252489" y="97900"/>
                  </a:lnTo>
                  <a:lnTo>
                    <a:pt x="297032" y="70877"/>
                  </a:lnTo>
                  <a:lnTo>
                    <a:pt x="345173" y="46275"/>
                  </a:lnTo>
                  <a:lnTo>
                    <a:pt x="387101" y="29297"/>
                  </a:lnTo>
                  <a:lnTo>
                    <a:pt x="430382" y="16654"/>
                  </a:lnTo>
                  <a:lnTo>
                    <a:pt x="474711" y="7904"/>
                  </a:lnTo>
                  <a:lnTo>
                    <a:pt x="519868" y="2568"/>
                  </a:lnTo>
                  <a:lnTo>
                    <a:pt x="523408" y="2268"/>
                  </a:lnTo>
                  <a:lnTo>
                    <a:pt x="526906" y="855"/>
                  </a:lnTo>
                  <a:lnTo>
                    <a:pt x="530405" y="0"/>
                  </a:lnTo>
                  <a:lnTo>
                    <a:pt x="613081" y="0"/>
                  </a:lnTo>
                  <a:lnTo>
                    <a:pt x="613080" y="128"/>
                  </a:lnTo>
                  <a:lnTo>
                    <a:pt x="681015" y="11576"/>
                  </a:lnTo>
                  <a:lnTo>
                    <a:pt x="751299" y="28871"/>
                  </a:lnTo>
                  <a:lnTo>
                    <a:pt x="797721" y="46310"/>
                  </a:lnTo>
                  <a:lnTo>
                    <a:pt x="842289" y="67965"/>
                  </a:lnTo>
                  <a:lnTo>
                    <a:pt x="884930" y="93644"/>
                  </a:lnTo>
                  <a:lnTo>
                    <a:pt x="888585" y="96304"/>
                  </a:lnTo>
                  <a:lnTo>
                    <a:pt x="570692" y="96304"/>
                  </a:lnTo>
                  <a:lnTo>
                    <a:pt x="521446" y="99339"/>
                  </a:lnTo>
                  <a:lnTo>
                    <a:pt x="468714" y="107466"/>
                  </a:lnTo>
                  <a:lnTo>
                    <a:pt x="418941" y="120094"/>
                  </a:lnTo>
                  <a:lnTo>
                    <a:pt x="372203" y="137200"/>
                  </a:lnTo>
                  <a:lnTo>
                    <a:pt x="328574" y="158761"/>
                  </a:lnTo>
                  <a:lnTo>
                    <a:pt x="288131" y="184753"/>
                  </a:lnTo>
                  <a:lnTo>
                    <a:pt x="250947" y="215153"/>
                  </a:lnTo>
                  <a:lnTo>
                    <a:pt x="217097" y="249938"/>
                  </a:lnTo>
                  <a:lnTo>
                    <a:pt x="186658" y="289084"/>
                  </a:lnTo>
                  <a:lnTo>
                    <a:pt x="159703" y="332568"/>
                  </a:lnTo>
                  <a:lnTo>
                    <a:pt x="136308" y="380367"/>
                  </a:lnTo>
                  <a:lnTo>
                    <a:pt x="117535" y="429646"/>
                  </a:lnTo>
                  <a:lnTo>
                    <a:pt x="104007" y="478403"/>
                  </a:lnTo>
                  <a:lnTo>
                    <a:pt x="95683" y="526599"/>
                  </a:lnTo>
                  <a:lnTo>
                    <a:pt x="92524" y="574194"/>
                  </a:lnTo>
                  <a:lnTo>
                    <a:pt x="94489" y="621150"/>
                  </a:lnTo>
                  <a:lnTo>
                    <a:pt x="101538" y="667428"/>
                  </a:lnTo>
                  <a:lnTo>
                    <a:pt x="113631" y="712990"/>
                  </a:lnTo>
                  <a:lnTo>
                    <a:pt x="130728" y="757796"/>
                  </a:lnTo>
                  <a:lnTo>
                    <a:pt x="152790" y="801808"/>
                  </a:lnTo>
                  <a:lnTo>
                    <a:pt x="179776" y="844988"/>
                  </a:lnTo>
                  <a:lnTo>
                    <a:pt x="211646" y="887295"/>
                  </a:lnTo>
                  <a:lnTo>
                    <a:pt x="244606" y="930629"/>
                  </a:lnTo>
                  <a:lnTo>
                    <a:pt x="273370" y="976069"/>
                  </a:lnTo>
                  <a:lnTo>
                    <a:pt x="297103" y="1024181"/>
                  </a:lnTo>
                  <a:lnTo>
                    <a:pt x="314970" y="1075532"/>
                  </a:lnTo>
                  <a:lnTo>
                    <a:pt x="324031" y="1113496"/>
                  </a:lnTo>
                  <a:lnTo>
                    <a:pt x="327993" y="1132339"/>
                  </a:lnTo>
                  <a:lnTo>
                    <a:pt x="332076" y="1151374"/>
                  </a:lnTo>
                  <a:lnTo>
                    <a:pt x="910033" y="1151374"/>
                  </a:lnTo>
                  <a:lnTo>
                    <a:pt x="907893" y="1163811"/>
                  </a:lnTo>
                  <a:lnTo>
                    <a:pt x="905688" y="1211680"/>
                  </a:lnTo>
                  <a:lnTo>
                    <a:pt x="905783" y="1221267"/>
                  </a:lnTo>
                  <a:lnTo>
                    <a:pt x="905909" y="1240020"/>
                  </a:lnTo>
                  <a:lnTo>
                    <a:pt x="905938" y="1248831"/>
                  </a:lnTo>
                  <a:lnTo>
                    <a:pt x="333228" y="1248831"/>
                  </a:lnTo>
                  <a:lnTo>
                    <a:pt x="333228" y="1290989"/>
                  </a:lnTo>
                  <a:lnTo>
                    <a:pt x="347210" y="1329606"/>
                  </a:lnTo>
                  <a:lnTo>
                    <a:pt x="385700" y="1343505"/>
                  </a:lnTo>
                  <a:lnTo>
                    <a:pt x="895961" y="1343607"/>
                  </a:lnTo>
                  <a:lnTo>
                    <a:pt x="883052" y="1373155"/>
                  </a:lnTo>
                  <a:lnTo>
                    <a:pt x="855446" y="1404372"/>
                  </a:lnTo>
                  <a:lnTo>
                    <a:pt x="816741" y="1428550"/>
                  </a:lnTo>
                  <a:lnTo>
                    <a:pt x="810982" y="1431246"/>
                  </a:lnTo>
                  <a:lnTo>
                    <a:pt x="805735" y="1439507"/>
                  </a:lnTo>
                  <a:lnTo>
                    <a:pt x="805619" y="1440020"/>
                  </a:lnTo>
                  <a:lnTo>
                    <a:pt x="438941" y="1440020"/>
                  </a:lnTo>
                  <a:lnTo>
                    <a:pt x="458178" y="1478623"/>
                  </a:lnTo>
                  <a:lnTo>
                    <a:pt x="489077" y="1509630"/>
                  </a:lnTo>
                  <a:lnTo>
                    <a:pt x="527896" y="1530357"/>
                  </a:lnTo>
                  <a:lnTo>
                    <a:pt x="570889" y="1538119"/>
                  </a:lnTo>
                  <a:lnTo>
                    <a:pt x="760635" y="1538119"/>
                  </a:lnTo>
                  <a:lnTo>
                    <a:pt x="734609" y="1567929"/>
                  </a:lnTo>
                  <a:lnTo>
                    <a:pt x="697876" y="1596520"/>
                  </a:lnTo>
                  <a:lnTo>
                    <a:pt x="656283" y="1617599"/>
                  </a:lnTo>
                  <a:lnTo>
                    <a:pt x="610972" y="1630261"/>
                  </a:lnTo>
                  <a:lnTo>
                    <a:pt x="563083" y="1633607"/>
                  </a:lnTo>
                  <a:close/>
                </a:path>
                <a:path w="1143634" h="1633854">
                  <a:moveTo>
                    <a:pt x="910033" y="1151374"/>
                  </a:moveTo>
                  <a:lnTo>
                    <a:pt x="811494" y="1151374"/>
                  </a:lnTo>
                  <a:lnTo>
                    <a:pt x="815614" y="1132259"/>
                  </a:lnTo>
                  <a:lnTo>
                    <a:pt x="819647" y="1113212"/>
                  </a:lnTo>
                  <a:lnTo>
                    <a:pt x="843442" y="1031664"/>
                  </a:lnTo>
                  <a:lnTo>
                    <a:pt x="863202" y="989594"/>
                  </a:lnTo>
                  <a:lnTo>
                    <a:pt x="886861" y="949570"/>
                  </a:lnTo>
                  <a:lnTo>
                    <a:pt x="913447" y="911289"/>
                  </a:lnTo>
                  <a:lnTo>
                    <a:pt x="942206" y="874113"/>
                  </a:lnTo>
                  <a:lnTo>
                    <a:pt x="972761" y="832078"/>
                  </a:lnTo>
                  <a:lnTo>
                    <a:pt x="998136" y="788557"/>
                  </a:lnTo>
                  <a:lnTo>
                    <a:pt x="1018341" y="743578"/>
                  </a:lnTo>
                  <a:lnTo>
                    <a:pt x="1033382" y="697170"/>
                  </a:lnTo>
                  <a:lnTo>
                    <a:pt x="1043268" y="649365"/>
                  </a:lnTo>
                  <a:lnTo>
                    <a:pt x="1048006" y="600191"/>
                  </a:lnTo>
                  <a:lnTo>
                    <a:pt x="1047606" y="549677"/>
                  </a:lnTo>
                  <a:lnTo>
                    <a:pt x="1042074" y="497854"/>
                  </a:lnTo>
                  <a:lnTo>
                    <a:pt x="1031852" y="448279"/>
                  </a:lnTo>
                  <a:lnTo>
                    <a:pt x="1016850" y="401041"/>
                  </a:lnTo>
                  <a:lnTo>
                    <a:pt x="997083" y="356217"/>
                  </a:lnTo>
                  <a:lnTo>
                    <a:pt x="972563" y="313882"/>
                  </a:lnTo>
                  <a:lnTo>
                    <a:pt x="943302" y="274113"/>
                  </a:lnTo>
                  <a:lnTo>
                    <a:pt x="909315" y="236986"/>
                  </a:lnTo>
                  <a:lnTo>
                    <a:pt x="872646" y="203865"/>
                  </a:lnTo>
                  <a:lnTo>
                    <a:pt x="834300" y="175076"/>
                  </a:lnTo>
                  <a:lnTo>
                    <a:pt x="794308" y="150671"/>
                  </a:lnTo>
                  <a:lnTo>
                    <a:pt x="752699" y="130705"/>
                  </a:lnTo>
                  <a:lnTo>
                    <a:pt x="709503" y="115231"/>
                  </a:lnTo>
                  <a:lnTo>
                    <a:pt x="664750" y="104304"/>
                  </a:lnTo>
                  <a:lnTo>
                    <a:pt x="618470" y="97977"/>
                  </a:lnTo>
                  <a:lnTo>
                    <a:pt x="570692" y="96304"/>
                  </a:lnTo>
                  <a:lnTo>
                    <a:pt x="888585" y="96304"/>
                  </a:lnTo>
                  <a:lnTo>
                    <a:pt x="925289" y="123015"/>
                  </a:lnTo>
                  <a:lnTo>
                    <a:pt x="963081" y="155779"/>
                  </a:lnTo>
                  <a:lnTo>
                    <a:pt x="998021" y="191640"/>
                  </a:lnTo>
                  <a:lnTo>
                    <a:pt x="1029822" y="230300"/>
                  </a:lnTo>
                  <a:lnTo>
                    <a:pt x="1058201" y="271462"/>
                  </a:lnTo>
                  <a:lnTo>
                    <a:pt x="1082873" y="314829"/>
                  </a:lnTo>
                  <a:lnTo>
                    <a:pt x="1103551" y="360103"/>
                  </a:lnTo>
                  <a:lnTo>
                    <a:pt x="1119951" y="406986"/>
                  </a:lnTo>
                  <a:lnTo>
                    <a:pt x="1131789" y="455182"/>
                  </a:lnTo>
                  <a:lnTo>
                    <a:pt x="1139460" y="504135"/>
                  </a:lnTo>
                  <a:lnTo>
                    <a:pt x="1143328" y="552278"/>
                  </a:lnTo>
                  <a:lnTo>
                    <a:pt x="1143341" y="600191"/>
                  </a:lnTo>
                  <a:lnTo>
                    <a:pt x="1139637" y="646130"/>
                  </a:lnTo>
                  <a:lnTo>
                    <a:pt x="1132071" y="691836"/>
                  </a:lnTo>
                  <a:lnTo>
                    <a:pt x="1120688" y="736729"/>
                  </a:lnTo>
                  <a:lnTo>
                    <a:pt x="1105484" y="780807"/>
                  </a:lnTo>
                  <a:lnTo>
                    <a:pt x="1086455" y="824068"/>
                  </a:lnTo>
                  <a:lnTo>
                    <a:pt x="1063599" y="866513"/>
                  </a:lnTo>
                  <a:lnTo>
                    <a:pt x="1036912" y="908139"/>
                  </a:lnTo>
                  <a:lnTo>
                    <a:pt x="1005086" y="949659"/>
                  </a:lnTo>
                  <a:lnTo>
                    <a:pt x="989333" y="969447"/>
                  </a:lnTo>
                  <a:lnTo>
                    <a:pt x="973902" y="990188"/>
                  </a:lnTo>
                  <a:lnTo>
                    <a:pt x="948846" y="1030866"/>
                  </a:lnTo>
                  <a:lnTo>
                    <a:pt x="929484" y="1073379"/>
                  </a:lnTo>
                  <a:lnTo>
                    <a:pt x="915829" y="1117702"/>
                  </a:lnTo>
                  <a:lnTo>
                    <a:pt x="910033" y="1151374"/>
                  </a:lnTo>
                  <a:close/>
                </a:path>
                <a:path w="1143634" h="1633854">
                  <a:moveTo>
                    <a:pt x="895962" y="1343604"/>
                  </a:moveTo>
                  <a:lnTo>
                    <a:pt x="659898" y="1343604"/>
                  </a:lnTo>
                  <a:lnTo>
                    <a:pt x="759022" y="1343462"/>
                  </a:lnTo>
                  <a:lnTo>
                    <a:pt x="780093" y="1339880"/>
                  </a:lnTo>
                  <a:lnTo>
                    <a:pt x="796088" y="1329761"/>
                  </a:lnTo>
                  <a:lnTo>
                    <a:pt x="806349" y="1313856"/>
                  </a:lnTo>
                  <a:lnTo>
                    <a:pt x="810214" y="1292915"/>
                  </a:lnTo>
                  <a:lnTo>
                    <a:pt x="810300" y="1248831"/>
                  </a:lnTo>
                  <a:lnTo>
                    <a:pt x="905938" y="1248831"/>
                  </a:lnTo>
                  <a:lnTo>
                    <a:pt x="905870" y="1271322"/>
                  </a:lnTo>
                  <a:lnTo>
                    <a:pt x="905688" y="1289834"/>
                  </a:lnTo>
                  <a:lnTo>
                    <a:pt x="899739" y="1334957"/>
                  </a:lnTo>
                  <a:lnTo>
                    <a:pt x="895962" y="1343604"/>
                  </a:lnTo>
                  <a:close/>
                </a:path>
                <a:path w="1143634" h="1633854">
                  <a:moveTo>
                    <a:pt x="895961" y="1343607"/>
                  </a:moveTo>
                  <a:lnTo>
                    <a:pt x="448454" y="1343607"/>
                  </a:lnTo>
                  <a:lnTo>
                    <a:pt x="511207" y="1343548"/>
                  </a:lnTo>
                  <a:lnTo>
                    <a:pt x="895962" y="1343604"/>
                  </a:lnTo>
                  <a:close/>
                </a:path>
                <a:path w="1143634" h="1633854">
                  <a:moveTo>
                    <a:pt x="760635" y="1538119"/>
                  </a:moveTo>
                  <a:lnTo>
                    <a:pt x="570889" y="1538119"/>
                  </a:lnTo>
                  <a:lnTo>
                    <a:pt x="614103" y="1530928"/>
                  </a:lnTo>
                  <a:lnTo>
                    <a:pt x="653341" y="1510384"/>
                  </a:lnTo>
                  <a:lnTo>
                    <a:pt x="684789" y="1479183"/>
                  </a:lnTo>
                  <a:lnTo>
                    <a:pt x="704630" y="1440020"/>
                  </a:lnTo>
                  <a:lnTo>
                    <a:pt x="805619" y="1440020"/>
                  </a:lnTo>
                  <a:lnTo>
                    <a:pt x="804213" y="1446184"/>
                  </a:lnTo>
                  <a:lnTo>
                    <a:pt x="788933" y="1491816"/>
                  </a:lnTo>
                  <a:lnTo>
                    <a:pt x="765342" y="1532727"/>
                  </a:lnTo>
                  <a:lnTo>
                    <a:pt x="760635" y="1538119"/>
                  </a:lnTo>
                  <a:close/>
                </a:path>
              </a:pathLst>
            </a:custGeom>
            <a:solidFill>
              <a:srgbClr val="FFFFFF"/>
            </a:solidFill>
          </p:spPr>
          <p:txBody>
            <a:bodyPr wrap="square" lIns="0" tIns="0" rIns="0" bIns="0" rtlCol="0"/>
            <a:lstStyle/>
            <a:p>
              <a:endParaRPr/>
            </a:p>
          </p:txBody>
        </p:sp>
        <p:pic>
          <p:nvPicPr>
            <p:cNvPr id="13" name="object 13"/>
            <p:cNvPicPr/>
            <p:nvPr/>
          </p:nvPicPr>
          <p:blipFill>
            <a:blip r:embed="rId2" cstate="print"/>
            <a:stretch>
              <a:fillRect/>
            </a:stretch>
          </p:blipFill>
          <p:spPr>
            <a:xfrm>
              <a:off x="8119593" y="4700679"/>
              <a:ext cx="162386" cy="163417"/>
            </a:xfrm>
            <a:prstGeom prst="rect">
              <a:avLst/>
            </a:prstGeom>
          </p:spPr>
        </p:pic>
        <p:pic>
          <p:nvPicPr>
            <p:cNvPr id="14" name="object 14"/>
            <p:cNvPicPr/>
            <p:nvPr/>
          </p:nvPicPr>
          <p:blipFill>
            <a:blip r:embed="rId3" cstate="print"/>
            <a:stretch>
              <a:fillRect/>
            </a:stretch>
          </p:blipFill>
          <p:spPr>
            <a:xfrm>
              <a:off x="8105483" y="5021302"/>
              <a:ext cx="190692" cy="96386"/>
            </a:xfrm>
            <a:prstGeom prst="rect">
              <a:avLst/>
            </a:prstGeom>
          </p:spPr>
        </p:pic>
        <p:pic>
          <p:nvPicPr>
            <p:cNvPr id="15" name="object 15"/>
            <p:cNvPicPr/>
            <p:nvPr/>
          </p:nvPicPr>
          <p:blipFill>
            <a:blip r:embed="rId4" cstate="print"/>
            <a:stretch>
              <a:fillRect/>
            </a:stretch>
          </p:blipFill>
          <p:spPr>
            <a:xfrm>
              <a:off x="8119566" y="5275423"/>
              <a:ext cx="163042" cy="162809"/>
            </a:xfrm>
            <a:prstGeom prst="rect">
              <a:avLst/>
            </a:prstGeom>
          </p:spPr>
        </p:pic>
        <p:pic>
          <p:nvPicPr>
            <p:cNvPr id="16" name="object 16"/>
            <p:cNvPicPr/>
            <p:nvPr/>
          </p:nvPicPr>
          <p:blipFill>
            <a:blip r:embed="rId5" cstate="print"/>
            <a:stretch>
              <a:fillRect/>
            </a:stretch>
          </p:blipFill>
          <p:spPr>
            <a:xfrm>
              <a:off x="9557196" y="4700979"/>
              <a:ext cx="162984" cy="162828"/>
            </a:xfrm>
            <a:prstGeom prst="rect">
              <a:avLst/>
            </a:prstGeom>
          </p:spPr>
        </p:pic>
        <p:pic>
          <p:nvPicPr>
            <p:cNvPr id="17" name="object 17"/>
            <p:cNvPicPr/>
            <p:nvPr/>
          </p:nvPicPr>
          <p:blipFill>
            <a:blip r:embed="rId6" cstate="print"/>
            <a:stretch>
              <a:fillRect/>
            </a:stretch>
          </p:blipFill>
          <p:spPr>
            <a:xfrm>
              <a:off x="9557587" y="5274596"/>
              <a:ext cx="162278" cy="163588"/>
            </a:xfrm>
            <a:prstGeom prst="rect">
              <a:avLst/>
            </a:prstGeom>
          </p:spPr>
        </p:pic>
        <p:pic>
          <p:nvPicPr>
            <p:cNvPr id="18" name="object 18"/>
            <p:cNvPicPr/>
            <p:nvPr/>
          </p:nvPicPr>
          <p:blipFill>
            <a:blip r:embed="rId7" cstate="print"/>
            <a:stretch>
              <a:fillRect/>
            </a:stretch>
          </p:blipFill>
          <p:spPr>
            <a:xfrm>
              <a:off x="9543267" y="5021490"/>
              <a:ext cx="190564" cy="96008"/>
            </a:xfrm>
            <a:prstGeom prst="rect">
              <a:avLst/>
            </a:prstGeom>
          </p:spPr>
        </p:pic>
        <p:sp>
          <p:nvSpPr>
            <p:cNvPr id="19" name="object 19"/>
            <p:cNvSpPr/>
            <p:nvPr/>
          </p:nvSpPr>
          <p:spPr>
            <a:xfrm>
              <a:off x="8872347" y="4638538"/>
              <a:ext cx="429259" cy="431165"/>
            </a:xfrm>
            <a:custGeom>
              <a:avLst/>
              <a:gdLst/>
              <a:ahLst/>
              <a:cxnLst/>
              <a:rect l="l" t="t" r="r" b="b"/>
              <a:pathLst>
                <a:path w="429259" h="431164">
                  <a:moveTo>
                    <a:pt x="383175" y="430829"/>
                  </a:moveTo>
                  <a:lnTo>
                    <a:pt x="338032" y="401999"/>
                  </a:lnTo>
                  <a:lnTo>
                    <a:pt x="328721" y="331856"/>
                  </a:lnTo>
                  <a:lnTo>
                    <a:pt x="316443" y="285374"/>
                  </a:lnTo>
                  <a:lnTo>
                    <a:pt x="296812" y="242324"/>
                  </a:lnTo>
                  <a:lnTo>
                    <a:pt x="269698" y="202785"/>
                  </a:lnTo>
                  <a:lnTo>
                    <a:pt x="234973" y="166836"/>
                  </a:lnTo>
                  <a:lnTo>
                    <a:pt x="195946" y="137727"/>
                  </a:lnTo>
                  <a:lnTo>
                    <a:pt x="153694" y="116390"/>
                  </a:lnTo>
                  <a:lnTo>
                    <a:pt x="108356" y="102621"/>
                  </a:lnTo>
                  <a:lnTo>
                    <a:pt x="60065" y="96215"/>
                  </a:lnTo>
                  <a:lnTo>
                    <a:pt x="53332" y="95853"/>
                  </a:lnTo>
                  <a:lnTo>
                    <a:pt x="46574" y="95375"/>
                  </a:lnTo>
                  <a:lnTo>
                    <a:pt x="7518" y="74242"/>
                  </a:lnTo>
                  <a:lnTo>
                    <a:pt x="0" y="43228"/>
                  </a:lnTo>
                  <a:lnTo>
                    <a:pt x="4613" y="27091"/>
                  </a:lnTo>
                  <a:lnTo>
                    <a:pt x="14253" y="13835"/>
                  </a:lnTo>
                  <a:lnTo>
                    <a:pt x="27805" y="4575"/>
                  </a:lnTo>
                  <a:lnTo>
                    <a:pt x="44153" y="427"/>
                  </a:lnTo>
                  <a:lnTo>
                    <a:pt x="49955" y="0"/>
                  </a:lnTo>
                  <a:lnTo>
                    <a:pt x="55799" y="385"/>
                  </a:lnTo>
                  <a:lnTo>
                    <a:pt x="61601" y="385"/>
                  </a:lnTo>
                  <a:lnTo>
                    <a:pt x="109036" y="5443"/>
                  </a:lnTo>
                  <a:lnTo>
                    <a:pt x="154602" y="15960"/>
                  </a:lnTo>
                  <a:lnTo>
                    <a:pt x="197938" y="31636"/>
                  </a:lnTo>
                  <a:lnTo>
                    <a:pt x="238685" y="52172"/>
                  </a:lnTo>
                  <a:lnTo>
                    <a:pt x="276480" y="77268"/>
                  </a:lnTo>
                  <a:lnTo>
                    <a:pt x="310965" y="106624"/>
                  </a:lnTo>
                  <a:lnTo>
                    <a:pt x="341778" y="139942"/>
                  </a:lnTo>
                  <a:lnTo>
                    <a:pt x="368559" y="176921"/>
                  </a:lnTo>
                  <a:lnTo>
                    <a:pt x="390946" y="217263"/>
                  </a:lnTo>
                  <a:lnTo>
                    <a:pt x="408580" y="260668"/>
                  </a:lnTo>
                  <a:lnTo>
                    <a:pt x="421101" y="306836"/>
                  </a:lnTo>
                  <a:lnTo>
                    <a:pt x="427700" y="361372"/>
                  </a:lnTo>
                  <a:lnTo>
                    <a:pt x="428651" y="379682"/>
                  </a:lnTo>
                  <a:lnTo>
                    <a:pt x="425841" y="399573"/>
                  </a:lnTo>
                  <a:lnTo>
                    <a:pt x="416376" y="415576"/>
                  </a:lnTo>
                  <a:lnTo>
                    <a:pt x="401679" y="426418"/>
                  </a:lnTo>
                  <a:lnTo>
                    <a:pt x="383175" y="430829"/>
                  </a:lnTo>
                  <a:close/>
                </a:path>
              </a:pathLst>
            </a:custGeom>
            <a:solidFill>
              <a:srgbClr val="FFFFFF"/>
            </a:solidFill>
          </p:spPr>
          <p:txBody>
            <a:bodyPr wrap="square" lIns="0" tIns="0" rIns="0" bIns="0" rtlCol="0"/>
            <a:lstStyle/>
            <a:p>
              <a:endParaRPr/>
            </a:p>
          </p:txBody>
        </p:sp>
        <p:sp>
          <p:nvSpPr>
            <p:cNvPr id="20" name="object 20"/>
            <p:cNvSpPr/>
            <p:nvPr/>
          </p:nvSpPr>
          <p:spPr>
            <a:xfrm>
              <a:off x="9199226" y="3686610"/>
              <a:ext cx="1224915" cy="1224915"/>
            </a:xfrm>
            <a:custGeom>
              <a:avLst/>
              <a:gdLst/>
              <a:ahLst/>
              <a:cxnLst/>
              <a:rect l="l" t="t" r="r" b="b"/>
              <a:pathLst>
                <a:path w="1224915" h="1224914">
                  <a:moveTo>
                    <a:pt x="918281" y="612187"/>
                  </a:moveTo>
                  <a:lnTo>
                    <a:pt x="306093" y="612187"/>
                  </a:lnTo>
                  <a:lnTo>
                    <a:pt x="306093" y="0"/>
                  </a:lnTo>
                  <a:lnTo>
                    <a:pt x="918281" y="0"/>
                  </a:lnTo>
                  <a:lnTo>
                    <a:pt x="918281" y="612187"/>
                  </a:lnTo>
                  <a:close/>
                </a:path>
                <a:path w="1224915" h="1224914">
                  <a:moveTo>
                    <a:pt x="612188" y="1224375"/>
                  </a:moveTo>
                  <a:lnTo>
                    <a:pt x="0" y="612188"/>
                  </a:lnTo>
                  <a:lnTo>
                    <a:pt x="1224375" y="612187"/>
                  </a:lnTo>
                  <a:lnTo>
                    <a:pt x="612188" y="1224375"/>
                  </a:lnTo>
                  <a:close/>
                </a:path>
              </a:pathLst>
            </a:custGeom>
            <a:solidFill>
              <a:srgbClr val="E3112B">
                <a:alpha val="80778"/>
              </a:srgbClr>
            </a:solidFill>
          </p:spPr>
          <p:txBody>
            <a:bodyPr wrap="square" lIns="0" tIns="0" rIns="0" bIns="0" rtlCol="0"/>
            <a:lstStyle/>
            <a:p>
              <a:endParaRPr/>
            </a:p>
          </p:txBody>
        </p:sp>
      </p:grpSp>
      <p:sp>
        <p:nvSpPr>
          <p:cNvPr id="21" name="object 21"/>
          <p:cNvSpPr txBox="1"/>
          <p:nvPr/>
        </p:nvSpPr>
        <p:spPr>
          <a:xfrm>
            <a:off x="7182141" y="7793948"/>
            <a:ext cx="3451225" cy="697865"/>
          </a:xfrm>
          <a:prstGeom prst="rect">
            <a:avLst/>
          </a:prstGeom>
        </p:spPr>
        <p:txBody>
          <a:bodyPr vert="horz" wrap="square" lIns="0" tIns="59055" rIns="0" bIns="0" rtlCol="0">
            <a:spAutoFit/>
          </a:bodyPr>
          <a:lstStyle/>
          <a:p>
            <a:pPr marL="305435" marR="5080" indent="-293370">
              <a:lnSpc>
                <a:spcPts val="2480"/>
              </a:lnSpc>
              <a:spcBef>
                <a:spcPts val="465"/>
              </a:spcBef>
            </a:pPr>
            <a:r>
              <a:rPr sz="2350" b="1" dirty="0">
                <a:solidFill>
                  <a:srgbClr val="FFFFFF"/>
                </a:solidFill>
                <a:latin typeface="Roboto"/>
                <a:cs typeface="Roboto"/>
              </a:rPr>
              <a:t>Conocimiento</a:t>
            </a:r>
            <a:r>
              <a:rPr sz="2350" b="1" spc="-40" dirty="0">
                <a:solidFill>
                  <a:srgbClr val="FFFFFF"/>
                </a:solidFill>
                <a:latin typeface="Roboto"/>
                <a:cs typeface="Roboto"/>
              </a:rPr>
              <a:t> </a:t>
            </a:r>
            <a:r>
              <a:rPr sz="2350" b="1" dirty="0">
                <a:solidFill>
                  <a:srgbClr val="FFFFFF"/>
                </a:solidFill>
                <a:latin typeface="Roboto"/>
                <a:cs typeface="Roboto"/>
              </a:rPr>
              <a:t>del</a:t>
            </a:r>
            <a:r>
              <a:rPr sz="2350" b="1" spc="-35" dirty="0">
                <a:solidFill>
                  <a:srgbClr val="FFFFFF"/>
                </a:solidFill>
                <a:latin typeface="Roboto"/>
                <a:cs typeface="Roboto"/>
              </a:rPr>
              <a:t> </a:t>
            </a:r>
            <a:r>
              <a:rPr sz="2350" b="1" spc="-10" dirty="0">
                <a:solidFill>
                  <a:srgbClr val="FFFFFF"/>
                </a:solidFill>
                <a:latin typeface="Roboto"/>
                <a:cs typeface="Roboto"/>
              </a:rPr>
              <a:t>destino </a:t>
            </a:r>
            <a:r>
              <a:rPr sz="2350" b="1" dirty="0">
                <a:solidFill>
                  <a:srgbClr val="FFFFFF"/>
                </a:solidFill>
                <a:latin typeface="Roboto"/>
                <a:cs typeface="Roboto"/>
              </a:rPr>
              <a:t>en</a:t>
            </a:r>
            <a:r>
              <a:rPr sz="2350" b="1" spc="-20" dirty="0">
                <a:solidFill>
                  <a:srgbClr val="FFFFFF"/>
                </a:solidFill>
                <a:latin typeface="Roboto"/>
                <a:cs typeface="Roboto"/>
              </a:rPr>
              <a:t> </a:t>
            </a:r>
            <a:r>
              <a:rPr sz="2350" b="1" dirty="0">
                <a:solidFill>
                  <a:srgbClr val="FFFFFF"/>
                </a:solidFill>
                <a:latin typeface="Roboto"/>
                <a:cs typeface="Roboto"/>
              </a:rPr>
              <a:t>el</a:t>
            </a:r>
            <a:r>
              <a:rPr sz="2350" b="1" spc="-20" dirty="0">
                <a:solidFill>
                  <a:srgbClr val="FFFFFF"/>
                </a:solidFill>
                <a:latin typeface="Roboto"/>
                <a:cs typeface="Roboto"/>
              </a:rPr>
              <a:t> </a:t>
            </a:r>
            <a:r>
              <a:rPr sz="2350" b="1" dirty="0">
                <a:solidFill>
                  <a:srgbClr val="FFFFFF"/>
                </a:solidFill>
                <a:latin typeface="Roboto"/>
                <a:cs typeface="Roboto"/>
              </a:rPr>
              <a:t>canal</a:t>
            </a:r>
            <a:r>
              <a:rPr sz="2350" b="1" spc="-20" dirty="0">
                <a:solidFill>
                  <a:srgbClr val="FFFFFF"/>
                </a:solidFill>
                <a:latin typeface="Roboto"/>
                <a:cs typeface="Roboto"/>
              </a:rPr>
              <a:t> </a:t>
            </a:r>
            <a:r>
              <a:rPr sz="2350" b="1" spc="-10" dirty="0">
                <a:solidFill>
                  <a:srgbClr val="FFFFFF"/>
                </a:solidFill>
                <a:latin typeface="Roboto"/>
                <a:cs typeface="Roboto"/>
              </a:rPr>
              <a:t>comercial</a:t>
            </a:r>
            <a:endParaRPr sz="2350">
              <a:latin typeface="Roboto"/>
              <a:cs typeface="Roboto"/>
            </a:endParaRPr>
          </a:p>
        </p:txBody>
      </p:sp>
      <p:sp>
        <p:nvSpPr>
          <p:cNvPr id="22" name="object 22"/>
          <p:cNvSpPr txBox="1"/>
          <p:nvPr/>
        </p:nvSpPr>
        <p:spPr>
          <a:xfrm>
            <a:off x="6568909" y="1765451"/>
            <a:ext cx="5150485" cy="1616075"/>
          </a:xfrm>
          <a:prstGeom prst="rect">
            <a:avLst/>
          </a:prstGeom>
        </p:spPr>
        <p:txBody>
          <a:bodyPr vert="horz" wrap="square" lIns="0" tIns="304165" rIns="0" bIns="0" rtlCol="0">
            <a:spAutoFit/>
          </a:bodyPr>
          <a:lstStyle/>
          <a:p>
            <a:pPr algn="ctr">
              <a:lnSpc>
                <a:spcPct val="100000"/>
              </a:lnSpc>
              <a:spcBef>
                <a:spcPts val="2395"/>
              </a:spcBef>
            </a:pPr>
            <a:r>
              <a:rPr sz="3300" b="1" dirty="0">
                <a:solidFill>
                  <a:srgbClr val="E3112B"/>
                </a:solidFill>
                <a:latin typeface="Roboto"/>
                <a:cs typeface="Roboto"/>
              </a:rPr>
              <a:t>Consecuencias</a:t>
            </a:r>
            <a:r>
              <a:rPr sz="3300" b="1" spc="180" dirty="0">
                <a:solidFill>
                  <a:srgbClr val="E3112B"/>
                </a:solidFill>
                <a:latin typeface="Roboto"/>
                <a:cs typeface="Roboto"/>
              </a:rPr>
              <a:t> </a:t>
            </a:r>
            <a:r>
              <a:rPr sz="3300" b="1" spc="-10" dirty="0">
                <a:solidFill>
                  <a:srgbClr val="E3112B"/>
                </a:solidFill>
                <a:latin typeface="Roboto"/>
                <a:cs typeface="Roboto"/>
              </a:rPr>
              <a:t>inmediatas</a:t>
            </a:r>
            <a:endParaRPr sz="3300">
              <a:latin typeface="Roboto"/>
              <a:cs typeface="Roboto"/>
            </a:endParaRPr>
          </a:p>
          <a:p>
            <a:pPr algn="ctr">
              <a:lnSpc>
                <a:spcPct val="100000"/>
              </a:lnSpc>
              <a:spcBef>
                <a:spcPts val="2300"/>
              </a:spcBef>
            </a:pPr>
            <a:r>
              <a:rPr sz="3300" dirty="0">
                <a:solidFill>
                  <a:srgbClr val="E3112B"/>
                </a:solidFill>
                <a:latin typeface="Roboto"/>
                <a:cs typeface="Roboto"/>
              </a:rPr>
              <a:t>Pérdida</a:t>
            </a:r>
            <a:r>
              <a:rPr sz="3300" spc="-65" dirty="0">
                <a:solidFill>
                  <a:srgbClr val="E3112B"/>
                </a:solidFill>
                <a:latin typeface="Roboto"/>
                <a:cs typeface="Roboto"/>
              </a:rPr>
              <a:t> </a:t>
            </a:r>
            <a:r>
              <a:rPr sz="3300" spc="-25" dirty="0">
                <a:solidFill>
                  <a:srgbClr val="E3112B"/>
                </a:solidFill>
                <a:latin typeface="Roboto"/>
                <a:cs typeface="Roboto"/>
              </a:rPr>
              <a:t>de:</a:t>
            </a:r>
            <a:endParaRPr sz="3300">
              <a:latin typeface="Roboto"/>
              <a:cs typeface="Roboto"/>
            </a:endParaRPr>
          </a:p>
        </p:txBody>
      </p:sp>
      <p:sp>
        <p:nvSpPr>
          <p:cNvPr id="23" name="object 23"/>
          <p:cNvSpPr txBox="1">
            <a:spLocks noGrp="1"/>
          </p:cNvSpPr>
          <p:nvPr>
            <p:ph type="title"/>
          </p:nvPr>
        </p:nvSpPr>
        <p:spPr>
          <a:prstGeom prst="rect">
            <a:avLst/>
          </a:prstGeom>
        </p:spPr>
        <p:txBody>
          <a:bodyPr vert="horz" wrap="square" lIns="0" tIns="12700" rIns="0" bIns="0" rtlCol="0">
            <a:spAutoFit/>
          </a:bodyPr>
          <a:lstStyle/>
          <a:p>
            <a:pPr marL="483870">
              <a:lnSpc>
                <a:spcPct val="100000"/>
              </a:lnSpc>
              <a:spcBef>
                <a:spcPts val="100"/>
              </a:spcBef>
            </a:pPr>
            <a:r>
              <a:rPr dirty="0"/>
              <a:t>01.</a:t>
            </a:r>
            <a:r>
              <a:rPr spc="-110" dirty="0"/>
              <a:t> </a:t>
            </a:r>
            <a:r>
              <a:rPr spc="-30" dirty="0"/>
              <a:t>Situación</a:t>
            </a:r>
            <a:r>
              <a:rPr spc="-105" dirty="0"/>
              <a:t> </a:t>
            </a:r>
            <a:r>
              <a:rPr spc="-10" dirty="0"/>
              <a:t>general</a:t>
            </a:r>
            <a:r>
              <a:rPr spc="-110" dirty="0"/>
              <a:t> </a:t>
            </a:r>
            <a:r>
              <a:rPr dirty="0"/>
              <a:t>del</a:t>
            </a:r>
            <a:r>
              <a:rPr spc="-105" dirty="0"/>
              <a:t> </a:t>
            </a:r>
            <a:r>
              <a:rPr spc="-10" dirty="0"/>
              <a:t>turismo</a:t>
            </a:r>
            <a:r>
              <a:rPr spc="-105" dirty="0"/>
              <a:t> </a:t>
            </a:r>
            <a:r>
              <a:rPr dirty="0"/>
              <a:t>hacia</a:t>
            </a:r>
            <a:r>
              <a:rPr spc="-110" dirty="0"/>
              <a:t> </a:t>
            </a:r>
            <a:r>
              <a:rPr spc="-10" dirty="0"/>
              <a:t>Chile</a:t>
            </a:r>
          </a:p>
        </p:txBody>
      </p:sp>
      <p:pic>
        <p:nvPicPr>
          <p:cNvPr id="24" name="object 24"/>
          <p:cNvPicPr/>
          <p:nvPr/>
        </p:nvPicPr>
        <p:blipFill>
          <a:blip r:embed="rId8" cstate="print"/>
          <a:stretch>
            <a:fillRect/>
          </a:stretch>
        </p:blipFill>
        <p:spPr>
          <a:xfrm>
            <a:off x="17316450" y="237491"/>
            <a:ext cx="742949" cy="819149"/>
          </a:xfrm>
          <a:prstGeom prst="rect">
            <a:avLst/>
          </a:prstGeom>
        </p:spPr>
      </p:pic>
      <p:sp>
        <p:nvSpPr>
          <p:cNvPr id="25" name="object 25"/>
          <p:cNvSpPr txBox="1">
            <a:spLocks noGrp="1"/>
          </p:cNvSpPr>
          <p:nvPr>
            <p:ph type="ftr" sz="quarter" idx="5"/>
          </p:nvPr>
        </p:nvSpPr>
        <p:spPr>
          <a:prstGeom prst="rect">
            <a:avLst/>
          </a:prstGeom>
        </p:spPr>
        <p:txBody>
          <a:bodyPr vert="horz" wrap="square" lIns="0" tIns="0" rIns="0" bIns="0" rtlCol="0">
            <a:spAutoFit/>
          </a:bodyPr>
          <a:lstStyle/>
          <a:p>
            <a:pPr marL="12700">
              <a:lnSpc>
                <a:spcPts val="1225"/>
              </a:lnSpc>
            </a:pPr>
            <a:r>
              <a:rPr dirty="0"/>
              <a:t>Nuevo</a:t>
            </a:r>
            <a:r>
              <a:rPr spc="45" dirty="0"/>
              <a:t> </a:t>
            </a:r>
            <a:r>
              <a:rPr dirty="0"/>
              <a:t>Plan</a:t>
            </a:r>
            <a:r>
              <a:rPr spc="45" dirty="0"/>
              <a:t> </a:t>
            </a:r>
            <a:r>
              <a:rPr dirty="0"/>
              <a:t>de</a:t>
            </a:r>
            <a:r>
              <a:rPr spc="45" dirty="0"/>
              <a:t> </a:t>
            </a:r>
            <a:r>
              <a:rPr dirty="0"/>
              <a:t>Marketing</a:t>
            </a:r>
            <a:r>
              <a:rPr spc="45" dirty="0"/>
              <a:t> </a:t>
            </a:r>
            <a:r>
              <a:rPr spc="-10" dirty="0"/>
              <a:t>Turístico</a:t>
            </a:r>
            <a:r>
              <a:rPr spc="45" dirty="0"/>
              <a:t> </a:t>
            </a:r>
            <a:r>
              <a:rPr dirty="0"/>
              <a:t>Internacional</a:t>
            </a:r>
            <a:r>
              <a:rPr spc="45" dirty="0"/>
              <a:t> </a:t>
            </a:r>
            <a:r>
              <a:rPr dirty="0"/>
              <a:t>de</a:t>
            </a:r>
            <a:r>
              <a:rPr spc="45" dirty="0"/>
              <a:t> </a:t>
            </a:r>
            <a:r>
              <a:rPr dirty="0"/>
              <a:t>Chile</a:t>
            </a:r>
            <a:r>
              <a:rPr spc="45" dirty="0"/>
              <a:t> </a:t>
            </a:r>
            <a:r>
              <a:rPr spc="-75" dirty="0"/>
              <a:t>·</a:t>
            </a:r>
            <a:r>
              <a:rPr spc="45" dirty="0"/>
              <a:t> </a:t>
            </a:r>
            <a:r>
              <a:rPr b="0" spc="-10" dirty="0">
                <a:latin typeface="Arial"/>
                <a:cs typeface="Arial"/>
              </a:rPr>
              <a:t>2023/2027</a:t>
            </a:r>
          </a:p>
        </p:txBody>
      </p:sp>
      <p:sp>
        <p:nvSpPr>
          <p:cNvPr id="26" name="object 26"/>
          <p:cNvSpPr txBox="1"/>
          <p:nvPr/>
        </p:nvSpPr>
        <p:spPr>
          <a:xfrm>
            <a:off x="17811802" y="9932977"/>
            <a:ext cx="229235" cy="144780"/>
          </a:xfrm>
          <a:prstGeom prst="rect">
            <a:avLst/>
          </a:prstGeom>
        </p:spPr>
        <p:txBody>
          <a:bodyPr vert="horz" wrap="square" lIns="0" tIns="0" rIns="0" bIns="0" rtlCol="0">
            <a:spAutoFit/>
          </a:bodyPr>
          <a:lstStyle/>
          <a:p>
            <a:pPr marL="12700">
              <a:lnSpc>
                <a:spcPts val="1030"/>
              </a:lnSpc>
            </a:pPr>
            <a:r>
              <a:rPr sz="900" b="1" dirty="0">
                <a:solidFill>
                  <a:srgbClr val="737373"/>
                </a:solidFill>
                <a:latin typeface="Arial"/>
                <a:cs typeface="Arial"/>
              </a:rPr>
              <a:t>I</a:t>
            </a:r>
            <a:r>
              <a:rPr sz="900" b="1" spc="-15" dirty="0">
                <a:solidFill>
                  <a:srgbClr val="737373"/>
                </a:solidFill>
                <a:latin typeface="Arial"/>
                <a:cs typeface="Arial"/>
              </a:rPr>
              <a:t> </a:t>
            </a:r>
            <a:r>
              <a:rPr sz="900" b="1" spc="25" dirty="0">
                <a:solidFill>
                  <a:srgbClr val="737373"/>
                </a:solidFill>
                <a:latin typeface="Arial"/>
                <a:cs typeface="Arial"/>
              </a:rPr>
              <a:t>02</a:t>
            </a:r>
            <a:endParaRPr sz="900">
              <a:latin typeface="Arial"/>
              <a:cs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HfSM.0hOwjidKchiPWqVQ"/>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51</TotalTime>
  <Words>4369</Words>
  <Application>Microsoft Macintosh PowerPoint</Application>
  <PresentationFormat>Custom</PresentationFormat>
  <Paragraphs>1057</Paragraphs>
  <Slides>65</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73" baseType="lpstr">
      <vt:lpstr>Aptos</vt:lpstr>
      <vt:lpstr>Arial</vt:lpstr>
      <vt:lpstr>Calibri</vt:lpstr>
      <vt:lpstr>OpenSans-ExtraBold</vt:lpstr>
      <vt:lpstr>Roboto</vt:lpstr>
      <vt:lpstr>Times New Roman</vt:lpstr>
      <vt:lpstr>Office Theme</vt:lpstr>
      <vt:lpstr>Diapositiva de think-cell</vt:lpstr>
      <vt:lpstr>Nuevo Plan de Marketing Turístico Internacional de Chile · 2023/2027</vt:lpstr>
      <vt:lpstr>INDICE</vt:lpstr>
      <vt:lpstr>Diagnóstico y estudio de mercado</vt:lpstr>
      <vt:lpstr>01. Situación general del turismo hacia Chile</vt:lpstr>
      <vt:lpstr>01. Situación general del turismo hacia Chile</vt:lpstr>
      <vt:lpstr>01. Situación general del turismo hacia Chile</vt:lpstr>
      <vt:lpstr>01. Situación general del turismo hacia Chile</vt:lpstr>
      <vt:lpstr>01. Situación general del turismo hacia Chile</vt:lpstr>
      <vt:lpstr>01. Situación general del turismo hacia Chile</vt:lpstr>
      <vt:lpstr>01. Situación general del turismo hacia Chile</vt:lpstr>
      <vt:lpstr>PowerPoint Presentation</vt:lpstr>
      <vt:lpstr>03. Competitividad</vt:lpstr>
      <vt:lpstr>04. Situación de mercados</vt:lpstr>
      <vt:lpstr>04. Situación de mercados</vt:lpstr>
      <vt:lpstr>04. Situación de mercados</vt:lpstr>
      <vt:lpstr>04. Situación de mercados</vt:lpstr>
      <vt:lpstr>04. Situación de mercados</vt:lpstr>
      <vt:lpstr>Europa</vt:lpstr>
      <vt:lpstr>04. Situación de mercados</vt:lpstr>
      <vt:lpstr>01. La oferta turística de Chile encaja con las nuevas necesidades de segmentos:</vt:lpstr>
      <vt:lpstr>05. Imagen y posicionamiento de Chile</vt:lpstr>
      <vt:lpstr>06. Oferta para marketing</vt:lpstr>
      <vt:lpstr>Estrategia</vt:lpstr>
      <vt:lpstr>01. Plan de marketing turístico internacional</vt:lpstr>
      <vt:lpstr>01. Plan de marketing turístico internacional</vt:lpstr>
      <vt:lpstr>¿Cómo recuperar volumen?</vt:lpstr>
      <vt:lpstr>01 Desarrollo del branding turístico de Chile</vt:lpstr>
      <vt:lpstr>01 Desarrollo del branding turístico de Chile</vt:lpstr>
      <vt:lpstr>02. ¿Cómo recuperar volumen?</vt:lpstr>
      <vt:lpstr>Cambio de formatos promocionales y foco en soporte al canal comercial (trade)</vt:lpstr>
      <vt:lpstr>Cambio de formatos promocionales y foco en soporte al canal comercial (trade)</vt:lpstr>
      <vt:lpstr>¿Cómo aumentar el impacto positivo del turismo?</vt:lpstr>
      <vt:lpstr>03. ¿Cómo aumentar el impacto positivo del turismo?</vt:lpstr>
      <vt:lpstr>03. ¿Cómo aumentar el impacto positivo del turismo?</vt:lpstr>
      <vt:lpstr>03. ¿Cómo aumentar el impacto positivo del turismo?</vt:lpstr>
      <vt:lpstr>¿Cómo distribuir el impacto positivo del turismo?</vt:lpstr>
      <vt:lpstr>01</vt:lpstr>
      <vt:lpstr>04</vt:lpstr>
      <vt:lpstr>01</vt:lpstr>
      <vt:lpstr>PowerPoint Presentation</vt:lpstr>
      <vt:lpstr>PowerPoint Presentation</vt:lpstr>
      <vt:lpstr>Segmento MICE</vt:lpstr>
      <vt:lpstr>Puntos clave del sector MICE chileno</vt:lpstr>
      <vt:lpstr>Puntos clave del sector MICE chileno</vt:lpstr>
      <vt:lpstr>Puntos clave del sector MICE chileno</vt:lpstr>
      <vt:lpstr>Puntos clave del sector MICE chileno</vt:lpstr>
      <vt:lpstr>Puntos clave del sector MICE chileno</vt:lpstr>
      <vt:lpstr>Puntos clave del sector MICE chileno</vt:lpstr>
      <vt:lpstr>Puntos clave del sector MICE chileno</vt:lpstr>
      <vt:lpstr>Puntos clave del sector MICE chileno</vt:lpstr>
      <vt:lpstr>02. Cómo promocionamos MICE internacional?</vt:lpstr>
      <vt:lpstr>02. Cómo promocionamos MICE internacional?</vt:lpstr>
      <vt:lpstr>Estrategia y acciones MICE</vt:lpstr>
      <vt:lpstr>Estrategia y acciones MICE</vt:lpstr>
      <vt:lpstr>Estrategia y acciones MICE</vt:lpstr>
      <vt:lpstr>Estrategia y acciones MICE</vt:lpstr>
      <vt:lpstr>Estrategia y acciones MICE</vt:lpstr>
      <vt:lpstr>Estrategia y acciones MICE</vt:lpstr>
      <vt:lpstr>Accione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CHILE</dc:title>
  <dc:creator>Maca At home</dc:creator>
  <cp:keywords>DAFkrdyAzGQ,BAE_WmYUKzw</cp:keywords>
  <cp:lastModifiedBy>ANGELICA KOSTIN</cp:lastModifiedBy>
  <cp:revision>5</cp:revision>
  <dcterms:created xsi:type="dcterms:W3CDTF">2023-08-08T12:37:56Z</dcterms:created>
  <dcterms:modified xsi:type="dcterms:W3CDTF">2023-08-22T13:3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07-06T00:00:00Z</vt:filetime>
  </property>
  <property fmtid="{D5CDD505-2E9C-101B-9397-08002B2CF9AE}" pid="3" name="Creator">
    <vt:lpwstr>Canva</vt:lpwstr>
  </property>
  <property fmtid="{D5CDD505-2E9C-101B-9397-08002B2CF9AE}" pid="4" name="LastSaved">
    <vt:filetime>2023-08-08T00:00:00Z</vt:filetime>
  </property>
  <property fmtid="{D5CDD505-2E9C-101B-9397-08002B2CF9AE}" pid="5" name="Producer">
    <vt:lpwstr>Canva</vt:lpwstr>
  </property>
</Properties>
</file>